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3.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4.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5.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6.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7.xml" ContentType="application/vnd.openxmlformats-officedocument.them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heme/theme8.xml" ContentType="application/vnd.openxmlformats-officedocument.them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1.xml" ContentType="application/vnd.openxmlformats-officedocument.presentationml.notesSlide+xml"/>
  <Override PartName="/ppt/tags/tag372.xml" ContentType="application/vnd.openxmlformats-officedocument.presentationml.tags+xml"/>
  <Override PartName="/ppt/notesSlides/notesSlide2.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notesSlides/notesSlide3.xml" ContentType="application/vnd.openxmlformats-officedocument.presentationml.notesSlide+xml"/>
  <Override PartName="/ppt/tags/tag375.xml" ContentType="application/vnd.openxmlformats-officedocument.presentationml.tags+xml"/>
  <Override PartName="/ppt/notesSlides/notesSlide4.xml" ContentType="application/vnd.openxmlformats-officedocument.presentationml.notesSlide+xml"/>
  <Override PartName="/ppt/tags/tag376.xml" ContentType="application/vnd.openxmlformats-officedocument.presentationml.tags+xml"/>
  <Override PartName="/ppt/notesSlides/notesSlide5.xml" ContentType="application/vnd.openxmlformats-officedocument.presentationml.notesSlide+xml"/>
  <Override PartName="/ppt/tags/tag377.xml" ContentType="application/vnd.openxmlformats-officedocument.presentationml.tags+xml"/>
  <Override PartName="/ppt/notesSlides/notesSlide6.xml" ContentType="application/vnd.openxmlformats-officedocument.presentationml.notesSlide+xml"/>
  <Override PartName="/ppt/comments/modernComment_7FFFF4EC_8F84B32C.xml" ContentType="application/vnd.ms-powerpoint.comment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7.xml" ContentType="application/vnd.openxmlformats-officedocument.presentationml.notesSlide+xml"/>
  <Override PartName="/ppt/comments/modernComment_7FFFF4ED_9F10E7EF.xml" ContentType="application/vnd.ms-powerpoint.comments+xml"/>
  <Override PartName="/ppt/charts/chart1.xml" ContentType="application/vnd.openxmlformats-officedocument.drawingml.chart+xml"/>
  <Override PartName="/ppt/tags/tag390.xml" ContentType="application/vnd.openxmlformats-officedocument.presentationml.tags+xml"/>
  <Override PartName="/ppt/notesSlides/notesSlide8.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notesSlides/notesSlide9.xml" ContentType="application/vnd.openxmlformats-officedocument.presentationml.notesSlide+xml"/>
  <Override PartName="/ppt/comments/modernComment_7FFFF4EE_7006D1B5.xml" ContentType="application/vnd.ms-powerpoint.comment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notesSlides/notesSlide10.xml" ContentType="application/vnd.openxmlformats-officedocument.presentationml.notesSlide+xml"/>
  <Override PartName="/ppt/comments/modernComment_7FFFF4EF_5C61F937.xml" ContentType="application/vnd.ms-powerpoint.comments+xml"/>
  <Override PartName="/ppt/charts/chart6.xml" ContentType="application/vnd.openxmlformats-officedocument.drawingml.chart+xml"/>
  <Override PartName="/ppt/tags/tag407.xml" ContentType="application/vnd.openxmlformats-officedocument.presentationml.tags+xml"/>
  <Override PartName="/ppt/tags/tag408.xml" ContentType="application/vnd.openxmlformats-officedocument.presentationml.tags+xml"/>
  <Override PartName="/ppt/notesSlides/notesSlide11.xml" ContentType="application/vnd.openxmlformats-officedocument.presentationml.notesSlide+xml"/>
  <Override PartName="/ppt/comments/modernComment_7FFFF4F0_707B021.xml" ContentType="application/vnd.ms-powerpoint.comments+xml"/>
  <Override PartName="/ppt/tags/tag409.xml" ContentType="application/vnd.openxmlformats-officedocument.presentationml.tags+xml"/>
  <Override PartName="/ppt/notesSlides/notesSlide12.xml" ContentType="application/vnd.openxmlformats-officedocument.presentationml.notesSlide+xml"/>
  <Override PartName="/ppt/tags/tag410.xml" ContentType="application/vnd.openxmlformats-officedocument.presentationml.tags+xml"/>
  <Override PartName="/ppt/notesSlides/notesSlide13.xml" ContentType="application/vnd.openxmlformats-officedocument.presentationml.notesSlide+xml"/>
  <Override PartName="/ppt/comments/modernComment_7FFFF4D8_3EEE2585.xml" ContentType="application/vnd.ms-powerpoint.comments+xml"/>
  <Override PartName="/ppt/tags/tag411.xml" ContentType="application/vnd.openxmlformats-officedocument.presentationml.tags+xml"/>
  <Override PartName="/ppt/notesSlides/notesSlide14.xml" ContentType="application/vnd.openxmlformats-officedocument.presentationml.notesSlide+xml"/>
  <Override PartName="/ppt/comments/modernComment_7FFFF48C_33DE4A51.xml" ContentType="application/vnd.ms-powerpoint.comments+xml"/>
  <Override PartName="/ppt/tags/tag412.xml" ContentType="application/vnd.openxmlformats-officedocument.presentationml.tags+xml"/>
  <Override PartName="/ppt/notesSlides/notesSlide15.xml" ContentType="application/vnd.openxmlformats-officedocument.presentationml.notesSlide+xml"/>
  <Override PartName="/ppt/tags/tag413.xml" ContentType="application/vnd.openxmlformats-officedocument.presentationml.tags+xml"/>
  <Override PartName="/ppt/notesSlides/notesSlide16.xml" ContentType="application/vnd.openxmlformats-officedocument.presentationml.notesSlide+xml"/>
  <Override PartName="/ppt/comments/modernComment_7FF64A25_891D721B.xml" ContentType="application/vnd.ms-powerpoint.comment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notesSlides/notesSlide17.xml" ContentType="application/vnd.openxmlformats-officedocument.presentationml.notesSlide+xml"/>
  <Override PartName="/ppt/comments/modernComment_7FFFF473_99DE832A.xml" ContentType="application/vnd.ms-powerpoint.comment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notesSlides/notesSlide18.xml" ContentType="application/vnd.openxmlformats-officedocument.presentationml.notesSlide+xml"/>
  <Override PartName="/ppt/comments/modernComment_7FFFF4F7_44FE2FDA.xml" ContentType="application/vnd.ms-powerpoint.comments+xml"/>
  <Override PartName="/ppt/charts/chart11.xml" ContentType="application/vnd.openxmlformats-officedocument.drawingml.chart+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notesSlides/notesSlide19.xml" ContentType="application/vnd.openxmlformats-officedocument.presentationml.notesSlide+xml"/>
  <Override PartName="/ppt/comments/modernComment_7FFFF4DF_B2A920E0.xml" ContentType="application/vnd.ms-powerpoint.comment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notesSlides/notesSlide20.xml" ContentType="application/vnd.openxmlformats-officedocument.presentationml.notesSlide+xml"/>
  <Override PartName="/ppt/comments/modernComment_7FFFF47E_CC4FD94F.xml" ContentType="application/vnd.ms-powerpoint.comment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536.xml" ContentType="application/vnd.openxmlformats-officedocument.presentationml.tags+xml"/>
  <Override PartName="/ppt/notesSlides/notesSlide21.xml" ContentType="application/vnd.openxmlformats-officedocument.presentationml.notesSlide+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notesSlides/notesSlide22.xml" ContentType="application/vnd.openxmlformats-officedocument.presentationml.notesSlide+xml"/>
  <Override PartName="/ppt/comments/modernComment_7FFFF4FF_A91B2345.xml" ContentType="application/vnd.ms-powerpoint.comments+xml"/>
  <Override PartName="/ppt/charts/chart18.xml" ContentType="application/vnd.openxmlformats-officedocument.drawingml.chart+xml"/>
  <Override PartName="/ppt/charts/chart19.xml" ContentType="application/vnd.openxmlformats-officedocument.drawingml.chart+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notesSlides/notesSlide23.xml" ContentType="application/vnd.openxmlformats-officedocument.presentationml.notesSlide+xml"/>
  <Override PartName="/ppt/comments/modernComment_7FFFF47D_407F13F2.xml" ContentType="application/vnd.ms-powerpoint.comments+xml"/>
  <Override PartName="/ppt/charts/chart20.xml" ContentType="application/vnd.openxmlformats-officedocument.drawingml.chart+xml"/>
  <Override PartName="/ppt/tags/tag589.xml" ContentType="application/vnd.openxmlformats-officedocument.presentationml.tags+xml"/>
  <Override PartName="/ppt/notesSlides/notesSlide24.xml" ContentType="application/vnd.openxmlformats-officedocument.presentationml.notesSlide+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notesSlides/notesSlide25.xml" ContentType="application/vnd.openxmlformats-officedocument.presentationml.notesSlide+xml"/>
  <Override PartName="/ppt/comments/modernComment_7FFFF481_FAB6806A.xml" ContentType="application/vnd.ms-powerpoint.comment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26.xml" ContentType="application/vnd.openxmlformats-officedocument.presentationml.notesSlide+xml"/>
  <Override PartName="/ppt/comments/modernComment_7FFFF4B3_E8E48C67.xml" ContentType="application/vnd.ms-powerpoint.comments+xml"/>
  <Override PartName="/ppt/charts/chart21.xml" ContentType="application/vnd.openxmlformats-officedocument.drawingml.chart+xml"/>
  <Override PartName="/ppt/tags/tag668.xml" ContentType="application/vnd.openxmlformats-officedocument.presentationml.tags+xml"/>
  <Override PartName="/ppt/tags/tag669.xml" ContentType="application/vnd.openxmlformats-officedocument.presentationml.tags+xml"/>
  <Override PartName="/ppt/notesSlides/notesSlide27.xml" ContentType="application/vnd.openxmlformats-officedocument.presentationml.notesSlide+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notesSlides/notesSlide28.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notesSlides/notesSlide29.xml" ContentType="application/vnd.openxmlformats-officedocument.presentationml.notesSlide+xml"/>
  <Override PartName="/ppt/charts/chart27.xml" ContentType="application/vnd.openxmlformats-officedocument.drawingml.chart+xml"/>
  <Override PartName="/ppt/tags/tag780.xml" ContentType="application/vnd.openxmlformats-officedocument.presentationml.tags+xml"/>
  <Override PartName="/ppt/notesSlides/notesSlide30.xml" ContentType="application/vnd.openxmlformats-officedocument.presentationml.notesSlide+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notesSlides/notesSlide31.xml" ContentType="application/vnd.openxmlformats-officedocument.presentationml.notesSlide+xml"/>
  <Override PartName="/ppt/comments/modernComment_7FFFF4F2_BD10C353.xml" ContentType="application/vnd.ms-powerpoint.comment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notesSlides/notesSlide32.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notesSlides/notesSlide33.xml" ContentType="application/vnd.openxmlformats-officedocument.presentationml.notesSlide+xml"/>
  <Override PartName="/ppt/charts/chart34.xml" ContentType="application/vnd.openxmlformats-officedocument.drawingml.chart+xml"/>
  <Override PartName="/ppt/tags/tag885.xml" ContentType="application/vnd.openxmlformats-officedocument.presentationml.tags+xml"/>
  <Override PartName="/ppt/notesSlides/notesSlide34.xml" ContentType="application/vnd.openxmlformats-officedocument.presentationml.notesSlide+xml"/>
  <Override PartName="/ppt/tags/tag886.xml" ContentType="application/vnd.openxmlformats-officedocument.presentationml.tags+xml"/>
  <Override PartName="/ppt/notesSlides/notesSlide35.xml" ContentType="application/vnd.openxmlformats-officedocument.presentationml.notesSlide+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notesSlides/notesSlide36.xml" ContentType="application/vnd.openxmlformats-officedocument.presentationml.notesSlide+xml"/>
  <Override PartName="/ppt/charts/chart35.xml" ContentType="application/vnd.openxmlformats-officedocument.drawingml.chart+xml"/>
  <Override PartName="/ppt/tags/tag896.xml" ContentType="application/vnd.openxmlformats-officedocument.presentationml.tags+xml"/>
  <Override PartName="/ppt/notesSlides/notesSlide37.xml" ContentType="application/vnd.openxmlformats-officedocument.presentationml.notesSlide+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notesSlides/notesSlide38.xml" ContentType="application/vnd.openxmlformats-officedocument.presentationml.notesSlide+xml"/>
  <Override PartName="/ppt/comments/modernComment_7FFFF4D2_74610D2.xml" ContentType="application/vnd.ms-powerpoint.comments+xml"/>
  <Override PartName="/ppt/charts/chart36.xml" ContentType="application/vnd.openxmlformats-officedocument.drawingml.chart+xml"/>
  <Override PartName="/ppt/charts/chart37.xml" ContentType="application/vnd.openxmlformats-officedocument.drawingml.chart+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notesSlides/notesSlide39.xml" ContentType="application/vnd.openxmlformats-officedocument.presentationml.notesSlide+xml"/>
  <Override PartName="/ppt/comments/modernComment_7FFFF4DE_AFD94CB4.xml" ContentType="application/vnd.ms-powerpoint.comments+xml"/>
  <Override PartName="/ppt/charts/chart38.xml" ContentType="application/vnd.openxmlformats-officedocument.drawingml.chart+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notesSlides/notesSlide40.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tags/tag1099.xml" ContentType="application/vnd.openxmlformats-officedocument.presentationml.tags+xml"/>
  <Override PartName="/ppt/notesSlides/notesSlide41.xml" ContentType="application/vnd.openxmlformats-officedocument.presentationml.notesSlide+xml"/>
  <Override PartName="/ppt/tags/tag1100.xml" ContentType="application/vnd.openxmlformats-officedocument.presentationml.tags+xml"/>
  <Override PartName="/ppt/notesSlides/notesSlide42.xml" ContentType="application/vnd.openxmlformats-officedocument.presentationml.notesSlide+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notesSlides/notesSlide43.xml" ContentType="application/vnd.openxmlformats-officedocument.presentationml.notesSlide+xml"/>
  <Override PartName="/ppt/comments/modernComment_7FFFF4E0_3EC8F708.xml" ContentType="application/vnd.ms-powerpoint.comments+xml"/>
  <Override PartName="/ppt/charts/chart41.xml" ContentType="application/vnd.openxmlformats-officedocument.drawingml.chart+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notesSlides/notesSlide44.xml" ContentType="application/vnd.openxmlformats-officedocument.presentationml.notesSlide+xml"/>
  <Override PartName="/ppt/charts/chart42.xml" ContentType="application/vnd.openxmlformats-officedocument.drawingml.chart+xml"/>
  <Override PartName="/ppt/charts/chart43.xml" ContentType="application/vnd.openxmlformats-officedocument.drawingml.chart+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notesSlides/notesSlide45.xml" ContentType="application/vnd.openxmlformats-officedocument.presentationml.notesSlide+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notesSlides/notesSlide46.xml" ContentType="application/vnd.openxmlformats-officedocument.presentationml.notesSlide+xml"/>
  <Override PartName="/ppt/charts/chart50.xml" ContentType="application/vnd.openxmlformats-officedocument.drawingml.chart+xml"/>
  <Override PartName="/ppt/charts/chart51.xml" ContentType="application/vnd.openxmlformats-officedocument.drawingml.chart+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notesSlides/notesSlide47.xml" ContentType="application/vnd.openxmlformats-officedocument.presentationml.notesSlide+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1283.xml" ContentType="application/vnd.openxmlformats-officedocument.presentationml.tags+xml"/>
  <Override PartName="/ppt/notesSlides/notesSlide48.xml" ContentType="application/vnd.openxmlformats-officedocument.presentationml.notesSlide+xml"/>
  <Override PartName="/ppt/tags/tag1284.xml" ContentType="application/vnd.openxmlformats-officedocument.presentationml.tags+xml"/>
  <Override PartName="/ppt/notesSlides/notesSlide49.xml" ContentType="application/vnd.openxmlformats-officedocument.presentationml.notesSlide+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notesSlides/notesSlide50.xml" ContentType="application/vnd.openxmlformats-officedocument.presentationml.notesSlide+xml"/>
  <Override PartName="/ppt/charts/chart55.xml" ContentType="application/vnd.openxmlformats-officedocument.drawingml.chart+xml"/>
  <Override PartName="/ppt/tags/tag1298.xml" ContentType="application/vnd.openxmlformats-officedocument.presentationml.tags+xml"/>
  <Override PartName="/ppt/notesSlides/notesSlide51.xml" ContentType="application/vnd.openxmlformats-officedocument.presentationml.notesSlide+xml"/>
  <Override PartName="/ppt/tags/tag1299.xml" ContentType="application/vnd.openxmlformats-officedocument.presentationml.tags+xml"/>
  <Override PartName="/ppt/notesSlides/notesSlide52.xml" ContentType="application/vnd.openxmlformats-officedocument.presentationml.notesSlide+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notesSlides/notesSlide53.xml" ContentType="application/vnd.openxmlformats-officedocument.presentationml.notesSlide+xml"/>
  <Override PartName="/ppt/comments/modernComment_7FFFF4C2_9069F386.xml" ContentType="application/vnd.ms-powerpoint.comments+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notesSlides/notesSlide54.xml" ContentType="application/vnd.openxmlformats-officedocument.presentationml.notesSlide+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notesSlides/notesSlide55.xml" ContentType="application/vnd.openxmlformats-officedocument.presentationml.notesSlide+xml"/>
  <Override PartName="/ppt/comments/modernComment_7FFFF4D4_F9D22838.xml" ContentType="application/vnd.ms-powerpoint.comments+xml"/>
  <Override PartName="/ppt/charts/chart59.xml" ContentType="application/vnd.openxmlformats-officedocument.drawingml.chart+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notesSlides/notesSlide56.xml" ContentType="application/vnd.openxmlformats-officedocument.presentationml.notesSlide+xml"/>
  <Override PartName="/ppt/comments/modernComment_7FFFF4C8_91F1C206.xml" ContentType="application/vnd.ms-powerpoint.comments+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tags/tag1472.xml" ContentType="application/vnd.openxmlformats-officedocument.presentationml.tags+xml"/>
  <Override PartName="/ppt/notesSlides/notesSlide57.xml" ContentType="application/vnd.openxmlformats-officedocument.presentationml.notesSlide+xml"/>
  <Override PartName="/ppt/tags/tag1473.xml" ContentType="application/vnd.openxmlformats-officedocument.presentationml.tags+xml"/>
  <Override PartName="/ppt/notesSlides/notesSlide58.xml" ContentType="application/vnd.openxmlformats-officedocument.presentationml.notesSlide+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notesSlides/notesSlide59.xml" ContentType="application/vnd.openxmlformats-officedocument.presentationml.notesSlide+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notesSlides/notesSlide60.xml" ContentType="application/vnd.openxmlformats-officedocument.presentationml.notesSlide+xml"/>
  <Override PartName="/ppt/tags/tag1526.xml" ContentType="application/vnd.openxmlformats-officedocument.presentationml.tags+xml"/>
  <Override PartName="/ppt/tags/tag1527.xml" ContentType="application/vnd.openxmlformats-officedocument.presentationml.tags+xml"/>
  <Override PartName="/ppt/notesSlides/notesSlide61.xml" ContentType="application/vnd.openxmlformats-officedocument.presentationml.notesSlide+xml"/>
  <Override PartName="/ppt/tags/tag1528.xml" ContentType="application/vnd.openxmlformats-officedocument.presentationml.tags+xml"/>
  <Override PartName="/ppt/notesSlides/notesSlide62.xml" ContentType="application/vnd.openxmlformats-officedocument.presentationml.notesSlide+xml"/>
  <Override PartName="/ppt/tags/tag1529.xml" ContentType="application/vnd.openxmlformats-officedocument.presentationml.tags+xml"/>
  <Override PartName="/ppt/notesSlides/notesSlide63.xml" ContentType="application/vnd.openxmlformats-officedocument.presentationml.notesSlide+xml"/>
  <Override PartName="/ppt/tags/tag1530.xml" ContentType="application/vnd.openxmlformats-officedocument.presentationml.tags+xml"/>
  <Override PartName="/ppt/notesSlides/notesSlide64.xml" ContentType="application/vnd.openxmlformats-officedocument.presentationml.notesSlide+xml"/>
  <Override PartName="/ppt/tags/tag1531.xml" ContentType="application/vnd.openxmlformats-officedocument.presentationml.tags+xml"/>
  <Override PartName="/ppt/tags/tag1532.xml" ContentType="application/vnd.openxmlformats-officedocument.presentationml.tags+xml"/>
  <Override PartName="/ppt/notesSlides/notesSlide65.xml" ContentType="application/vnd.openxmlformats-officedocument.presentationml.notesSlide+xml"/>
  <Override PartName="/ppt/tags/tag1533.xml" ContentType="application/vnd.openxmlformats-officedocument.presentationml.tags+xml"/>
  <Override PartName="/ppt/tags/tag1534.xml" ContentType="application/vnd.openxmlformats-officedocument.presentationml.tags+xml"/>
  <Override PartName="/ppt/notesSlides/notesSlide66.xml" ContentType="application/vnd.openxmlformats-officedocument.presentationml.notesSlide+xml"/>
  <Override PartName="/ppt/tags/tag1535.xml" ContentType="application/vnd.openxmlformats-officedocument.presentationml.tags+xml"/>
  <Override PartName="/ppt/tags/tag1536.xml" ContentType="application/vnd.openxmlformats-officedocument.presentationml.tags+xml"/>
  <Override PartName="/ppt/notesSlides/notesSlide67.xml" ContentType="application/vnd.openxmlformats-officedocument.presentationml.notesSlide+xml"/>
  <Override PartName="/ppt/tags/tag1537.xml" ContentType="application/vnd.openxmlformats-officedocument.presentationml.tags+xml"/>
  <Override PartName="/ppt/notesSlides/notesSlide68.xml" ContentType="application/vnd.openxmlformats-officedocument.presentationml.notesSlide+xml"/>
  <Override PartName="/ppt/tags/tag1538.xml" ContentType="application/vnd.openxmlformats-officedocument.presentationml.tags+xml"/>
  <Override PartName="/ppt/notesSlides/notesSlide69.xml" ContentType="application/vnd.openxmlformats-officedocument.presentationml.notesSlide+xml"/>
  <Override PartName="/ppt/tags/tag1539.xml" ContentType="application/vnd.openxmlformats-officedocument.presentationml.tags+xml"/>
  <Override PartName="/ppt/comments/modernComment_7FFFF4F1_9F79F2CD.xml" ContentType="application/vnd.ms-powerpoint.comments+xml"/>
  <Override PartName="/ppt/tags/tag1540.xml" ContentType="application/vnd.openxmlformats-officedocument.presentationml.tags+xml"/>
  <Override PartName="/ppt/notesSlides/notesSlide70.xml" ContentType="application/vnd.openxmlformats-officedocument.presentationml.notesSlide+xml"/>
  <Override PartName="/ppt/tags/tag1541.xml" ContentType="application/vnd.openxmlformats-officedocument.presentationml.tags+xml"/>
  <Override PartName="/ppt/tags/tag1542.xml" ContentType="application/vnd.openxmlformats-officedocument.presentationml.tags+xml"/>
  <Override PartName="/ppt/notesSlides/notesSlide71.xml" ContentType="application/vnd.openxmlformats-officedocument.presentationml.notesSlide+xml"/>
  <Override PartName="/ppt/tags/tag1543.xml" ContentType="application/vnd.openxmlformats-officedocument.presentationml.tags+xml"/>
  <Override PartName="/ppt/notesSlides/notesSlide72.xml" ContentType="application/vnd.openxmlformats-officedocument.presentationml.notesSlide+xml"/>
  <Override PartName="/ppt/tags/tag1544.xml" ContentType="application/vnd.openxmlformats-officedocument.presentationml.tags+xml"/>
  <Override PartName="/ppt/notesSlides/notesSlide73.xml" ContentType="application/vnd.openxmlformats-officedocument.presentationml.notesSlide+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notesSlides/notesSlide74.xml" ContentType="application/vnd.openxmlformats-officedocument.presentationml.notesSlide+xml"/>
  <Override PartName="/ppt/charts/chart69.xml" ContentType="application/vnd.openxmlformats-officedocument.drawingml.chart+xml"/>
  <Override PartName="/ppt/tags/tag1554.xml" ContentType="application/vnd.openxmlformats-officedocument.presentationml.tags+xml"/>
  <Override PartName="/ppt/notesSlides/notesSlide75.xml" ContentType="application/vnd.openxmlformats-officedocument.presentationml.notesSlide+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notesSlides/notesSlide76.xml" ContentType="application/vnd.openxmlformats-officedocument.presentationml.notesSlide+xml"/>
  <Override PartName="/ppt/comments/modernComment_7FF65012_2139C9E3.xml" ContentType="application/vnd.ms-powerpoint.comment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notesSlides/notesSlide77.xml" ContentType="application/vnd.openxmlformats-officedocument.presentationml.notesSlide+xml"/>
  <Override PartName="/ppt/comments/modernComment_7FF65013_EBD82E30.xml" ContentType="application/vnd.ms-powerpoint.comments+xml"/>
  <Override PartName="/ppt/charts/chart73.xml" ContentType="application/vnd.openxmlformats-officedocument.drawingml.chart+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notesSlides/notesSlide78.xml" ContentType="application/vnd.openxmlformats-officedocument.presentationml.notesSlide+xml"/>
  <Override PartName="/ppt/comments/modernComment_7FF65014_652D2412.xml" ContentType="application/vnd.ms-powerpoint.comments+xml"/>
  <Override PartName="/ppt/charts/chart74.xml" ContentType="application/vnd.openxmlformats-officedocument.drawingml.chart+xml"/>
  <Override PartName="/ppt/tags/tag1775.xml" ContentType="application/vnd.openxmlformats-officedocument.presentationml.tags+xml"/>
  <Override PartName="/ppt/notesSlides/notesSlide79.xml" ContentType="application/vnd.openxmlformats-officedocument.presentationml.notesSlide+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notesSlides/notesSlide80.xml" ContentType="application/vnd.openxmlformats-officedocument.presentationml.notesSlide+xml"/>
  <Override PartName="/ppt/comments/modernComment_7FF6501A_C3306628.xml" ContentType="application/vnd.ms-powerpoint.comments+xml"/>
  <Override PartName="/ppt/charts/chart75.xml" ContentType="application/vnd.openxmlformats-officedocument.drawingml.chart+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notesSlides/notesSlide81.xml" ContentType="application/vnd.openxmlformats-officedocument.presentationml.notesSlide+xml"/>
  <Override PartName="/ppt/tags/tag1886.xml" ContentType="application/vnd.openxmlformats-officedocument.presentationml.tags+xml"/>
  <Override PartName="/ppt/notesSlides/notesSlide82.xml" ContentType="application/vnd.openxmlformats-officedocument.presentationml.notesSlide+xml"/>
  <Override PartName="/ppt/tags/tag1887.xml" ContentType="application/vnd.openxmlformats-officedocument.presentationml.tags+xml"/>
  <Override PartName="/ppt/notesSlides/notesSlide83.xml" ContentType="application/vnd.openxmlformats-officedocument.presentationml.notesSlide+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notesSlides/notesSlide84.xml" ContentType="application/vnd.openxmlformats-officedocument.presentationml.notesSlide+xml"/>
  <Override PartName="/ppt/comments/modernComment_7FF6501E_FEC3EF10.xml" ContentType="application/vnd.ms-powerpoint.comment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notesSlides/notesSlide85.xml" ContentType="application/vnd.openxmlformats-officedocument.presentationml.notesSlide+xml"/>
  <Override PartName="/ppt/comments/modernComment_7FF65017_5CFBEDF2.xml" ContentType="application/vnd.ms-powerpoint.comments+xml"/>
  <Override PartName="/ppt/charts/chart79.xml" ContentType="application/vnd.openxmlformats-officedocument.drawingml.chart+xml"/>
  <Override PartName="/ppt/charts/chart80.xml" ContentType="application/vnd.openxmlformats-officedocument.drawingml.chart+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notesSlides/notesSlide86.xml" ContentType="application/vnd.openxmlformats-officedocument.presentationml.notesSlide+xml"/>
  <Override PartName="/ppt/comments/modernComment_7FF65016_465D831A.xml" ContentType="application/vnd.ms-powerpoint.comments+xml"/>
  <Override PartName="/ppt/charts/chart81.xml" ContentType="application/vnd.openxmlformats-officedocument.drawingml.chart+xml"/>
  <Override PartName="/ppt/charts/chart82.xml" ContentType="application/vnd.openxmlformats-officedocument.drawingml.chart+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notesSlides/notesSlide87.xml" ContentType="application/vnd.openxmlformats-officedocument.presentationml.notesSlide+xml"/>
  <Override PartName="/ppt/comments/modernComment_7FF65005_500228CB.xml" ContentType="application/vnd.ms-powerpoint.comments+xml"/>
  <Override PartName="/ppt/charts/chart83.xml" ContentType="application/vnd.openxmlformats-officedocument.drawingml.chart+xml"/>
  <Override PartName="/ppt/charts/chart84.xml" ContentType="application/vnd.openxmlformats-officedocument.drawingml.chart+xml"/>
  <Override PartName="/ppt/tags/tag2057.xml" ContentType="application/vnd.openxmlformats-officedocument.presentationml.tags+xml"/>
  <Override PartName="/ppt/notesSlides/notesSlide88.xml" ContentType="application/vnd.openxmlformats-officedocument.presentationml.notesSlide+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notesSlides/notesSlide89.xml" ContentType="application/vnd.openxmlformats-officedocument.presentationml.notesSlide+xml"/>
  <Override PartName="/ppt/comments/modernComment_7FF65030_5DB519AE.xml" ContentType="application/vnd.ms-powerpoint.comments+xml"/>
  <Override PartName="/ppt/charts/chart85.xml" ContentType="application/vnd.openxmlformats-officedocument.drawingml.chart+xml"/>
  <Override PartName="/ppt/charts/chart86.xml" ContentType="application/vnd.openxmlformats-officedocument.drawingml.chart+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notesSlides/notesSlide90.xml" ContentType="application/vnd.openxmlformats-officedocument.presentationml.notesSlide+xml"/>
  <Override PartName="/ppt/comments/modernComment_7FF65032_2E252D0A.xml" ContentType="application/vnd.ms-powerpoint.comments+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notesSlides/notesSlide91.xml" ContentType="application/vnd.openxmlformats-officedocument.presentationml.notesSlide+xml"/>
  <Override PartName="/ppt/comments/modernComment_7FF65018_B760AAA5.xml" ContentType="application/vnd.ms-powerpoint.comments+xml"/>
  <Override PartName="/ppt/charts/chart90.xml" ContentType="application/vnd.openxmlformats-officedocument.drawingml.chart+xml"/>
  <Override PartName="/ppt/charts/chart91.xml" ContentType="application/vnd.openxmlformats-officedocument.drawingml.chart+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notesSlides/notesSlide92.xml" ContentType="application/vnd.openxmlformats-officedocument.presentationml.notesSlide+xml"/>
  <Override PartName="/ppt/charts/chart92.xml" ContentType="application/vnd.openxmlformats-officedocument.drawingml.chart+xml"/>
  <Override PartName="/ppt/charts/chart93.xml" ContentType="application/vnd.openxmlformats-officedocument.drawingml.chart+xml"/>
  <Override PartName="/ppt/tags/tag2138.xml" ContentType="application/vnd.openxmlformats-officedocument.presentationml.tags+xml"/>
  <Override PartName="/ppt/tags/tag2139.xml" ContentType="application/vnd.openxmlformats-officedocument.presentationml.tags+xml"/>
  <Override PartName="/ppt/notesSlides/notesSlide93.xml" ContentType="application/vnd.openxmlformats-officedocument.presentationml.notesSlide+xml"/>
  <Override PartName="/ppt/tags/tag2140.xml" ContentType="application/vnd.openxmlformats-officedocument.presentationml.tags+xml"/>
  <Override PartName="/ppt/notesSlides/notesSlide94.xml" ContentType="application/vnd.openxmlformats-officedocument.presentationml.notesSlide+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notesSlides/notesSlide95.xml" ContentType="application/vnd.openxmlformats-officedocument.presentationml.notesSlide+xml"/>
  <Override PartName="/ppt/comments/modernComment_7FF65031_2996504A.xml" ContentType="application/vnd.ms-powerpoint.comment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notesSlides/notesSlide96.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notesSlides/notesSlide97.xml" ContentType="application/vnd.openxmlformats-officedocument.presentationml.notesSlide+xml"/>
  <Override PartName="/ppt/comments/modernComment_7FF65019_D597E138.xml" ContentType="application/vnd.ms-powerpoint.comments+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notesSlides/notesSlide98.xml" ContentType="application/vnd.openxmlformats-officedocument.presentationml.notesSlide+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tags/tag2270.xml" ContentType="application/vnd.openxmlformats-officedocument.presentationml.tags+xml"/>
  <Override PartName="/ppt/notesSlides/notesSlide99.xml" ContentType="application/vnd.openxmlformats-officedocument.presentationml.notesSlide+xml"/>
  <Override PartName="/ppt/tags/tag2271.xml" ContentType="application/vnd.openxmlformats-officedocument.presentationml.tags+xml"/>
  <Override PartName="/ppt/notesSlides/notesSlide100.xml" ContentType="application/vnd.openxmlformats-officedocument.presentationml.notesSlide+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notesSlides/notesSlide101.xml" ContentType="application/vnd.openxmlformats-officedocument.presentationml.notesSlide+xml"/>
  <Override PartName="/ppt/charts/chart105.xml" ContentType="application/vnd.openxmlformats-officedocument.drawingml.chart+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notesSlides/notesSlide102.xml" ContentType="application/vnd.openxmlformats-officedocument.presentationml.notesSlide+xml"/>
  <Override PartName="/ppt/charts/chart106.xml" ContentType="application/vnd.openxmlformats-officedocument.drawingml.chart+xml"/>
  <Override PartName="/ppt/charts/chart107.xml" ContentType="application/vnd.openxmlformats-officedocument.drawingml.chart+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notesSlides/notesSlide103.xml" ContentType="application/vnd.openxmlformats-officedocument.presentationml.notesSlide+xml"/>
  <Override PartName="/ppt/charts/chart108.xml" ContentType="application/vnd.openxmlformats-officedocument.drawingml.chart+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notesSlides/notesSlide104.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2328.xml" ContentType="application/vnd.openxmlformats-officedocument.presentationml.tags+xml"/>
  <Override PartName="/ppt/tags/tag2329.xml" ContentType="application/vnd.openxmlformats-officedocument.presentationml.tags+xml"/>
  <Override PartName="/ppt/notesSlides/notesSlide105.xml" ContentType="application/vnd.openxmlformats-officedocument.presentationml.notesSlide+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notesSlides/notesSlide106.xml" ContentType="application/vnd.openxmlformats-officedocument.presentationml.notesSlide+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notesSlides/notesSlide107.xml" ContentType="application/vnd.openxmlformats-officedocument.presentationml.notesSlide+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notesSlides/notesSlide108.xml" ContentType="application/vnd.openxmlformats-officedocument.presentationml.notesSlide+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notesSlides/notesSlide109.xml" ContentType="application/vnd.openxmlformats-officedocument.presentationml.notesSlide+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notesSlides/notesSlide110.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tags/tag2548.xml" ContentType="application/vnd.openxmlformats-officedocument.presentationml.tags+xml"/>
  <Override PartName="/ppt/notesSlides/notesSlide111.xml" ContentType="application/vnd.openxmlformats-officedocument.presentationml.notesSlide+xml"/>
  <Override PartName="/ppt/tags/tag2549.xml" ContentType="application/vnd.openxmlformats-officedocument.presentationml.tags+xml"/>
  <Override PartName="/ppt/notesSlides/notesSlide112.xml" ContentType="application/vnd.openxmlformats-officedocument.presentationml.notesSlide+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notesSlides/notesSlide113.xml" ContentType="application/vnd.openxmlformats-officedocument.presentationml.notesSlide+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notesSlides/notesSlide114.xml" ContentType="application/vnd.openxmlformats-officedocument.presentationml.notesSlide+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2727.xml" ContentType="application/vnd.openxmlformats-officedocument.presentationml.tags+xml"/>
  <Override PartName="/ppt/notesSlides/notesSlide115.xml" ContentType="application/vnd.openxmlformats-officedocument.presentationml.notesSlide+xml"/>
  <Override PartName="/ppt/tags/tag2728.xml" ContentType="application/vnd.openxmlformats-officedocument.presentationml.tags+xml"/>
  <Override PartName="/ppt/notesSlides/notesSlide116.xml" ContentType="application/vnd.openxmlformats-officedocument.presentationml.notesSlide+xml"/>
  <Override PartName="/ppt/tags/tag2729.xml" ContentType="application/vnd.openxmlformats-officedocument.presentationml.tags+xml"/>
  <Override PartName="/ppt/tags/tag2730.xml" ContentType="application/vnd.openxmlformats-officedocument.presentationml.tags+xml"/>
  <Override PartName="/ppt/notesSlides/notesSlide117.xml" ContentType="application/vnd.openxmlformats-officedocument.presentationml.notesSlide+xml"/>
  <Override PartName="/ppt/tags/tag2731.xml" ContentType="application/vnd.openxmlformats-officedocument.presentationml.tags+xml"/>
  <Override PartName="/ppt/tags/tag2732.xml" ContentType="application/vnd.openxmlformats-officedocument.presentationml.tags+xml"/>
  <Override PartName="/ppt/notesSlides/notesSlide118.xml" ContentType="application/vnd.openxmlformats-officedocument.presentationml.notesSlide+xml"/>
  <Override PartName="/ppt/tags/tag2733.xml" ContentType="application/vnd.openxmlformats-officedocument.presentationml.tags+xml"/>
  <Override PartName="/ppt/notesSlides/notesSlide119.xml" ContentType="application/vnd.openxmlformats-officedocument.presentationml.notesSlide+xml"/>
  <Override PartName="/ppt/tags/tag273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91" r:id="rId4"/>
    <p:sldMasterId id="2147483794" r:id="rId5"/>
    <p:sldMasterId id="2147483849" r:id="rId6"/>
    <p:sldMasterId id="2147483896" r:id="rId7"/>
    <p:sldMasterId id="2147483947" r:id="rId8"/>
    <p:sldMasterId id="2147483990" r:id="rId9"/>
    <p:sldMasterId id="2147484037" r:id="rId10"/>
  </p:sldMasterIdLst>
  <p:notesMasterIdLst>
    <p:notesMasterId r:id="rId138"/>
  </p:notesMasterIdLst>
  <p:sldIdLst>
    <p:sldId id="2146847514" r:id="rId11"/>
    <p:sldId id="2147480833" r:id="rId12"/>
    <p:sldId id="2991" r:id="rId13"/>
    <p:sldId id="2146848029" r:id="rId14"/>
    <p:sldId id="2146847840" r:id="rId15"/>
    <p:sldId id="2146846908" r:id="rId16"/>
    <p:sldId id="2146847538" r:id="rId17"/>
    <p:sldId id="3951" r:id="rId18"/>
    <p:sldId id="2147480812" r:id="rId19"/>
    <p:sldId id="2147480813" r:id="rId20"/>
    <p:sldId id="2146847528" r:id="rId21"/>
    <p:sldId id="2147480814" r:id="rId22"/>
    <p:sldId id="2147480815" r:id="rId23"/>
    <p:sldId id="2147480816" r:id="rId24"/>
    <p:sldId id="2146846882" r:id="rId25"/>
    <p:sldId id="2147480792" r:id="rId26"/>
    <p:sldId id="2147480716" r:id="rId27"/>
    <p:sldId id="2146847550" r:id="rId28"/>
    <p:sldId id="2146847269" r:id="rId29"/>
    <p:sldId id="2147480691" r:id="rId30"/>
    <p:sldId id="2147480823" r:id="rId31"/>
    <p:sldId id="2147480799" r:id="rId32"/>
    <p:sldId id="2147480702" r:id="rId33"/>
    <p:sldId id="2147480750" r:id="rId34"/>
    <p:sldId id="2147480831" r:id="rId35"/>
    <p:sldId id="2147480701" r:id="rId36"/>
    <p:sldId id="2146847453" r:id="rId37"/>
    <p:sldId id="2147480705" r:id="rId38"/>
    <p:sldId id="2147480755" r:id="rId39"/>
    <p:sldId id="2147480706" r:id="rId40"/>
    <p:sldId id="2147480819" r:id="rId41"/>
    <p:sldId id="2147480708" r:id="rId42"/>
    <p:sldId id="2147480709" r:id="rId43"/>
    <p:sldId id="2147480818" r:id="rId44"/>
    <p:sldId id="2147480712" r:id="rId45"/>
    <p:sldId id="2147480713" r:id="rId46"/>
    <p:sldId id="2146846888" r:id="rId47"/>
    <p:sldId id="2147480793" r:id="rId48"/>
    <p:sldId id="2146847315" r:id="rId49"/>
    <p:sldId id="2147480804" r:id="rId50"/>
    <p:sldId id="2147480786" r:id="rId51"/>
    <p:sldId id="2147480798" r:id="rId52"/>
    <p:sldId id="2147480782" r:id="rId53"/>
    <p:sldId id="2147480685" r:id="rId54"/>
    <p:sldId id="2146848740" r:id="rId55"/>
    <p:sldId id="2147480800" r:id="rId56"/>
    <p:sldId id="2147480796" r:id="rId57"/>
    <p:sldId id="2147480802" r:id="rId58"/>
    <p:sldId id="2147480772" r:id="rId59"/>
    <p:sldId id="2146848009" r:id="rId60"/>
    <p:sldId id="2146846889" r:id="rId61"/>
    <p:sldId id="2147480794" r:id="rId62"/>
    <p:sldId id="2146847533" r:id="rId63"/>
    <p:sldId id="2146847494" r:id="rId64"/>
    <p:sldId id="2146847232" r:id="rId65"/>
    <p:sldId id="2147480770" r:id="rId66"/>
    <p:sldId id="2147480756" r:id="rId67"/>
    <p:sldId id="2147480788" r:id="rId68"/>
    <p:sldId id="2147480776" r:id="rId69"/>
    <p:sldId id="2147480785" r:id="rId70"/>
    <p:sldId id="2146847495" r:id="rId71"/>
    <p:sldId id="2147480768" r:id="rId72"/>
    <p:sldId id="2146848720" r:id="rId73"/>
    <p:sldId id="2146848721" r:id="rId74"/>
    <p:sldId id="2146848763" r:id="rId75"/>
    <p:sldId id="2147480762" r:id="rId76"/>
    <p:sldId id="2146848764" r:id="rId77"/>
    <p:sldId id="2147480803" r:id="rId78"/>
    <p:sldId id="2146848037" r:id="rId79"/>
    <p:sldId id="2147480810" r:id="rId80"/>
    <p:sldId id="2146847531" r:id="rId81"/>
    <p:sldId id="2147480735" r:id="rId82"/>
    <p:sldId id="2146847362" r:id="rId83"/>
    <p:sldId id="2147480797" r:id="rId84"/>
    <p:sldId id="2147480817" r:id="rId85"/>
    <p:sldId id="4679" r:id="rId86"/>
    <p:sldId id="2147480769" r:id="rId87"/>
    <p:sldId id="2146848759" r:id="rId88"/>
    <p:sldId id="2146848760" r:id="rId89"/>
    <p:sldId id="2147480829" r:id="rId90"/>
    <p:sldId id="2146848762" r:id="rId91"/>
    <p:sldId id="2146848786" r:id="rId92"/>
    <p:sldId id="2146848787" r:id="rId93"/>
    <p:sldId id="2146848788" r:id="rId94"/>
    <p:sldId id="2146848766" r:id="rId95"/>
    <p:sldId id="2146848794" r:id="rId96"/>
    <p:sldId id="2146848769" r:id="rId97"/>
    <p:sldId id="2146847093" r:id="rId98"/>
    <p:sldId id="2146847001" r:id="rId99"/>
    <p:sldId id="2146848798" r:id="rId100"/>
    <p:sldId id="2146848791" r:id="rId101"/>
    <p:sldId id="2146848790" r:id="rId102"/>
    <p:sldId id="2146848773" r:id="rId103"/>
    <p:sldId id="2146847519" r:id="rId104"/>
    <p:sldId id="2146848816" r:id="rId105"/>
    <p:sldId id="2146848818" r:id="rId106"/>
    <p:sldId id="2146848792" r:id="rId107"/>
    <p:sldId id="2146848797" r:id="rId108"/>
    <p:sldId id="2147480826" r:id="rId109"/>
    <p:sldId id="2146848780" r:id="rId110"/>
    <p:sldId id="2146848817" r:id="rId111"/>
    <p:sldId id="2146848782" r:id="rId112"/>
    <p:sldId id="2146848793" r:id="rId113"/>
    <p:sldId id="2146848784" r:id="rId114"/>
    <p:sldId id="2147480820" r:id="rId115"/>
    <p:sldId id="2147480733" r:id="rId116"/>
    <p:sldId id="2147480739" r:id="rId117"/>
    <p:sldId id="2147480824" r:id="rId118"/>
    <p:sldId id="2147480825" r:id="rId119"/>
    <p:sldId id="2147480730" r:id="rId120"/>
    <p:sldId id="5466" r:id="rId121"/>
    <p:sldId id="2147480725" r:id="rId122"/>
    <p:sldId id="2147480742" r:id="rId123"/>
    <p:sldId id="2147480743" r:id="rId124"/>
    <p:sldId id="2146848414" r:id="rId125"/>
    <p:sldId id="2146848054" r:id="rId126"/>
    <p:sldId id="2147480707" r:id="rId127"/>
    <p:sldId id="2146848761" r:id="rId128"/>
    <p:sldId id="2147480821" r:id="rId129"/>
    <p:sldId id="2147480717" r:id="rId130"/>
    <p:sldId id="2146848053" r:id="rId131"/>
    <p:sldId id="2147480822" r:id="rId132"/>
    <p:sldId id="2146847801" r:id="rId133"/>
    <p:sldId id="2146847168" r:id="rId134"/>
    <p:sldId id="2146847518" r:id="rId135"/>
    <p:sldId id="2147480830" r:id="rId136"/>
    <p:sldId id="2147480832" r:id="rId137"/>
  </p:sldIdLst>
  <p:sldSz cx="12192000" cy="6858000"/>
  <p:notesSz cx="7104063" cy="10234613"/>
  <p:embeddedFontLst>
    <p:embeddedFont>
      <p:font typeface="Lato" panose="020F0502020204030203" pitchFamily="34" charset="0"/>
      <p:regular r:id="rId139"/>
      <p:bold r:id="rId140"/>
      <p:italic r:id="rId141"/>
      <p:boldItalic r:id="rId142"/>
    </p:embeddedFont>
    <p:embeddedFont>
      <p:font typeface="Lato Black" panose="020F0A02020204030203" pitchFamily="34" charset="0"/>
      <p:bold r:id="rId143"/>
      <p:boldItalic r:id="rId144"/>
    </p:embeddedFont>
  </p:embeddedFontLst>
  <p:custDataLst>
    <p:tags r:id="rId1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B447211-7228-4196-8D7E-977065B06B72}">
          <p14:sldIdLst>
            <p14:sldId id="2146847514"/>
            <p14:sldId id="2147480833"/>
            <p14:sldId id="2991"/>
            <p14:sldId id="2146848029"/>
            <p14:sldId id="2146847840"/>
            <p14:sldId id="2146846908"/>
            <p14:sldId id="2146847538"/>
          </p14:sldIdLst>
        </p14:section>
        <p14:section name="Executive summary" id="{F8D61D02-B506-40AA-AA03-3BDFEC25BA78}">
          <p14:sldIdLst>
            <p14:sldId id="3951"/>
            <p14:sldId id="2147480812"/>
            <p14:sldId id="2147480813"/>
            <p14:sldId id="2146847528"/>
            <p14:sldId id="2147480814"/>
            <p14:sldId id="2147480815"/>
            <p14:sldId id="2147480816"/>
          </p14:sldIdLst>
        </p14:section>
        <p14:section name="Introduction to battery storage markets" id="{3018B348-614A-41F4-88FB-CA0BE5887CDA}">
          <p14:sldIdLst>
            <p14:sldId id="2146846882"/>
            <p14:sldId id="2147480792"/>
            <p14:sldId id="2147480716"/>
            <p14:sldId id="2146847550"/>
            <p14:sldId id="2146847269"/>
            <p14:sldId id="2147480691"/>
            <p14:sldId id="2147480823"/>
            <p14:sldId id="2147480799"/>
            <p14:sldId id="2147480702"/>
            <p14:sldId id="2147480750"/>
            <p14:sldId id="2147480831"/>
            <p14:sldId id="2147480701"/>
            <p14:sldId id="2146847453"/>
            <p14:sldId id="2147480705"/>
            <p14:sldId id="2147480755"/>
            <p14:sldId id="2147480706"/>
            <p14:sldId id="2147480819"/>
            <p14:sldId id="2147480708"/>
            <p14:sldId id="2147480709"/>
            <p14:sldId id="2147480818"/>
            <p14:sldId id="2147480712"/>
            <p14:sldId id="2147480713"/>
          </p14:sldIdLst>
        </p14:section>
        <p14:section name="Market size and outlook" id="{CD302C5B-F556-44C8-B956-82B933E148EA}">
          <p14:sldIdLst>
            <p14:sldId id="2146846888"/>
            <p14:sldId id="2147480793"/>
            <p14:sldId id="2146847315"/>
            <p14:sldId id="2147480804"/>
            <p14:sldId id="2147480786"/>
            <p14:sldId id="2147480798"/>
            <p14:sldId id="2147480782"/>
            <p14:sldId id="2147480685"/>
            <p14:sldId id="2146848740"/>
            <p14:sldId id="2147480800"/>
            <p14:sldId id="2147480796"/>
            <p14:sldId id="2147480802"/>
            <p14:sldId id="2147480772"/>
            <p14:sldId id="2146848009"/>
          </p14:sldIdLst>
        </p14:section>
        <p14:section name="Policy and regulatory environment" id="{8DA69E89-25A6-4133-B53E-6846238F79AB}">
          <p14:sldIdLst>
            <p14:sldId id="2146846889"/>
            <p14:sldId id="2147480794"/>
            <p14:sldId id="2146847533"/>
            <p14:sldId id="2146847494"/>
            <p14:sldId id="2146847232"/>
            <p14:sldId id="2147480770"/>
            <p14:sldId id="2147480756"/>
            <p14:sldId id="2147480788"/>
            <p14:sldId id="2147480776"/>
            <p14:sldId id="2147480785"/>
            <p14:sldId id="2146847495"/>
            <p14:sldId id="2147480768"/>
            <p14:sldId id="2146848720"/>
            <p14:sldId id="2146848721"/>
            <p14:sldId id="2146848763"/>
            <p14:sldId id="2147480762"/>
            <p14:sldId id="2146848764"/>
            <p14:sldId id="2147480803"/>
            <p14:sldId id="2146848037"/>
            <p14:sldId id="2147480810"/>
            <p14:sldId id="2146847531"/>
            <p14:sldId id="2147480735"/>
            <p14:sldId id="2146847362"/>
            <p14:sldId id="2147480797"/>
            <p14:sldId id="2147480817"/>
            <p14:sldId id="4679"/>
            <p14:sldId id="2147480769"/>
          </p14:sldIdLst>
        </p14:section>
        <p14:section name="Revenue Streams" id="{AE9C6B72-0032-4B4E-94CA-8E183E0F774E}">
          <p14:sldIdLst>
            <p14:sldId id="2146848759"/>
            <p14:sldId id="2146848760"/>
            <p14:sldId id="2147480829"/>
            <p14:sldId id="2146848762"/>
            <p14:sldId id="2146848786"/>
            <p14:sldId id="2146848787"/>
            <p14:sldId id="2146848788"/>
            <p14:sldId id="2146848766"/>
            <p14:sldId id="2146848794"/>
            <p14:sldId id="2146848769"/>
            <p14:sldId id="2146847093"/>
            <p14:sldId id="2146847001"/>
            <p14:sldId id="2146848798"/>
            <p14:sldId id="2146848791"/>
            <p14:sldId id="2146848790"/>
            <p14:sldId id="2146848773"/>
            <p14:sldId id="2146847519"/>
            <p14:sldId id="2146848816"/>
            <p14:sldId id="2146848818"/>
            <p14:sldId id="2146848792"/>
            <p14:sldId id="2146848797"/>
            <p14:sldId id="2147480826"/>
            <p14:sldId id="2146848780"/>
            <p14:sldId id="2146848817"/>
            <p14:sldId id="2146848782"/>
            <p14:sldId id="2146848793"/>
            <p14:sldId id="2146848784"/>
          </p14:sldIdLst>
        </p14:section>
        <p14:section name="Battery economics and business cases" id="{C14847C6-1F0B-483E-BEA3-C59DA9EF4BF4}">
          <p14:sldIdLst>
            <p14:sldId id="2147480820"/>
            <p14:sldId id="2147480733"/>
            <p14:sldId id="2147480739"/>
            <p14:sldId id="2147480824"/>
            <p14:sldId id="2147480825"/>
            <p14:sldId id="2147480730"/>
            <p14:sldId id="5466"/>
            <p14:sldId id="2147480725"/>
            <p14:sldId id="2147480742"/>
            <p14:sldId id="2147480743"/>
            <p14:sldId id="2146848414"/>
            <p14:sldId id="2146848054"/>
            <p14:sldId id="2147480707"/>
            <p14:sldId id="2146848761"/>
            <p14:sldId id="2147480821"/>
            <p14:sldId id="2147480717"/>
            <p14:sldId id="2146848053"/>
            <p14:sldId id="2147480822"/>
            <p14:sldId id="2146847801"/>
          </p14:sldIdLst>
        </p14:section>
        <p14:section name="Aurora flex offerings" id="{132CDCEF-20F1-4550-88DA-123BC28474E0}">
          <p14:sldIdLst/>
        </p14:section>
        <p14:section name="Appendix" id="{615CD2C5-7E01-498F-8F78-6D4844E1D266}">
          <p14:sldIdLst>
            <p14:sldId id="2146847168"/>
            <p14:sldId id="2146847518"/>
            <p14:sldId id="2147480830"/>
            <p14:sldId id="2147480832"/>
          </p14:sldIdLst>
        </p14:section>
      </p14:sectionLst>
    </p:ext>
    <p:ext uri="{EFAFB233-063F-42B5-8137-9DF3F51BA10A}">
      <p15:sldGuideLst xmlns:p15="http://schemas.microsoft.com/office/powerpoint/2012/main">
        <p15:guide id="1" pos="960" userDrawn="1">
          <p15:clr>
            <a:srgbClr val="A4A3A4"/>
          </p15:clr>
        </p15:guide>
        <p15:guide id="2" pos="4747" userDrawn="1">
          <p15:clr>
            <a:srgbClr val="A4A3A4"/>
          </p15:clr>
        </p15:guide>
        <p15:guide id="3" pos="4951" userDrawn="1">
          <p15:clr>
            <a:srgbClr val="A4A3A4"/>
          </p15:clr>
        </p15:guide>
        <p15:guide id="4" pos="5382" userDrawn="1">
          <p15:clr>
            <a:srgbClr val="A4A3A4"/>
          </p15:clr>
        </p15:guide>
        <p15:guide id="5" orient="horz" pos="2137" userDrawn="1">
          <p15:clr>
            <a:srgbClr val="A4A3A4"/>
          </p15:clr>
        </p15:guide>
        <p15:guide id="6" pos="3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CAB906-F4D3-5FB0-32C0-97B60356664D}" name="Frederik Beelitz" initials="FB" userId="S::frederik.beelitz@auroraer.com::7ce7c963-6978-40f5-8054-3f4bea5f0d10" providerId="AD"/>
  <p188:author id="{CEC93809-881B-CE50-C40F-CF9FD7254E7B}" name="Marc Peitan" initials="MP" userId="S::Marc.Peitan@auroraer.com::f4d1e4ed-73ef-4662-b15b-46d7d99cb7a9" providerId="AD"/>
  <p188:author id="{33DD1613-E8F4-F5F7-02C8-CF0984782225}" name="Philipp Hesel" initials="PH" userId="S::Philipp.Hesel@auroraer.com::693ef86c-bd0b-4e2a-9d0d-6de98be9249a" providerId="AD"/>
  <p188:author id="{F2F67F15-CF12-0562-1034-3027D7D5E7F9}" name="Richard Howard" initials="RH" userId="S::richard.howard@auroraer.com::2808cb93-7c88-476f-b4de-84a4e62efb6a" providerId="AD"/>
  <p188:author id="{1655E021-6C95-DA5B-575B-ACCB0C854176}" name="Merle Jürgens" initials="MJ" userId="S::Merle.Jurgens@auroraer.com::bfc5df6c-023b-4c55-b2fa-665f009b039c" providerId="AD"/>
  <p188:author id="{387C4533-A029-13B5-BCE8-785CC2D38FFC}" name="Jannik Carl" initials="JC" userId="S::Jannik.Carl@auroraer.com::9b5a2d4a-aee7-4320-856a-c83e61c9abc7" providerId="AD"/>
  <p188:author id="{78B95937-BE41-4673-78EF-4629F164818F}" name="Guillermo Rios" initials="GR" userId="S::Guillermo.Rios@auroraer.com::91ed3f2b-db9a-4f1c-bcaf-27376cf762f0" providerId="AD"/>
  <p188:author id="{F2D96743-B8FD-3016-DEAF-231239DD4A68}" name="Aulia Rahmayanti" initials="AR" userId="S::aulia.rahmayanti@auroraer.com::3cf5b1bb-fd70-4d01-a05c-a4b9e86c315c" providerId="AD"/>
  <p188:author id="{D34D2955-87AB-9BCA-8E6F-0C486FAFFD74}" name="Petja Karppinen" initials="PK" userId="S::petja.karppinen@auroraer.com::903da43e-ffd4-4f61-86e3-9aaac7fd9d4b" providerId="AD"/>
  <p188:author id="{182D4855-3807-1DA3-5FD1-78DCA4174164}" name="Maddalena Cerreto" initials="MC" userId="S::maddalena.cerreto@auroraer.com::c204ff15-64ca-4569-b09e-7f6be3e9821e" providerId="AD"/>
  <p188:author id="{0ECCF456-C300-D403-9183-4D5469CBCF62}" name="Steph Unsworth" initials="SU" userId="S::steph.unsworth@auroraer.com::7bbc31d0-727c-4db8-a77e-2832550dadf6" providerId="AD"/>
  <p188:author id="{455E065B-B70C-91E1-A593-D19622F8460E}" name="Zeina Najjar" initials="ZN" userId="S::zeina.najjar@auroraer.com::1c2713f9-1a0a-4167-8876-4940c2e62e96" providerId="AD"/>
  <p188:author id="{37C41C5C-D18B-7570-51F5-DB48AE5B5FB1}" name="William Stephenson" initials="WS" userId="S::william.stephenson@auroraer.com::73dea602-05ad-4430-8b8d-ddf253425b0f" providerId="AD"/>
  <p188:author id="{E44AE65E-3903-76B3-2655-EF975EBFE1B4}" name="María Pérez-Tabernero" initials="MPT" userId="S::maria.pereztabernero@auroraer.com::addfebd4-37c1-419e-938f-8a0ae40f98bb" providerId="AD"/>
  <p188:author id="{BC890162-CA73-776B-6400-2C6FFF3461D1}" name="Caroline Still" initials="CS" userId="S::Caroline.still@auroraer.com::ac2302d3-792b-4df6-be21-46f6ddb4a04a" providerId="AD"/>
  <p188:author id="{E5468362-8EC4-A243-E4C5-B8F64BFE524C}" name="Grzegorz Walkowski" initials="GW" userId="S::grzegorz.walkowski@auroraer.com::49f1666d-a057-401b-9a5f-0b1949186a04" providerId="AD"/>
  <p188:author id="{28BADE64-4209-ED23-DD7B-1CE963226DFA}" name="Ryan Alexander" initials="RA" userId="S::ryan.alexander@auroraer.com::6418eab7-d6d1-439f-bfab-3479f2c56ecc" providerId="AD"/>
  <p188:author id="{C3B78469-E194-3DF6-DBD4-8B6564E15FFD}" name="Christina Rentell" initials="CR" userId="S::christina.rentell@auroraer.com::7c8567cf-d873-4b2d-bd07-8c1f80bc0c66" providerId="AD"/>
  <p188:author id="{CE0A1E6E-B19F-8046-A30C-D66EAA627375}" name="Stavros Skarlis" initials="SS" userId="S::stavros.skarlis@auroraer.com::f42a7b1a-1486-41a8-98eb-d415246daedb" providerId="AD"/>
  <p188:author id="{5DB4E575-19F8-7C35-76B5-48C108749587}" name="Eva Zimmermann" initials="EZ" userId="S::eva.zimmermann@auroraer.com::ba906c30-a38d-48e0-be1d-fc76586187e9" providerId="AD"/>
  <p188:author id="{BD6AF477-FF9A-ADA4-39FE-6434945FE6AB}" name="Giulio Altese" initials="GA" userId="S::giulio.altese@auroraer.com::f90d8b83-154a-4118-8739-24c7ec67f3a0" providerId="AD"/>
  <p188:author id="{6514CE98-529B-BB6F-A002-7844CCBC1E76}" name="Daniel Böhmer" initials="DB" userId="S::Daniel.Bohmer@auroraer.com::e3ed35b6-d5d3-4f86-9293-f2b506ca7117" providerId="AD"/>
  <p188:author id="{CDD3E4A7-1875-1ADE-1346-5EE7E761E49B}" name="Martina Fava" initials="MF" userId="S::martina.fava@auroraer.com::c4ada55c-6e7f-4efe-b585-2b49db7579a5" providerId="AD"/>
  <p188:author id="{121A70AD-E7B7-35D4-D2BD-1BFF28C09DD6}" name="Theodore Costaras" initials="TC" userId="S::theodore.costaras@auroraer.com::6d7b9a8d-b8ff-42a0-9f89-b67729788ed3" providerId="AD"/>
  <p188:author id="{4BB37DAD-4660-FAD8-88FA-7609FB7892BB}" name="James Pigden" initials="JP" userId="S::james.pigden@auroraer.com::abdc5a33-b5be-4cf5-9faf-c4a27a35c173" providerId="AD"/>
  <p188:author id="{968FE7B6-3107-FDEB-8B80-39463E763620}" name="Marc Hedin" initials="MH" userId="S::marc.hedin@auroraer.com::845458e5-cdf5-4cef-aa07-1cb9f3b99d42" providerId="AD"/>
  <p188:author id="{162155B7-7298-4C55-7B3D-49A7D88858B8}" name="Rebecca McManus" initials="RM" userId="S::rebecca.mcmanus@auroraer.com::12ab6888-bf14-4759-aec3-6273a534a33b" providerId="AD"/>
  <p188:author id="{682568CE-B2D2-ADE1-888F-8EFEB5B7270E}" name="Frantisek Koudelka" initials="FK" userId="S::Frantisek.Koudelka@auroraer.com::6073cc2c-1258-4273-b539-83d96376f4ec" providerId="AD"/>
  <p188:author id="{28F5F9D1-3D4F-4E20-2E92-15CCAC1A066F}" name="Anders Samuelsson" initials="AS" userId="S::anders.samuelsson@auroraer.com::7e1635de-db23-4c43-81ed-cd795eb28e33" providerId="AD"/>
  <p188:author id="{60DBB1E4-688E-76EF-3EBF-5AA5A9AAADAE}" name="Simon De Clercq" initials="SDC" userId="S::simon.declercq@auroraer.com::fedd800d-95d6-4ee6-8b9e-2f95583c5ff4" providerId="AD"/>
  <p188:author id="{62539AE6-9116-030C-FF49-9A88DB86B659}" name="Clara Hubert" initials="CH" userId="S::clara.hubert@auroraer.com::b7110991-d69c-4e2b-aa54-d296ba8dee71" providerId="AD"/>
  <p188:author id="{963FF6EE-8E48-A613-7B81-E49160EEC7D0}" name="Guillermo Rios" initials="GR" userId="S::Guillermo.RiosPavia@auroraer.com::91ed3f2b-db9a-4f1c-bcaf-27376cf762f0" providerId="AD"/>
  <p188:author id="{291972F9-38DC-5BD2-95C2-879DD0D987AA}" name="Gedian Wang" initials="GW" userId="S::gedian.wang@auroraer.com::7c973786-55b7-4496-a903-d206bde05beb" providerId="AD"/>
  <p188:author id="{D2D9F0FB-419A-B37D-3C26-2A28F6E6268B}" name="Guillermo Rios" initials="GR" userId="S::guillermo.riospavia@auroraer.com::91ed3f2b-db9a-4f1c-bcaf-27376cf762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80"/>
    <a:srgbClr val="808080"/>
    <a:srgbClr val="7B7B7B"/>
    <a:srgbClr val="7A7A7A"/>
    <a:srgbClr val="F2F2F2"/>
    <a:srgbClr val="D2DB93"/>
    <a:srgbClr val="FFE57F"/>
    <a:srgbClr val="92D050"/>
    <a:srgbClr val="E6E6E6"/>
    <a:srgbClr val="A6B7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31CDFF-B609-4F69-BD09-7F7AECE30B8B}" v="4" vWet="6" dt="2024-02-12T14:15:16.651"/>
    <p1510:client id="{BCFE86BA-A6B1-4368-AE0F-CDD8BB484A83}" v="217" dt="2024-02-12T17:59:09"/>
    <p1510:client id="{BECECD1B-1002-03FC-7377-CA6E1E060311}" v="6" dt="2024-02-12T16:41:57.381"/>
    <p1510:client id="{DAE9D0CD-B3E9-4B31-8AB0-E0E9F4ACC7C4}" v="4009" dt="2024-02-12T14:18:32.2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3" d="100"/>
          <a:sy n="73" d="100"/>
        </p:scale>
        <p:origin x="380" y="60"/>
      </p:cViewPr>
      <p:guideLst>
        <p:guide pos="960"/>
        <p:guide pos="4747"/>
        <p:guide pos="4951"/>
        <p:guide pos="5382"/>
        <p:guide orient="horz" pos="2137"/>
        <p:guide pos="313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notesMaster" Target="notesMasters/notesMaster1.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tableStyles" Target="tableStyles.xml"/><Relationship Id="rId5" Type="http://schemas.openxmlformats.org/officeDocument/2006/relationships/slideMaster" Target="slideMasters/slideMaster2.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font" Target="fonts/font1.fntdata"/><Relationship Id="rId80" Type="http://schemas.openxmlformats.org/officeDocument/2006/relationships/slide" Target="slides/slide70.xml"/><Relationship Id="rId85" Type="http://schemas.openxmlformats.org/officeDocument/2006/relationships/slide" Target="slides/slide75.xml"/><Relationship Id="rId150" Type="http://schemas.microsoft.com/office/2015/10/relationships/revisionInfo" Target="revisionInfo.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slide" Target="slides/slide114.xml"/><Relationship Id="rId129" Type="http://schemas.openxmlformats.org/officeDocument/2006/relationships/slide" Target="slides/slide119.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40" Type="http://schemas.openxmlformats.org/officeDocument/2006/relationships/font" Target="fonts/font2.fntdata"/><Relationship Id="rId14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119" Type="http://schemas.openxmlformats.org/officeDocument/2006/relationships/slide" Target="slides/slide109.xml"/><Relationship Id="rId44" Type="http://schemas.openxmlformats.org/officeDocument/2006/relationships/slide" Target="slides/slide34.xml"/><Relationship Id="rId60" Type="http://schemas.openxmlformats.org/officeDocument/2006/relationships/slide" Target="slides/slide50.xml"/><Relationship Id="rId65" Type="http://schemas.openxmlformats.org/officeDocument/2006/relationships/slide" Target="slides/slide55.xml"/><Relationship Id="rId81" Type="http://schemas.openxmlformats.org/officeDocument/2006/relationships/slide" Target="slides/slide71.xml"/><Relationship Id="rId86" Type="http://schemas.openxmlformats.org/officeDocument/2006/relationships/slide" Target="slides/slide76.xml"/><Relationship Id="rId130" Type="http://schemas.openxmlformats.org/officeDocument/2006/relationships/slide" Target="slides/slide120.xml"/><Relationship Id="rId135" Type="http://schemas.openxmlformats.org/officeDocument/2006/relationships/slide" Target="slides/slide125.xml"/><Relationship Id="rId151" Type="http://schemas.microsoft.com/office/2018/10/relationships/authors" Target="authors.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font" Target="fonts/font3.fntdata"/><Relationship Id="rId14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font" Target="fonts/font4.fntdata"/><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font" Target="fonts/font5.fntdata"/><Relationship Id="rId14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font" Target="fonts/font6.fntdata"/><Relationship Id="rId90" Type="http://schemas.openxmlformats.org/officeDocument/2006/relationships/slide" Target="slides/slide8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Binary_Worksheet99.xlsb"/></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Binary_Worksheet100.xlsb"/></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Binary_Worksheet101.xlsb"/></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Binary_Worksheet102.xlsb"/></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Binary_Worksheet103.xlsb"/></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Binary_Worksheet104.xlsb"/></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Binary_Worksheet105.xlsb"/></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Binary_Worksheet106.xlsb"/></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Binary_Worksheet107.xlsb"/></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Binary_Worksheet10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Binary_Worksheet109.xlsb"/></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Binary_Worksheet110.xlsb"/></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Binary_Worksheet111.xlsb"/></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Binary_Worksheet112.xlsb"/></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Binary_Worksheet113.xlsb"/></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Binary_Worksheet114.xlsb"/></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Binary_Worksheet115.xlsb"/></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Binary_Worksheet116.xlsb"/></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Binary_Worksheet117.xlsb"/></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Binary_Worksheet118.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Binary_Worksheet119.xlsb"/></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Binary_Worksheet120.xlsb"/></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Binary_Worksheet121.xlsb"/></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Binary_Worksheet122.xlsb"/></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Binary_Worksheet123.xlsb"/></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Binary_Worksheet124.xlsb"/></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Binary_Worksheet125.xlsb"/></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Binary_Worksheet126.xlsb"/></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Binary_Worksheet127.xlsb"/></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Binary_Worksheet128.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Binary_Worksheet129.xlsb"/></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Binary_Worksheet130.xlsb"/></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Binary_Worksheet131.xlsb"/></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Binary_Worksheet132.xlsb"/></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Binary_Worksheet133.xlsb"/></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Binary_Worksheet134.xlsb"/></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Binary_Worksheet135.xlsb"/></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Binary_Worksheet136.xlsb"/></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Binary_Worksheet137.xlsb"/></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Binary_Worksheet138.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Binary_Worksheet139.xlsb"/></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Binary_Worksheet140.xlsb"/></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Binary_Worksheet141.xlsb"/></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Binary_Worksheet142.xlsb"/></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Binary_Worksheet143.xlsb"/></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Binary_Worksheet144.xlsb"/></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Binary_Worksheet145.xlsb"/></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Binary_Worksheet146.xlsb"/></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Binary_Worksheet147.xlsb"/></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Binary_Worksheet148.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Binary_Worksheet149.xlsb"/></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Binary_Worksheet150.xlsb"/></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Binary_Worksheet151.xlsb"/></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Binary_Worksheet152.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Binary_Worksheet73.xlsb"/></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4.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5.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76.xlsb"/></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Binary_Worksheet77.xlsb"/></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Binary_Worksheet78.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Binary_Worksheet81.xlsb"/></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Binary_Worksheet82.xlsb"/></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Binary_Worksheet83.xlsb"/></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Binary_Worksheet84.xlsb"/></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Binary_Worksheet85.xlsb"/></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Binary_Worksheet86.xlsb"/></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Binary_Worksheet87.xlsb"/></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Binary_Worksheet88.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Binary_Worksheet89.xlsb"/></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Binary_Worksheet90.xlsb"/></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Binary_Worksheet91.xlsb"/></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Binary_Worksheet92.xlsb"/></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Binary_Worksheet93.xlsb"/></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Binary_Worksheet94.xlsb"/></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Binary_Worksheet95.xlsb"/></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Binary_Worksheet96.xlsb"/></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Binary_Worksheet97.xlsb"/></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Binary_Worksheet9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02985074626865E-2"/>
          <c:y val="1.9005847953216373E-2"/>
          <c:w val="0.96119402985074631"/>
          <c:h val="0.96198830409356728"/>
        </c:manualLayout>
      </c:layout>
      <c:barChart>
        <c:barDir val="bar"/>
        <c:grouping val="stacked"/>
        <c:varyColors val="0"/>
        <c:ser>
          <c:idx val="0"/>
          <c:order val="0"/>
          <c:spPr>
            <a:solidFill>
              <a:schemeClr val="accent3"/>
            </a:solidFill>
            <a:ln>
              <a:noFill/>
            </a:ln>
          </c:spPr>
          <c:invertIfNegative val="0"/>
          <c:val>
            <c:numRef>
              <c:f>Sheet1!$A$1:$N$1</c:f>
              <c:numCache>
                <c:formatCode>General</c:formatCode>
                <c:ptCount val="14"/>
                <c:pt idx="0">
                  <c:v>67.34208628176664</c:v>
                </c:pt>
                <c:pt idx="1">
                  <c:v>15.513150242244389</c:v>
                </c:pt>
                <c:pt idx="2">
                  <c:v>18.321686113230641</c:v>
                </c:pt>
                <c:pt idx="3">
                  <c:v>31.986529729619921</c:v>
                </c:pt>
                <c:pt idx="4">
                  <c:v>66.556549225236367</c:v>
                </c:pt>
                <c:pt idx="5">
                  <c:v>84.308042295211834</c:v>
                </c:pt>
                <c:pt idx="6">
                  <c:v>44.879178556688203</c:v>
                </c:pt>
                <c:pt idx="7">
                  <c:v>70.820072715233024</c:v>
                </c:pt>
                <c:pt idx="8">
                  <c:v>74.704451606629007</c:v>
                </c:pt>
                <c:pt idx="9">
                  <c:v>75.44537669612275</c:v>
                </c:pt>
                <c:pt idx="10">
                  <c:v>23.597044210641069</c:v>
                </c:pt>
                <c:pt idx="11">
                  <c:v>28.332165146158999</c:v>
                </c:pt>
                <c:pt idx="12">
                  <c:v>39.919865987065243</c:v>
                </c:pt>
                <c:pt idx="13">
                  <c:v>11.272991885523592</c:v>
                </c:pt>
              </c:numCache>
            </c:numRef>
          </c:val>
          <c:extLst>
            <c:ext xmlns:c16="http://schemas.microsoft.com/office/drawing/2014/chart" uri="{C3380CC4-5D6E-409C-BE32-E72D297353CC}">
              <c16:uniqueId val="{00000000-A933-466E-BF50-3D40DC4832C9}"/>
            </c:ext>
          </c:extLst>
        </c:ser>
        <c:ser>
          <c:idx val="1"/>
          <c:order val="1"/>
          <c:spPr>
            <a:solidFill>
              <a:schemeClr val="accent2"/>
            </a:solidFill>
            <a:ln>
              <a:noFill/>
            </a:ln>
          </c:spPr>
          <c:invertIfNegative val="0"/>
          <c:val>
            <c:numRef>
              <c:f>Sheet1!$A$2:$N$2</c:f>
              <c:numCache>
                <c:formatCode>General</c:formatCode>
                <c:ptCount val="14"/>
                <c:pt idx="0">
                  <c:v>0</c:v>
                </c:pt>
                <c:pt idx="1">
                  <c:v>0</c:v>
                </c:pt>
                <c:pt idx="2">
                  <c:v>0</c:v>
                </c:pt>
                <c:pt idx="3">
                  <c:v>24.683122834130984</c:v>
                </c:pt>
                <c:pt idx="4">
                  <c:v>0</c:v>
                </c:pt>
                <c:pt idx="5">
                  <c:v>0.53359439833022826</c:v>
                </c:pt>
                <c:pt idx="6">
                  <c:v>0</c:v>
                </c:pt>
                <c:pt idx="7">
                  <c:v>17.437140389140481</c:v>
                </c:pt>
                <c:pt idx="8">
                  <c:v>25.295548393370993</c:v>
                </c:pt>
                <c:pt idx="9">
                  <c:v>0</c:v>
                </c:pt>
                <c:pt idx="10">
                  <c:v>25.161644189708689</c:v>
                </c:pt>
                <c:pt idx="11">
                  <c:v>11.304815218558812</c:v>
                </c:pt>
                <c:pt idx="12">
                  <c:v>7.8584727972424773</c:v>
                </c:pt>
                <c:pt idx="13">
                  <c:v>0</c:v>
                </c:pt>
              </c:numCache>
            </c:numRef>
          </c:val>
          <c:extLst>
            <c:ext xmlns:c16="http://schemas.microsoft.com/office/drawing/2014/chart" uri="{C3380CC4-5D6E-409C-BE32-E72D297353CC}">
              <c16:uniqueId val="{00000001-A933-466E-BF50-3D40DC4832C9}"/>
            </c:ext>
          </c:extLst>
        </c:ser>
        <c:ser>
          <c:idx val="2"/>
          <c:order val="2"/>
          <c:spPr>
            <a:solidFill>
              <a:srgbClr val="C3CFE1"/>
            </a:solidFill>
            <a:ln>
              <a:noFill/>
            </a:ln>
          </c:spPr>
          <c:invertIfNegative val="0"/>
          <c:val>
            <c:numRef>
              <c:f>Sheet1!$A$3:$N$3</c:f>
              <c:numCache>
                <c:formatCode>General</c:formatCode>
                <c:ptCount val="14"/>
                <c:pt idx="0">
                  <c:v>32.657913718233345</c:v>
                </c:pt>
                <c:pt idx="1">
                  <c:v>84.486849757755607</c:v>
                </c:pt>
                <c:pt idx="2">
                  <c:v>81.678313886769359</c:v>
                </c:pt>
                <c:pt idx="3">
                  <c:v>43.330347436249092</c:v>
                </c:pt>
                <c:pt idx="4">
                  <c:v>33.443450774763626</c:v>
                </c:pt>
                <c:pt idx="5">
                  <c:v>10.376832051412133</c:v>
                </c:pt>
                <c:pt idx="6">
                  <c:v>55.120821443311797</c:v>
                </c:pt>
                <c:pt idx="7">
                  <c:v>11.7427868956265</c:v>
                </c:pt>
                <c:pt idx="8">
                  <c:v>0</c:v>
                </c:pt>
                <c:pt idx="9">
                  <c:v>24.554623303877264</c:v>
                </c:pt>
                <c:pt idx="10">
                  <c:v>51.241311599650238</c:v>
                </c:pt>
                <c:pt idx="11">
                  <c:v>60.363019635282186</c:v>
                </c:pt>
                <c:pt idx="12">
                  <c:v>52.221661215692272</c:v>
                </c:pt>
                <c:pt idx="13">
                  <c:v>88.727008114476419</c:v>
                </c:pt>
              </c:numCache>
            </c:numRef>
          </c:val>
          <c:extLst>
            <c:ext xmlns:c16="http://schemas.microsoft.com/office/drawing/2014/chart" uri="{C3380CC4-5D6E-409C-BE32-E72D297353CC}">
              <c16:uniqueId val="{00000002-A933-466E-BF50-3D40DC4832C9}"/>
            </c:ext>
          </c:extLst>
        </c:ser>
        <c:ser>
          <c:idx val="3"/>
          <c:order val="3"/>
          <c:spPr>
            <a:solidFill>
              <a:srgbClr val="6F8DB9"/>
            </a:solidFill>
            <a:ln w="9525" cmpd="sng" algn="ctr">
              <a:solidFill>
                <a:schemeClr val="bg1"/>
              </a:solidFill>
              <a:prstDash val="solid"/>
            </a:ln>
          </c:spPr>
          <c:invertIfNegative val="0"/>
          <c:val>
            <c:numRef>
              <c:f>Sheet1!$A$4:$N$4</c:f>
              <c:numCache>
                <c:formatCode>General</c:formatCode>
                <c:ptCount val="14"/>
                <c:pt idx="0">
                  <c:v>0</c:v>
                </c:pt>
                <c:pt idx="1">
                  <c:v>0</c:v>
                </c:pt>
                <c:pt idx="2">
                  <c:v>0</c:v>
                </c:pt>
                <c:pt idx="3">
                  <c:v>0</c:v>
                </c:pt>
                <c:pt idx="4">
                  <c:v>0</c:v>
                </c:pt>
                <c:pt idx="5">
                  <c:v>4.78153125504579</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3-A933-466E-BF50-3D40DC4832C9}"/>
            </c:ext>
          </c:extLst>
        </c:ser>
        <c:dLbls>
          <c:showLegendKey val="0"/>
          <c:showVal val="0"/>
          <c:showCatName val="0"/>
          <c:showSerName val="0"/>
          <c:showPercent val="0"/>
          <c:showBubbleSize val="0"/>
        </c:dLbls>
        <c:gapWidth val="80"/>
        <c:overlap val="100"/>
        <c:axId val="1866849327"/>
        <c:axId val="1"/>
      </c:barChart>
      <c:catAx>
        <c:axId val="186684932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1"/>
        <c:axPos val="t"/>
        <c:numFmt formatCode="General" sourceLinked="1"/>
        <c:majorTickMark val="out"/>
        <c:minorTickMark val="none"/>
        <c:tickLblPos val="nextTo"/>
        <c:crossAx val="1866849327"/>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2E-2"/>
          <c:y val="5.2684903748733539E-2"/>
          <c:w val="0.92436363636363639"/>
          <c:h val="0.89463019250253295"/>
        </c:manualLayout>
      </c:layout>
      <c:barChart>
        <c:barDir val="col"/>
        <c:grouping val="stacked"/>
        <c:varyColors val="0"/>
        <c:ser>
          <c:idx val="0"/>
          <c:order val="0"/>
          <c:spPr>
            <a:noFill/>
            <a:ln>
              <a:noFill/>
            </a:ln>
          </c:spPr>
          <c:invertIfNegative val="0"/>
          <c:dPt>
            <c:idx val="0"/>
            <c:invertIfNegative val="0"/>
            <c:bubble3D val="0"/>
            <c:spPr>
              <a:solidFill>
                <a:srgbClr val="A6B727"/>
              </a:solidFill>
              <a:ln>
                <a:noFill/>
              </a:ln>
            </c:spPr>
            <c:extLst>
              <c:ext xmlns:c16="http://schemas.microsoft.com/office/drawing/2014/chart" uri="{C3380CC4-5D6E-409C-BE32-E72D297353CC}">
                <c16:uniqueId val="{00000000-96C8-4ECB-BE9B-D45132CF50BF}"/>
              </c:ext>
            </c:extLst>
          </c:dPt>
          <c:val>
            <c:numRef>
              <c:f>Sheet1!$A$1:$E$1</c:f>
              <c:numCache>
                <c:formatCode>General</c:formatCode>
                <c:ptCount val="5"/>
                <c:pt idx="0">
                  <c:v>97.136706000000004</c:v>
                </c:pt>
                <c:pt idx="1">
                  <c:v>1233.0766250757163</c:v>
                </c:pt>
                <c:pt idx="2">
                  <c:v>1713.7520681504514</c:v>
                </c:pt>
                <c:pt idx="3">
                  <c:v>2178.8761208357068</c:v>
                </c:pt>
                <c:pt idx="4">
                  <c:v>2610.5798879426852</c:v>
                </c:pt>
              </c:numCache>
            </c:numRef>
          </c:val>
          <c:extLst>
            <c:ext xmlns:c16="http://schemas.microsoft.com/office/drawing/2014/chart" uri="{C3380CC4-5D6E-409C-BE32-E72D297353CC}">
              <c16:uniqueId val="{00000001-96C8-4ECB-BE9B-D45132CF50BF}"/>
            </c:ext>
          </c:extLst>
        </c:ser>
        <c:ser>
          <c:idx val="1"/>
          <c:order val="1"/>
          <c:spPr>
            <a:solidFill>
              <a:srgbClr val="A6B727"/>
            </a:solidFill>
            <a:ln>
              <a:noFill/>
            </a:ln>
          </c:spPr>
          <c:invertIfNegative val="0"/>
          <c:dPt>
            <c:idx val="0"/>
            <c:invertIfNegative val="0"/>
            <c:bubble3D val="0"/>
            <c:spPr>
              <a:solidFill>
                <a:srgbClr val="9DB1CF"/>
              </a:solidFill>
              <a:ln>
                <a:noFill/>
              </a:ln>
            </c:spPr>
            <c:extLst>
              <c:ext xmlns:c16="http://schemas.microsoft.com/office/drawing/2014/chart" uri="{C3380CC4-5D6E-409C-BE32-E72D297353CC}">
                <c16:uniqueId val="{00000002-96C8-4ECB-BE9B-D45132CF50BF}"/>
              </c:ext>
            </c:extLst>
          </c:dPt>
          <c:val>
            <c:numRef>
              <c:f>Sheet1!$A$2:$E$2</c:f>
              <c:numCache>
                <c:formatCode>General</c:formatCode>
                <c:ptCount val="5"/>
                <c:pt idx="0">
                  <c:v>127.4187</c:v>
                </c:pt>
                <c:pt idx="1">
                  <c:v>237.34778842389005</c:v>
                </c:pt>
                <c:pt idx="2">
                  <c:v>513.55902655826299</c:v>
                </c:pt>
                <c:pt idx="3">
                  <c:v>745.57495249650719</c:v>
                </c:pt>
                <c:pt idx="4">
                  <c:v>957.03063107668231</c:v>
                </c:pt>
              </c:numCache>
            </c:numRef>
          </c:val>
          <c:extLst>
            <c:ext xmlns:c16="http://schemas.microsoft.com/office/drawing/2014/chart" uri="{C3380CC4-5D6E-409C-BE32-E72D297353CC}">
              <c16:uniqueId val="{00000003-96C8-4ECB-BE9B-D45132CF50BF}"/>
            </c:ext>
          </c:extLst>
        </c:ser>
        <c:ser>
          <c:idx val="2"/>
          <c:order val="2"/>
          <c:spPr>
            <a:solidFill>
              <a:srgbClr val="9DB1CF"/>
            </a:solidFill>
            <a:ln>
              <a:noFill/>
            </a:ln>
          </c:spPr>
          <c:invertIfNegative val="0"/>
          <c:dPt>
            <c:idx val="0"/>
            <c:invertIfNegative val="0"/>
            <c:bubble3D val="0"/>
            <c:spPr>
              <a:solidFill>
                <a:srgbClr val="6F8DB9"/>
              </a:solidFill>
              <a:ln>
                <a:noFill/>
              </a:ln>
            </c:spPr>
            <c:extLst>
              <c:ext xmlns:c16="http://schemas.microsoft.com/office/drawing/2014/chart" uri="{C3380CC4-5D6E-409C-BE32-E72D297353CC}">
                <c16:uniqueId val="{00000004-96C8-4ECB-BE9B-D45132CF50BF}"/>
              </c:ext>
            </c:extLst>
          </c:dPt>
          <c:val>
            <c:numRef>
              <c:f>Sheet1!$A$3:$E$3</c:f>
              <c:numCache>
                <c:formatCode>General</c:formatCode>
                <c:ptCount val="5"/>
                <c:pt idx="0">
                  <c:v>10.935750000000013</c:v>
                </c:pt>
                <c:pt idx="1">
                  <c:v>215.36806708531162</c:v>
                </c:pt>
                <c:pt idx="2">
                  <c:v>337.68653899727815</c:v>
                </c:pt>
                <c:pt idx="3">
                  <c:v>411.49797307314384</c:v>
                </c:pt>
                <c:pt idx="4">
                  <c:v>494.29490792935349</c:v>
                </c:pt>
              </c:numCache>
            </c:numRef>
          </c:val>
          <c:extLst>
            <c:ext xmlns:c16="http://schemas.microsoft.com/office/drawing/2014/chart" uri="{C3380CC4-5D6E-409C-BE32-E72D297353CC}">
              <c16:uniqueId val="{00000005-96C8-4ECB-BE9B-D45132CF50BF}"/>
            </c:ext>
          </c:extLst>
        </c:ser>
        <c:ser>
          <c:idx val="3"/>
          <c:order val="3"/>
          <c:spPr>
            <a:solidFill>
              <a:srgbClr val="6F8DB9"/>
            </a:solidFill>
            <a:ln>
              <a:noFill/>
            </a:ln>
          </c:spPr>
          <c:invertIfNegative val="0"/>
          <c:val>
            <c:numRef>
              <c:f>Sheet1!$A$4:$E$4</c:f>
              <c:numCache>
                <c:formatCode>General</c:formatCode>
                <c:ptCount val="5"/>
                <c:pt idx="1">
                  <c:v>31.476858666999988</c:v>
                </c:pt>
                <c:pt idx="2">
                  <c:v>110.58443603287105</c:v>
                </c:pt>
                <c:pt idx="3">
                  <c:v>219.48586404901744</c:v>
                </c:pt>
                <c:pt idx="4">
                  <c:v>277.04956028293282</c:v>
                </c:pt>
              </c:numCache>
            </c:numRef>
          </c:val>
          <c:extLst>
            <c:ext xmlns:c16="http://schemas.microsoft.com/office/drawing/2014/chart" uri="{C3380CC4-5D6E-409C-BE32-E72D297353CC}">
              <c16:uniqueId val="{00000006-96C8-4ECB-BE9B-D45132CF50BF}"/>
            </c:ext>
          </c:extLst>
        </c:ser>
        <c:dLbls>
          <c:showLegendKey val="0"/>
          <c:showVal val="0"/>
          <c:showCatName val="0"/>
          <c:showSerName val="0"/>
          <c:showPercent val="0"/>
          <c:showBubbleSize val="0"/>
        </c:dLbls>
        <c:gapWidth val="50"/>
        <c:overlap val="100"/>
        <c:axId val="1546155168"/>
        <c:axId val="1"/>
      </c:barChart>
      <c:catAx>
        <c:axId val="15461551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546155168"/>
        <c:crosses val="min"/>
        <c:crossBetween val="between"/>
      </c:valAx>
    </c:plotArea>
    <c:plotVisOnly val="0"/>
    <c:dispBlanksAs val="gap"/>
    <c:showDLblsOverMax val="1"/>
  </c:chart>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274924471299093E-2"/>
          <c:y val="7.2022160664819951E-2"/>
          <c:w val="0.9214501510574018"/>
          <c:h val="0.85595567867036015"/>
        </c:manualLayout>
      </c:layout>
      <c:barChart>
        <c:barDir val="col"/>
        <c:grouping val="clustered"/>
        <c:varyColors val="0"/>
        <c:ser>
          <c:idx val="0"/>
          <c:order val="0"/>
          <c:spPr>
            <a:solidFill>
              <a:srgbClr val="5A5A5A"/>
            </a:solidFill>
            <a:ln>
              <a:noFill/>
            </a:ln>
          </c:spPr>
          <c:invertIfNegative val="0"/>
          <c:val>
            <c:numRef>
              <c:f>Sheet1!$A$1</c:f>
              <c:numCache>
                <c:formatCode>General</c:formatCode>
                <c:ptCount val="1"/>
                <c:pt idx="0">
                  <c:v>52.2</c:v>
                </c:pt>
              </c:numCache>
            </c:numRef>
          </c:val>
          <c:extLst>
            <c:ext xmlns:c16="http://schemas.microsoft.com/office/drawing/2014/chart" uri="{C3380CC4-5D6E-409C-BE32-E72D297353CC}">
              <c16:uniqueId val="{00000000-C96B-449C-A264-16A5F440A8A6}"/>
            </c:ext>
          </c:extLst>
        </c:ser>
        <c:ser>
          <c:idx val="1"/>
          <c:order val="1"/>
          <c:spPr>
            <a:solidFill>
              <a:schemeClr val="accent5"/>
            </a:solidFill>
            <a:ln>
              <a:noFill/>
            </a:ln>
          </c:spPr>
          <c:invertIfNegative val="0"/>
          <c:val>
            <c:numRef>
              <c:f>Sheet1!$A$2</c:f>
              <c:numCache>
                <c:formatCode>General</c:formatCode>
                <c:ptCount val="1"/>
                <c:pt idx="0">
                  <c:v>82</c:v>
                </c:pt>
              </c:numCache>
            </c:numRef>
          </c:val>
          <c:extLst>
            <c:ext xmlns:c16="http://schemas.microsoft.com/office/drawing/2014/chart" uri="{C3380CC4-5D6E-409C-BE32-E72D297353CC}">
              <c16:uniqueId val="{00000001-C96B-449C-A264-16A5F440A8A6}"/>
            </c:ext>
          </c:extLst>
        </c:ser>
        <c:ser>
          <c:idx val="2"/>
          <c:order val="2"/>
          <c:spPr>
            <a:solidFill>
              <a:schemeClr val="accent2"/>
            </a:solidFill>
            <a:ln>
              <a:noFill/>
            </a:ln>
          </c:spPr>
          <c:invertIfNegative val="0"/>
          <c:val>
            <c:numRef>
              <c:f>Sheet1!$A$3</c:f>
              <c:numCache>
                <c:formatCode>General</c:formatCode>
                <c:ptCount val="1"/>
                <c:pt idx="0">
                  <c:v>48.72</c:v>
                </c:pt>
              </c:numCache>
            </c:numRef>
          </c:val>
          <c:extLst>
            <c:ext xmlns:c16="http://schemas.microsoft.com/office/drawing/2014/chart" uri="{C3380CC4-5D6E-409C-BE32-E72D297353CC}">
              <c16:uniqueId val="{00000002-C96B-449C-A264-16A5F440A8A6}"/>
            </c:ext>
          </c:extLst>
        </c:ser>
        <c:dLbls>
          <c:showLegendKey val="0"/>
          <c:showVal val="0"/>
          <c:showCatName val="0"/>
          <c:showSerName val="0"/>
          <c:showPercent val="0"/>
          <c:showBubbleSize val="0"/>
        </c:dLbls>
        <c:gapWidth val="100"/>
        <c:axId val="450855744"/>
        <c:axId val="1"/>
      </c:barChart>
      <c:catAx>
        <c:axId val="4508557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450855744"/>
        <c:crosses val="min"/>
        <c:crossBetween val="between"/>
        <c:majorUnit val="20"/>
      </c:valAx>
    </c:plotArea>
    <c:plotVisOnly val="0"/>
    <c:dispBlanksAs val="gap"/>
    <c:showDLblsOverMax val="1"/>
  </c:chart>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274924471299093E-2"/>
          <c:y val="7.2022160664819951E-2"/>
          <c:w val="0.9214501510574018"/>
          <c:h val="0.85595567867036015"/>
        </c:manualLayout>
      </c:layout>
      <c:barChart>
        <c:barDir val="col"/>
        <c:grouping val="clustered"/>
        <c:varyColors val="0"/>
        <c:ser>
          <c:idx val="0"/>
          <c:order val="0"/>
          <c:spPr>
            <a:solidFill>
              <a:srgbClr val="5A5A5A"/>
            </a:solidFill>
            <a:ln>
              <a:noFill/>
            </a:ln>
          </c:spPr>
          <c:invertIfNegative val="0"/>
          <c:val>
            <c:numRef>
              <c:f>Sheet1!$A$1</c:f>
              <c:numCache>
                <c:formatCode>General</c:formatCode>
                <c:ptCount val="1"/>
                <c:pt idx="0">
                  <c:v>44.2</c:v>
                </c:pt>
              </c:numCache>
            </c:numRef>
          </c:val>
          <c:extLst>
            <c:ext xmlns:c16="http://schemas.microsoft.com/office/drawing/2014/chart" uri="{C3380CC4-5D6E-409C-BE32-E72D297353CC}">
              <c16:uniqueId val="{00000000-C591-4D1B-BC78-FD7383E1C852}"/>
            </c:ext>
          </c:extLst>
        </c:ser>
        <c:ser>
          <c:idx val="1"/>
          <c:order val="1"/>
          <c:spPr>
            <a:solidFill>
              <a:schemeClr val="accent5"/>
            </a:solidFill>
            <a:ln>
              <a:noFill/>
            </a:ln>
          </c:spPr>
          <c:invertIfNegative val="0"/>
          <c:val>
            <c:numRef>
              <c:f>Sheet1!$A$2</c:f>
              <c:numCache>
                <c:formatCode>General</c:formatCode>
                <c:ptCount val="1"/>
                <c:pt idx="0">
                  <c:v>26.6</c:v>
                </c:pt>
              </c:numCache>
            </c:numRef>
          </c:val>
          <c:extLst>
            <c:ext xmlns:c16="http://schemas.microsoft.com/office/drawing/2014/chart" uri="{C3380CC4-5D6E-409C-BE32-E72D297353CC}">
              <c16:uniqueId val="{00000001-C591-4D1B-BC78-FD7383E1C852}"/>
            </c:ext>
          </c:extLst>
        </c:ser>
        <c:ser>
          <c:idx val="2"/>
          <c:order val="2"/>
          <c:spPr>
            <a:solidFill>
              <a:schemeClr val="accent2"/>
            </a:solidFill>
            <a:ln>
              <a:noFill/>
            </a:ln>
          </c:spPr>
          <c:invertIfNegative val="0"/>
          <c:val>
            <c:numRef>
              <c:f>Sheet1!$A$3</c:f>
              <c:numCache>
                <c:formatCode>General</c:formatCode>
                <c:ptCount val="1"/>
                <c:pt idx="0">
                  <c:v>23.84</c:v>
                </c:pt>
              </c:numCache>
            </c:numRef>
          </c:val>
          <c:extLst>
            <c:ext xmlns:c16="http://schemas.microsoft.com/office/drawing/2014/chart" uri="{C3380CC4-5D6E-409C-BE32-E72D297353CC}">
              <c16:uniqueId val="{00000002-C591-4D1B-BC78-FD7383E1C852}"/>
            </c:ext>
          </c:extLst>
        </c:ser>
        <c:dLbls>
          <c:showLegendKey val="0"/>
          <c:showVal val="0"/>
          <c:showCatName val="0"/>
          <c:showSerName val="0"/>
          <c:showPercent val="0"/>
          <c:showBubbleSize val="0"/>
        </c:dLbls>
        <c:gapWidth val="100"/>
        <c:axId val="243142431"/>
        <c:axId val="1"/>
      </c:barChart>
      <c:catAx>
        <c:axId val="243142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243142431"/>
        <c:crosses val="min"/>
        <c:crossBetween val="between"/>
        <c:majorUnit val="10"/>
      </c:valAx>
    </c:plotArea>
    <c:plotVisOnly val="0"/>
    <c:dispBlanksAs val="gap"/>
    <c:showDLblsOverMax val="1"/>
  </c:chart>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274924471299093E-2"/>
          <c:y val="8.1632653061224483E-2"/>
          <c:w val="0.9214501510574018"/>
          <c:h val="0.83673469387755106"/>
        </c:manualLayout>
      </c:layout>
      <c:barChart>
        <c:barDir val="col"/>
        <c:grouping val="clustered"/>
        <c:varyColors val="0"/>
        <c:ser>
          <c:idx val="0"/>
          <c:order val="0"/>
          <c:spPr>
            <a:solidFill>
              <a:srgbClr val="5A5A5A"/>
            </a:solidFill>
            <a:ln>
              <a:noFill/>
            </a:ln>
          </c:spPr>
          <c:invertIfNegative val="0"/>
          <c:val>
            <c:numRef>
              <c:f>Sheet1!$A$1</c:f>
              <c:numCache>
                <c:formatCode>General</c:formatCode>
                <c:ptCount val="1"/>
                <c:pt idx="0">
                  <c:v>64.571535575687534</c:v>
                </c:pt>
              </c:numCache>
            </c:numRef>
          </c:val>
          <c:extLst>
            <c:ext xmlns:c16="http://schemas.microsoft.com/office/drawing/2014/chart" uri="{C3380CC4-5D6E-409C-BE32-E72D297353CC}">
              <c16:uniqueId val="{00000000-7CF0-4AB7-BB49-68897CC5275A}"/>
            </c:ext>
          </c:extLst>
        </c:ser>
        <c:ser>
          <c:idx val="1"/>
          <c:order val="1"/>
          <c:spPr>
            <a:solidFill>
              <a:schemeClr val="accent5"/>
            </a:solidFill>
            <a:ln>
              <a:noFill/>
            </a:ln>
          </c:spPr>
          <c:invertIfNegative val="0"/>
          <c:val>
            <c:numRef>
              <c:f>Sheet1!$A$2</c:f>
              <c:numCache>
                <c:formatCode>General</c:formatCode>
                <c:ptCount val="1"/>
                <c:pt idx="0">
                  <c:v>39.58</c:v>
                </c:pt>
              </c:numCache>
            </c:numRef>
          </c:val>
          <c:extLst>
            <c:ext xmlns:c16="http://schemas.microsoft.com/office/drawing/2014/chart" uri="{C3380CC4-5D6E-409C-BE32-E72D297353CC}">
              <c16:uniqueId val="{00000001-7CF0-4AB7-BB49-68897CC5275A}"/>
            </c:ext>
          </c:extLst>
        </c:ser>
        <c:ser>
          <c:idx val="2"/>
          <c:order val="2"/>
          <c:spPr>
            <a:solidFill>
              <a:schemeClr val="accent2"/>
            </a:solidFill>
            <a:ln>
              <a:noFill/>
            </a:ln>
          </c:spPr>
          <c:invertIfNegative val="0"/>
          <c:val>
            <c:numRef>
              <c:f>Sheet1!$A$3</c:f>
              <c:numCache>
                <c:formatCode>General</c:formatCode>
                <c:ptCount val="1"/>
                <c:pt idx="0">
                  <c:v>49.25</c:v>
                </c:pt>
              </c:numCache>
            </c:numRef>
          </c:val>
          <c:extLst>
            <c:ext xmlns:c16="http://schemas.microsoft.com/office/drawing/2014/chart" uri="{C3380CC4-5D6E-409C-BE32-E72D297353CC}">
              <c16:uniqueId val="{00000002-7CF0-4AB7-BB49-68897CC5275A}"/>
            </c:ext>
          </c:extLst>
        </c:ser>
        <c:dLbls>
          <c:showLegendKey val="0"/>
          <c:showVal val="0"/>
          <c:showCatName val="0"/>
          <c:showSerName val="0"/>
          <c:showPercent val="0"/>
          <c:showBubbleSize val="0"/>
        </c:dLbls>
        <c:gapWidth val="100"/>
        <c:axId val="561965200"/>
        <c:axId val="1"/>
      </c:barChart>
      <c:catAx>
        <c:axId val="561965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561965200"/>
        <c:crosses val="min"/>
        <c:crossBetween val="between"/>
        <c:majorUnit val="20"/>
      </c:valAx>
    </c:plotArea>
    <c:plotVisOnly val="0"/>
    <c:dispBlanksAs val="gap"/>
    <c:showDLblsOverMax val="1"/>
  </c:chart>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632986627043092E-2"/>
          <c:y val="8.1632653061224483E-2"/>
          <c:w val="0.92273402674591387"/>
          <c:h val="0.83673469387755106"/>
        </c:manualLayout>
      </c:layout>
      <c:barChart>
        <c:barDir val="col"/>
        <c:grouping val="clustered"/>
        <c:varyColors val="0"/>
        <c:ser>
          <c:idx val="0"/>
          <c:order val="0"/>
          <c:spPr>
            <a:solidFill>
              <a:srgbClr val="5A5A5A"/>
            </a:solidFill>
            <a:ln>
              <a:noFill/>
            </a:ln>
          </c:spPr>
          <c:invertIfNegative val="0"/>
          <c:val>
            <c:numRef>
              <c:f>Sheet1!$A$1</c:f>
              <c:numCache>
                <c:formatCode>General</c:formatCode>
                <c:ptCount val="1"/>
                <c:pt idx="0">
                  <c:v>36.9</c:v>
                </c:pt>
              </c:numCache>
            </c:numRef>
          </c:val>
          <c:extLst>
            <c:ext xmlns:c16="http://schemas.microsoft.com/office/drawing/2014/chart" uri="{C3380CC4-5D6E-409C-BE32-E72D297353CC}">
              <c16:uniqueId val="{00000000-57FC-46F0-865A-BA56F624DEF3}"/>
            </c:ext>
          </c:extLst>
        </c:ser>
        <c:ser>
          <c:idx val="1"/>
          <c:order val="1"/>
          <c:spPr>
            <a:solidFill>
              <a:schemeClr val="accent5"/>
            </a:solidFill>
            <a:ln>
              <a:noFill/>
            </a:ln>
          </c:spPr>
          <c:invertIfNegative val="0"/>
          <c:val>
            <c:numRef>
              <c:f>Sheet1!$A$2</c:f>
              <c:numCache>
                <c:formatCode>General</c:formatCode>
                <c:ptCount val="1"/>
                <c:pt idx="0">
                  <c:v>72.06</c:v>
                </c:pt>
              </c:numCache>
            </c:numRef>
          </c:val>
          <c:extLst>
            <c:ext xmlns:c16="http://schemas.microsoft.com/office/drawing/2014/chart" uri="{C3380CC4-5D6E-409C-BE32-E72D297353CC}">
              <c16:uniqueId val="{00000001-57FC-46F0-865A-BA56F624DEF3}"/>
            </c:ext>
          </c:extLst>
        </c:ser>
        <c:ser>
          <c:idx val="2"/>
          <c:order val="2"/>
          <c:spPr>
            <a:solidFill>
              <a:schemeClr val="accent2"/>
            </a:solidFill>
            <a:ln>
              <a:noFill/>
            </a:ln>
          </c:spPr>
          <c:invertIfNegative val="0"/>
          <c:val>
            <c:numRef>
              <c:f>Sheet1!$A$3</c:f>
              <c:numCache>
                <c:formatCode>General</c:formatCode>
                <c:ptCount val="1"/>
                <c:pt idx="0">
                  <c:v>56.18</c:v>
                </c:pt>
              </c:numCache>
            </c:numRef>
          </c:val>
          <c:extLst>
            <c:ext xmlns:c16="http://schemas.microsoft.com/office/drawing/2014/chart" uri="{C3380CC4-5D6E-409C-BE32-E72D297353CC}">
              <c16:uniqueId val="{00000002-57FC-46F0-865A-BA56F624DEF3}"/>
            </c:ext>
          </c:extLst>
        </c:ser>
        <c:dLbls>
          <c:showLegendKey val="0"/>
          <c:showVal val="0"/>
          <c:showCatName val="0"/>
          <c:showSerName val="0"/>
          <c:showPercent val="0"/>
          <c:showBubbleSize val="0"/>
        </c:dLbls>
        <c:gapWidth val="100"/>
        <c:axId val="312542112"/>
        <c:axId val="1"/>
      </c:barChart>
      <c:catAx>
        <c:axId val="3125421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312542112"/>
        <c:crosses val="min"/>
        <c:crossBetween val="between"/>
        <c:majorUnit val="20"/>
      </c:valAx>
    </c:plotArea>
    <c:plotVisOnly val="0"/>
    <c:dispBlanksAs val="gap"/>
    <c:showDLblsOverMax val="1"/>
  </c:chart>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092521202775636E-2"/>
          <c:y val="8.1632653061224483E-2"/>
          <c:w val="0.91981495759444876"/>
          <c:h val="0.83673469387755106"/>
        </c:manualLayout>
      </c:layout>
      <c:barChart>
        <c:barDir val="col"/>
        <c:grouping val="clustered"/>
        <c:varyColors val="0"/>
        <c:ser>
          <c:idx val="0"/>
          <c:order val="0"/>
          <c:spPr>
            <a:solidFill>
              <a:srgbClr val="5A5A5A"/>
            </a:solidFill>
            <a:ln>
              <a:noFill/>
            </a:ln>
          </c:spPr>
          <c:invertIfNegative val="0"/>
          <c:val>
            <c:numRef>
              <c:f>Sheet1!$A$1</c:f>
              <c:numCache>
                <c:formatCode>General</c:formatCode>
                <c:ptCount val="1"/>
                <c:pt idx="0">
                  <c:v>0</c:v>
                </c:pt>
              </c:numCache>
            </c:numRef>
          </c:val>
          <c:extLst>
            <c:ext xmlns:c16="http://schemas.microsoft.com/office/drawing/2014/chart" uri="{C3380CC4-5D6E-409C-BE32-E72D297353CC}">
              <c16:uniqueId val="{00000000-6089-47D4-8706-48D9915BA31D}"/>
            </c:ext>
          </c:extLst>
        </c:ser>
        <c:ser>
          <c:idx val="1"/>
          <c:order val="1"/>
          <c:spPr>
            <a:solidFill>
              <a:schemeClr val="accent5"/>
            </a:solidFill>
            <a:ln>
              <a:noFill/>
            </a:ln>
          </c:spPr>
          <c:invertIfNegative val="0"/>
          <c:val>
            <c:numRef>
              <c:f>Sheet1!$A$2</c:f>
              <c:numCache>
                <c:formatCode>General</c:formatCode>
                <c:ptCount val="1"/>
                <c:pt idx="0">
                  <c:v>2.93</c:v>
                </c:pt>
              </c:numCache>
            </c:numRef>
          </c:val>
          <c:extLst>
            <c:ext xmlns:c16="http://schemas.microsoft.com/office/drawing/2014/chart" uri="{C3380CC4-5D6E-409C-BE32-E72D297353CC}">
              <c16:uniqueId val="{00000001-6089-47D4-8706-48D9915BA31D}"/>
            </c:ext>
          </c:extLst>
        </c:ser>
        <c:ser>
          <c:idx val="2"/>
          <c:order val="2"/>
          <c:spPr>
            <a:solidFill>
              <a:schemeClr val="accent2"/>
            </a:solidFill>
            <a:ln>
              <a:noFill/>
            </a:ln>
          </c:spPr>
          <c:invertIfNegative val="0"/>
          <c:val>
            <c:numRef>
              <c:f>Sheet1!$A$3</c:f>
              <c:numCache>
                <c:formatCode>General</c:formatCode>
                <c:ptCount val="1"/>
                <c:pt idx="0">
                  <c:v>31.89</c:v>
                </c:pt>
              </c:numCache>
            </c:numRef>
          </c:val>
          <c:extLst>
            <c:ext xmlns:c16="http://schemas.microsoft.com/office/drawing/2014/chart" uri="{C3380CC4-5D6E-409C-BE32-E72D297353CC}">
              <c16:uniqueId val="{00000002-6089-47D4-8706-48D9915BA31D}"/>
            </c:ext>
          </c:extLst>
        </c:ser>
        <c:dLbls>
          <c:showLegendKey val="0"/>
          <c:showVal val="0"/>
          <c:showCatName val="0"/>
          <c:showSerName val="0"/>
          <c:showPercent val="0"/>
          <c:showBubbleSize val="0"/>
        </c:dLbls>
        <c:gapWidth val="100"/>
        <c:axId val="1407838687"/>
        <c:axId val="1"/>
      </c:barChart>
      <c:catAx>
        <c:axId val="14078386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1407838687"/>
        <c:crosses val="min"/>
        <c:crossBetween val="between"/>
        <c:majorUnit val="10"/>
      </c:valAx>
    </c:plotArea>
    <c:plotVisOnly val="0"/>
    <c:dispBlanksAs val="gap"/>
    <c:showDLblsOverMax val="1"/>
  </c:chart>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984950700570835E-2"/>
          <c:y val="2.5427872860635695E-2"/>
          <c:w val="0.94603009859885834"/>
          <c:h val="0.94914425427872862"/>
        </c:manualLayout>
      </c:layout>
      <c:barChart>
        <c:barDir val="bar"/>
        <c:grouping val="stacked"/>
        <c:varyColors val="0"/>
        <c:ser>
          <c:idx val="0"/>
          <c:order val="0"/>
          <c:spPr>
            <a:solidFill>
              <a:srgbClr val="4C6C9C"/>
            </a:solidFill>
            <a:ln>
              <a:noFill/>
            </a:ln>
          </c:spPr>
          <c:invertIfNegative val="0"/>
          <c:val>
            <c:numRef>
              <c:f>Sheet1!$A$1:$J$1</c:f>
              <c:numCache>
                <c:formatCode>General</c:formatCode>
                <c:ptCount val="10"/>
                <c:pt idx="0">
                  <c:v>7.8487001825361107</c:v>
                </c:pt>
                <c:pt idx="1">
                  <c:v>7.4368232778130876</c:v>
                </c:pt>
                <c:pt idx="2">
                  <c:v>8</c:v>
                </c:pt>
                <c:pt idx="3">
                  <c:v>7.2583953730250119</c:v>
                </c:pt>
                <c:pt idx="4">
                  <c:v>7.4810157341568244</c:v>
                </c:pt>
                <c:pt idx="5">
                  <c:v>7.0753172190533435</c:v>
                </c:pt>
                <c:pt idx="6">
                  <c:v>7.6919963407098511</c:v>
                </c:pt>
                <c:pt idx="7">
                  <c:v>6.8968010733188185</c:v>
                </c:pt>
                <c:pt idx="8">
                  <c:v>6.8445322739912431</c:v>
                </c:pt>
                <c:pt idx="9">
                  <c:v>6.3287821477656827</c:v>
                </c:pt>
              </c:numCache>
            </c:numRef>
          </c:val>
          <c:extLst>
            <c:ext xmlns:c16="http://schemas.microsoft.com/office/drawing/2014/chart" uri="{C3380CC4-5D6E-409C-BE32-E72D297353CC}">
              <c16:uniqueId val="{00000000-2138-47ED-969D-CD76F6A06E4A}"/>
            </c:ext>
          </c:extLst>
        </c:ser>
        <c:ser>
          <c:idx val="1"/>
          <c:order val="1"/>
          <c:spPr>
            <a:solidFill>
              <a:srgbClr val="E9E261"/>
            </a:solidFill>
            <a:ln>
              <a:noFill/>
            </a:ln>
          </c:spPr>
          <c:invertIfNegative val="0"/>
          <c:val>
            <c:numRef>
              <c:f>Sheet1!$A$2:$J$2</c:f>
              <c:numCache>
                <c:formatCode>General</c:formatCode>
                <c:ptCount val="10"/>
                <c:pt idx="0">
                  <c:v>1.833333333333333</c:v>
                </c:pt>
                <c:pt idx="1">
                  <c:v>1.833333333333333</c:v>
                </c:pt>
                <c:pt idx="2">
                  <c:v>1</c:v>
                </c:pt>
                <c:pt idx="3">
                  <c:v>1.6666666666666661</c:v>
                </c:pt>
                <c:pt idx="4">
                  <c:v>1.333333333333333</c:v>
                </c:pt>
                <c:pt idx="5">
                  <c:v>1.666666666666667</c:v>
                </c:pt>
                <c:pt idx="6">
                  <c:v>1</c:v>
                </c:pt>
                <c:pt idx="7">
                  <c:v>1.666666666666667</c:v>
                </c:pt>
                <c:pt idx="8">
                  <c:v>1.6666666666666661</c:v>
                </c:pt>
                <c:pt idx="9">
                  <c:v>2</c:v>
                </c:pt>
              </c:numCache>
            </c:numRef>
          </c:val>
          <c:extLst>
            <c:ext xmlns:c16="http://schemas.microsoft.com/office/drawing/2014/chart" uri="{C3380CC4-5D6E-409C-BE32-E72D297353CC}">
              <c16:uniqueId val="{00000001-2138-47ED-969D-CD76F6A06E4A}"/>
            </c:ext>
          </c:extLst>
        </c:ser>
        <c:dLbls>
          <c:showLegendKey val="0"/>
          <c:showVal val="0"/>
          <c:showCatName val="0"/>
          <c:showSerName val="0"/>
          <c:showPercent val="0"/>
          <c:showBubbleSize val="0"/>
        </c:dLbls>
        <c:gapWidth val="80"/>
        <c:overlap val="100"/>
        <c:axId val="1416901488"/>
        <c:axId val="1"/>
      </c:barChart>
      <c:catAx>
        <c:axId val="141690148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6820335158694437"/>
          <c:min val="0"/>
        </c:scaling>
        <c:delete val="1"/>
        <c:axPos val="t"/>
        <c:numFmt formatCode="General" sourceLinked="1"/>
        <c:majorTickMark val="out"/>
        <c:minorTickMark val="none"/>
        <c:tickLblPos val="nextTo"/>
        <c:crossAx val="1416901488"/>
        <c:crosses val="min"/>
        <c:crossBetween val="between"/>
      </c:valAx>
    </c:plotArea>
    <c:plotVisOnly val="0"/>
    <c:dispBlanksAs val="gap"/>
    <c:showDLblsOverMax val="1"/>
  </c:chart>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61919504643963E-2"/>
          <c:y val="4.6181172291296625E-2"/>
          <c:w val="0.97987616099071206"/>
          <c:h val="0.90763765541740671"/>
        </c:manualLayout>
      </c:layout>
      <c:barChart>
        <c:barDir val="col"/>
        <c:grouping val="stacked"/>
        <c:varyColors val="0"/>
        <c:ser>
          <c:idx val="0"/>
          <c:order val="0"/>
          <c:spPr>
            <a:solidFill>
              <a:schemeClr val="accent3"/>
            </a:solidFill>
            <a:ln>
              <a:noFill/>
            </a:ln>
          </c:spPr>
          <c:invertIfNegative val="0"/>
          <c:val>
            <c:numRef>
              <c:f>Sheet1!$A$1:$N$1</c:f>
              <c:numCache>
                <c:formatCode>General</c:formatCode>
                <c:ptCount val="14"/>
                <c:pt idx="0">
                  <c:v>67.34208628176664</c:v>
                </c:pt>
                <c:pt idx="1">
                  <c:v>66.556549225236367</c:v>
                </c:pt>
                <c:pt idx="2">
                  <c:v>15.513150242244389</c:v>
                </c:pt>
                <c:pt idx="3">
                  <c:v>39.919865987065243</c:v>
                </c:pt>
                <c:pt idx="4">
                  <c:v>18.321686113230641</c:v>
                </c:pt>
                <c:pt idx="5">
                  <c:v>31.986529729619921</c:v>
                </c:pt>
                <c:pt idx="6">
                  <c:v>84.308042295211834</c:v>
                </c:pt>
                <c:pt idx="7">
                  <c:v>44.879178556688203</c:v>
                </c:pt>
                <c:pt idx="8">
                  <c:v>70.820072715233024</c:v>
                </c:pt>
                <c:pt idx="9">
                  <c:v>74.704451606629007</c:v>
                </c:pt>
                <c:pt idx="10">
                  <c:v>75.44537669612275</c:v>
                </c:pt>
                <c:pt idx="11">
                  <c:v>23.597044210641069</c:v>
                </c:pt>
                <c:pt idx="12">
                  <c:v>28.332165146158999</c:v>
                </c:pt>
                <c:pt idx="13">
                  <c:v>11.272991885523592</c:v>
                </c:pt>
              </c:numCache>
            </c:numRef>
          </c:val>
          <c:extLst>
            <c:ext xmlns:c16="http://schemas.microsoft.com/office/drawing/2014/chart" uri="{C3380CC4-5D6E-409C-BE32-E72D297353CC}">
              <c16:uniqueId val="{00000000-9CA7-4278-AB2F-9C50DCAB3ED6}"/>
            </c:ext>
          </c:extLst>
        </c:ser>
        <c:ser>
          <c:idx val="1"/>
          <c:order val="1"/>
          <c:spPr>
            <a:solidFill>
              <a:schemeClr val="accent2"/>
            </a:solidFill>
            <a:ln>
              <a:noFill/>
            </a:ln>
          </c:spPr>
          <c:invertIfNegative val="0"/>
          <c:val>
            <c:numRef>
              <c:f>Sheet1!$A$2:$N$2</c:f>
              <c:numCache>
                <c:formatCode>General</c:formatCode>
                <c:ptCount val="14"/>
                <c:pt idx="0">
                  <c:v>0</c:v>
                </c:pt>
                <c:pt idx="1">
                  <c:v>0</c:v>
                </c:pt>
                <c:pt idx="2">
                  <c:v>0</c:v>
                </c:pt>
                <c:pt idx="3">
                  <c:v>7.8584727972424773</c:v>
                </c:pt>
                <c:pt idx="4">
                  <c:v>0</c:v>
                </c:pt>
                <c:pt idx="5">
                  <c:v>24.683122834130984</c:v>
                </c:pt>
                <c:pt idx="6">
                  <c:v>0.53359439833022826</c:v>
                </c:pt>
                <c:pt idx="7">
                  <c:v>0</c:v>
                </c:pt>
                <c:pt idx="8">
                  <c:v>17.437140389140481</c:v>
                </c:pt>
                <c:pt idx="9">
                  <c:v>25.295548393370993</c:v>
                </c:pt>
                <c:pt idx="10">
                  <c:v>0</c:v>
                </c:pt>
                <c:pt idx="11">
                  <c:v>25.161644189708689</c:v>
                </c:pt>
                <c:pt idx="12">
                  <c:v>11.304815218558812</c:v>
                </c:pt>
                <c:pt idx="13">
                  <c:v>0</c:v>
                </c:pt>
              </c:numCache>
            </c:numRef>
          </c:val>
          <c:extLst>
            <c:ext xmlns:c16="http://schemas.microsoft.com/office/drawing/2014/chart" uri="{C3380CC4-5D6E-409C-BE32-E72D297353CC}">
              <c16:uniqueId val="{00000001-9CA7-4278-AB2F-9C50DCAB3ED6}"/>
            </c:ext>
          </c:extLst>
        </c:ser>
        <c:ser>
          <c:idx val="2"/>
          <c:order val="2"/>
          <c:spPr>
            <a:solidFill>
              <a:srgbClr val="C3CFE1"/>
            </a:solidFill>
            <a:ln>
              <a:noFill/>
            </a:ln>
          </c:spPr>
          <c:invertIfNegative val="0"/>
          <c:val>
            <c:numRef>
              <c:f>Sheet1!$A$3:$N$3</c:f>
              <c:numCache>
                <c:formatCode>General</c:formatCode>
                <c:ptCount val="14"/>
                <c:pt idx="0">
                  <c:v>32.657913718233345</c:v>
                </c:pt>
                <c:pt idx="1">
                  <c:v>33.443450774763626</c:v>
                </c:pt>
                <c:pt idx="2">
                  <c:v>84.486849757755607</c:v>
                </c:pt>
                <c:pt idx="3">
                  <c:v>52.221661215692272</c:v>
                </c:pt>
                <c:pt idx="4">
                  <c:v>81.678313886769359</c:v>
                </c:pt>
                <c:pt idx="5">
                  <c:v>43.330347436249092</c:v>
                </c:pt>
                <c:pt idx="6">
                  <c:v>10.376832051412133</c:v>
                </c:pt>
                <c:pt idx="7">
                  <c:v>55.120821443311797</c:v>
                </c:pt>
                <c:pt idx="8">
                  <c:v>11.7427868956265</c:v>
                </c:pt>
                <c:pt idx="9">
                  <c:v>0</c:v>
                </c:pt>
                <c:pt idx="10">
                  <c:v>24.554623303877264</c:v>
                </c:pt>
                <c:pt idx="11">
                  <c:v>51.241311599650238</c:v>
                </c:pt>
                <c:pt idx="12">
                  <c:v>60.363019635282186</c:v>
                </c:pt>
                <c:pt idx="13">
                  <c:v>88.727008114476419</c:v>
                </c:pt>
              </c:numCache>
            </c:numRef>
          </c:val>
          <c:extLst>
            <c:ext xmlns:c16="http://schemas.microsoft.com/office/drawing/2014/chart" uri="{C3380CC4-5D6E-409C-BE32-E72D297353CC}">
              <c16:uniqueId val="{00000002-9CA7-4278-AB2F-9C50DCAB3ED6}"/>
            </c:ext>
          </c:extLst>
        </c:ser>
        <c:ser>
          <c:idx val="3"/>
          <c:order val="3"/>
          <c:spPr>
            <a:solidFill>
              <a:srgbClr val="6F8DB9"/>
            </a:solidFill>
            <a:ln>
              <a:noFill/>
            </a:ln>
          </c:spPr>
          <c:invertIfNegative val="0"/>
          <c:val>
            <c:numRef>
              <c:f>Sheet1!$A$4:$N$4</c:f>
              <c:numCache>
                <c:formatCode>General</c:formatCode>
                <c:ptCount val="14"/>
                <c:pt idx="0">
                  <c:v>0</c:v>
                </c:pt>
                <c:pt idx="1">
                  <c:v>0</c:v>
                </c:pt>
                <c:pt idx="2">
                  <c:v>0</c:v>
                </c:pt>
                <c:pt idx="3">
                  <c:v>0</c:v>
                </c:pt>
                <c:pt idx="4">
                  <c:v>0</c:v>
                </c:pt>
                <c:pt idx="5">
                  <c:v>0</c:v>
                </c:pt>
                <c:pt idx="6">
                  <c:v>4.78153125504579</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3-9CA7-4278-AB2F-9C50DCAB3ED6}"/>
            </c:ext>
          </c:extLst>
        </c:ser>
        <c:dLbls>
          <c:showLegendKey val="0"/>
          <c:showVal val="0"/>
          <c:showCatName val="0"/>
          <c:showSerName val="0"/>
          <c:showPercent val="0"/>
          <c:showBubbleSize val="0"/>
        </c:dLbls>
        <c:gapWidth val="80"/>
        <c:overlap val="100"/>
        <c:axId val="262517807"/>
        <c:axId val="1"/>
      </c:barChart>
      <c:catAx>
        <c:axId val="2625178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62517807"/>
        <c:crosses val="min"/>
        <c:crossBetween val="between"/>
      </c:valAx>
    </c:plotArea>
    <c:plotVisOnly val="0"/>
    <c:dispBlanksAs val="gap"/>
    <c:showDLblsOverMax val="1"/>
  </c:chart>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61919504643963E-2"/>
          <c:y val="4.6140195208518191E-2"/>
          <c:w val="0.97987616099071206"/>
          <c:h val="0.9077196095829636"/>
        </c:manualLayout>
      </c:layout>
      <c:barChart>
        <c:barDir val="col"/>
        <c:grouping val="stacked"/>
        <c:varyColors val="0"/>
        <c:ser>
          <c:idx val="0"/>
          <c:order val="0"/>
          <c:spPr>
            <a:solidFill>
              <a:schemeClr val="accent3"/>
            </a:solidFill>
            <a:ln>
              <a:noFill/>
            </a:ln>
          </c:spPr>
          <c:invertIfNegative val="0"/>
          <c:val>
            <c:numRef>
              <c:f>Sheet1!$A$1:$K$1</c:f>
              <c:numCache>
                <c:formatCode>General</c:formatCode>
                <c:ptCount val="11"/>
                <c:pt idx="0">
                  <c:v>67.611267506076018</c:v>
                </c:pt>
                <c:pt idx="1">
                  <c:v>63.349318549906009</c:v>
                </c:pt>
                <c:pt idx="2">
                  <c:v>7.9212982325744603</c:v>
                </c:pt>
                <c:pt idx="3">
                  <c:v>39.648733782171725</c:v>
                </c:pt>
                <c:pt idx="4">
                  <c:v>8.4610573448769468</c:v>
                </c:pt>
                <c:pt idx="5">
                  <c:v>73.671215102552196</c:v>
                </c:pt>
                <c:pt idx="6">
                  <c:v>62.762018876540651</c:v>
                </c:pt>
                <c:pt idx="7">
                  <c:v>74.926250947695081</c:v>
                </c:pt>
                <c:pt idx="8">
                  <c:v>17.611403089962657</c:v>
                </c:pt>
                <c:pt idx="9">
                  <c:v>27.810249183917286</c:v>
                </c:pt>
                <c:pt idx="10">
                  <c:v>5.8238210410074656</c:v>
                </c:pt>
              </c:numCache>
            </c:numRef>
          </c:val>
          <c:extLst>
            <c:ext xmlns:c16="http://schemas.microsoft.com/office/drawing/2014/chart" uri="{C3380CC4-5D6E-409C-BE32-E72D297353CC}">
              <c16:uniqueId val="{00000000-5B4C-4F12-953F-79DF01159C08}"/>
            </c:ext>
          </c:extLst>
        </c:ser>
        <c:ser>
          <c:idx val="1"/>
          <c:order val="1"/>
          <c:spPr>
            <a:solidFill>
              <a:schemeClr val="accent2"/>
            </a:solidFill>
            <a:ln>
              <a:noFill/>
            </a:ln>
          </c:spPr>
          <c:invertIfNegative val="0"/>
          <c:val>
            <c:numRef>
              <c:f>Sheet1!$A$2:$K$2</c:f>
              <c:numCache>
                <c:formatCode>General</c:formatCode>
                <c:ptCount val="11"/>
                <c:pt idx="0">
                  <c:v>0</c:v>
                </c:pt>
                <c:pt idx="1">
                  <c:v>0</c:v>
                </c:pt>
                <c:pt idx="2">
                  <c:v>0</c:v>
                </c:pt>
                <c:pt idx="3">
                  <c:v>6.5059649746074868</c:v>
                </c:pt>
                <c:pt idx="4">
                  <c:v>0</c:v>
                </c:pt>
                <c:pt idx="5">
                  <c:v>0.38656980319854428</c:v>
                </c:pt>
                <c:pt idx="6">
                  <c:v>18.470638594374698</c:v>
                </c:pt>
                <c:pt idx="7">
                  <c:v>0</c:v>
                </c:pt>
                <c:pt idx="8">
                  <c:v>21.007342237697856</c:v>
                </c:pt>
                <c:pt idx="9">
                  <c:v>8.92930895590675</c:v>
                </c:pt>
                <c:pt idx="10">
                  <c:v>0</c:v>
                </c:pt>
              </c:numCache>
            </c:numRef>
          </c:val>
          <c:extLst>
            <c:ext xmlns:c16="http://schemas.microsoft.com/office/drawing/2014/chart" uri="{C3380CC4-5D6E-409C-BE32-E72D297353CC}">
              <c16:uniqueId val="{00000001-5B4C-4F12-953F-79DF01159C08}"/>
            </c:ext>
          </c:extLst>
        </c:ser>
        <c:ser>
          <c:idx val="2"/>
          <c:order val="2"/>
          <c:spPr>
            <a:solidFill>
              <a:srgbClr val="C3CFE1"/>
            </a:solidFill>
            <a:ln>
              <a:noFill/>
            </a:ln>
          </c:spPr>
          <c:invertIfNegative val="0"/>
          <c:val>
            <c:numRef>
              <c:f>Sheet1!$A$3:$K$3</c:f>
              <c:numCache>
                <c:formatCode>General</c:formatCode>
                <c:ptCount val="11"/>
                <c:pt idx="0">
                  <c:v>32.388732493923975</c:v>
                </c:pt>
                <c:pt idx="1">
                  <c:v>36.650681450093991</c:v>
                </c:pt>
                <c:pt idx="2">
                  <c:v>92.078701767425528</c:v>
                </c:pt>
                <c:pt idx="3">
                  <c:v>53.845301243220788</c:v>
                </c:pt>
                <c:pt idx="4">
                  <c:v>91.538942655123051</c:v>
                </c:pt>
                <c:pt idx="5">
                  <c:v>19.014122887753537</c:v>
                </c:pt>
                <c:pt idx="6">
                  <c:v>18.767342529084651</c:v>
                </c:pt>
                <c:pt idx="7">
                  <c:v>25.073749052304915</c:v>
                </c:pt>
                <c:pt idx="8">
                  <c:v>61.38125467233948</c:v>
                </c:pt>
                <c:pt idx="9">
                  <c:v>63.260441860175966</c:v>
                </c:pt>
                <c:pt idx="10">
                  <c:v>94.176178958992523</c:v>
                </c:pt>
              </c:numCache>
            </c:numRef>
          </c:val>
          <c:extLst>
            <c:ext xmlns:c16="http://schemas.microsoft.com/office/drawing/2014/chart" uri="{C3380CC4-5D6E-409C-BE32-E72D297353CC}">
              <c16:uniqueId val="{00000002-5B4C-4F12-953F-79DF01159C08}"/>
            </c:ext>
          </c:extLst>
        </c:ser>
        <c:ser>
          <c:idx val="3"/>
          <c:order val="3"/>
          <c:spPr>
            <a:solidFill>
              <a:srgbClr val="6F8DB9"/>
            </a:solidFill>
            <a:ln>
              <a:noFill/>
            </a:ln>
          </c:spPr>
          <c:invertIfNegative val="0"/>
          <c:val>
            <c:numRef>
              <c:f>Sheet1!$A$4:$K$4</c:f>
              <c:numCache>
                <c:formatCode>General</c:formatCode>
                <c:ptCount val="11"/>
                <c:pt idx="0">
                  <c:v>0</c:v>
                </c:pt>
                <c:pt idx="1">
                  <c:v>0</c:v>
                </c:pt>
                <c:pt idx="2">
                  <c:v>0</c:v>
                </c:pt>
                <c:pt idx="3">
                  <c:v>0</c:v>
                </c:pt>
                <c:pt idx="4">
                  <c:v>0</c:v>
                </c:pt>
                <c:pt idx="5">
                  <c:v>6.9280922064957506</c:v>
                </c:pt>
                <c:pt idx="6">
                  <c:v>0</c:v>
                </c:pt>
                <c:pt idx="7">
                  <c:v>0</c:v>
                </c:pt>
                <c:pt idx="8">
                  <c:v>0</c:v>
                </c:pt>
                <c:pt idx="9">
                  <c:v>0</c:v>
                </c:pt>
                <c:pt idx="10">
                  <c:v>0</c:v>
                </c:pt>
              </c:numCache>
            </c:numRef>
          </c:val>
          <c:extLst>
            <c:ext xmlns:c16="http://schemas.microsoft.com/office/drawing/2014/chart" uri="{C3380CC4-5D6E-409C-BE32-E72D297353CC}">
              <c16:uniqueId val="{00000003-5B4C-4F12-953F-79DF01159C08}"/>
            </c:ext>
          </c:extLst>
        </c:ser>
        <c:dLbls>
          <c:showLegendKey val="0"/>
          <c:showVal val="0"/>
          <c:showCatName val="0"/>
          <c:showSerName val="0"/>
          <c:showPercent val="0"/>
          <c:showBubbleSize val="0"/>
        </c:dLbls>
        <c:gapWidth val="80"/>
        <c:overlap val="100"/>
        <c:axId val="262482767"/>
        <c:axId val="1"/>
      </c:barChart>
      <c:catAx>
        <c:axId val="2624827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62482767"/>
        <c:crosses val="min"/>
        <c:crossBetween val="between"/>
      </c:valAx>
    </c:plotArea>
    <c:plotVisOnly val="0"/>
    <c:dispBlanksAs val="gap"/>
    <c:showDLblsOverMax val="1"/>
  </c:chart>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356741063327896E-3"/>
          <c:y val="2.2797018851380975E-2"/>
          <c:w val="0.98112865178733444"/>
          <c:h val="0.95440596229723806"/>
        </c:manualLayout>
      </c:layout>
      <c:barChart>
        <c:barDir val="col"/>
        <c:grouping val="stacked"/>
        <c:varyColors val="0"/>
        <c:ser>
          <c:idx val="0"/>
          <c:order val="0"/>
          <c:spPr>
            <a:solidFill>
              <a:schemeClr val="accent3"/>
            </a:solidFill>
            <a:ln>
              <a:noFill/>
            </a:ln>
          </c:spPr>
          <c:invertIfNegative val="0"/>
          <c:val>
            <c:numRef>
              <c:f>Sheet1!$A$1:$K$1</c:f>
              <c:numCache>
                <c:formatCode>General</c:formatCode>
                <c:ptCount val="11"/>
                <c:pt idx="0">
                  <c:v>82.67243612697176</c:v>
                </c:pt>
                <c:pt idx="1">
                  <c:v>84.052178257587087</c:v>
                </c:pt>
                <c:pt idx="2">
                  <c:v>58.416707031135182</c:v>
                </c:pt>
                <c:pt idx="3">
                  <c:v>40.610708827805126</c:v>
                </c:pt>
                <c:pt idx="4">
                  <c:v>87.206347735117816</c:v>
                </c:pt>
                <c:pt idx="5">
                  <c:v>59.624264078253574</c:v>
                </c:pt>
                <c:pt idx="6">
                  <c:v>73.256658250130073</c:v>
                </c:pt>
                <c:pt idx="7">
                  <c:v>76.908787091238011</c:v>
                </c:pt>
                <c:pt idx="8">
                  <c:v>85.36669131704177</c:v>
                </c:pt>
                <c:pt idx="9">
                  <c:v>28.71725701419437</c:v>
                </c:pt>
                <c:pt idx="10">
                  <c:v>48.798548009459935</c:v>
                </c:pt>
              </c:numCache>
            </c:numRef>
          </c:val>
          <c:extLst>
            <c:ext xmlns:c16="http://schemas.microsoft.com/office/drawing/2014/chart" uri="{C3380CC4-5D6E-409C-BE32-E72D297353CC}">
              <c16:uniqueId val="{00000000-09AE-4759-AD6A-4B17FA5F6FBE}"/>
            </c:ext>
          </c:extLst>
        </c:ser>
        <c:ser>
          <c:idx val="1"/>
          <c:order val="1"/>
          <c:spPr>
            <a:solidFill>
              <a:schemeClr val="accent2"/>
            </a:solidFill>
            <a:ln>
              <a:noFill/>
            </a:ln>
          </c:spPr>
          <c:invertIfNegative val="0"/>
          <c:val>
            <c:numRef>
              <c:f>Sheet1!$A$2:$K$2</c:f>
              <c:numCache>
                <c:formatCode>General</c:formatCode>
                <c:ptCount val="11"/>
                <c:pt idx="0">
                  <c:v>0</c:v>
                </c:pt>
                <c:pt idx="1">
                  <c:v>0</c:v>
                </c:pt>
                <c:pt idx="2">
                  <c:v>7.5284415823798412</c:v>
                </c:pt>
                <c:pt idx="3">
                  <c:v>19.164101274793026</c:v>
                </c:pt>
                <c:pt idx="4">
                  <c:v>0.63139923845083601</c:v>
                </c:pt>
                <c:pt idx="5">
                  <c:v>0</c:v>
                </c:pt>
                <c:pt idx="6">
                  <c:v>19.76816895472534</c:v>
                </c:pt>
                <c:pt idx="7">
                  <c:v>23.091212908761982</c:v>
                </c:pt>
                <c:pt idx="8">
                  <c:v>0</c:v>
                </c:pt>
                <c:pt idx="9">
                  <c:v>36.305237743539926</c:v>
                </c:pt>
                <c:pt idx="10">
                  <c:v>10.924939749305368</c:v>
                </c:pt>
              </c:numCache>
            </c:numRef>
          </c:val>
          <c:extLst>
            <c:ext xmlns:c16="http://schemas.microsoft.com/office/drawing/2014/chart" uri="{C3380CC4-5D6E-409C-BE32-E72D297353CC}">
              <c16:uniqueId val="{00000001-09AE-4759-AD6A-4B17FA5F6FBE}"/>
            </c:ext>
          </c:extLst>
        </c:ser>
        <c:ser>
          <c:idx val="2"/>
          <c:order val="2"/>
          <c:spPr>
            <a:solidFill>
              <a:srgbClr val="C3CFE1"/>
            </a:solidFill>
            <a:ln>
              <a:noFill/>
            </a:ln>
          </c:spPr>
          <c:invertIfNegative val="0"/>
          <c:val>
            <c:numRef>
              <c:f>Sheet1!$A$3:$K$3</c:f>
              <c:numCache>
                <c:formatCode>General</c:formatCode>
                <c:ptCount val="11"/>
                <c:pt idx="0">
                  <c:v>17.32756387302824</c:v>
                </c:pt>
                <c:pt idx="1">
                  <c:v>15.947821742412916</c:v>
                </c:pt>
                <c:pt idx="2">
                  <c:v>34.054851386484977</c:v>
                </c:pt>
                <c:pt idx="3">
                  <c:v>40.225189897401847</c:v>
                </c:pt>
                <c:pt idx="4">
                  <c:v>8.2575194627236943</c:v>
                </c:pt>
                <c:pt idx="5">
                  <c:v>40.375735921746426</c:v>
                </c:pt>
                <c:pt idx="6">
                  <c:v>6.9751727951445908</c:v>
                </c:pt>
                <c:pt idx="7">
                  <c:v>0</c:v>
                </c:pt>
                <c:pt idx="8">
                  <c:v>14.633308682958223</c:v>
                </c:pt>
                <c:pt idx="9">
                  <c:v>34.977505242265707</c:v>
                </c:pt>
                <c:pt idx="10">
                  <c:v>40.276512241234698</c:v>
                </c:pt>
              </c:numCache>
            </c:numRef>
          </c:val>
          <c:extLst>
            <c:ext xmlns:c16="http://schemas.microsoft.com/office/drawing/2014/chart" uri="{C3380CC4-5D6E-409C-BE32-E72D297353CC}">
              <c16:uniqueId val="{00000002-09AE-4759-AD6A-4B17FA5F6FBE}"/>
            </c:ext>
          </c:extLst>
        </c:ser>
        <c:ser>
          <c:idx val="3"/>
          <c:order val="3"/>
          <c:spPr>
            <a:solidFill>
              <a:srgbClr val="6F8DB9"/>
            </a:solidFill>
            <a:ln>
              <a:noFill/>
            </a:ln>
          </c:spPr>
          <c:invertIfNegative val="0"/>
          <c:val>
            <c:numRef>
              <c:f>Sheet1!$A$4:$K$4</c:f>
              <c:numCache>
                <c:formatCode>General</c:formatCode>
                <c:ptCount val="11"/>
                <c:pt idx="0">
                  <c:v>0</c:v>
                </c:pt>
                <c:pt idx="1">
                  <c:v>0</c:v>
                </c:pt>
                <c:pt idx="2">
                  <c:v>0</c:v>
                </c:pt>
                <c:pt idx="3">
                  <c:v>0</c:v>
                </c:pt>
                <c:pt idx="4">
                  <c:v>3.9047335637076408</c:v>
                </c:pt>
                <c:pt idx="5">
                  <c:v>0</c:v>
                </c:pt>
                <c:pt idx="6">
                  <c:v>0</c:v>
                </c:pt>
                <c:pt idx="7">
                  <c:v>0</c:v>
                </c:pt>
                <c:pt idx="8">
                  <c:v>0</c:v>
                </c:pt>
                <c:pt idx="9">
                  <c:v>0</c:v>
                </c:pt>
                <c:pt idx="10">
                  <c:v>0</c:v>
                </c:pt>
              </c:numCache>
            </c:numRef>
          </c:val>
          <c:extLst>
            <c:ext xmlns:c16="http://schemas.microsoft.com/office/drawing/2014/chart" uri="{C3380CC4-5D6E-409C-BE32-E72D297353CC}">
              <c16:uniqueId val="{00000003-09AE-4759-AD6A-4B17FA5F6FBE}"/>
            </c:ext>
          </c:extLst>
        </c:ser>
        <c:dLbls>
          <c:showLegendKey val="0"/>
          <c:showVal val="0"/>
          <c:showCatName val="0"/>
          <c:showSerName val="0"/>
          <c:showPercent val="0"/>
          <c:showBubbleSize val="0"/>
        </c:dLbls>
        <c:gapWidth val="80"/>
        <c:overlap val="100"/>
        <c:axId val="1223290256"/>
        <c:axId val="1"/>
      </c:barChart>
      <c:catAx>
        <c:axId val="1223290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223290256"/>
        <c:crosses val="min"/>
        <c:crossBetween val="between"/>
      </c:valAx>
    </c:plotArea>
    <c:plotVisOnly val="0"/>
    <c:dispBlanksAs val="gap"/>
    <c:showDLblsOverMax val="1"/>
  </c:chart>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73535952557451E-2"/>
          <c:y val="4.8643592142188961E-2"/>
          <c:w val="0.96145292809488514"/>
          <c:h val="0.90271281571562212"/>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val>
            <c:numRef>
              <c:f>Sheet1!$A$1:$D$1</c:f>
              <c:numCache>
                <c:formatCode>General</c:formatCode>
                <c:ptCount val="4"/>
                <c:pt idx="0">
                  <c:v>103.36999999999998</c:v>
                </c:pt>
                <c:pt idx="1">
                  <c:v>76.140000000000015</c:v>
                </c:pt>
                <c:pt idx="2">
                  <c:v>53.040000000000006</c:v>
                </c:pt>
                <c:pt idx="3">
                  <c:v>53.819999999999993</c:v>
                </c:pt>
              </c:numCache>
            </c:numRef>
          </c:val>
          <c:extLst>
            <c:ext xmlns:c16="http://schemas.microsoft.com/office/drawing/2014/chart" uri="{C3380CC4-5D6E-409C-BE32-E72D297353CC}">
              <c16:uniqueId val="{00000000-1426-470F-BAB6-C78985C18662}"/>
            </c:ext>
          </c:extLst>
        </c:ser>
        <c:ser>
          <c:idx val="1"/>
          <c:order val="1"/>
          <c:spPr>
            <a:solidFill>
              <a:srgbClr val="C3CFE1"/>
            </a:solidFill>
            <a:ln w="9525" cmpd="sng" algn="ctr">
              <a:solidFill>
                <a:schemeClr val="bg1"/>
              </a:solidFill>
              <a:prstDash val="solid"/>
            </a:ln>
          </c:spPr>
          <c:invertIfNegative val="0"/>
          <c:val>
            <c:numRef>
              <c:f>Sheet1!$A$2:$D$2</c:f>
              <c:numCache>
                <c:formatCode>General</c:formatCode>
                <c:ptCount val="4"/>
                <c:pt idx="0">
                  <c:v>36.599999999999994</c:v>
                </c:pt>
                <c:pt idx="1">
                  <c:v>36.319999999999993</c:v>
                </c:pt>
                <c:pt idx="2">
                  <c:v>38.370000000000005</c:v>
                </c:pt>
                <c:pt idx="3">
                  <c:v>32.11</c:v>
                </c:pt>
              </c:numCache>
            </c:numRef>
          </c:val>
          <c:extLst>
            <c:ext xmlns:c16="http://schemas.microsoft.com/office/drawing/2014/chart" uri="{C3380CC4-5D6E-409C-BE32-E72D297353CC}">
              <c16:uniqueId val="{00000001-1426-470F-BAB6-C78985C18662}"/>
            </c:ext>
          </c:extLst>
        </c:ser>
        <c:dLbls>
          <c:showLegendKey val="0"/>
          <c:showVal val="0"/>
          <c:showCatName val="0"/>
          <c:showSerName val="0"/>
          <c:showPercent val="0"/>
          <c:showBubbleSize val="0"/>
        </c:dLbls>
        <c:gapWidth val="80"/>
        <c:overlap val="100"/>
        <c:axId val="395003135"/>
        <c:axId val="1"/>
      </c:barChart>
      <c:catAx>
        <c:axId val="3950031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9.96999999999997"/>
          <c:min val="0"/>
        </c:scaling>
        <c:delete val="1"/>
        <c:axPos val="l"/>
        <c:numFmt formatCode="General" sourceLinked="1"/>
        <c:majorTickMark val="out"/>
        <c:minorTickMark val="none"/>
        <c:tickLblPos val="nextTo"/>
        <c:crossAx val="395003135"/>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14411104307001E-2"/>
          <c:y val="2.0824989987985584E-2"/>
          <c:w val="0.978771177791386"/>
          <c:h val="0.9583500200240288"/>
        </c:manualLayout>
      </c:layout>
      <c:barChart>
        <c:barDir val="col"/>
        <c:grouping val="stacked"/>
        <c:varyColors val="0"/>
        <c:ser>
          <c:idx val="0"/>
          <c:order val="0"/>
          <c:spPr>
            <a:solidFill>
              <a:srgbClr val="9F3C1C"/>
            </a:solidFill>
            <a:ln>
              <a:noFill/>
            </a:ln>
          </c:spPr>
          <c:invertIfNegative val="0"/>
          <c:val>
            <c:numRef>
              <c:f>Sheet1!$A$1:$E$1</c:f>
              <c:numCache>
                <c:formatCode>General</c:formatCode>
                <c:ptCount val="5"/>
                <c:pt idx="0">
                  <c:v>609.39952730000005</c:v>
                </c:pt>
                <c:pt idx="1">
                  <c:v>642.87598879999996</c:v>
                </c:pt>
                <c:pt idx="2">
                  <c:v>606.43201009999996</c:v>
                </c:pt>
                <c:pt idx="3">
                  <c:v>494.06878089999998</c:v>
                </c:pt>
                <c:pt idx="4">
                  <c:v>488.7853958</c:v>
                </c:pt>
              </c:numCache>
            </c:numRef>
          </c:val>
          <c:extLst>
            <c:ext xmlns:c16="http://schemas.microsoft.com/office/drawing/2014/chart" uri="{C3380CC4-5D6E-409C-BE32-E72D297353CC}">
              <c16:uniqueId val="{00000000-301B-4E05-9AE3-4824B6C7FC26}"/>
            </c:ext>
          </c:extLst>
        </c:ser>
        <c:ser>
          <c:idx val="1"/>
          <c:order val="1"/>
          <c:spPr>
            <a:solidFill>
              <a:srgbClr val="441A0D"/>
            </a:solidFill>
            <a:ln>
              <a:noFill/>
            </a:ln>
          </c:spPr>
          <c:invertIfNegative val="0"/>
          <c:val>
            <c:numRef>
              <c:f>Sheet1!$A$2:$E$2</c:f>
              <c:numCache>
                <c:formatCode>General</c:formatCode>
                <c:ptCount val="5"/>
                <c:pt idx="0">
                  <c:v>355.70208739999998</c:v>
                </c:pt>
                <c:pt idx="1">
                  <c:v>314.66191759999992</c:v>
                </c:pt>
                <c:pt idx="2">
                  <c:v>35.942970639999999</c:v>
                </c:pt>
                <c:pt idx="3">
                  <c:v>3.8786718139999721</c:v>
                </c:pt>
                <c:pt idx="4">
                  <c:v>0.10574864199998046</c:v>
                </c:pt>
              </c:numCache>
            </c:numRef>
          </c:val>
          <c:extLst>
            <c:ext xmlns:c16="http://schemas.microsoft.com/office/drawing/2014/chart" uri="{C3380CC4-5D6E-409C-BE32-E72D297353CC}">
              <c16:uniqueId val="{00000001-301B-4E05-9AE3-4824B6C7FC26}"/>
            </c:ext>
          </c:extLst>
        </c:ser>
        <c:ser>
          <c:idx val="2"/>
          <c:order val="2"/>
          <c:spPr>
            <a:solidFill>
              <a:srgbClr val="5A5A5A"/>
            </a:solidFill>
            <a:ln>
              <a:noFill/>
            </a:ln>
          </c:spPr>
          <c:invertIfNegative val="0"/>
          <c:val>
            <c:numRef>
              <c:f>Sheet1!$A$3:$E$3</c:f>
              <c:numCache>
                <c:formatCode>General</c:formatCode>
                <c:ptCount val="5"/>
                <c:pt idx="0">
                  <c:v>559.49924269999997</c:v>
                </c:pt>
                <c:pt idx="1">
                  <c:v>487.93914569999993</c:v>
                </c:pt>
                <c:pt idx="2">
                  <c:v>417.86146080000003</c:v>
                </c:pt>
                <c:pt idx="3">
                  <c:v>296.72209370000007</c:v>
                </c:pt>
                <c:pt idx="4">
                  <c:v>243.52857239999997</c:v>
                </c:pt>
              </c:numCache>
            </c:numRef>
          </c:val>
          <c:extLst>
            <c:ext xmlns:c16="http://schemas.microsoft.com/office/drawing/2014/chart" uri="{C3380CC4-5D6E-409C-BE32-E72D297353CC}">
              <c16:uniqueId val="{00000002-301B-4E05-9AE3-4824B6C7FC26}"/>
            </c:ext>
          </c:extLst>
        </c:ser>
        <c:dLbls>
          <c:showLegendKey val="0"/>
          <c:showVal val="0"/>
          <c:showCatName val="0"/>
          <c:showSerName val="0"/>
          <c:showPercent val="0"/>
          <c:showBubbleSize val="0"/>
        </c:dLbls>
        <c:gapWidth val="80"/>
        <c:overlap val="100"/>
        <c:axId val="1771068431"/>
        <c:axId val="1"/>
      </c:barChart>
      <c:lineChart>
        <c:grouping val="standard"/>
        <c:varyColors val="0"/>
        <c:ser>
          <c:idx val="3"/>
          <c:order val="3"/>
          <c:spPr>
            <a:ln w="22225" cmpd="sng" algn="ctr">
              <a:solidFill>
                <a:schemeClr val="accent1"/>
              </a:solidFill>
              <a:prstDash val="solid"/>
            </a:ln>
          </c:spPr>
          <c:marker>
            <c:symbol val="none"/>
          </c:marker>
          <c:dPt>
            <c:idx val="0"/>
            <c:marker>
              <c:symbol val="diamond"/>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301B-4E05-9AE3-4824B6C7FC26}"/>
              </c:ext>
            </c:extLst>
          </c:dPt>
          <c:dPt>
            <c:idx val="1"/>
            <c:marker>
              <c:symbol val="diamond"/>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301B-4E05-9AE3-4824B6C7FC26}"/>
              </c:ext>
            </c:extLst>
          </c:dPt>
          <c:dPt>
            <c:idx val="2"/>
            <c:marker>
              <c:symbol val="diamond"/>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5-301B-4E05-9AE3-4824B6C7FC26}"/>
              </c:ext>
            </c:extLst>
          </c:dPt>
          <c:dPt>
            <c:idx val="3"/>
            <c:marker>
              <c:symbol val="diamond"/>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6-301B-4E05-9AE3-4824B6C7FC26}"/>
              </c:ext>
            </c:extLst>
          </c:dPt>
          <c:dPt>
            <c:idx val="4"/>
            <c:marker>
              <c:symbol val="diamond"/>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7-301B-4E05-9AE3-4824B6C7FC26}"/>
              </c:ext>
            </c:extLst>
          </c:dPt>
          <c:val>
            <c:numRef>
              <c:f>Sheet1!$A$4:$E$4</c:f>
              <c:numCache>
                <c:formatCode>General</c:formatCode>
                <c:ptCount val="5"/>
                <c:pt idx="0">
                  <c:v>546.88044279999997</c:v>
                </c:pt>
                <c:pt idx="1">
                  <c:v>566.23863310000002</c:v>
                </c:pt>
                <c:pt idx="2">
                  <c:v>643.97248019999995</c:v>
                </c:pt>
                <c:pt idx="3">
                  <c:v>868.94976010000005</c:v>
                </c:pt>
                <c:pt idx="4">
                  <c:v>1093.9667039999999</c:v>
                </c:pt>
              </c:numCache>
            </c:numRef>
          </c:val>
          <c:smooth val="0"/>
          <c:extLst>
            <c:ext xmlns:c16="http://schemas.microsoft.com/office/drawing/2014/chart" uri="{C3380CC4-5D6E-409C-BE32-E72D297353CC}">
              <c16:uniqueId val="{00000008-301B-4E05-9AE3-4824B6C7FC26}"/>
            </c:ext>
          </c:extLst>
        </c:ser>
        <c:dLbls>
          <c:showLegendKey val="0"/>
          <c:showVal val="0"/>
          <c:showCatName val="0"/>
          <c:showSerName val="0"/>
          <c:showPercent val="0"/>
          <c:showBubbleSize val="0"/>
        </c:dLbls>
        <c:marker val="1"/>
        <c:smooth val="0"/>
        <c:axId val="2"/>
        <c:axId val="3"/>
      </c:lineChart>
      <c:catAx>
        <c:axId val="1771068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771068431"/>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093.9667039999999"/>
          <c:min val="0"/>
        </c:scaling>
        <c:delete val="0"/>
        <c:axPos val="r"/>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
        <c:crosses val="max"/>
        <c:crossBetween val="between"/>
      </c:valAx>
    </c:plotArea>
    <c:plotVisOnly val="0"/>
    <c:dispBlanksAs val="gap"/>
    <c:showDLblsOverMax val="1"/>
  </c:chart>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4.8643592142188961E-2"/>
          <c:w val="0.96069538926681786"/>
          <c:h val="0.90271281571562212"/>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val>
            <c:numRef>
              <c:f>Sheet1!$A$1:$D$1</c:f>
              <c:numCache>
                <c:formatCode>General</c:formatCode>
                <c:ptCount val="4"/>
                <c:pt idx="0">
                  <c:v>133.86999999999998</c:v>
                </c:pt>
                <c:pt idx="1">
                  <c:v>106.68999999999997</c:v>
                </c:pt>
                <c:pt idx="2">
                  <c:v>109.19999999999999</c:v>
                </c:pt>
                <c:pt idx="3">
                  <c:v>95.359999999999985</c:v>
                </c:pt>
              </c:numCache>
            </c:numRef>
          </c:val>
          <c:extLst>
            <c:ext xmlns:c16="http://schemas.microsoft.com/office/drawing/2014/chart" uri="{C3380CC4-5D6E-409C-BE32-E72D297353CC}">
              <c16:uniqueId val="{00000000-EFF6-431C-AD7D-A776F1808F27}"/>
            </c:ext>
          </c:extLst>
        </c:ser>
        <c:ser>
          <c:idx val="1"/>
          <c:order val="1"/>
          <c:spPr>
            <a:solidFill>
              <a:schemeClr val="accent2"/>
            </a:solidFill>
            <a:ln w="9525" cmpd="sng" algn="ctr">
              <a:solidFill>
                <a:schemeClr val="bg1"/>
              </a:solidFill>
              <a:prstDash val="solid"/>
            </a:ln>
          </c:spPr>
          <c:invertIfNegative val="0"/>
          <c:val>
            <c:numRef>
              <c:f>Sheet1!$A$2:$D$2</c:f>
              <c:numCache>
                <c:formatCode>General</c:formatCode>
                <c:ptCount val="4"/>
                <c:pt idx="0">
                  <c:v>118.84399999999999</c:v>
                </c:pt>
                <c:pt idx="1">
                  <c:v>118.84399999999999</c:v>
                </c:pt>
                <c:pt idx="2">
                  <c:v>118.84399999999999</c:v>
                </c:pt>
                <c:pt idx="3">
                  <c:v>118.84399999999999</c:v>
                </c:pt>
              </c:numCache>
            </c:numRef>
          </c:val>
          <c:extLst>
            <c:ext xmlns:c16="http://schemas.microsoft.com/office/drawing/2014/chart" uri="{C3380CC4-5D6E-409C-BE32-E72D297353CC}">
              <c16:uniqueId val="{00000001-EFF6-431C-AD7D-A776F1808F27}"/>
            </c:ext>
          </c:extLst>
        </c:ser>
        <c:ser>
          <c:idx val="2"/>
          <c:order val="2"/>
          <c:spPr>
            <a:solidFill>
              <a:srgbClr val="C3CFE1"/>
            </a:solidFill>
            <a:ln w="9525" cmpd="sng" algn="ctr">
              <a:solidFill>
                <a:schemeClr val="bg1"/>
              </a:solidFill>
              <a:prstDash val="solid"/>
            </a:ln>
          </c:spPr>
          <c:invertIfNegative val="0"/>
          <c:val>
            <c:numRef>
              <c:f>Sheet1!$A$3:$D$3</c:f>
              <c:numCache>
                <c:formatCode>General</c:formatCode>
                <c:ptCount val="4"/>
                <c:pt idx="0">
                  <c:v>420.08000000000004</c:v>
                </c:pt>
                <c:pt idx="1">
                  <c:v>236.6</c:v>
                </c:pt>
                <c:pt idx="2">
                  <c:v>190.27999999999997</c:v>
                </c:pt>
                <c:pt idx="3">
                  <c:v>184.69000000000003</c:v>
                </c:pt>
              </c:numCache>
            </c:numRef>
          </c:val>
          <c:extLst>
            <c:ext xmlns:c16="http://schemas.microsoft.com/office/drawing/2014/chart" uri="{C3380CC4-5D6E-409C-BE32-E72D297353CC}">
              <c16:uniqueId val="{00000002-EFF6-431C-AD7D-A776F1808F27}"/>
            </c:ext>
          </c:extLst>
        </c:ser>
        <c:dLbls>
          <c:showLegendKey val="0"/>
          <c:showVal val="0"/>
          <c:showCatName val="0"/>
          <c:showSerName val="0"/>
          <c:showPercent val="0"/>
          <c:showBubbleSize val="0"/>
        </c:dLbls>
        <c:gapWidth val="80"/>
        <c:overlap val="100"/>
        <c:axId val="264146943"/>
        <c:axId val="1"/>
      </c:barChart>
      <c:catAx>
        <c:axId val="2641469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72.79399999999998"/>
          <c:min val="0"/>
        </c:scaling>
        <c:delete val="1"/>
        <c:axPos val="l"/>
        <c:numFmt formatCode="General" sourceLinked="1"/>
        <c:majorTickMark val="out"/>
        <c:minorTickMark val="none"/>
        <c:tickLblPos val="nextTo"/>
        <c:crossAx val="264146943"/>
        <c:crosses val="min"/>
        <c:crossBetween val="between"/>
      </c:valAx>
    </c:plotArea>
    <c:plotVisOnly val="0"/>
    <c:dispBlanksAs val="gap"/>
    <c:showDLblsOverMax val="1"/>
  </c:chart>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73535952557451E-2"/>
          <c:y val="4.8643592142188961E-2"/>
          <c:w val="0.96145292809488514"/>
          <c:h val="0.90271281571562212"/>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val>
            <c:numRef>
              <c:f>Sheet1!$A$1:$D$1</c:f>
              <c:numCache>
                <c:formatCode>General</c:formatCode>
                <c:ptCount val="4"/>
                <c:pt idx="0">
                  <c:v>25.407140000000076</c:v>
                </c:pt>
                <c:pt idx="1">
                  <c:v>33.011760000000038</c:v>
                </c:pt>
                <c:pt idx="2">
                  <c:v>29.748970000000064</c:v>
                </c:pt>
                <c:pt idx="3">
                  <c:v>24.363240000000104</c:v>
                </c:pt>
              </c:numCache>
            </c:numRef>
          </c:val>
          <c:extLst>
            <c:ext xmlns:c16="http://schemas.microsoft.com/office/drawing/2014/chart" uri="{C3380CC4-5D6E-409C-BE32-E72D297353CC}">
              <c16:uniqueId val="{00000000-F8D3-4732-A029-F9495868C24E}"/>
            </c:ext>
          </c:extLst>
        </c:ser>
        <c:ser>
          <c:idx val="1"/>
          <c:order val="1"/>
          <c:spPr>
            <a:solidFill>
              <a:schemeClr val="accent2"/>
            </a:solidFill>
            <a:ln w="9525" cmpd="sng" algn="ctr">
              <a:solidFill>
                <a:schemeClr val="bg1"/>
              </a:solidFill>
              <a:prstDash val="solid"/>
            </a:ln>
          </c:spPr>
          <c:invertIfNegative val="0"/>
          <c:val>
            <c:numRef>
              <c:f>Sheet1!$A$2:$D$2</c:f>
              <c:numCache>
                <c:formatCode>General</c:formatCode>
                <c:ptCount val="4"/>
                <c:pt idx="0">
                  <c:v>24.297000000000004</c:v>
                </c:pt>
                <c:pt idx="1">
                  <c:v>24.206000000000003</c:v>
                </c:pt>
                <c:pt idx="2">
                  <c:v>20.566000000000003</c:v>
                </c:pt>
                <c:pt idx="3">
                  <c:v>20.566000000000003</c:v>
                </c:pt>
              </c:numCache>
            </c:numRef>
          </c:val>
          <c:extLst>
            <c:ext xmlns:c16="http://schemas.microsoft.com/office/drawing/2014/chart" uri="{C3380CC4-5D6E-409C-BE32-E72D297353CC}">
              <c16:uniqueId val="{00000001-F8D3-4732-A029-F9495868C24E}"/>
            </c:ext>
          </c:extLst>
        </c:ser>
        <c:ser>
          <c:idx val="2"/>
          <c:order val="2"/>
          <c:spPr>
            <a:solidFill>
              <a:srgbClr val="C3CFE1"/>
            </a:solidFill>
            <a:ln w="9525" cmpd="sng" algn="ctr">
              <a:solidFill>
                <a:schemeClr val="bg1"/>
              </a:solidFill>
              <a:prstDash val="solid"/>
            </a:ln>
          </c:spPr>
          <c:invertIfNegative val="0"/>
          <c:val>
            <c:numRef>
              <c:f>Sheet1!$A$3:$D$3</c:f>
              <c:numCache>
                <c:formatCode>General</c:formatCode>
                <c:ptCount val="4"/>
                <c:pt idx="0">
                  <c:v>80.291519999999821</c:v>
                </c:pt>
                <c:pt idx="1">
                  <c:v>34.920239999999851</c:v>
                </c:pt>
                <c:pt idx="2">
                  <c:v>30.354789999999916</c:v>
                </c:pt>
                <c:pt idx="3">
                  <c:v>24.416289999999918</c:v>
                </c:pt>
              </c:numCache>
            </c:numRef>
          </c:val>
          <c:extLst>
            <c:ext xmlns:c16="http://schemas.microsoft.com/office/drawing/2014/chart" uri="{C3380CC4-5D6E-409C-BE32-E72D297353CC}">
              <c16:uniqueId val="{00000002-F8D3-4732-A029-F9495868C24E}"/>
            </c:ext>
          </c:extLst>
        </c:ser>
        <c:dLbls>
          <c:showLegendKey val="0"/>
          <c:showVal val="0"/>
          <c:showCatName val="0"/>
          <c:showSerName val="0"/>
          <c:showPercent val="0"/>
          <c:showBubbleSize val="0"/>
        </c:dLbls>
        <c:gapWidth val="80"/>
        <c:overlap val="100"/>
        <c:axId val="1554848240"/>
        <c:axId val="1"/>
      </c:barChart>
      <c:catAx>
        <c:axId val="1554848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9.9956599999999"/>
          <c:min val="0"/>
        </c:scaling>
        <c:delete val="1"/>
        <c:axPos val="l"/>
        <c:numFmt formatCode="General" sourceLinked="1"/>
        <c:majorTickMark val="out"/>
        <c:minorTickMark val="none"/>
        <c:tickLblPos val="nextTo"/>
        <c:crossAx val="1554848240"/>
        <c:crosses val="min"/>
        <c:crossBetween val="between"/>
      </c:valAx>
    </c:plotArea>
    <c:plotVisOnly val="0"/>
    <c:dispBlanksAs val="gap"/>
    <c:showDLblsOverMax val="1"/>
  </c:chart>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4.8643592142188961E-2"/>
          <c:w val="0.96069538926681786"/>
          <c:h val="0.90271281571562212"/>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val>
            <c:numRef>
              <c:f>Sheet1!$A$1:$D$1</c:f>
              <c:numCache>
                <c:formatCode>General</c:formatCode>
                <c:ptCount val="4"/>
                <c:pt idx="0">
                  <c:v>25.063829954377795</c:v>
                </c:pt>
                <c:pt idx="1">
                  <c:v>20.033333336423723</c:v>
                </c:pt>
                <c:pt idx="2">
                  <c:v>14.561603414050598</c:v>
                </c:pt>
                <c:pt idx="3">
                  <c:v>12.868252435371121</c:v>
                </c:pt>
              </c:numCache>
            </c:numRef>
          </c:val>
          <c:extLst>
            <c:ext xmlns:c16="http://schemas.microsoft.com/office/drawing/2014/chart" uri="{C3380CC4-5D6E-409C-BE32-E72D297353CC}">
              <c16:uniqueId val="{00000000-D3B8-40D8-8BBF-8A797ABD45FC}"/>
            </c:ext>
          </c:extLst>
        </c:ser>
        <c:ser>
          <c:idx val="1"/>
          <c:order val="1"/>
          <c:spPr>
            <a:solidFill>
              <a:srgbClr val="C3CFE1"/>
            </a:solidFill>
            <a:ln w="9525" cmpd="sng" algn="ctr">
              <a:solidFill>
                <a:schemeClr val="bg1"/>
              </a:solidFill>
              <a:prstDash val="solid"/>
            </a:ln>
          </c:spPr>
          <c:invertIfNegative val="0"/>
          <c:val>
            <c:numRef>
              <c:f>Sheet1!$A$2:$D$2</c:f>
              <c:numCache>
                <c:formatCode>General</c:formatCode>
                <c:ptCount val="4"/>
                <c:pt idx="0">
                  <c:v>100.22396017309677</c:v>
                </c:pt>
                <c:pt idx="1">
                  <c:v>80.35087392620423</c:v>
                </c:pt>
                <c:pt idx="2">
                  <c:v>81.346263415293976</c:v>
                </c:pt>
                <c:pt idx="3">
                  <c:v>77.811483436471576</c:v>
                </c:pt>
              </c:numCache>
            </c:numRef>
          </c:val>
          <c:extLst>
            <c:ext xmlns:c16="http://schemas.microsoft.com/office/drawing/2014/chart" uri="{C3380CC4-5D6E-409C-BE32-E72D297353CC}">
              <c16:uniqueId val="{00000001-D3B8-40D8-8BBF-8A797ABD45FC}"/>
            </c:ext>
          </c:extLst>
        </c:ser>
        <c:dLbls>
          <c:showLegendKey val="0"/>
          <c:showVal val="0"/>
          <c:showCatName val="0"/>
          <c:showSerName val="0"/>
          <c:showPercent val="0"/>
          <c:showBubbleSize val="0"/>
        </c:dLbls>
        <c:gapWidth val="80"/>
        <c:overlap val="100"/>
        <c:axId val="1554854480"/>
        <c:axId val="1"/>
      </c:barChart>
      <c:catAx>
        <c:axId val="15548544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5.28779012747457"/>
          <c:min val="0"/>
        </c:scaling>
        <c:delete val="1"/>
        <c:axPos val="l"/>
        <c:numFmt formatCode="General" sourceLinked="1"/>
        <c:majorTickMark val="out"/>
        <c:minorTickMark val="none"/>
        <c:tickLblPos val="nextTo"/>
        <c:crossAx val="1554854480"/>
        <c:crosses val="min"/>
        <c:crossBetween val="between"/>
      </c:valAx>
    </c:plotArea>
    <c:plotVisOnly val="0"/>
    <c:dispBlanksAs val="gap"/>
    <c:showDLblsOverMax val="1"/>
  </c:chart>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0-F02D-4A91-A6F7-8D7CE43E6945}"/>
              </c:ext>
            </c:extLst>
          </c:dPt>
          <c:val>
            <c:numRef>
              <c:f>Sheet1!$A$1:$C$1</c:f>
              <c:numCache>
                <c:formatCode>General</c:formatCode>
                <c:ptCount val="3"/>
                <c:pt idx="0">
                  <c:v>13</c:v>
                </c:pt>
                <c:pt idx="1">
                  <c:v>9</c:v>
                </c:pt>
                <c:pt idx="2">
                  <c:v>0</c:v>
                </c:pt>
              </c:numCache>
            </c:numRef>
          </c:val>
          <c:extLst>
            <c:ext xmlns:c16="http://schemas.microsoft.com/office/drawing/2014/chart" uri="{C3380CC4-5D6E-409C-BE32-E72D297353CC}">
              <c16:uniqueId val="{00000001-F02D-4A91-A6F7-8D7CE43E6945}"/>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2">
                  <c:v>0</c:v>
                </c:pt>
              </c:numCache>
            </c:numRef>
          </c:val>
          <c:extLst>
            <c:ext xmlns:c16="http://schemas.microsoft.com/office/drawing/2014/chart" uri="{C3380CC4-5D6E-409C-BE32-E72D297353CC}">
              <c16:uniqueId val="{00000002-F02D-4A91-A6F7-8D7CE43E6945}"/>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2">
                  <c:v>0</c:v>
                </c:pt>
              </c:numCache>
            </c:numRef>
          </c:val>
          <c:extLst>
            <c:ext xmlns:c16="http://schemas.microsoft.com/office/drawing/2014/chart" uri="{C3380CC4-5D6E-409C-BE32-E72D297353CC}">
              <c16:uniqueId val="{00000003-F02D-4A91-A6F7-8D7CE43E6945}"/>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2">
                  <c:v>0</c:v>
                </c:pt>
              </c:numCache>
            </c:numRef>
          </c:val>
          <c:extLst>
            <c:ext xmlns:c16="http://schemas.microsoft.com/office/drawing/2014/chart" uri="{C3380CC4-5D6E-409C-BE32-E72D297353CC}">
              <c16:uniqueId val="{00000004-F02D-4A91-A6F7-8D7CE43E6945}"/>
            </c:ext>
          </c:extLst>
        </c:ser>
        <c:ser>
          <c:idx val="4"/>
          <c:order val="4"/>
          <c:spPr>
            <a:solidFill>
              <a:schemeClr val="accent3"/>
            </a:solidFill>
            <a:ln w="9525" cmpd="sng" algn="ctr">
              <a:solidFill>
                <a:schemeClr val="bg1"/>
              </a:solidFill>
              <a:prstDash val="solid"/>
            </a:ln>
          </c:spPr>
          <c:invertIfNegative val="0"/>
          <c:val>
            <c:numRef>
              <c:f>Sheet1!$A$5:$C$5</c:f>
              <c:numCache>
                <c:formatCode>General</c:formatCode>
                <c:ptCount val="3"/>
                <c:pt idx="2">
                  <c:v>0</c:v>
                </c:pt>
              </c:numCache>
            </c:numRef>
          </c:val>
          <c:extLst>
            <c:ext xmlns:c16="http://schemas.microsoft.com/office/drawing/2014/chart" uri="{C3380CC4-5D6E-409C-BE32-E72D297353CC}">
              <c16:uniqueId val="{00000005-F02D-4A91-A6F7-8D7CE43E6945}"/>
            </c:ext>
          </c:extLst>
        </c:ser>
        <c:dLbls>
          <c:showLegendKey val="0"/>
          <c:showVal val="0"/>
          <c:showCatName val="0"/>
          <c:showSerName val="0"/>
          <c:showPercent val="0"/>
          <c:showBubbleSize val="0"/>
        </c:dLbls>
        <c:gapWidth val="0"/>
        <c:overlap val="100"/>
        <c:axId val="1484505599"/>
        <c:axId val="1"/>
      </c:barChart>
      <c:catAx>
        <c:axId val="148450559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84505599"/>
        <c:crosses val="min"/>
        <c:crossBetween val="between"/>
      </c:valAx>
    </c:plotArea>
    <c:plotVisOnly val="0"/>
    <c:dispBlanksAs val="gap"/>
    <c:showDLblsOverMax val="1"/>
  </c:chart>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0-416C-487A-8A59-8FFEC3F43AB8}"/>
              </c:ext>
            </c:extLst>
          </c:dPt>
          <c:val>
            <c:numRef>
              <c:f>Sheet1!$A$1:$C$1</c:f>
              <c:numCache>
                <c:formatCode>General</c:formatCode>
                <c:ptCount val="3"/>
                <c:pt idx="0">
                  <c:v>13</c:v>
                </c:pt>
                <c:pt idx="1">
                  <c:v>9</c:v>
                </c:pt>
                <c:pt idx="2">
                  <c:v>0</c:v>
                </c:pt>
              </c:numCache>
            </c:numRef>
          </c:val>
          <c:extLst>
            <c:ext xmlns:c16="http://schemas.microsoft.com/office/drawing/2014/chart" uri="{C3380CC4-5D6E-409C-BE32-E72D297353CC}">
              <c16:uniqueId val="{00000001-416C-487A-8A59-8FFEC3F43AB8}"/>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2">
                  <c:v>0</c:v>
                </c:pt>
              </c:numCache>
            </c:numRef>
          </c:val>
          <c:extLst>
            <c:ext xmlns:c16="http://schemas.microsoft.com/office/drawing/2014/chart" uri="{C3380CC4-5D6E-409C-BE32-E72D297353CC}">
              <c16:uniqueId val="{00000002-416C-487A-8A59-8FFEC3F43AB8}"/>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2">
                  <c:v>0</c:v>
                </c:pt>
              </c:numCache>
            </c:numRef>
          </c:val>
          <c:extLst>
            <c:ext xmlns:c16="http://schemas.microsoft.com/office/drawing/2014/chart" uri="{C3380CC4-5D6E-409C-BE32-E72D297353CC}">
              <c16:uniqueId val="{00000003-416C-487A-8A59-8FFEC3F43AB8}"/>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2">
                  <c:v>0</c:v>
                </c:pt>
              </c:numCache>
            </c:numRef>
          </c:val>
          <c:extLst>
            <c:ext xmlns:c16="http://schemas.microsoft.com/office/drawing/2014/chart" uri="{C3380CC4-5D6E-409C-BE32-E72D297353CC}">
              <c16:uniqueId val="{00000004-416C-487A-8A59-8FFEC3F43AB8}"/>
            </c:ext>
          </c:extLst>
        </c:ser>
        <c:ser>
          <c:idx val="4"/>
          <c:order val="4"/>
          <c:spPr>
            <a:solidFill>
              <a:srgbClr val="DF5327"/>
            </a:solidFill>
            <a:ln w="9525" cmpd="sng" algn="ctr">
              <a:solidFill>
                <a:schemeClr val="bg1"/>
              </a:solidFill>
              <a:prstDash val="solid"/>
            </a:ln>
          </c:spPr>
          <c:invertIfNegative val="0"/>
          <c:val>
            <c:numRef>
              <c:f>Sheet1!$A$5:$C$5</c:f>
              <c:numCache>
                <c:formatCode>General</c:formatCode>
                <c:ptCount val="3"/>
                <c:pt idx="2">
                  <c:v>0</c:v>
                </c:pt>
              </c:numCache>
            </c:numRef>
          </c:val>
          <c:extLst>
            <c:ext xmlns:c16="http://schemas.microsoft.com/office/drawing/2014/chart" uri="{C3380CC4-5D6E-409C-BE32-E72D297353CC}">
              <c16:uniqueId val="{00000005-416C-487A-8A59-8FFEC3F43AB8}"/>
            </c:ext>
          </c:extLst>
        </c:ser>
        <c:dLbls>
          <c:showLegendKey val="0"/>
          <c:showVal val="0"/>
          <c:showCatName val="0"/>
          <c:showSerName val="0"/>
          <c:showPercent val="0"/>
          <c:showBubbleSize val="0"/>
        </c:dLbls>
        <c:gapWidth val="0"/>
        <c:overlap val="100"/>
        <c:axId val="1484485439"/>
        <c:axId val="1"/>
      </c:barChart>
      <c:catAx>
        <c:axId val="148448543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84485439"/>
        <c:crosses val="min"/>
        <c:crossBetween val="between"/>
      </c:valAx>
    </c:plotArea>
    <c:plotVisOnly val="0"/>
    <c:dispBlanksAs val="gap"/>
    <c:showDLblsOverMax val="1"/>
  </c:chart>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chemeClr val="accent2"/>
            </a:solidFill>
            <a:ln w="9525" cmpd="sng" algn="ctr">
              <a:solidFill>
                <a:schemeClr val="bg1"/>
              </a:solidFill>
              <a:prstDash val="solid"/>
            </a:ln>
          </c:spPr>
          <c:invertIfNegative val="0"/>
          <c:dPt>
            <c:idx val="0"/>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0-7251-4A06-BD29-C45E052870B1}"/>
              </c:ext>
            </c:extLst>
          </c:dPt>
          <c:val>
            <c:numRef>
              <c:f>Sheet1!$A$1:$C$1</c:f>
              <c:numCache>
                <c:formatCode>General</c:formatCode>
                <c:ptCount val="3"/>
                <c:pt idx="0">
                  <c:v>11</c:v>
                </c:pt>
                <c:pt idx="1">
                  <c:v>7.0000000000000009</c:v>
                </c:pt>
                <c:pt idx="2">
                  <c:v>0</c:v>
                </c:pt>
              </c:numCache>
            </c:numRef>
          </c:val>
          <c:extLst>
            <c:ext xmlns:c16="http://schemas.microsoft.com/office/drawing/2014/chart" uri="{C3380CC4-5D6E-409C-BE32-E72D297353CC}">
              <c16:uniqueId val="{00000001-7251-4A06-BD29-C45E052870B1}"/>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2">
                  <c:v>0</c:v>
                </c:pt>
              </c:numCache>
            </c:numRef>
          </c:val>
          <c:extLst>
            <c:ext xmlns:c16="http://schemas.microsoft.com/office/drawing/2014/chart" uri="{C3380CC4-5D6E-409C-BE32-E72D297353CC}">
              <c16:uniqueId val="{00000002-7251-4A06-BD29-C45E052870B1}"/>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2">
                  <c:v>0</c:v>
                </c:pt>
              </c:numCache>
            </c:numRef>
          </c:val>
          <c:extLst>
            <c:ext xmlns:c16="http://schemas.microsoft.com/office/drawing/2014/chart" uri="{C3380CC4-5D6E-409C-BE32-E72D297353CC}">
              <c16:uniqueId val="{00000003-7251-4A06-BD29-C45E052870B1}"/>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2">
                  <c:v>0</c:v>
                </c:pt>
              </c:numCache>
            </c:numRef>
          </c:val>
          <c:extLst>
            <c:ext xmlns:c16="http://schemas.microsoft.com/office/drawing/2014/chart" uri="{C3380CC4-5D6E-409C-BE32-E72D297353CC}">
              <c16:uniqueId val="{00000004-7251-4A06-BD29-C45E052870B1}"/>
            </c:ext>
          </c:extLst>
        </c:ser>
        <c:ser>
          <c:idx val="4"/>
          <c:order val="4"/>
          <c:spPr>
            <a:solidFill>
              <a:srgbClr val="DF5327"/>
            </a:solidFill>
            <a:ln w="9525" cmpd="sng" algn="ctr">
              <a:solidFill>
                <a:schemeClr val="bg1"/>
              </a:solidFill>
              <a:prstDash val="solid"/>
            </a:ln>
          </c:spPr>
          <c:invertIfNegative val="0"/>
          <c:val>
            <c:numRef>
              <c:f>Sheet1!$A$5:$C$5</c:f>
              <c:numCache>
                <c:formatCode>General</c:formatCode>
                <c:ptCount val="3"/>
                <c:pt idx="2">
                  <c:v>0</c:v>
                </c:pt>
              </c:numCache>
            </c:numRef>
          </c:val>
          <c:extLst>
            <c:ext xmlns:c16="http://schemas.microsoft.com/office/drawing/2014/chart" uri="{C3380CC4-5D6E-409C-BE32-E72D297353CC}">
              <c16:uniqueId val="{00000005-7251-4A06-BD29-C45E052870B1}"/>
            </c:ext>
          </c:extLst>
        </c:ser>
        <c:dLbls>
          <c:showLegendKey val="0"/>
          <c:showVal val="0"/>
          <c:showCatName val="0"/>
          <c:showSerName val="0"/>
          <c:showPercent val="0"/>
          <c:showBubbleSize val="0"/>
        </c:dLbls>
        <c:gapWidth val="0"/>
        <c:overlap val="100"/>
        <c:axId val="1484481599"/>
        <c:axId val="1"/>
      </c:barChart>
      <c:catAx>
        <c:axId val="148448159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1484481599"/>
        <c:crosses val="min"/>
        <c:crossBetween val="between"/>
      </c:valAx>
    </c:plotArea>
    <c:plotVisOnly val="0"/>
    <c:dispBlanksAs val="gap"/>
    <c:showDLblsOverMax val="1"/>
  </c:chart>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CFDE63"/>
            </a:solidFill>
            <a:ln w="9525" cmpd="sng" algn="ctr">
              <a:solidFill>
                <a:schemeClr val="bg1"/>
              </a:solidFill>
              <a:prstDash val="solid"/>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4591-4AED-9EED-9F2D8026A1DA}"/>
              </c:ext>
            </c:extLst>
          </c:dPt>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1-4591-4AED-9EED-9F2D8026A1DA}"/>
              </c:ext>
            </c:extLst>
          </c:dPt>
          <c:val>
            <c:numRef>
              <c:f>Sheet1!$A$1:$C$1</c:f>
              <c:numCache>
                <c:formatCode>General</c:formatCode>
                <c:ptCount val="3"/>
                <c:pt idx="0">
                  <c:v>5</c:v>
                </c:pt>
                <c:pt idx="1">
                  <c:v>7.0000000000000009</c:v>
                </c:pt>
                <c:pt idx="2">
                  <c:v>9</c:v>
                </c:pt>
              </c:numCache>
            </c:numRef>
          </c:val>
          <c:extLst>
            <c:ext xmlns:c16="http://schemas.microsoft.com/office/drawing/2014/chart" uri="{C3380CC4-5D6E-409C-BE32-E72D297353CC}">
              <c16:uniqueId val="{00000002-4591-4AED-9EED-9F2D8026A1DA}"/>
            </c:ext>
          </c:extLst>
        </c:ser>
        <c:dLbls>
          <c:showLegendKey val="0"/>
          <c:showVal val="0"/>
          <c:showCatName val="0"/>
          <c:showSerName val="0"/>
          <c:showPercent val="0"/>
          <c:showBubbleSize val="0"/>
        </c:dLbls>
        <c:gapWidth val="0"/>
        <c:overlap val="100"/>
        <c:axId val="1484502719"/>
        <c:axId val="1"/>
      </c:barChart>
      <c:catAx>
        <c:axId val="148450271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1484502719"/>
        <c:crosses val="min"/>
        <c:crossBetween val="between"/>
      </c:valAx>
    </c:plotArea>
    <c:plotVisOnly val="0"/>
    <c:dispBlanksAs val="gap"/>
    <c:showDLblsOverMax val="1"/>
  </c:chart>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CFDE63"/>
            </a:solidFill>
            <a:ln w="9525" cmpd="sng" algn="ctr">
              <a:solidFill>
                <a:schemeClr val="bg1"/>
              </a:solidFill>
              <a:prstDash val="solid"/>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681A-462A-B1FD-5BDA4ED8BE7D}"/>
              </c:ext>
            </c:extLst>
          </c:dPt>
          <c:val>
            <c:numRef>
              <c:f>Sheet1!$A$1:$C$1</c:f>
              <c:numCache>
                <c:formatCode>General</c:formatCode>
                <c:ptCount val="3"/>
                <c:pt idx="0">
                  <c:v>5</c:v>
                </c:pt>
                <c:pt idx="1">
                  <c:v>9</c:v>
                </c:pt>
                <c:pt idx="2">
                  <c:v>9</c:v>
                </c:pt>
              </c:numCache>
            </c:numRef>
          </c:val>
          <c:extLst>
            <c:ext xmlns:c16="http://schemas.microsoft.com/office/drawing/2014/chart" uri="{C3380CC4-5D6E-409C-BE32-E72D297353CC}">
              <c16:uniqueId val="{00000001-681A-462A-B1FD-5BDA4ED8BE7D}"/>
            </c:ext>
          </c:extLst>
        </c:ser>
        <c:dLbls>
          <c:showLegendKey val="0"/>
          <c:showVal val="0"/>
          <c:showCatName val="0"/>
          <c:showSerName val="0"/>
          <c:showPercent val="0"/>
          <c:showBubbleSize val="0"/>
        </c:dLbls>
        <c:gapWidth val="0"/>
        <c:overlap val="100"/>
        <c:axId val="1484486399"/>
        <c:axId val="1"/>
      </c:barChart>
      <c:catAx>
        <c:axId val="148448639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1484486399"/>
        <c:crosses val="min"/>
        <c:crossBetween val="between"/>
      </c:valAx>
    </c:plotArea>
    <c:plotVisOnly val="0"/>
    <c:dispBlanksAs val="gap"/>
    <c:showDLblsOverMax val="1"/>
  </c:chart>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0-99D2-4CAD-A763-3CAA373732A2}"/>
              </c:ext>
            </c:extLst>
          </c:dPt>
          <c:val>
            <c:numRef>
              <c:f>Sheet1!$A$1:$C$1</c:f>
              <c:numCache>
                <c:formatCode>General</c:formatCode>
                <c:ptCount val="3"/>
                <c:pt idx="0">
                  <c:v>13</c:v>
                </c:pt>
                <c:pt idx="1">
                  <c:v>9</c:v>
                </c:pt>
                <c:pt idx="2">
                  <c:v>0</c:v>
                </c:pt>
              </c:numCache>
            </c:numRef>
          </c:val>
          <c:extLst>
            <c:ext xmlns:c16="http://schemas.microsoft.com/office/drawing/2014/chart" uri="{C3380CC4-5D6E-409C-BE32-E72D297353CC}">
              <c16:uniqueId val="{00000001-99D2-4CAD-A763-3CAA373732A2}"/>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2">
                  <c:v>0</c:v>
                </c:pt>
              </c:numCache>
            </c:numRef>
          </c:val>
          <c:extLst>
            <c:ext xmlns:c16="http://schemas.microsoft.com/office/drawing/2014/chart" uri="{C3380CC4-5D6E-409C-BE32-E72D297353CC}">
              <c16:uniqueId val="{00000002-99D2-4CAD-A763-3CAA373732A2}"/>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2">
                  <c:v>0</c:v>
                </c:pt>
              </c:numCache>
            </c:numRef>
          </c:val>
          <c:extLst>
            <c:ext xmlns:c16="http://schemas.microsoft.com/office/drawing/2014/chart" uri="{C3380CC4-5D6E-409C-BE32-E72D297353CC}">
              <c16:uniqueId val="{00000003-99D2-4CAD-A763-3CAA373732A2}"/>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2">
                  <c:v>0</c:v>
                </c:pt>
              </c:numCache>
            </c:numRef>
          </c:val>
          <c:extLst>
            <c:ext xmlns:c16="http://schemas.microsoft.com/office/drawing/2014/chart" uri="{C3380CC4-5D6E-409C-BE32-E72D297353CC}">
              <c16:uniqueId val="{00000004-99D2-4CAD-A763-3CAA373732A2}"/>
            </c:ext>
          </c:extLst>
        </c:ser>
        <c:ser>
          <c:idx val="4"/>
          <c:order val="4"/>
          <c:spPr>
            <a:solidFill>
              <a:schemeClr val="accent3"/>
            </a:solidFill>
            <a:ln w="9525" cmpd="sng" algn="ctr">
              <a:solidFill>
                <a:schemeClr val="bg1"/>
              </a:solidFill>
              <a:prstDash val="solid"/>
            </a:ln>
          </c:spPr>
          <c:invertIfNegative val="0"/>
          <c:val>
            <c:numRef>
              <c:f>Sheet1!$A$5:$C$5</c:f>
              <c:numCache>
                <c:formatCode>General</c:formatCode>
                <c:ptCount val="3"/>
                <c:pt idx="2">
                  <c:v>0</c:v>
                </c:pt>
              </c:numCache>
            </c:numRef>
          </c:val>
          <c:extLst>
            <c:ext xmlns:c16="http://schemas.microsoft.com/office/drawing/2014/chart" uri="{C3380CC4-5D6E-409C-BE32-E72D297353CC}">
              <c16:uniqueId val="{00000005-99D2-4CAD-A763-3CAA373732A2}"/>
            </c:ext>
          </c:extLst>
        </c:ser>
        <c:dLbls>
          <c:showLegendKey val="0"/>
          <c:showVal val="0"/>
          <c:showCatName val="0"/>
          <c:showSerName val="0"/>
          <c:showPercent val="0"/>
          <c:showBubbleSize val="0"/>
        </c:dLbls>
        <c:gapWidth val="0"/>
        <c:overlap val="100"/>
        <c:axId val="646435296"/>
        <c:axId val="1"/>
      </c:barChart>
      <c:catAx>
        <c:axId val="64643529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646435296"/>
        <c:crosses val="min"/>
        <c:crossBetween val="between"/>
      </c:valAx>
    </c:plotArea>
    <c:plotVisOnly val="0"/>
    <c:dispBlanksAs val="gap"/>
    <c:showDLblsOverMax val="1"/>
  </c:chart>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0-09EB-4192-B178-6633321E7837}"/>
              </c:ext>
            </c:extLst>
          </c:dPt>
          <c:dPt>
            <c:idx val="2"/>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1-09EB-4192-B178-6633321E7837}"/>
              </c:ext>
            </c:extLst>
          </c:dPt>
          <c:val>
            <c:numRef>
              <c:f>Sheet1!$A$1:$C$1</c:f>
              <c:numCache>
                <c:formatCode>General</c:formatCode>
                <c:ptCount val="3"/>
                <c:pt idx="0">
                  <c:v>10</c:v>
                </c:pt>
                <c:pt idx="1">
                  <c:v>11</c:v>
                </c:pt>
                <c:pt idx="2">
                  <c:v>9</c:v>
                </c:pt>
              </c:numCache>
            </c:numRef>
          </c:val>
          <c:extLst>
            <c:ext xmlns:c16="http://schemas.microsoft.com/office/drawing/2014/chart" uri="{C3380CC4-5D6E-409C-BE32-E72D297353CC}">
              <c16:uniqueId val="{00000002-09EB-4192-B178-6633321E7837}"/>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0">
                  <c:v>11</c:v>
                </c:pt>
              </c:numCache>
            </c:numRef>
          </c:val>
          <c:extLst>
            <c:ext xmlns:c16="http://schemas.microsoft.com/office/drawing/2014/chart" uri="{C3380CC4-5D6E-409C-BE32-E72D297353CC}">
              <c16:uniqueId val="{00000003-09EB-4192-B178-6633321E7837}"/>
            </c:ext>
          </c:extLst>
        </c:ser>
        <c:dLbls>
          <c:showLegendKey val="0"/>
          <c:showVal val="0"/>
          <c:showCatName val="0"/>
          <c:showSerName val="0"/>
          <c:showPercent val="0"/>
          <c:showBubbleSize val="0"/>
        </c:dLbls>
        <c:gapWidth val="0"/>
        <c:overlap val="100"/>
        <c:axId val="646454976"/>
        <c:axId val="1"/>
      </c:barChart>
      <c:catAx>
        <c:axId val="64645497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
          <c:min val="0"/>
        </c:scaling>
        <c:delete val="1"/>
        <c:axPos val="t"/>
        <c:numFmt formatCode="General" sourceLinked="1"/>
        <c:majorTickMark val="out"/>
        <c:minorTickMark val="none"/>
        <c:tickLblPos val="nextTo"/>
        <c:crossAx val="646454976"/>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77862595419848E-2"/>
          <c:y val="0.1078838174273859"/>
          <c:w val="0.96824427480916031"/>
          <c:h val="0.78423236514522821"/>
        </c:manualLayout>
      </c:layout>
      <c:barChart>
        <c:barDir val="col"/>
        <c:grouping val="stacked"/>
        <c:varyColors val="0"/>
        <c:ser>
          <c:idx val="0"/>
          <c:order val="0"/>
          <c:spPr>
            <a:noFill/>
            <a:ln>
              <a:noFill/>
            </a:ln>
          </c:spPr>
          <c:invertIfNegative val="0"/>
          <c:dPt>
            <c:idx val="0"/>
            <c:invertIfNegative val="0"/>
            <c:bubble3D val="0"/>
            <c:spPr>
              <a:solidFill>
                <a:schemeClr val="accent5"/>
              </a:solidFill>
              <a:ln w="9525" cmpd="sng" algn="ctr">
                <a:solidFill>
                  <a:schemeClr val="bg1"/>
                </a:solidFill>
                <a:prstDash val="solid"/>
              </a:ln>
            </c:spPr>
            <c:extLst>
              <c:ext xmlns:c16="http://schemas.microsoft.com/office/drawing/2014/chart" uri="{C3380CC4-5D6E-409C-BE32-E72D297353CC}">
                <c16:uniqueId val="{00000000-140E-4B99-9F9C-4F61C8CA5969}"/>
              </c:ext>
            </c:extLst>
          </c:dPt>
          <c:dPt>
            <c:idx val="2"/>
            <c:invertIfNegative val="0"/>
            <c:bubble3D val="0"/>
            <c:spPr>
              <a:solidFill>
                <a:srgbClr val="6F8DB9"/>
              </a:solidFill>
              <a:ln w="9525" cmpd="sng" algn="ctr">
                <a:solidFill>
                  <a:schemeClr val="bg1"/>
                </a:solidFill>
                <a:prstDash val="solid"/>
              </a:ln>
            </c:spPr>
            <c:extLst>
              <c:ext xmlns:c16="http://schemas.microsoft.com/office/drawing/2014/chart" uri="{C3380CC4-5D6E-409C-BE32-E72D297353CC}">
                <c16:uniqueId val="{00000001-140E-4B99-9F9C-4F61C8CA5969}"/>
              </c:ext>
            </c:extLst>
          </c:dPt>
          <c:val>
            <c:numRef>
              <c:f>Sheet1!$A$1:$C$1</c:f>
              <c:numCache>
                <c:formatCode>General</c:formatCode>
                <c:ptCount val="3"/>
                <c:pt idx="0">
                  <c:v>12.58</c:v>
                </c:pt>
                <c:pt idx="1">
                  <c:v>12.58</c:v>
                </c:pt>
                <c:pt idx="2">
                  <c:v>13.489999999999998</c:v>
                </c:pt>
              </c:numCache>
            </c:numRef>
          </c:val>
          <c:extLst>
            <c:ext xmlns:c16="http://schemas.microsoft.com/office/drawing/2014/chart" uri="{C3380CC4-5D6E-409C-BE32-E72D297353CC}">
              <c16:uniqueId val="{00000002-140E-4B99-9F9C-4F61C8CA5969}"/>
            </c:ext>
          </c:extLst>
        </c:ser>
        <c:ser>
          <c:idx val="1"/>
          <c:order val="1"/>
          <c:spPr>
            <a:solidFill>
              <a:schemeClr val="accent6"/>
            </a:solidFill>
            <a:ln w="9525" cmpd="sng" algn="ctr">
              <a:solidFill>
                <a:schemeClr val="bg1"/>
              </a:solidFill>
              <a:prstDash val="solid"/>
            </a:ln>
          </c:spPr>
          <c:invertIfNegative val="0"/>
          <c:val>
            <c:numRef>
              <c:f>Sheet1!$A$2:$C$2</c:f>
              <c:numCache>
                <c:formatCode>General</c:formatCode>
                <c:ptCount val="3"/>
                <c:pt idx="1">
                  <c:v>0.91000000000000014</c:v>
                </c:pt>
              </c:numCache>
            </c:numRef>
          </c:val>
          <c:extLst>
            <c:ext xmlns:c16="http://schemas.microsoft.com/office/drawing/2014/chart" uri="{C3380CC4-5D6E-409C-BE32-E72D297353CC}">
              <c16:uniqueId val="{00000003-140E-4B99-9F9C-4F61C8CA5969}"/>
            </c:ext>
          </c:extLst>
        </c:ser>
        <c:dLbls>
          <c:showLegendKey val="0"/>
          <c:showVal val="0"/>
          <c:showCatName val="0"/>
          <c:showSerName val="0"/>
          <c:showPercent val="0"/>
          <c:showBubbleSize val="0"/>
        </c:dLbls>
        <c:gapWidth val="80"/>
        <c:overlap val="100"/>
        <c:axId val="941188448"/>
        <c:axId val="1"/>
      </c:barChart>
      <c:catAx>
        <c:axId val="9411884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41188448"/>
        <c:crosses val="min"/>
        <c:crossBetween val="between"/>
      </c:valAx>
    </c:plotArea>
    <c:plotVisOnly val="0"/>
    <c:dispBlanksAs val="gap"/>
    <c:showDLblsOverMax val="1"/>
  </c:chart>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0-52B4-48C0-B25D-D07567C2B5C7}"/>
              </c:ext>
            </c:extLst>
          </c:dPt>
          <c:val>
            <c:numRef>
              <c:f>Sheet1!$A$1:$C$1</c:f>
              <c:numCache>
                <c:formatCode>General</c:formatCode>
                <c:ptCount val="3"/>
                <c:pt idx="0">
                  <c:v>13</c:v>
                </c:pt>
                <c:pt idx="1">
                  <c:v>9</c:v>
                </c:pt>
                <c:pt idx="2">
                  <c:v>0</c:v>
                </c:pt>
              </c:numCache>
            </c:numRef>
          </c:val>
          <c:extLst>
            <c:ext xmlns:c16="http://schemas.microsoft.com/office/drawing/2014/chart" uri="{C3380CC4-5D6E-409C-BE32-E72D297353CC}">
              <c16:uniqueId val="{00000001-52B4-48C0-B25D-D07567C2B5C7}"/>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2">
                  <c:v>0</c:v>
                </c:pt>
              </c:numCache>
            </c:numRef>
          </c:val>
          <c:extLst>
            <c:ext xmlns:c16="http://schemas.microsoft.com/office/drawing/2014/chart" uri="{C3380CC4-5D6E-409C-BE32-E72D297353CC}">
              <c16:uniqueId val="{00000002-52B4-48C0-B25D-D07567C2B5C7}"/>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2">
                  <c:v>0</c:v>
                </c:pt>
              </c:numCache>
            </c:numRef>
          </c:val>
          <c:extLst>
            <c:ext xmlns:c16="http://schemas.microsoft.com/office/drawing/2014/chart" uri="{C3380CC4-5D6E-409C-BE32-E72D297353CC}">
              <c16:uniqueId val="{00000003-52B4-48C0-B25D-D07567C2B5C7}"/>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2">
                  <c:v>0</c:v>
                </c:pt>
              </c:numCache>
            </c:numRef>
          </c:val>
          <c:extLst>
            <c:ext xmlns:c16="http://schemas.microsoft.com/office/drawing/2014/chart" uri="{C3380CC4-5D6E-409C-BE32-E72D297353CC}">
              <c16:uniqueId val="{00000004-52B4-48C0-B25D-D07567C2B5C7}"/>
            </c:ext>
          </c:extLst>
        </c:ser>
        <c:ser>
          <c:idx val="4"/>
          <c:order val="4"/>
          <c:spPr>
            <a:solidFill>
              <a:srgbClr val="DF5327"/>
            </a:solidFill>
            <a:ln w="9525" cmpd="sng" algn="ctr">
              <a:solidFill>
                <a:schemeClr val="bg1"/>
              </a:solidFill>
              <a:prstDash val="solid"/>
            </a:ln>
          </c:spPr>
          <c:invertIfNegative val="0"/>
          <c:val>
            <c:numRef>
              <c:f>Sheet1!$A$5:$C$5</c:f>
              <c:numCache>
                <c:formatCode>General</c:formatCode>
                <c:ptCount val="3"/>
                <c:pt idx="2">
                  <c:v>0</c:v>
                </c:pt>
              </c:numCache>
            </c:numRef>
          </c:val>
          <c:extLst>
            <c:ext xmlns:c16="http://schemas.microsoft.com/office/drawing/2014/chart" uri="{C3380CC4-5D6E-409C-BE32-E72D297353CC}">
              <c16:uniqueId val="{00000005-52B4-48C0-B25D-D07567C2B5C7}"/>
            </c:ext>
          </c:extLst>
        </c:ser>
        <c:dLbls>
          <c:showLegendKey val="0"/>
          <c:showVal val="0"/>
          <c:showCatName val="0"/>
          <c:showSerName val="0"/>
          <c:showPercent val="0"/>
          <c:showBubbleSize val="0"/>
        </c:dLbls>
        <c:gapWidth val="0"/>
        <c:overlap val="100"/>
        <c:axId val="646457856"/>
        <c:axId val="1"/>
      </c:barChart>
      <c:catAx>
        <c:axId val="6464578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646457856"/>
        <c:crosses val="min"/>
        <c:crossBetween val="between"/>
      </c:valAx>
    </c:plotArea>
    <c:plotVisOnly val="0"/>
    <c:dispBlanksAs val="gap"/>
    <c:showDLblsOverMax val="1"/>
  </c:chart>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chemeClr val="accent2"/>
            </a:solidFill>
            <a:ln w="9525" cmpd="sng" algn="ctr">
              <a:solidFill>
                <a:schemeClr val="bg1"/>
              </a:solidFill>
              <a:prstDash val="solid"/>
            </a:ln>
          </c:spPr>
          <c:invertIfNegative val="0"/>
          <c:dPt>
            <c:idx val="0"/>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0-5920-4671-942D-DC7D6FFF1B0C}"/>
              </c:ext>
            </c:extLst>
          </c:dPt>
          <c:val>
            <c:numRef>
              <c:f>Sheet1!$A$1:$C$1</c:f>
              <c:numCache>
                <c:formatCode>General</c:formatCode>
                <c:ptCount val="3"/>
                <c:pt idx="0">
                  <c:v>11</c:v>
                </c:pt>
                <c:pt idx="1">
                  <c:v>7.0000000000000009</c:v>
                </c:pt>
                <c:pt idx="2">
                  <c:v>0</c:v>
                </c:pt>
              </c:numCache>
            </c:numRef>
          </c:val>
          <c:extLst>
            <c:ext xmlns:c16="http://schemas.microsoft.com/office/drawing/2014/chart" uri="{C3380CC4-5D6E-409C-BE32-E72D297353CC}">
              <c16:uniqueId val="{00000001-5920-4671-942D-DC7D6FFF1B0C}"/>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2">
                  <c:v>0</c:v>
                </c:pt>
              </c:numCache>
            </c:numRef>
          </c:val>
          <c:extLst>
            <c:ext xmlns:c16="http://schemas.microsoft.com/office/drawing/2014/chart" uri="{C3380CC4-5D6E-409C-BE32-E72D297353CC}">
              <c16:uniqueId val="{00000002-5920-4671-942D-DC7D6FFF1B0C}"/>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2">
                  <c:v>0</c:v>
                </c:pt>
              </c:numCache>
            </c:numRef>
          </c:val>
          <c:extLst>
            <c:ext xmlns:c16="http://schemas.microsoft.com/office/drawing/2014/chart" uri="{C3380CC4-5D6E-409C-BE32-E72D297353CC}">
              <c16:uniqueId val="{00000003-5920-4671-942D-DC7D6FFF1B0C}"/>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2">
                  <c:v>0</c:v>
                </c:pt>
              </c:numCache>
            </c:numRef>
          </c:val>
          <c:extLst>
            <c:ext xmlns:c16="http://schemas.microsoft.com/office/drawing/2014/chart" uri="{C3380CC4-5D6E-409C-BE32-E72D297353CC}">
              <c16:uniqueId val="{00000004-5920-4671-942D-DC7D6FFF1B0C}"/>
            </c:ext>
          </c:extLst>
        </c:ser>
        <c:ser>
          <c:idx val="4"/>
          <c:order val="4"/>
          <c:spPr>
            <a:solidFill>
              <a:srgbClr val="DF5327"/>
            </a:solidFill>
            <a:ln w="9525" cmpd="sng" algn="ctr">
              <a:solidFill>
                <a:schemeClr val="bg1"/>
              </a:solidFill>
              <a:prstDash val="solid"/>
            </a:ln>
          </c:spPr>
          <c:invertIfNegative val="0"/>
          <c:val>
            <c:numRef>
              <c:f>Sheet1!$A$5:$C$5</c:f>
              <c:numCache>
                <c:formatCode>General</c:formatCode>
                <c:ptCount val="3"/>
                <c:pt idx="2">
                  <c:v>0</c:v>
                </c:pt>
              </c:numCache>
            </c:numRef>
          </c:val>
          <c:extLst>
            <c:ext xmlns:c16="http://schemas.microsoft.com/office/drawing/2014/chart" uri="{C3380CC4-5D6E-409C-BE32-E72D297353CC}">
              <c16:uniqueId val="{00000005-5920-4671-942D-DC7D6FFF1B0C}"/>
            </c:ext>
          </c:extLst>
        </c:ser>
        <c:dLbls>
          <c:showLegendKey val="0"/>
          <c:showVal val="0"/>
          <c:showCatName val="0"/>
          <c:showSerName val="0"/>
          <c:showPercent val="0"/>
          <c:showBubbleSize val="0"/>
        </c:dLbls>
        <c:gapWidth val="0"/>
        <c:overlap val="100"/>
        <c:axId val="646455456"/>
        <c:axId val="1"/>
      </c:barChart>
      <c:catAx>
        <c:axId val="6464554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646455456"/>
        <c:crosses val="min"/>
        <c:crossBetween val="between"/>
      </c:valAx>
    </c:plotArea>
    <c:plotVisOnly val="0"/>
    <c:dispBlanksAs val="gap"/>
    <c:showDLblsOverMax val="1"/>
  </c:chart>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CFDE63"/>
            </a:solidFill>
            <a:ln w="9525" cmpd="sng" algn="ctr">
              <a:solidFill>
                <a:schemeClr val="bg1"/>
              </a:solidFill>
              <a:prstDash val="solid"/>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BA3A-4EDF-AE4B-CB95E813E20B}"/>
              </c:ext>
            </c:extLst>
          </c:dPt>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1-BA3A-4EDF-AE4B-CB95E813E20B}"/>
              </c:ext>
            </c:extLst>
          </c:dPt>
          <c:val>
            <c:numRef>
              <c:f>Sheet1!$A$1:$C$1</c:f>
              <c:numCache>
                <c:formatCode>General</c:formatCode>
                <c:ptCount val="3"/>
                <c:pt idx="0">
                  <c:v>5</c:v>
                </c:pt>
                <c:pt idx="1">
                  <c:v>7.0000000000000009</c:v>
                </c:pt>
                <c:pt idx="2">
                  <c:v>9</c:v>
                </c:pt>
              </c:numCache>
            </c:numRef>
          </c:val>
          <c:extLst>
            <c:ext xmlns:c16="http://schemas.microsoft.com/office/drawing/2014/chart" uri="{C3380CC4-5D6E-409C-BE32-E72D297353CC}">
              <c16:uniqueId val="{00000002-BA3A-4EDF-AE4B-CB95E813E20B}"/>
            </c:ext>
          </c:extLst>
        </c:ser>
        <c:dLbls>
          <c:showLegendKey val="0"/>
          <c:showVal val="0"/>
          <c:showCatName val="0"/>
          <c:showSerName val="0"/>
          <c:showPercent val="0"/>
          <c:showBubbleSize val="0"/>
        </c:dLbls>
        <c:gapWidth val="0"/>
        <c:overlap val="100"/>
        <c:axId val="646455936"/>
        <c:axId val="1"/>
      </c:barChart>
      <c:catAx>
        <c:axId val="6464559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646455936"/>
        <c:crosses val="min"/>
        <c:crossBetween val="between"/>
      </c:valAx>
    </c:plotArea>
    <c:plotVisOnly val="0"/>
    <c:dispBlanksAs val="gap"/>
    <c:showDLblsOverMax val="1"/>
  </c:chart>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CFDE63"/>
            </a:solidFill>
            <a:ln w="9525" cmpd="sng" algn="ctr">
              <a:solidFill>
                <a:schemeClr val="bg1"/>
              </a:solidFill>
              <a:prstDash val="solid"/>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A88F-4D12-B301-B100077D09DF}"/>
              </c:ext>
            </c:extLst>
          </c:dPt>
          <c:val>
            <c:numRef>
              <c:f>Sheet1!$A$1:$C$1</c:f>
              <c:numCache>
                <c:formatCode>General</c:formatCode>
                <c:ptCount val="3"/>
                <c:pt idx="0">
                  <c:v>5</c:v>
                </c:pt>
                <c:pt idx="1">
                  <c:v>9</c:v>
                </c:pt>
                <c:pt idx="2">
                  <c:v>9</c:v>
                </c:pt>
              </c:numCache>
            </c:numRef>
          </c:val>
          <c:extLst>
            <c:ext xmlns:c16="http://schemas.microsoft.com/office/drawing/2014/chart" uri="{C3380CC4-5D6E-409C-BE32-E72D297353CC}">
              <c16:uniqueId val="{00000001-A88F-4D12-B301-B100077D09DF}"/>
            </c:ext>
          </c:extLst>
        </c:ser>
        <c:dLbls>
          <c:showLegendKey val="0"/>
          <c:showVal val="0"/>
          <c:showCatName val="0"/>
          <c:showSerName val="0"/>
          <c:showPercent val="0"/>
          <c:showBubbleSize val="0"/>
        </c:dLbls>
        <c:gapWidth val="0"/>
        <c:overlap val="100"/>
        <c:axId val="646438656"/>
        <c:axId val="1"/>
      </c:barChart>
      <c:catAx>
        <c:axId val="6464386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1"/>
        <c:axPos val="t"/>
        <c:numFmt formatCode="General" sourceLinked="1"/>
        <c:majorTickMark val="out"/>
        <c:minorTickMark val="none"/>
        <c:tickLblPos val="nextTo"/>
        <c:crossAx val="646438656"/>
        <c:crosses val="min"/>
        <c:crossBetween val="between"/>
      </c:valAx>
    </c:plotArea>
    <c:plotVisOnly val="0"/>
    <c:dispBlanksAs val="gap"/>
    <c:showDLblsOverMax val="1"/>
  </c:chart>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A6B727"/>
            </a:solidFill>
            <a:ln w="9525" cmpd="sng" algn="ctr">
              <a:solidFill>
                <a:schemeClr val="bg1"/>
              </a:solidFill>
              <a:prstDash val="solid"/>
            </a:ln>
          </c:spPr>
          <c:invertIfNegative val="0"/>
          <c:dPt>
            <c:idx val="2"/>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0-813F-455C-AB1D-473447DD1E4C}"/>
              </c:ext>
            </c:extLst>
          </c:dPt>
          <c:val>
            <c:numRef>
              <c:f>Sheet1!$A$1:$C$1</c:f>
              <c:numCache>
                <c:formatCode>General</c:formatCode>
                <c:ptCount val="3"/>
                <c:pt idx="0">
                  <c:v>11</c:v>
                </c:pt>
                <c:pt idx="1">
                  <c:v>11</c:v>
                </c:pt>
                <c:pt idx="2">
                  <c:v>9</c:v>
                </c:pt>
              </c:numCache>
            </c:numRef>
          </c:val>
          <c:extLst>
            <c:ext xmlns:c16="http://schemas.microsoft.com/office/drawing/2014/chart" uri="{C3380CC4-5D6E-409C-BE32-E72D297353CC}">
              <c16:uniqueId val="{00000001-813F-455C-AB1D-473447DD1E4C}"/>
            </c:ext>
          </c:extLst>
        </c:ser>
        <c:dLbls>
          <c:showLegendKey val="0"/>
          <c:showVal val="0"/>
          <c:showCatName val="0"/>
          <c:showSerName val="0"/>
          <c:showPercent val="0"/>
          <c:showBubbleSize val="0"/>
        </c:dLbls>
        <c:gapWidth val="0"/>
        <c:overlap val="100"/>
        <c:axId val="841987088"/>
        <c:axId val="1"/>
      </c:barChart>
      <c:catAx>
        <c:axId val="84198708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t"/>
        <c:numFmt formatCode="General" sourceLinked="1"/>
        <c:majorTickMark val="out"/>
        <c:minorTickMark val="none"/>
        <c:tickLblPos val="nextTo"/>
        <c:crossAx val="841987088"/>
        <c:crosses val="min"/>
        <c:crossBetween val="between"/>
      </c:valAx>
    </c:plotArea>
    <c:plotVisOnly val="0"/>
    <c:dispBlanksAs val="gap"/>
    <c:showDLblsOverMax val="1"/>
  </c:chart>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A6B727"/>
            </a:solidFill>
            <a:ln w="9525" cmpd="sng" algn="ctr">
              <a:solidFill>
                <a:schemeClr val="bg1"/>
              </a:solidFill>
              <a:prstDash val="solid"/>
            </a:ln>
          </c:spPr>
          <c:invertIfNegative val="0"/>
          <c:dPt>
            <c:idx val="2"/>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8007-4656-A769-E4EA461E3FF8}"/>
              </c:ext>
            </c:extLst>
          </c:dPt>
          <c:val>
            <c:numRef>
              <c:f>Sheet1!$A$1:$C$1</c:f>
              <c:numCache>
                <c:formatCode>General</c:formatCode>
                <c:ptCount val="3"/>
                <c:pt idx="0">
                  <c:v>11</c:v>
                </c:pt>
                <c:pt idx="1">
                  <c:v>11</c:v>
                </c:pt>
                <c:pt idx="2">
                  <c:v>7.0000000000000009</c:v>
                </c:pt>
              </c:numCache>
            </c:numRef>
          </c:val>
          <c:extLst>
            <c:ext xmlns:c16="http://schemas.microsoft.com/office/drawing/2014/chart" uri="{C3380CC4-5D6E-409C-BE32-E72D297353CC}">
              <c16:uniqueId val="{00000001-8007-4656-A769-E4EA461E3FF8}"/>
            </c:ext>
          </c:extLst>
        </c:ser>
        <c:dLbls>
          <c:showLegendKey val="0"/>
          <c:showVal val="0"/>
          <c:showCatName val="0"/>
          <c:showSerName val="0"/>
          <c:showPercent val="0"/>
          <c:showBubbleSize val="0"/>
        </c:dLbls>
        <c:gapWidth val="0"/>
        <c:overlap val="100"/>
        <c:axId val="841992848"/>
        <c:axId val="1"/>
      </c:barChart>
      <c:catAx>
        <c:axId val="84199284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t"/>
        <c:numFmt formatCode="General" sourceLinked="1"/>
        <c:majorTickMark val="out"/>
        <c:minorTickMark val="none"/>
        <c:tickLblPos val="nextTo"/>
        <c:crossAx val="841992848"/>
        <c:crosses val="min"/>
        <c:crossBetween val="between"/>
      </c:valAx>
    </c:plotArea>
    <c:plotVisOnly val="0"/>
    <c:dispBlanksAs val="gap"/>
    <c:showDLblsOverMax val="1"/>
  </c:chart>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CFDE63"/>
            </a:solidFill>
            <a:ln w="9525" cmpd="sng" algn="ctr">
              <a:solidFill>
                <a:schemeClr val="bg1"/>
              </a:solidFill>
              <a:prstDash val="solid"/>
            </a:ln>
          </c:spPr>
          <c:invertIfNegative val="0"/>
          <c:dPt>
            <c:idx val="2"/>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72E0-4D9B-8082-E7A18740AAB9}"/>
              </c:ext>
            </c:extLst>
          </c:dPt>
          <c:val>
            <c:numRef>
              <c:f>Sheet1!$A$1:$C$1</c:f>
              <c:numCache>
                <c:formatCode>General</c:formatCode>
                <c:ptCount val="3"/>
                <c:pt idx="0">
                  <c:v>9</c:v>
                </c:pt>
                <c:pt idx="1">
                  <c:v>9</c:v>
                </c:pt>
                <c:pt idx="2">
                  <c:v>7.0000000000000009</c:v>
                </c:pt>
              </c:numCache>
            </c:numRef>
          </c:val>
          <c:extLst>
            <c:ext xmlns:c16="http://schemas.microsoft.com/office/drawing/2014/chart" uri="{C3380CC4-5D6E-409C-BE32-E72D297353CC}">
              <c16:uniqueId val="{00000001-72E0-4D9B-8082-E7A18740AAB9}"/>
            </c:ext>
          </c:extLst>
        </c:ser>
        <c:dLbls>
          <c:showLegendKey val="0"/>
          <c:showVal val="0"/>
          <c:showCatName val="0"/>
          <c:showSerName val="0"/>
          <c:showPercent val="0"/>
          <c:showBubbleSize val="0"/>
        </c:dLbls>
        <c:gapWidth val="0"/>
        <c:overlap val="100"/>
        <c:axId val="841984208"/>
        <c:axId val="1"/>
      </c:barChart>
      <c:catAx>
        <c:axId val="84198420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t"/>
        <c:numFmt formatCode="General" sourceLinked="1"/>
        <c:majorTickMark val="out"/>
        <c:minorTickMark val="none"/>
        <c:tickLblPos val="nextTo"/>
        <c:crossAx val="841984208"/>
        <c:crosses val="min"/>
        <c:crossBetween val="between"/>
      </c:valAx>
    </c:plotArea>
    <c:plotVisOnly val="0"/>
    <c:dispBlanksAs val="gap"/>
    <c:showDLblsOverMax val="1"/>
  </c:chart>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chemeClr val="accent3"/>
            </a:solidFill>
            <a:ln w="9525" cmpd="sng" algn="ctr">
              <a:solidFill>
                <a:schemeClr val="bg1"/>
              </a:solidFill>
              <a:prstDash val="solid"/>
            </a:ln>
          </c:spPr>
          <c:invertIfNegative val="0"/>
          <c:dPt>
            <c:idx val="0"/>
            <c:invertIfNegative val="0"/>
            <c:bubble3D val="0"/>
            <c:spPr>
              <a:solidFill>
                <a:srgbClr val="657D1A"/>
              </a:solidFill>
              <a:ln w="9525" cmpd="sng" algn="ctr">
                <a:solidFill>
                  <a:schemeClr val="bg1"/>
                </a:solidFill>
                <a:prstDash val="solid"/>
              </a:ln>
            </c:spPr>
            <c:extLst>
              <c:ext xmlns:c16="http://schemas.microsoft.com/office/drawing/2014/chart" uri="{C3380CC4-5D6E-409C-BE32-E72D297353CC}">
                <c16:uniqueId val="{00000000-F1CB-4A75-A6B5-D14304990F6A}"/>
              </c:ext>
            </c:extLst>
          </c:dPt>
          <c:val>
            <c:numRef>
              <c:f>Sheet1!$A$1:$C$1</c:f>
              <c:numCache>
                <c:formatCode>General</c:formatCode>
                <c:ptCount val="3"/>
                <c:pt idx="0">
                  <c:v>0</c:v>
                </c:pt>
                <c:pt idx="1">
                  <c:v>5</c:v>
                </c:pt>
                <c:pt idx="2">
                  <c:v>5</c:v>
                </c:pt>
              </c:numCache>
            </c:numRef>
          </c:val>
          <c:extLst>
            <c:ext xmlns:c16="http://schemas.microsoft.com/office/drawing/2014/chart" uri="{C3380CC4-5D6E-409C-BE32-E72D297353CC}">
              <c16:uniqueId val="{00000001-F1CB-4A75-A6B5-D14304990F6A}"/>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0">
                  <c:v>0</c:v>
                </c:pt>
              </c:numCache>
            </c:numRef>
          </c:val>
          <c:extLst>
            <c:ext xmlns:c16="http://schemas.microsoft.com/office/drawing/2014/chart" uri="{C3380CC4-5D6E-409C-BE32-E72D297353CC}">
              <c16:uniqueId val="{00000002-F1CB-4A75-A6B5-D14304990F6A}"/>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0">
                  <c:v>0</c:v>
                </c:pt>
              </c:numCache>
            </c:numRef>
          </c:val>
          <c:extLst>
            <c:ext xmlns:c16="http://schemas.microsoft.com/office/drawing/2014/chart" uri="{C3380CC4-5D6E-409C-BE32-E72D297353CC}">
              <c16:uniqueId val="{00000003-F1CB-4A75-A6B5-D14304990F6A}"/>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0">
                  <c:v>0</c:v>
                </c:pt>
              </c:numCache>
            </c:numRef>
          </c:val>
          <c:extLst>
            <c:ext xmlns:c16="http://schemas.microsoft.com/office/drawing/2014/chart" uri="{C3380CC4-5D6E-409C-BE32-E72D297353CC}">
              <c16:uniqueId val="{00000004-F1CB-4A75-A6B5-D14304990F6A}"/>
            </c:ext>
          </c:extLst>
        </c:ser>
        <c:ser>
          <c:idx val="4"/>
          <c:order val="4"/>
          <c:spPr>
            <a:solidFill>
              <a:schemeClr val="accent3"/>
            </a:solidFill>
            <a:ln w="9525" cmpd="sng" algn="ctr">
              <a:solidFill>
                <a:schemeClr val="bg1"/>
              </a:solidFill>
              <a:prstDash val="solid"/>
            </a:ln>
          </c:spPr>
          <c:invertIfNegative val="0"/>
          <c:val>
            <c:numRef>
              <c:f>Sheet1!$A$5:$C$5</c:f>
              <c:numCache>
                <c:formatCode>General</c:formatCode>
                <c:ptCount val="3"/>
                <c:pt idx="0">
                  <c:v>0</c:v>
                </c:pt>
              </c:numCache>
            </c:numRef>
          </c:val>
          <c:extLst>
            <c:ext xmlns:c16="http://schemas.microsoft.com/office/drawing/2014/chart" uri="{C3380CC4-5D6E-409C-BE32-E72D297353CC}">
              <c16:uniqueId val="{00000005-F1CB-4A75-A6B5-D14304990F6A}"/>
            </c:ext>
          </c:extLst>
        </c:ser>
        <c:dLbls>
          <c:showLegendKey val="0"/>
          <c:showVal val="0"/>
          <c:showCatName val="0"/>
          <c:showSerName val="0"/>
          <c:showPercent val="0"/>
          <c:showBubbleSize val="0"/>
        </c:dLbls>
        <c:gapWidth val="0"/>
        <c:overlap val="100"/>
        <c:axId val="841971248"/>
        <c:axId val="1"/>
      </c:barChart>
      <c:catAx>
        <c:axId val="84197124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t"/>
        <c:numFmt formatCode="General" sourceLinked="1"/>
        <c:majorTickMark val="out"/>
        <c:minorTickMark val="none"/>
        <c:tickLblPos val="nextTo"/>
        <c:crossAx val="841971248"/>
        <c:crosses val="min"/>
        <c:crossBetween val="between"/>
      </c:valAx>
    </c:plotArea>
    <c:plotVisOnly val="0"/>
    <c:dispBlanksAs val="gap"/>
    <c:showDLblsOverMax val="1"/>
  </c:chart>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chemeClr val="accent3"/>
            </a:solidFill>
            <a:ln w="9525" cmpd="sng" algn="ctr">
              <a:solidFill>
                <a:schemeClr val="bg1"/>
              </a:solidFill>
              <a:prstDash val="solid"/>
            </a:ln>
          </c:spPr>
          <c:invertIfNegative val="0"/>
          <c:val>
            <c:numRef>
              <c:f>Sheet1!$A$1:$C$1</c:f>
              <c:numCache>
                <c:formatCode>General</c:formatCode>
                <c:ptCount val="3"/>
                <c:pt idx="0">
                  <c:v>5</c:v>
                </c:pt>
                <c:pt idx="1">
                  <c:v>5</c:v>
                </c:pt>
                <c:pt idx="2">
                  <c:v>5</c:v>
                </c:pt>
              </c:numCache>
            </c:numRef>
          </c:val>
          <c:extLst>
            <c:ext xmlns:c16="http://schemas.microsoft.com/office/drawing/2014/chart" uri="{C3380CC4-5D6E-409C-BE32-E72D297353CC}">
              <c16:uniqueId val="{00000000-E883-48DE-A26F-25B333024035}"/>
            </c:ext>
          </c:extLst>
        </c:ser>
        <c:dLbls>
          <c:showLegendKey val="0"/>
          <c:showVal val="0"/>
          <c:showCatName val="0"/>
          <c:showSerName val="0"/>
          <c:showPercent val="0"/>
          <c:showBubbleSize val="0"/>
        </c:dLbls>
        <c:gapWidth val="0"/>
        <c:overlap val="100"/>
        <c:axId val="841974608"/>
        <c:axId val="1"/>
      </c:barChart>
      <c:catAx>
        <c:axId val="84197460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t"/>
        <c:numFmt formatCode="General" sourceLinked="1"/>
        <c:majorTickMark val="out"/>
        <c:minorTickMark val="none"/>
        <c:tickLblPos val="nextTo"/>
        <c:crossAx val="841974608"/>
        <c:crosses val="min"/>
        <c:crossBetween val="between"/>
      </c:valAx>
    </c:plotArea>
    <c:plotVisOnly val="0"/>
    <c:dispBlanksAs val="gap"/>
    <c:showDLblsOverMax val="1"/>
  </c:chart>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0-53EE-4C14-B8F9-61DA2AA210CD}"/>
              </c:ext>
            </c:extLst>
          </c:dPt>
          <c:dPt>
            <c:idx val="2"/>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1-53EE-4C14-B8F9-61DA2AA210CD}"/>
              </c:ext>
            </c:extLst>
          </c:dPt>
          <c:val>
            <c:numRef>
              <c:f>Sheet1!$A$1:$C$1</c:f>
              <c:numCache>
                <c:formatCode>General</c:formatCode>
                <c:ptCount val="3"/>
                <c:pt idx="0">
                  <c:v>10</c:v>
                </c:pt>
                <c:pt idx="1">
                  <c:v>11</c:v>
                </c:pt>
                <c:pt idx="2">
                  <c:v>9</c:v>
                </c:pt>
              </c:numCache>
            </c:numRef>
          </c:val>
          <c:extLst>
            <c:ext xmlns:c16="http://schemas.microsoft.com/office/drawing/2014/chart" uri="{C3380CC4-5D6E-409C-BE32-E72D297353CC}">
              <c16:uniqueId val="{00000002-53EE-4C14-B8F9-61DA2AA210CD}"/>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0">
                  <c:v>11</c:v>
                </c:pt>
              </c:numCache>
            </c:numRef>
          </c:val>
          <c:extLst>
            <c:ext xmlns:c16="http://schemas.microsoft.com/office/drawing/2014/chart" uri="{C3380CC4-5D6E-409C-BE32-E72D297353CC}">
              <c16:uniqueId val="{00000003-53EE-4C14-B8F9-61DA2AA210CD}"/>
            </c:ext>
          </c:extLst>
        </c:ser>
        <c:dLbls>
          <c:showLegendKey val="0"/>
          <c:showVal val="0"/>
          <c:showCatName val="0"/>
          <c:showSerName val="0"/>
          <c:showPercent val="0"/>
          <c:showBubbleSize val="0"/>
        </c:dLbls>
        <c:gapWidth val="0"/>
        <c:overlap val="100"/>
        <c:axId val="842005808"/>
        <c:axId val="1"/>
      </c:barChart>
      <c:catAx>
        <c:axId val="84200580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
          <c:min val="0"/>
        </c:scaling>
        <c:delete val="1"/>
        <c:axPos val="t"/>
        <c:numFmt formatCode="General" sourceLinked="1"/>
        <c:majorTickMark val="out"/>
        <c:minorTickMark val="none"/>
        <c:tickLblPos val="nextTo"/>
        <c:crossAx val="84200580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993769470405E-2"/>
          <c:y val="0.1078838174273859"/>
          <c:w val="0.96760124610591902"/>
          <c:h val="0.78423236514522821"/>
        </c:manualLayout>
      </c:layout>
      <c:barChart>
        <c:barDir val="col"/>
        <c:grouping val="stacked"/>
        <c:varyColors val="0"/>
        <c:ser>
          <c:idx val="0"/>
          <c:order val="0"/>
          <c:spPr>
            <a:noFill/>
            <a:ln>
              <a:noFill/>
            </a:ln>
          </c:spPr>
          <c:invertIfNegative val="0"/>
          <c:dPt>
            <c:idx val="0"/>
            <c:invertIfNegative val="0"/>
            <c:bubble3D val="0"/>
            <c:spPr>
              <a:solidFill>
                <a:schemeClr val="accent5"/>
              </a:solidFill>
              <a:ln w="9525" cmpd="sng" algn="ctr">
                <a:solidFill>
                  <a:schemeClr val="bg1"/>
                </a:solidFill>
                <a:prstDash val="solid"/>
              </a:ln>
            </c:spPr>
            <c:extLst>
              <c:ext xmlns:c16="http://schemas.microsoft.com/office/drawing/2014/chart" uri="{C3380CC4-5D6E-409C-BE32-E72D297353CC}">
                <c16:uniqueId val="{00000000-B673-462D-A2BB-7EA2969CAB6A}"/>
              </c:ext>
            </c:extLst>
          </c:dPt>
          <c:dPt>
            <c:idx val="2"/>
            <c:invertIfNegative val="0"/>
            <c:bubble3D val="0"/>
            <c:spPr>
              <a:solidFill>
                <a:srgbClr val="63BE7B"/>
              </a:solidFill>
              <a:ln w="9525" cmpd="sng" algn="ctr">
                <a:solidFill>
                  <a:schemeClr val="bg1"/>
                </a:solidFill>
                <a:prstDash val="solid"/>
              </a:ln>
            </c:spPr>
            <c:extLst>
              <c:ext xmlns:c16="http://schemas.microsoft.com/office/drawing/2014/chart" uri="{C3380CC4-5D6E-409C-BE32-E72D297353CC}">
                <c16:uniqueId val="{00000001-B673-462D-A2BB-7EA2969CAB6A}"/>
              </c:ext>
            </c:extLst>
          </c:dPt>
          <c:val>
            <c:numRef>
              <c:f>Sheet1!$A$1:$C$1</c:f>
              <c:numCache>
                <c:formatCode>General</c:formatCode>
                <c:ptCount val="3"/>
                <c:pt idx="0">
                  <c:v>12.58</c:v>
                </c:pt>
                <c:pt idx="1">
                  <c:v>12.58</c:v>
                </c:pt>
                <c:pt idx="2">
                  <c:v>13.68</c:v>
                </c:pt>
              </c:numCache>
            </c:numRef>
          </c:val>
          <c:extLst>
            <c:ext xmlns:c16="http://schemas.microsoft.com/office/drawing/2014/chart" uri="{C3380CC4-5D6E-409C-BE32-E72D297353CC}">
              <c16:uniqueId val="{00000002-B673-462D-A2BB-7EA2969CAB6A}"/>
            </c:ext>
          </c:extLst>
        </c:ser>
        <c:ser>
          <c:idx val="1"/>
          <c:order val="1"/>
          <c:spPr>
            <a:solidFill>
              <a:schemeClr val="accent6"/>
            </a:solidFill>
            <a:ln w="9525" cmpd="sng" algn="ctr">
              <a:solidFill>
                <a:schemeClr val="bg1"/>
              </a:solidFill>
              <a:prstDash val="solid"/>
            </a:ln>
          </c:spPr>
          <c:invertIfNegative val="0"/>
          <c:val>
            <c:numRef>
              <c:f>Sheet1!$A$2:$C$2</c:f>
              <c:numCache>
                <c:formatCode>General</c:formatCode>
                <c:ptCount val="3"/>
                <c:pt idx="1">
                  <c:v>1.0999999999999996</c:v>
                </c:pt>
              </c:numCache>
            </c:numRef>
          </c:val>
          <c:extLst>
            <c:ext xmlns:c16="http://schemas.microsoft.com/office/drawing/2014/chart" uri="{C3380CC4-5D6E-409C-BE32-E72D297353CC}">
              <c16:uniqueId val="{00000003-B673-462D-A2BB-7EA2969CAB6A}"/>
            </c:ext>
          </c:extLst>
        </c:ser>
        <c:dLbls>
          <c:showLegendKey val="0"/>
          <c:showVal val="0"/>
          <c:showCatName val="0"/>
          <c:showSerName val="0"/>
          <c:showPercent val="0"/>
          <c:showBubbleSize val="0"/>
        </c:dLbls>
        <c:gapWidth val="80"/>
        <c:overlap val="100"/>
        <c:axId val="1126518496"/>
        <c:axId val="1"/>
      </c:barChart>
      <c:catAx>
        <c:axId val="11265184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126518496"/>
        <c:crosses val="min"/>
        <c:crossBetween val="between"/>
      </c:valAx>
    </c:plotArea>
    <c:plotVisOnly val="0"/>
    <c:dispBlanksAs val="gap"/>
    <c:showDLblsOverMax val="1"/>
  </c:chart>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0-9129-4739-959A-F163C823DE71}"/>
              </c:ext>
            </c:extLst>
          </c:dPt>
          <c:dPt>
            <c:idx val="2"/>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1-9129-4739-959A-F163C823DE71}"/>
              </c:ext>
            </c:extLst>
          </c:dPt>
          <c:val>
            <c:numRef>
              <c:f>Sheet1!$A$1:$C$1</c:f>
              <c:numCache>
                <c:formatCode>General</c:formatCode>
                <c:ptCount val="3"/>
                <c:pt idx="0">
                  <c:v>10</c:v>
                </c:pt>
                <c:pt idx="1">
                  <c:v>11</c:v>
                </c:pt>
                <c:pt idx="2">
                  <c:v>9</c:v>
                </c:pt>
              </c:numCache>
            </c:numRef>
          </c:val>
          <c:extLst>
            <c:ext xmlns:c16="http://schemas.microsoft.com/office/drawing/2014/chart" uri="{C3380CC4-5D6E-409C-BE32-E72D297353CC}">
              <c16:uniqueId val="{00000002-9129-4739-959A-F163C823DE71}"/>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0">
                  <c:v>11</c:v>
                </c:pt>
              </c:numCache>
            </c:numRef>
          </c:val>
          <c:extLst>
            <c:ext xmlns:c16="http://schemas.microsoft.com/office/drawing/2014/chart" uri="{C3380CC4-5D6E-409C-BE32-E72D297353CC}">
              <c16:uniqueId val="{00000003-9129-4739-959A-F163C823DE71}"/>
            </c:ext>
          </c:extLst>
        </c:ser>
        <c:dLbls>
          <c:showLegendKey val="0"/>
          <c:showVal val="0"/>
          <c:showCatName val="0"/>
          <c:showSerName val="0"/>
          <c:showPercent val="0"/>
          <c:showBubbleSize val="0"/>
        </c:dLbls>
        <c:gapWidth val="0"/>
        <c:overlap val="100"/>
        <c:axId val="1004792128"/>
        <c:axId val="1"/>
      </c:barChart>
      <c:catAx>
        <c:axId val="100479212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
          <c:min val="0"/>
        </c:scaling>
        <c:delete val="1"/>
        <c:axPos val="t"/>
        <c:numFmt formatCode="General" sourceLinked="1"/>
        <c:majorTickMark val="out"/>
        <c:minorTickMark val="none"/>
        <c:tickLblPos val="nextTo"/>
        <c:crossAx val="1004792128"/>
        <c:crosses val="min"/>
        <c:crossBetween val="between"/>
      </c:valAx>
    </c:plotArea>
    <c:plotVisOnly val="0"/>
    <c:dispBlanksAs val="gap"/>
    <c:showDLblsOverMax val="1"/>
  </c:chart>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0-6285-47FD-884D-9039BA7F89C9}"/>
              </c:ext>
            </c:extLst>
          </c:dPt>
          <c:val>
            <c:numRef>
              <c:f>Sheet1!$A$1:$C$1</c:f>
              <c:numCache>
                <c:formatCode>General</c:formatCode>
                <c:ptCount val="3"/>
                <c:pt idx="0">
                  <c:v>13</c:v>
                </c:pt>
                <c:pt idx="1">
                  <c:v>9</c:v>
                </c:pt>
                <c:pt idx="2">
                  <c:v>0</c:v>
                </c:pt>
              </c:numCache>
            </c:numRef>
          </c:val>
          <c:extLst>
            <c:ext xmlns:c16="http://schemas.microsoft.com/office/drawing/2014/chart" uri="{C3380CC4-5D6E-409C-BE32-E72D297353CC}">
              <c16:uniqueId val="{00000001-6285-47FD-884D-9039BA7F89C9}"/>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2">
                  <c:v>0</c:v>
                </c:pt>
              </c:numCache>
            </c:numRef>
          </c:val>
          <c:extLst>
            <c:ext xmlns:c16="http://schemas.microsoft.com/office/drawing/2014/chart" uri="{C3380CC4-5D6E-409C-BE32-E72D297353CC}">
              <c16:uniqueId val="{00000002-6285-47FD-884D-9039BA7F89C9}"/>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2">
                  <c:v>0</c:v>
                </c:pt>
              </c:numCache>
            </c:numRef>
          </c:val>
          <c:extLst>
            <c:ext xmlns:c16="http://schemas.microsoft.com/office/drawing/2014/chart" uri="{C3380CC4-5D6E-409C-BE32-E72D297353CC}">
              <c16:uniqueId val="{00000003-6285-47FD-884D-9039BA7F89C9}"/>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2">
                  <c:v>0</c:v>
                </c:pt>
              </c:numCache>
            </c:numRef>
          </c:val>
          <c:extLst>
            <c:ext xmlns:c16="http://schemas.microsoft.com/office/drawing/2014/chart" uri="{C3380CC4-5D6E-409C-BE32-E72D297353CC}">
              <c16:uniqueId val="{00000004-6285-47FD-884D-9039BA7F89C9}"/>
            </c:ext>
          </c:extLst>
        </c:ser>
        <c:ser>
          <c:idx val="4"/>
          <c:order val="4"/>
          <c:spPr>
            <a:solidFill>
              <a:schemeClr val="accent3"/>
            </a:solidFill>
            <a:ln w="9525" cmpd="sng" algn="ctr">
              <a:solidFill>
                <a:schemeClr val="bg1"/>
              </a:solidFill>
              <a:prstDash val="solid"/>
            </a:ln>
          </c:spPr>
          <c:invertIfNegative val="0"/>
          <c:val>
            <c:numRef>
              <c:f>Sheet1!$A$5:$C$5</c:f>
              <c:numCache>
                <c:formatCode>General</c:formatCode>
                <c:ptCount val="3"/>
                <c:pt idx="2">
                  <c:v>0</c:v>
                </c:pt>
              </c:numCache>
            </c:numRef>
          </c:val>
          <c:extLst>
            <c:ext xmlns:c16="http://schemas.microsoft.com/office/drawing/2014/chart" uri="{C3380CC4-5D6E-409C-BE32-E72D297353CC}">
              <c16:uniqueId val="{00000005-6285-47FD-884D-9039BA7F89C9}"/>
            </c:ext>
          </c:extLst>
        </c:ser>
        <c:dLbls>
          <c:showLegendKey val="0"/>
          <c:showVal val="0"/>
          <c:showCatName val="0"/>
          <c:showSerName val="0"/>
          <c:showPercent val="0"/>
          <c:showBubbleSize val="0"/>
        </c:dLbls>
        <c:gapWidth val="0"/>
        <c:overlap val="100"/>
        <c:axId val="1194776271"/>
        <c:axId val="1"/>
      </c:barChart>
      <c:catAx>
        <c:axId val="119477627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194776271"/>
        <c:crosses val="min"/>
        <c:crossBetween val="between"/>
      </c:valAx>
    </c:plotArea>
    <c:plotVisOnly val="0"/>
    <c:dispBlanksAs val="gap"/>
    <c:showDLblsOverMax val="1"/>
  </c:chart>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0"/>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0-D608-42FE-869D-4538E0642F5A}"/>
              </c:ext>
            </c:extLst>
          </c:dPt>
          <c:val>
            <c:numRef>
              <c:f>Sheet1!$A$1:$C$1</c:f>
              <c:numCache>
                <c:formatCode>General</c:formatCode>
                <c:ptCount val="3"/>
                <c:pt idx="0">
                  <c:v>9</c:v>
                </c:pt>
                <c:pt idx="1">
                  <c:v>13</c:v>
                </c:pt>
                <c:pt idx="2">
                  <c:v>13</c:v>
                </c:pt>
              </c:numCache>
            </c:numRef>
          </c:val>
          <c:extLst>
            <c:ext xmlns:c16="http://schemas.microsoft.com/office/drawing/2014/chart" uri="{C3380CC4-5D6E-409C-BE32-E72D297353CC}">
              <c16:uniqueId val="{00000001-D608-42FE-869D-4538E0642F5A}"/>
            </c:ext>
          </c:extLst>
        </c:ser>
        <c:dLbls>
          <c:showLegendKey val="0"/>
          <c:showVal val="0"/>
          <c:showCatName val="0"/>
          <c:showSerName val="0"/>
          <c:showPercent val="0"/>
          <c:showBubbleSize val="0"/>
        </c:dLbls>
        <c:gapWidth val="0"/>
        <c:overlap val="100"/>
        <c:axId val="588155088"/>
        <c:axId val="1"/>
      </c:barChart>
      <c:catAx>
        <c:axId val="58815508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588155088"/>
        <c:crosses val="min"/>
        <c:crossBetween val="between"/>
      </c:valAx>
    </c:plotArea>
    <c:plotVisOnly val="0"/>
    <c:dispBlanksAs val="gap"/>
    <c:showDLblsOverMax val="1"/>
  </c:chart>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8FA8-4474-AB4E-F5D26699854A}"/>
              </c:ext>
            </c:extLst>
          </c:dPt>
          <c:dPt>
            <c:idx val="2"/>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1-8FA8-4474-AB4E-F5D26699854A}"/>
              </c:ext>
            </c:extLst>
          </c:dPt>
          <c:val>
            <c:numRef>
              <c:f>Sheet1!$A$1:$C$1</c:f>
              <c:numCache>
                <c:formatCode>General</c:formatCode>
                <c:ptCount val="3"/>
                <c:pt idx="0">
                  <c:v>0</c:v>
                </c:pt>
                <c:pt idx="1">
                  <c:v>7.0000000000000009</c:v>
                </c:pt>
                <c:pt idx="2">
                  <c:v>9</c:v>
                </c:pt>
              </c:numCache>
            </c:numRef>
          </c:val>
          <c:extLst>
            <c:ext xmlns:c16="http://schemas.microsoft.com/office/drawing/2014/chart" uri="{C3380CC4-5D6E-409C-BE32-E72D297353CC}">
              <c16:uniqueId val="{00000002-8FA8-4474-AB4E-F5D26699854A}"/>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0">
                  <c:v>0</c:v>
                </c:pt>
              </c:numCache>
            </c:numRef>
          </c:val>
          <c:extLst>
            <c:ext xmlns:c16="http://schemas.microsoft.com/office/drawing/2014/chart" uri="{C3380CC4-5D6E-409C-BE32-E72D297353CC}">
              <c16:uniqueId val="{00000003-8FA8-4474-AB4E-F5D26699854A}"/>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0">
                  <c:v>0</c:v>
                </c:pt>
              </c:numCache>
            </c:numRef>
          </c:val>
          <c:extLst>
            <c:ext xmlns:c16="http://schemas.microsoft.com/office/drawing/2014/chart" uri="{C3380CC4-5D6E-409C-BE32-E72D297353CC}">
              <c16:uniqueId val="{00000004-8FA8-4474-AB4E-F5D26699854A}"/>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0">
                  <c:v>0</c:v>
                </c:pt>
              </c:numCache>
            </c:numRef>
          </c:val>
          <c:extLst>
            <c:ext xmlns:c16="http://schemas.microsoft.com/office/drawing/2014/chart" uri="{C3380CC4-5D6E-409C-BE32-E72D297353CC}">
              <c16:uniqueId val="{00000005-8FA8-4474-AB4E-F5D26699854A}"/>
            </c:ext>
          </c:extLst>
        </c:ser>
        <c:ser>
          <c:idx val="4"/>
          <c:order val="4"/>
          <c:spPr>
            <a:solidFill>
              <a:schemeClr val="accent3"/>
            </a:solidFill>
            <a:ln w="9525" cmpd="sng" algn="ctr">
              <a:solidFill>
                <a:schemeClr val="bg1"/>
              </a:solidFill>
              <a:prstDash val="solid"/>
            </a:ln>
          </c:spPr>
          <c:invertIfNegative val="0"/>
          <c:val>
            <c:numRef>
              <c:f>Sheet1!$A$5:$C$5</c:f>
              <c:numCache>
                <c:formatCode>General</c:formatCode>
                <c:ptCount val="3"/>
                <c:pt idx="0">
                  <c:v>0</c:v>
                </c:pt>
              </c:numCache>
            </c:numRef>
          </c:val>
          <c:extLst>
            <c:ext xmlns:c16="http://schemas.microsoft.com/office/drawing/2014/chart" uri="{C3380CC4-5D6E-409C-BE32-E72D297353CC}">
              <c16:uniqueId val="{00000006-8FA8-4474-AB4E-F5D26699854A}"/>
            </c:ext>
          </c:extLst>
        </c:ser>
        <c:dLbls>
          <c:showLegendKey val="0"/>
          <c:showVal val="0"/>
          <c:showCatName val="0"/>
          <c:showSerName val="0"/>
          <c:showPercent val="0"/>
          <c:showBubbleSize val="0"/>
        </c:dLbls>
        <c:gapWidth val="0"/>
        <c:overlap val="100"/>
        <c:axId val="1277680767"/>
        <c:axId val="1"/>
      </c:barChart>
      <c:catAx>
        <c:axId val="127768076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277680767"/>
        <c:crosses val="min"/>
        <c:crossBetween val="between"/>
      </c:valAx>
    </c:plotArea>
    <c:plotVisOnly val="0"/>
    <c:dispBlanksAs val="gap"/>
    <c:showDLblsOverMax val="1"/>
  </c:chart>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657D1A"/>
            </a:solidFill>
            <a:ln w="9525" cmpd="sng" algn="ctr">
              <a:solidFill>
                <a:schemeClr val="bg1"/>
              </a:solidFill>
              <a:prstDash val="solid"/>
            </a:ln>
          </c:spPr>
          <c:invertIfNegative val="0"/>
          <c:dPt>
            <c:idx val="1"/>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4E6F-4224-B0C3-61F6020ACE6F}"/>
              </c:ext>
            </c:extLst>
          </c:dPt>
          <c:dPt>
            <c:idx val="2"/>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1-4E6F-4224-B0C3-61F6020ACE6F}"/>
              </c:ext>
            </c:extLst>
          </c:dPt>
          <c:val>
            <c:numRef>
              <c:f>Sheet1!$A$1:$C$1</c:f>
              <c:numCache>
                <c:formatCode>General</c:formatCode>
                <c:ptCount val="3"/>
                <c:pt idx="0">
                  <c:v>0</c:v>
                </c:pt>
                <c:pt idx="1">
                  <c:v>5</c:v>
                </c:pt>
                <c:pt idx="2">
                  <c:v>7.0000000000000009</c:v>
                </c:pt>
              </c:numCache>
            </c:numRef>
          </c:val>
          <c:extLst>
            <c:ext xmlns:c16="http://schemas.microsoft.com/office/drawing/2014/chart" uri="{C3380CC4-5D6E-409C-BE32-E72D297353CC}">
              <c16:uniqueId val="{00000002-4E6F-4224-B0C3-61F6020ACE6F}"/>
            </c:ext>
          </c:extLst>
        </c:ser>
        <c:ser>
          <c:idx val="1"/>
          <c:order val="1"/>
          <c:spPr>
            <a:solidFill>
              <a:srgbClr val="A6B727"/>
            </a:solidFill>
            <a:ln w="9525" cmpd="sng" algn="ctr">
              <a:solidFill>
                <a:schemeClr val="bg1"/>
              </a:solidFill>
              <a:prstDash val="solid"/>
            </a:ln>
          </c:spPr>
          <c:invertIfNegative val="0"/>
          <c:val>
            <c:numRef>
              <c:f>Sheet1!$A$2:$C$2</c:f>
              <c:numCache>
                <c:formatCode>General</c:formatCode>
                <c:ptCount val="3"/>
                <c:pt idx="0">
                  <c:v>0</c:v>
                </c:pt>
              </c:numCache>
            </c:numRef>
          </c:val>
          <c:extLst>
            <c:ext xmlns:c16="http://schemas.microsoft.com/office/drawing/2014/chart" uri="{C3380CC4-5D6E-409C-BE32-E72D297353CC}">
              <c16:uniqueId val="{00000003-4E6F-4224-B0C3-61F6020ACE6F}"/>
            </c:ext>
          </c:extLst>
        </c:ser>
        <c:ser>
          <c:idx val="2"/>
          <c:order val="2"/>
          <c:spPr>
            <a:solidFill>
              <a:srgbClr val="CFDE63"/>
            </a:solidFill>
            <a:ln w="9525" cmpd="sng" algn="ctr">
              <a:solidFill>
                <a:schemeClr val="bg1"/>
              </a:solidFill>
              <a:prstDash val="solid"/>
            </a:ln>
          </c:spPr>
          <c:invertIfNegative val="0"/>
          <c:val>
            <c:numRef>
              <c:f>Sheet1!$A$3:$C$3</c:f>
              <c:numCache>
                <c:formatCode>General</c:formatCode>
                <c:ptCount val="3"/>
                <c:pt idx="0">
                  <c:v>0</c:v>
                </c:pt>
              </c:numCache>
            </c:numRef>
          </c:val>
          <c:extLst>
            <c:ext xmlns:c16="http://schemas.microsoft.com/office/drawing/2014/chart" uri="{C3380CC4-5D6E-409C-BE32-E72D297353CC}">
              <c16:uniqueId val="{00000004-4E6F-4224-B0C3-61F6020ACE6F}"/>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0">
                  <c:v>0</c:v>
                </c:pt>
              </c:numCache>
            </c:numRef>
          </c:val>
          <c:extLst>
            <c:ext xmlns:c16="http://schemas.microsoft.com/office/drawing/2014/chart" uri="{C3380CC4-5D6E-409C-BE32-E72D297353CC}">
              <c16:uniqueId val="{00000005-4E6F-4224-B0C3-61F6020ACE6F}"/>
            </c:ext>
          </c:extLst>
        </c:ser>
        <c:ser>
          <c:idx val="4"/>
          <c:order val="4"/>
          <c:spPr>
            <a:solidFill>
              <a:schemeClr val="accent3"/>
            </a:solidFill>
            <a:ln w="9525" cmpd="sng" algn="ctr">
              <a:solidFill>
                <a:schemeClr val="bg1"/>
              </a:solidFill>
              <a:prstDash val="solid"/>
            </a:ln>
          </c:spPr>
          <c:invertIfNegative val="0"/>
          <c:val>
            <c:numRef>
              <c:f>Sheet1!$A$5:$C$5</c:f>
              <c:numCache>
                <c:formatCode>General</c:formatCode>
                <c:ptCount val="3"/>
                <c:pt idx="0">
                  <c:v>0</c:v>
                </c:pt>
              </c:numCache>
            </c:numRef>
          </c:val>
          <c:extLst>
            <c:ext xmlns:c16="http://schemas.microsoft.com/office/drawing/2014/chart" uri="{C3380CC4-5D6E-409C-BE32-E72D297353CC}">
              <c16:uniqueId val="{00000006-4E6F-4224-B0C3-61F6020ACE6F}"/>
            </c:ext>
          </c:extLst>
        </c:ser>
        <c:dLbls>
          <c:showLegendKey val="0"/>
          <c:showVal val="0"/>
          <c:showCatName val="0"/>
          <c:showSerName val="0"/>
          <c:showPercent val="0"/>
          <c:showBubbleSize val="0"/>
        </c:dLbls>
        <c:gapWidth val="0"/>
        <c:overlap val="100"/>
        <c:axId val="588208368"/>
        <c:axId val="1"/>
      </c:barChart>
      <c:catAx>
        <c:axId val="58820836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588208368"/>
        <c:crosses val="min"/>
        <c:crossBetween val="between"/>
      </c:valAx>
    </c:plotArea>
    <c:plotVisOnly val="0"/>
    <c:dispBlanksAs val="gap"/>
    <c:showDLblsOverMax val="1"/>
  </c:chart>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CFDE63"/>
            </a:solidFill>
            <a:ln w="9525" cmpd="sng" algn="ctr">
              <a:solidFill>
                <a:schemeClr val="bg1"/>
              </a:solidFill>
              <a:prstDash val="solid"/>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A415-41D2-916A-197F9AAD3803}"/>
              </c:ext>
            </c:extLst>
          </c:dPt>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1-A415-41D2-916A-197F9AAD3803}"/>
              </c:ext>
            </c:extLst>
          </c:dPt>
          <c:val>
            <c:numRef>
              <c:f>Sheet1!$A$1:$C$1</c:f>
              <c:numCache>
                <c:formatCode>General</c:formatCode>
                <c:ptCount val="3"/>
                <c:pt idx="0">
                  <c:v>5</c:v>
                </c:pt>
                <c:pt idx="1">
                  <c:v>7.0000000000000009</c:v>
                </c:pt>
                <c:pt idx="2">
                  <c:v>9</c:v>
                </c:pt>
              </c:numCache>
            </c:numRef>
          </c:val>
          <c:extLst>
            <c:ext xmlns:c16="http://schemas.microsoft.com/office/drawing/2014/chart" uri="{C3380CC4-5D6E-409C-BE32-E72D297353CC}">
              <c16:uniqueId val="{00000002-A415-41D2-916A-197F9AAD3803}"/>
            </c:ext>
          </c:extLst>
        </c:ser>
        <c:dLbls>
          <c:showLegendKey val="0"/>
          <c:showVal val="0"/>
          <c:showCatName val="0"/>
          <c:showSerName val="0"/>
          <c:showPercent val="0"/>
          <c:showBubbleSize val="0"/>
        </c:dLbls>
        <c:gapWidth val="0"/>
        <c:overlap val="100"/>
        <c:axId val="451869952"/>
        <c:axId val="1"/>
      </c:barChart>
      <c:catAx>
        <c:axId val="45186995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451869952"/>
        <c:crosses val="min"/>
        <c:crossBetween val="between"/>
      </c:valAx>
    </c:plotArea>
    <c:plotVisOnly val="0"/>
    <c:dispBlanksAs val="gap"/>
    <c:showDLblsOverMax val="1"/>
  </c:chart>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598130841121495E-2"/>
          <c:y val="0.1137855579868709"/>
          <c:w val="0.90280373831775695"/>
          <c:h val="0.7724288840262582"/>
        </c:manualLayout>
      </c:layout>
      <c:barChart>
        <c:barDir val="bar"/>
        <c:grouping val="stacked"/>
        <c:varyColors val="0"/>
        <c:ser>
          <c:idx val="0"/>
          <c:order val="0"/>
          <c:spPr>
            <a:solidFill>
              <a:srgbClr val="CFDE63"/>
            </a:solidFill>
            <a:ln w="9525" cmpd="sng" algn="ctr">
              <a:solidFill>
                <a:schemeClr val="bg1"/>
              </a:solidFill>
              <a:prstDash val="solid"/>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0-880A-4AFA-921E-B05483D9060D}"/>
              </c:ext>
            </c:extLst>
          </c:dPt>
          <c:val>
            <c:numRef>
              <c:f>Sheet1!$A$1:$C$1</c:f>
              <c:numCache>
                <c:formatCode>General</c:formatCode>
                <c:ptCount val="3"/>
                <c:pt idx="0">
                  <c:v>5</c:v>
                </c:pt>
                <c:pt idx="1">
                  <c:v>9</c:v>
                </c:pt>
                <c:pt idx="2">
                  <c:v>9</c:v>
                </c:pt>
              </c:numCache>
            </c:numRef>
          </c:val>
          <c:extLst>
            <c:ext xmlns:c16="http://schemas.microsoft.com/office/drawing/2014/chart" uri="{C3380CC4-5D6E-409C-BE32-E72D297353CC}">
              <c16:uniqueId val="{00000001-880A-4AFA-921E-B05483D9060D}"/>
            </c:ext>
          </c:extLst>
        </c:ser>
        <c:dLbls>
          <c:showLegendKey val="0"/>
          <c:showVal val="0"/>
          <c:showCatName val="0"/>
          <c:showSerName val="0"/>
          <c:showPercent val="0"/>
          <c:showBubbleSize val="0"/>
        </c:dLbls>
        <c:gapWidth val="0"/>
        <c:overlap val="100"/>
        <c:axId val="435897615"/>
        <c:axId val="1"/>
      </c:barChart>
      <c:catAx>
        <c:axId val="43589761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435897615"/>
        <c:crosses val="min"/>
        <c:crossBetween val="between"/>
      </c:valAx>
    </c:plotArea>
    <c:plotVisOnly val="0"/>
    <c:dispBlanksAs val="gap"/>
    <c:showDLblsOverMax val="1"/>
  </c:chart>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
          <c:y val="0.104"/>
          <c:w val="0.79200000000000004"/>
          <c:h val="0.79200000000000004"/>
        </c:manualLayout>
      </c:layout>
      <c:pieChart>
        <c:varyColors val="0"/>
        <c:ser>
          <c:idx val="0"/>
          <c:order val="0"/>
          <c:dPt>
            <c:idx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1D05-492C-B495-C6791B8DEC17}"/>
              </c:ext>
            </c:extLst>
          </c:dPt>
          <c:dPt>
            <c:idx val="1"/>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1-1D05-492C-B495-C6791B8DEC17}"/>
              </c:ext>
            </c:extLst>
          </c:dPt>
          <c:dPt>
            <c:idx val="2"/>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2-1D05-492C-B495-C6791B8DEC17}"/>
              </c:ext>
            </c:extLst>
          </c:dPt>
          <c:dPt>
            <c:idx val="3"/>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3-1D05-492C-B495-C6791B8DEC17}"/>
              </c:ext>
            </c:extLst>
          </c:dPt>
          <c:val>
            <c:numRef>
              <c:f>Sheet1!$A$1:$A$4</c:f>
              <c:numCache>
                <c:formatCode>General</c:formatCode>
                <c:ptCount val="4"/>
                <c:pt idx="0">
                  <c:v>78.600000000000009</c:v>
                </c:pt>
                <c:pt idx="1">
                  <c:v>10.299999999999999</c:v>
                </c:pt>
                <c:pt idx="2">
                  <c:v>0.70000000000000007</c:v>
                </c:pt>
                <c:pt idx="3">
                  <c:v>10.299999999999999</c:v>
                </c:pt>
              </c:numCache>
            </c:numRef>
          </c:val>
          <c:extLst>
            <c:ext xmlns:c16="http://schemas.microsoft.com/office/drawing/2014/chart" uri="{C3380CC4-5D6E-409C-BE32-E72D297353CC}">
              <c16:uniqueId val="{00000004-1D05-492C-B495-C6791B8DEC17}"/>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
          <c:y val="0.104"/>
          <c:w val="0.79200000000000004"/>
          <c:h val="0.79200000000000004"/>
        </c:manualLayout>
      </c:layout>
      <c:pieChart>
        <c:varyColors val="0"/>
        <c:ser>
          <c:idx val="0"/>
          <c:order val="0"/>
          <c:dPt>
            <c:idx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DC3A-410B-9983-EB621DAC0B13}"/>
              </c:ext>
            </c:extLst>
          </c:dPt>
          <c:dPt>
            <c:idx val="1"/>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1-DC3A-410B-9983-EB621DAC0B13}"/>
              </c:ext>
            </c:extLst>
          </c:dPt>
          <c:dPt>
            <c:idx val="2"/>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2-DC3A-410B-9983-EB621DAC0B13}"/>
              </c:ext>
            </c:extLst>
          </c:dPt>
          <c:dPt>
            <c:idx val="3"/>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3-DC3A-410B-9983-EB621DAC0B13}"/>
              </c:ext>
            </c:extLst>
          </c:dPt>
          <c:val>
            <c:numRef>
              <c:f>Sheet1!$A$1:$A$4</c:f>
              <c:numCache>
                <c:formatCode>General</c:formatCode>
                <c:ptCount val="4"/>
                <c:pt idx="0">
                  <c:v>84.420201780081243</c:v>
                </c:pt>
                <c:pt idx="1">
                  <c:v>6.4326127113684421</c:v>
                </c:pt>
                <c:pt idx="2">
                  <c:v>0.59578072233618928</c:v>
                </c:pt>
                <c:pt idx="3">
                  <c:v>8.5514047862141318</c:v>
                </c:pt>
              </c:numCache>
            </c:numRef>
          </c:val>
          <c:extLst>
            <c:ext xmlns:c16="http://schemas.microsoft.com/office/drawing/2014/chart" uri="{C3380CC4-5D6E-409C-BE32-E72D297353CC}">
              <c16:uniqueId val="{00000004-DC3A-410B-9983-EB621DAC0B13}"/>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76125244618395"/>
          <c:y val="0.10176125244618395"/>
          <c:w val="0.79647749510763211"/>
          <c:h val="0.79647749510763211"/>
        </c:manualLayout>
      </c:layout>
      <c:pieChart>
        <c:varyColors val="0"/>
        <c:ser>
          <c:idx val="0"/>
          <c:order val="0"/>
          <c:dPt>
            <c:idx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CE9A-4E3A-A37E-B996330B4129}"/>
              </c:ext>
            </c:extLst>
          </c:dPt>
          <c:dPt>
            <c:idx val="1"/>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1-CE9A-4E3A-A37E-B996330B4129}"/>
              </c:ext>
            </c:extLst>
          </c:dPt>
          <c:dPt>
            <c:idx val="2"/>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2-CE9A-4E3A-A37E-B996330B4129}"/>
              </c:ext>
            </c:extLst>
          </c:dPt>
          <c:dPt>
            <c:idx val="3"/>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3-CE9A-4E3A-A37E-B996330B4129}"/>
              </c:ext>
            </c:extLst>
          </c:dPt>
          <c:val>
            <c:numRef>
              <c:f>Sheet1!$A$1:$A$4</c:f>
              <c:numCache>
                <c:formatCode>General</c:formatCode>
                <c:ptCount val="4"/>
                <c:pt idx="0">
                  <c:v>75.65180281502407</c:v>
                </c:pt>
                <c:pt idx="1">
                  <c:v>11.813610083271705</c:v>
                </c:pt>
                <c:pt idx="2">
                  <c:v>0.89634458284628782</c:v>
                </c:pt>
                <c:pt idx="3">
                  <c:v>11.638242518857938</c:v>
                </c:pt>
              </c:numCache>
            </c:numRef>
          </c:val>
          <c:extLst>
            <c:ext xmlns:c16="http://schemas.microsoft.com/office/drawing/2014/chart" uri="{C3380CC4-5D6E-409C-BE32-E72D297353CC}">
              <c16:uniqueId val="{00000004-CE9A-4E3A-A37E-B996330B4129}"/>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65248670628715E-2"/>
          <c:y val="4.9760765550239235E-2"/>
          <c:w val="0.96746950265874254"/>
          <c:h val="0.90047846889952154"/>
        </c:manualLayout>
      </c:layout>
      <c:lineChart>
        <c:grouping val="standard"/>
        <c:varyColors val="0"/>
        <c:ser>
          <c:idx val="0"/>
          <c:order val="0"/>
          <c:spPr>
            <a:ln w="28575" cmpd="sng" algn="ctr">
              <a:solidFill>
                <a:schemeClr val="accent5"/>
              </a:solidFill>
              <a:prstDash val="solid"/>
            </a:ln>
          </c:spPr>
          <c:marker>
            <c:symbol val="none"/>
          </c:marker>
          <c:val>
            <c:numRef>
              <c:f>Sheet1!$A$1:$AH$1</c:f>
              <c:numCache>
                <c:formatCode>General</c:formatCode>
                <c:ptCount val="34"/>
                <c:pt idx="0">
                  <c:v>64.517930000000007</c:v>
                </c:pt>
                <c:pt idx="1">
                  <c:v>67.881460000000004</c:v>
                </c:pt>
                <c:pt idx="2">
                  <c:v>70.366100000000003</c:v>
                </c:pt>
                <c:pt idx="3">
                  <c:v>71.101110000000006</c:v>
                </c:pt>
                <c:pt idx="4">
                  <c:v>73.213760000000008</c:v>
                </c:pt>
                <c:pt idx="5">
                  <c:v>74.208579999999998</c:v>
                </c:pt>
                <c:pt idx="6">
                  <c:v>77.595349999999996</c:v>
                </c:pt>
                <c:pt idx="7">
                  <c:v>79.26643</c:v>
                </c:pt>
                <c:pt idx="8">
                  <c:v>80.346959999999996</c:v>
                </c:pt>
                <c:pt idx="9">
                  <c:v>79.434069999999991</c:v>
                </c:pt>
                <c:pt idx="10">
                  <c:v>80.478379999999987</c:v>
                </c:pt>
                <c:pt idx="11">
                  <c:v>69.046040000000005</c:v>
                </c:pt>
                <c:pt idx="12">
                  <c:v>64.497600000000006</c:v>
                </c:pt>
                <c:pt idx="13">
                  <c:v>66.607659999999996</c:v>
                </c:pt>
                <c:pt idx="14">
                  <c:v>68.38060999999999</c:v>
                </c:pt>
                <c:pt idx="15">
                  <c:v>71.109049999999996</c:v>
                </c:pt>
                <c:pt idx="16">
                  <c:v>72.580410000000001</c:v>
                </c:pt>
                <c:pt idx="17">
                  <c:v>72.322860000000006</c:v>
                </c:pt>
                <c:pt idx="18">
                  <c:v>75.815640000000002</c:v>
                </c:pt>
                <c:pt idx="19">
                  <c:v>77.497309999999999</c:v>
                </c:pt>
                <c:pt idx="20">
                  <c:v>77.33717</c:v>
                </c:pt>
                <c:pt idx="21">
                  <c:v>78.997610000000009</c:v>
                </c:pt>
                <c:pt idx="22">
                  <c:v>85.185389999999998</c:v>
                </c:pt>
                <c:pt idx="23">
                  <c:v>88.158770000000004</c:v>
                </c:pt>
                <c:pt idx="24">
                  <c:v>89.196329999999989</c:v>
                </c:pt>
                <c:pt idx="25">
                  <c:v>90.493830000000003</c:v>
                </c:pt>
                <c:pt idx="26">
                  <c:v>95.037610000000001</c:v>
                </c:pt>
                <c:pt idx="27">
                  <c:v>97.225729999999999</c:v>
                </c:pt>
                <c:pt idx="28">
                  <c:v>98.559569999999994</c:v>
                </c:pt>
                <c:pt idx="29">
                  <c:v>103.15092</c:v>
                </c:pt>
                <c:pt idx="30">
                  <c:v>105.60000000000001</c:v>
                </c:pt>
                <c:pt idx="31">
                  <c:v>105.13907</c:v>
                </c:pt>
                <c:pt idx="32">
                  <c:v>108.35876999999999</c:v>
                </c:pt>
                <c:pt idx="33">
                  <c:v>107.68482</c:v>
                </c:pt>
              </c:numCache>
            </c:numRef>
          </c:val>
          <c:smooth val="0"/>
          <c:extLst>
            <c:ext xmlns:c16="http://schemas.microsoft.com/office/drawing/2014/chart" uri="{C3380CC4-5D6E-409C-BE32-E72D297353CC}">
              <c16:uniqueId val="{00000000-6DF2-4583-ADB4-493C2E623AA2}"/>
            </c:ext>
          </c:extLst>
        </c:ser>
        <c:ser>
          <c:idx val="1"/>
          <c:order val="1"/>
          <c:spPr>
            <a:ln w="28575" cmpd="sng" algn="ctr">
              <a:solidFill>
                <a:srgbClr val="63BE7B"/>
              </a:solidFill>
              <a:prstDash val="solid"/>
            </a:ln>
          </c:spPr>
          <c:marker>
            <c:symbol val="none"/>
          </c:marker>
          <c:val>
            <c:numRef>
              <c:f>Sheet1!$A$2:$AH$2</c:f>
              <c:numCache>
                <c:formatCode>General</c:formatCode>
                <c:ptCount val="34"/>
                <c:pt idx="0">
                  <c:v>65.125169999999997</c:v>
                </c:pt>
                <c:pt idx="1">
                  <c:v>69.428060000000002</c:v>
                </c:pt>
                <c:pt idx="2">
                  <c:v>72.020900000000012</c:v>
                </c:pt>
                <c:pt idx="3">
                  <c:v>72.547600000000017</c:v>
                </c:pt>
                <c:pt idx="4">
                  <c:v>75.232220000000012</c:v>
                </c:pt>
                <c:pt idx="5">
                  <c:v>75.594599999999986</c:v>
                </c:pt>
                <c:pt idx="6">
                  <c:v>79.518469999999994</c:v>
                </c:pt>
                <c:pt idx="7">
                  <c:v>80.843130000000002</c:v>
                </c:pt>
                <c:pt idx="8">
                  <c:v>83.228170000000006</c:v>
                </c:pt>
                <c:pt idx="9">
                  <c:v>85.025409999999994</c:v>
                </c:pt>
                <c:pt idx="10">
                  <c:v>87.055530000000005</c:v>
                </c:pt>
                <c:pt idx="11">
                  <c:v>72.850859999999997</c:v>
                </c:pt>
                <c:pt idx="12">
                  <c:v>71.843760000000003</c:v>
                </c:pt>
                <c:pt idx="13">
                  <c:v>73.832369999999997</c:v>
                </c:pt>
                <c:pt idx="14">
                  <c:v>80.00018</c:v>
                </c:pt>
                <c:pt idx="15">
                  <c:v>83.408670000000001</c:v>
                </c:pt>
                <c:pt idx="16">
                  <c:v>84.582000000000008</c:v>
                </c:pt>
                <c:pt idx="17">
                  <c:v>83.38463999999999</c:v>
                </c:pt>
                <c:pt idx="18">
                  <c:v>93.521480000000011</c:v>
                </c:pt>
                <c:pt idx="19">
                  <c:v>99.79555000000002</c:v>
                </c:pt>
                <c:pt idx="20">
                  <c:v>100.44278999999999</c:v>
                </c:pt>
                <c:pt idx="21">
                  <c:v>100.54641000000001</c:v>
                </c:pt>
                <c:pt idx="22">
                  <c:v>105.22808000000001</c:v>
                </c:pt>
                <c:pt idx="23">
                  <c:v>111.12970999999999</c:v>
                </c:pt>
                <c:pt idx="24">
                  <c:v>112.96086</c:v>
                </c:pt>
                <c:pt idx="25">
                  <c:v>109.70971</c:v>
                </c:pt>
                <c:pt idx="26">
                  <c:v>114.4588</c:v>
                </c:pt>
                <c:pt idx="27">
                  <c:v>115.33221999999999</c:v>
                </c:pt>
                <c:pt idx="28">
                  <c:v>113.73640999999999</c:v>
                </c:pt>
                <c:pt idx="29">
                  <c:v>114.34891</c:v>
                </c:pt>
                <c:pt idx="30">
                  <c:v>118.53673000000001</c:v>
                </c:pt>
                <c:pt idx="31">
                  <c:v>116.79728</c:v>
                </c:pt>
                <c:pt idx="32">
                  <c:v>118.14771000000002</c:v>
                </c:pt>
                <c:pt idx="33">
                  <c:v>115.69434</c:v>
                </c:pt>
              </c:numCache>
            </c:numRef>
          </c:val>
          <c:smooth val="0"/>
          <c:extLst>
            <c:ext xmlns:c16="http://schemas.microsoft.com/office/drawing/2014/chart" uri="{C3380CC4-5D6E-409C-BE32-E72D297353CC}">
              <c16:uniqueId val="{00000001-6DF2-4583-ADB4-493C2E623AA2}"/>
            </c:ext>
          </c:extLst>
        </c:ser>
        <c:dLbls>
          <c:showLegendKey val="0"/>
          <c:showVal val="0"/>
          <c:showCatName val="0"/>
          <c:showSerName val="0"/>
          <c:showPercent val="0"/>
          <c:showBubbleSize val="0"/>
        </c:dLbls>
        <c:smooth val="0"/>
        <c:axId val="302646384"/>
        <c:axId val="1"/>
      </c:lineChart>
      <c:catAx>
        <c:axId val="3026463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000" kern="1200">
                <a:latin typeface="+mn-lt"/>
                <a:ea typeface="+mn-ea"/>
                <a:cs typeface="+mn-cs"/>
                <a:sym typeface="+mn-lt"/>
              </a:defRPr>
            </a:pPr>
            <a:endParaRPr lang="en-US"/>
          </a:p>
        </c:txPr>
        <c:crossAx val="302646384"/>
        <c:crosses val="min"/>
        <c:crossBetween val="between"/>
        <c:majorUnit val="30"/>
      </c:valAx>
    </c:plotArea>
    <c:plotVisOnly val="0"/>
    <c:dispBlanksAs val="gap"/>
    <c:showDLblsOverMax val="1"/>
  </c:chart>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213366201040807E-3"/>
          <c:y val="3.6061026352288486E-2"/>
          <c:w val="0.98575732675979189"/>
          <c:h val="0.92787794729542306"/>
        </c:manualLayout>
      </c:layout>
      <c:barChart>
        <c:barDir val="col"/>
        <c:grouping val="stacked"/>
        <c:varyColors val="0"/>
        <c:ser>
          <c:idx val="0"/>
          <c:order val="0"/>
          <c:spPr>
            <a:noFill/>
            <a:ln>
              <a:noFill/>
            </a:ln>
          </c:spPr>
          <c:invertIfNegative val="0"/>
          <c:dPt>
            <c:idx val="0"/>
            <c:invertIfNegative val="0"/>
            <c:bubble3D val="0"/>
            <c:spPr>
              <a:solidFill>
                <a:srgbClr val="DF5327"/>
              </a:solidFill>
              <a:ln w="9525" cmpd="sng" algn="ctr">
                <a:solidFill>
                  <a:schemeClr val="bg1"/>
                </a:solidFill>
                <a:prstDash val="solid"/>
              </a:ln>
            </c:spPr>
            <c:extLst>
              <c:ext xmlns:c16="http://schemas.microsoft.com/office/drawing/2014/chart" uri="{C3380CC4-5D6E-409C-BE32-E72D297353CC}">
                <c16:uniqueId val="{00000000-5A38-4FB4-9B03-B59F2791C452}"/>
              </c:ext>
            </c:extLst>
          </c:dPt>
          <c:dPt>
            <c:idx val="8"/>
            <c:invertIfNegative val="0"/>
            <c:bubble3D val="0"/>
            <c:spPr>
              <a:solidFill>
                <a:schemeClr val="tx2"/>
              </a:solidFill>
              <a:ln w="9525" cmpd="sng" algn="ctr">
                <a:solidFill>
                  <a:schemeClr val="bg1"/>
                </a:solidFill>
                <a:prstDash val="solid"/>
              </a:ln>
            </c:spPr>
            <c:extLst>
              <c:ext xmlns:c16="http://schemas.microsoft.com/office/drawing/2014/chart" uri="{C3380CC4-5D6E-409C-BE32-E72D297353CC}">
                <c16:uniqueId val="{00000001-5A38-4FB4-9B03-B59F2791C452}"/>
              </c:ext>
            </c:extLst>
          </c:dPt>
          <c:dPt>
            <c:idx val="12"/>
            <c:invertIfNegative val="0"/>
            <c:bubble3D val="0"/>
            <c:spPr>
              <a:solidFill>
                <a:schemeClr val="tx2"/>
              </a:solidFill>
              <a:ln w="9525" cmpd="sng" algn="ctr">
                <a:solidFill>
                  <a:schemeClr val="bg1"/>
                </a:solidFill>
                <a:prstDash val="solid"/>
              </a:ln>
            </c:spPr>
            <c:extLst>
              <c:ext xmlns:c16="http://schemas.microsoft.com/office/drawing/2014/chart" uri="{C3380CC4-5D6E-409C-BE32-E72D297353CC}">
                <c16:uniqueId val="{00000002-5A38-4FB4-9B03-B59F2791C452}"/>
              </c:ext>
            </c:extLst>
          </c:dPt>
          <c:dPt>
            <c:idx val="13"/>
            <c:invertIfNegative val="0"/>
            <c:bubble3D val="0"/>
            <c:spPr>
              <a:solidFill>
                <a:schemeClr val="accent1"/>
              </a:solidFill>
              <a:ln>
                <a:noFill/>
              </a:ln>
            </c:spPr>
            <c:extLst>
              <c:ext xmlns:c16="http://schemas.microsoft.com/office/drawing/2014/chart" uri="{C3380CC4-5D6E-409C-BE32-E72D297353CC}">
                <c16:uniqueId val="{00000003-5A38-4FB4-9B03-B59F2791C452}"/>
              </c:ext>
            </c:extLst>
          </c:dPt>
          <c:dPt>
            <c:idx val="16"/>
            <c:invertIfNegative val="0"/>
            <c:bubble3D val="0"/>
            <c:spPr>
              <a:solidFill>
                <a:schemeClr val="tx2"/>
              </a:solidFill>
              <a:ln w="9525" cmpd="sng" algn="ctr">
                <a:solidFill>
                  <a:schemeClr val="bg1"/>
                </a:solidFill>
                <a:prstDash val="solid"/>
              </a:ln>
            </c:spPr>
            <c:extLst>
              <c:ext xmlns:c16="http://schemas.microsoft.com/office/drawing/2014/chart" uri="{C3380CC4-5D6E-409C-BE32-E72D297353CC}">
                <c16:uniqueId val="{00000004-5A38-4FB4-9B03-B59F2791C452}"/>
              </c:ext>
            </c:extLst>
          </c:dPt>
          <c:val>
            <c:numRef>
              <c:f>Sheet1!$A$1:$Q$1</c:f>
              <c:numCache>
                <c:formatCode>General</c:formatCode>
                <c:ptCount val="17"/>
                <c:pt idx="0">
                  <c:v>-540.12</c:v>
                </c:pt>
                <c:pt idx="1">
                  <c:v>-540.12</c:v>
                </c:pt>
                <c:pt idx="2">
                  <c:v>-738.84163942052055</c:v>
                </c:pt>
                <c:pt idx="3">
                  <c:v>-160.68134844359815</c:v>
                </c:pt>
                <c:pt idx="4">
                  <c:v>-89.520020592390097</c:v>
                </c:pt>
                <c:pt idx="5">
                  <c:v>-89.52002059239021</c:v>
                </c:pt>
                <c:pt idx="6">
                  <c:v>-101.42142372853833</c:v>
                </c:pt>
                <c:pt idx="7">
                  <c:v>-61.621847705461128</c:v>
                </c:pt>
                <c:pt idx="8">
                  <c:v>-61.621847705461278</c:v>
                </c:pt>
                <c:pt idx="9">
                  <c:v>-61.62184770546105</c:v>
                </c:pt>
                <c:pt idx="10">
                  <c:v>-171.3978805191968</c:v>
                </c:pt>
                <c:pt idx="11">
                  <c:v>-170.92148682501443</c:v>
                </c:pt>
                <c:pt idx="12">
                  <c:v>-170.92148682501465</c:v>
                </c:pt>
                <c:pt idx="13">
                  <c:v>78.775739411519794</c:v>
                </c:pt>
                <c:pt idx="14">
                  <c:v>60.486960977699098</c:v>
                </c:pt>
                <c:pt idx="15">
                  <c:v>60.013348498819326</c:v>
                </c:pt>
                <c:pt idx="16">
                  <c:v>60.013348498819141</c:v>
                </c:pt>
              </c:numCache>
            </c:numRef>
          </c:val>
          <c:extLst>
            <c:ext xmlns:c16="http://schemas.microsoft.com/office/drawing/2014/chart" uri="{C3380CC4-5D6E-409C-BE32-E72D297353CC}">
              <c16:uniqueId val="{00000005-5A38-4FB4-9B03-B59F2791C452}"/>
            </c:ext>
          </c:extLst>
        </c:ser>
        <c:ser>
          <c:idx val="1"/>
          <c:order val="1"/>
          <c:spPr>
            <a:solidFill>
              <a:srgbClr val="9DB1CF"/>
            </a:solidFill>
            <a:ln w="9525" cmpd="sng" algn="ctr">
              <a:solidFill>
                <a:schemeClr val="bg1"/>
              </a:solidFill>
              <a:prstDash val="solid"/>
            </a:ln>
          </c:spPr>
          <c:invertIfNegative val="0"/>
          <c:dPt>
            <c:idx val="1"/>
            <c:invertIfNegative val="0"/>
            <c:bubble3D val="0"/>
            <c:spPr>
              <a:solidFill>
                <a:srgbClr val="DF5327"/>
              </a:solidFill>
              <a:ln w="9525" cmpd="sng" algn="ctr">
                <a:solidFill>
                  <a:schemeClr val="bg1"/>
                </a:solidFill>
                <a:prstDash val="solid"/>
              </a:ln>
            </c:spPr>
            <c:extLst>
              <c:ext xmlns:c16="http://schemas.microsoft.com/office/drawing/2014/chart" uri="{C3380CC4-5D6E-409C-BE32-E72D297353CC}">
                <c16:uniqueId val="{00000006-5A38-4FB4-9B03-B59F2791C452}"/>
              </c:ext>
            </c:extLst>
          </c:dPt>
          <c:dPt>
            <c:idx val="2"/>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7-5A38-4FB4-9B03-B59F2791C452}"/>
              </c:ext>
            </c:extLst>
          </c:dPt>
          <c:dPt>
            <c:idx val="3"/>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8-5A38-4FB4-9B03-B59F2791C452}"/>
              </c:ext>
            </c:extLst>
          </c:dPt>
          <c:dPt>
            <c:idx val="5"/>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9-5A38-4FB4-9B03-B59F2791C452}"/>
              </c:ext>
            </c:extLst>
          </c:dPt>
          <c:dPt>
            <c:idx val="6"/>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A-5A38-4FB4-9B03-B59F2791C452}"/>
              </c:ext>
            </c:extLst>
          </c:dPt>
          <c:dPt>
            <c:idx val="7"/>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B-5A38-4FB4-9B03-B59F2791C452}"/>
              </c:ext>
            </c:extLst>
          </c:dPt>
          <c:dPt>
            <c:idx val="9"/>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C-5A38-4FB4-9B03-B59F2791C452}"/>
              </c:ext>
            </c:extLst>
          </c:dPt>
          <c:dPt>
            <c:idx val="1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D-5A38-4FB4-9B03-B59F2791C452}"/>
              </c:ext>
            </c:extLst>
          </c:dPt>
          <c:dPt>
            <c:idx val="13"/>
            <c:invertIfNegative val="0"/>
            <c:bubble3D val="0"/>
            <c:spPr>
              <a:solidFill>
                <a:schemeClr val="accent1"/>
              </a:solidFill>
              <a:ln>
                <a:noFill/>
              </a:ln>
            </c:spPr>
            <c:extLst>
              <c:ext xmlns:c16="http://schemas.microsoft.com/office/drawing/2014/chart" uri="{C3380CC4-5D6E-409C-BE32-E72D297353CC}">
                <c16:uniqueId val="{0000000E-5A38-4FB4-9B03-B59F2791C452}"/>
              </c:ext>
            </c:extLst>
          </c:dPt>
          <c:dPt>
            <c:idx val="15"/>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F-5A38-4FB4-9B03-B59F2791C452}"/>
              </c:ext>
            </c:extLst>
          </c:dPt>
          <c:val>
            <c:numRef>
              <c:f>Sheet1!$A$2:$Q$2</c:f>
              <c:numCache>
                <c:formatCode>General</c:formatCode>
                <c:ptCount val="17"/>
                <c:pt idx="1">
                  <c:v>-203.7745029172346</c:v>
                </c:pt>
                <c:pt idx="2">
                  <c:v>-5.052863496713826</c:v>
                </c:pt>
                <c:pt idx="3">
                  <c:v>-578.16029097692251</c:v>
                </c:pt>
                <c:pt idx="4">
                  <c:v>-71.161327851208171</c:v>
                </c:pt>
                <c:pt idx="5">
                  <c:v>-44.691768402280246</c:v>
                </c:pt>
                <c:pt idx="6">
                  <c:v>-32.790365266132213</c:v>
                </c:pt>
                <c:pt idx="7">
                  <c:v>-39.799576023077329</c:v>
                </c:pt>
                <c:pt idx="9">
                  <c:v>-111.48900994907149</c:v>
                </c:pt>
                <c:pt idx="10">
                  <c:v>-1.7129771353357341</c:v>
                </c:pt>
                <c:pt idx="11">
                  <c:v>-0.47639369418266142</c:v>
                </c:pt>
                <c:pt idx="13">
                  <c:v>-170.92148682501465</c:v>
                </c:pt>
                <c:pt idx="14">
                  <c:v>18.288778433820127</c:v>
                </c:pt>
                <c:pt idx="15">
                  <c:v>0.473612478879474</c:v>
                </c:pt>
              </c:numCache>
            </c:numRef>
          </c:val>
          <c:extLst>
            <c:ext xmlns:c16="http://schemas.microsoft.com/office/drawing/2014/chart" uri="{C3380CC4-5D6E-409C-BE32-E72D297353CC}">
              <c16:uniqueId val="{00000010-5A38-4FB4-9B03-B59F2791C452}"/>
            </c:ext>
          </c:extLst>
        </c:ser>
        <c:dLbls>
          <c:showLegendKey val="0"/>
          <c:showVal val="0"/>
          <c:showCatName val="0"/>
          <c:showSerName val="0"/>
          <c:showPercent val="0"/>
          <c:showBubbleSize val="0"/>
        </c:dLbls>
        <c:gapWidth val="80"/>
        <c:overlap val="100"/>
        <c:axId val="1142165712"/>
        <c:axId val="1"/>
      </c:barChart>
      <c:catAx>
        <c:axId val="11421657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78.775739411519794"/>
          <c:min val="-743.8945029172346"/>
        </c:scaling>
        <c:delete val="1"/>
        <c:axPos val="l"/>
        <c:numFmt formatCode="General" sourceLinked="1"/>
        <c:majorTickMark val="out"/>
        <c:minorTickMark val="none"/>
        <c:tickLblPos val="nextTo"/>
        <c:crossAx val="1142165712"/>
        <c:crosses val="min"/>
        <c:crossBetween val="between"/>
      </c:valAx>
    </c:plotArea>
    <c:plotVisOnly val="0"/>
    <c:dispBlanksAs val="gap"/>
    <c:showDLblsOverMax val="1"/>
  </c:chart>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953156822810592E-2"/>
          <c:y val="9.420289855072464E-2"/>
          <c:w val="0.8940936863543788"/>
          <c:h val="0.81159420289855078"/>
        </c:manualLayout>
      </c:layout>
      <c:barChart>
        <c:barDir val="col"/>
        <c:grouping val="clustered"/>
        <c:varyColors val="0"/>
        <c:ser>
          <c:idx val="0"/>
          <c:order val="0"/>
          <c:spPr>
            <a:solidFill>
              <a:srgbClr val="92D050"/>
            </a:solidFill>
            <a:ln w="9525" cmpd="sng" algn="ctr">
              <a:solidFill>
                <a:schemeClr val="bg1"/>
              </a:solidFill>
              <a:prstDash val="solid"/>
            </a:ln>
          </c:spPr>
          <c:invertIfNegative val="0"/>
          <c:val>
            <c:numRef>
              <c:f>Sheet1!$A$1:$C$1</c:f>
              <c:numCache>
                <c:formatCode>General</c:formatCode>
                <c:ptCount val="3"/>
                <c:pt idx="0">
                  <c:v>11.028110940800783</c:v>
                </c:pt>
                <c:pt idx="1">
                  <c:v>11.150119611466325</c:v>
                </c:pt>
                <c:pt idx="2">
                  <c:v>4.2675835344421431</c:v>
                </c:pt>
              </c:numCache>
            </c:numRef>
          </c:val>
          <c:extLst>
            <c:ext xmlns:c16="http://schemas.microsoft.com/office/drawing/2014/chart" uri="{C3380CC4-5D6E-409C-BE32-E72D297353CC}">
              <c16:uniqueId val="{00000000-FDA2-49E5-8AE7-924ED6A4A431}"/>
            </c:ext>
          </c:extLst>
        </c:ser>
        <c:ser>
          <c:idx val="1"/>
          <c:order val="1"/>
          <c:spPr>
            <a:solidFill>
              <a:srgbClr val="FF0000"/>
            </a:solidFill>
            <a:ln w="9525" cmpd="sng" algn="ctr">
              <a:solidFill>
                <a:schemeClr val="bg1"/>
              </a:solidFill>
              <a:prstDash val="solid"/>
            </a:ln>
          </c:spPr>
          <c:invertIfNegative val="0"/>
          <c:val>
            <c:numRef>
              <c:f>Sheet1!$A$2:$C$2</c:f>
              <c:numCache>
                <c:formatCode>General</c:formatCode>
                <c:ptCount val="3"/>
                <c:pt idx="0">
                  <c:v>7.3684039621903841</c:v>
                </c:pt>
                <c:pt idx="1">
                  <c:v>7.0816081711552181</c:v>
                </c:pt>
                <c:pt idx="2">
                  <c:v>0</c:v>
                </c:pt>
              </c:numCache>
            </c:numRef>
          </c:val>
          <c:extLst>
            <c:ext xmlns:c16="http://schemas.microsoft.com/office/drawing/2014/chart" uri="{C3380CC4-5D6E-409C-BE32-E72D297353CC}">
              <c16:uniqueId val="{00000001-FDA2-49E5-8AE7-924ED6A4A431}"/>
            </c:ext>
          </c:extLst>
        </c:ser>
        <c:dLbls>
          <c:showLegendKey val="0"/>
          <c:showVal val="0"/>
          <c:showCatName val="0"/>
          <c:showSerName val="0"/>
          <c:showPercent val="0"/>
          <c:showBubbleSize val="0"/>
        </c:dLbls>
        <c:gapWidth val="80"/>
        <c:axId val="1381343120"/>
        <c:axId val="1"/>
      </c:barChart>
      <c:catAx>
        <c:axId val="1381343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150119611466325"/>
          <c:min val="0"/>
        </c:scaling>
        <c:delete val="1"/>
        <c:axPos val="l"/>
        <c:numFmt formatCode="General" sourceLinked="1"/>
        <c:majorTickMark val="out"/>
        <c:minorTickMark val="none"/>
        <c:tickLblPos val="nextTo"/>
        <c:crossAx val="1381343120"/>
        <c:crosses val="min"/>
        <c:crossBetween val="between"/>
      </c:valAx>
    </c:plotArea>
    <c:plotVisOnly val="0"/>
    <c:dispBlanksAs val="gap"/>
    <c:showDLblsOverMax val="1"/>
  </c:chart>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953156822810592E-2"/>
          <c:y val="9.420289855072464E-2"/>
          <c:w val="0.8940936863543788"/>
          <c:h val="0.81159420289855078"/>
        </c:manualLayout>
      </c:layout>
      <c:barChart>
        <c:barDir val="col"/>
        <c:grouping val="clustered"/>
        <c:varyColors val="0"/>
        <c:ser>
          <c:idx val="0"/>
          <c:order val="0"/>
          <c:spPr>
            <a:solidFill>
              <a:srgbClr val="92D050"/>
            </a:solidFill>
            <a:ln w="9525" cmpd="sng" algn="ctr">
              <a:solidFill>
                <a:schemeClr val="bg1"/>
              </a:solidFill>
              <a:prstDash val="solid"/>
            </a:ln>
          </c:spPr>
          <c:invertIfNegative val="0"/>
          <c:val>
            <c:numRef>
              <c:f>Sheet1!$A$1:$C$1</c:f>
              <c:numCache>
                <c:formatCode>General</c:formatCode>
                <c:ptCount val="3"/>
                <c:pt idx="0">
                  <c:v>8.5898772348745656</c:v>
                </c:pt>
                <c:pt idx="1">
                  <c:v>13.192428927005672</c:v>
                </c:pt>
                <c:pt idx="2">
                  <c:v>13.086882781131081</c:v>
                </c:pt>
              </c:numCache>
            </c:numRef>
          </c:val>
          <c:extLst>
            <c:ext xmlns:c16="http://schemas.microsoft.com/office/drawing/2014/chart" uri="{C3380CC4-5D6E-409C-BE32-E72D297353CC}">
              <c16:uniqueId val="{00000000-4114-4314-A884-00D5EC425B02}"/>
            </c:ext>
          </c:extLst>
        </c:ser>
        <c:ser>
          <c:idx val="1"/>
          <c:order val="1"/>
          <c:spPr>
            <a:solidFill>
              <a:srgbClr val="FF0000"/>
            </a:solidFill>
            <a:ln w="9525" cmpd="sng" algn="ctr">
              <a:solidFill>
                <a:schemeClr val="bg1"/>
              </a:solidFill>
              <a:prstDash val="solid"/>
            </a:ln>
          </c:spPr>
          <c:invertIfNegative val="0"/>
          <c:val>
            <c:numRef>
              <c:f>Sheet1!$A$2:$C$2</c:f>
              <c:numCache>
                <c:formatCode>General</c:formatCode>
                <c:ptCount val="3"/>
                <c:pt idx="0">
                  <c:v>6.5759888043705583</c:v>
                </c:pt>
                <c:pt idx="1">
                  <c:v>11.113115866812763</c:v>
                </c:pt>
                <c:pt idx="2">
                  <c:v>11.284161733170306</c:v>
                </c:pt>
              </c:numCache>
            </c:numRef>
          </c:val>
          <c:extLst>
            <c:ext xmlns:c16="http://schemas.microsoft.com/office/drawing/2014/chart" uri="{C3380CC4-5D6E-409C-BE32-E72D297353CC}">
              <c16:uniqueId val="{00000001-4114-4314-A884-00D5EC425B02}"/>
            </c:ext>
          </c:extLst>
        </c:ser>
        <c:dLbls>
          <c:showLegendKey val="0"/>
          <c:showVal val="0"/>
          <c:showCatName val="0"/>
          <c:showSerName val="0"/>
          <c:showPercent val="0"/>
          <c:showBubbleSize val="0"/>
        </c:dLbls>
        <c:gapWidth val="80"/>
        <c:axId val="1223345936"/>
        <c:axId val="1"/>
      </c:barChart>
      <c:catAx>
        <c:axId val="12233459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192428927005672"/>
          <c:min val="0"/>
        </c:scaling>
        <c:delete val="1"/>
        <c:axPos val="l"/>
        <c:numFmt formatCode="General" sourceLinked="1"/>
        <c:majorTickMark val="out"/>
        <c:minorTickMark val="none"/>
        <c:tickLblPos val="nextTo"/>
        <c:crossAx val="1223345936"/>
        <c:crosses val="min"/>
        <c:crossBetween val="between"/>
      </c:valAx>
    </c:plotArea>
    <c:plotVisOnly val="0"/>
    <c:dispBlanksAs val="gap"/>
    <c:showDLblsOverMax val="1"/>
  </c:chart>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953156822810592E-2"/>
          <c:y val="9.420289855072464E-2"/>
          <c:w val="0.8940936863543788"/>
          <c:h val="0.81159420289855078"/>
        </c:manualLayout>
      </c:layout>
      <c:barChart>
        <c:barDir val="col"/>
        <c:grouping val="clustered"/>
        <c:varyColors val="0"/>
        <c:ser>
          <c:idx val="0"/>
          <c:order val="0"/>
          <c:spPr>
            <a:solidFill>
              <a:srgbClr val="92D050"/>
            </a:solidFill>
            <a:ln w="9525" cmpd="sng" algn="ctr">
              <a:solidFill>
                <a:schemeClr val="bg1"/>
              </a:solidFill>
              <a:prstDash val="solid"/>
            </a:ln>
          </c:spPr>
          <c:invertIfNegative val="0"/>
          <c:val>
            <c:numRef>
              <c:f>Sheet1!$A$1:$C$1</c:f>
              <c:numCache>
                <c:formatCode>General</c:formatCode>
                <c:ptCount val="3"/>
                <c:pt idx="0">
                  <c:v>9.210006417666893</c:v>
                </c:pt>
                <c:pt idx="1">
                  <c:v>9.7843419311520741</c:v>
                </c:pt>
                <c:pt idx="2">
                  <c:v>6.829603450655708</c:v>
                </c:pt>
              </c:numCache>
            </c:numRef>
          </c:val>
          <c:extLst>
            <c:ext xmlns:c16="http://schemas.microsoft.com/office/drawing/2014/chart" uri="{C3380CC4-5D6E-409C-BE32-E72D297353CC}">
              <c16:uniqueId val="{00000000-15A6-4643-AAA3-21051EB00DA6}"/>
            </c:ext>
          </c:extLst>
        </c:ser>
        <c:ser>
          <c:idx val="1"/>
          <c:order val="1"/>
          <c:spPr>
            <a:solidFill>
              <a:srgbClr val="FF0000"/>
            </a:solidFill>
            <a:ln w="9525" cmpd="sng" algn="ctr">
              <a:solidFill>
                <a:schemeClr val="bg1"/>
              </a:solidFill>
              <a:prstDash val="solid"/>
            </a:ln>
          </c:spPr>
          <c:invertIfNegative val="0"/>
          <c:val>
            <c:numRef>
              <c:f>Sheet1!$A$2:$C$2</c:f>
              <c:numCache>
                <c:formatCode>General</c:formatCode>
                <c:ptCount val="3"/>
                <c:pt idx="0">
                  <c:v>3.6103437404400918</c:v>
                </c:pt>
                <c:pt idx="1">
                  <c:v>4.1446121914727518</c:v>
                </c:pt>
                <c:pt idx="2">
                  <c:v>0.47306162679592312</c:v>
                </c:pt>
              </c:numCache>
            </c:numRef>
          </c:val>
          <c:extLst>
            <c:ext xmlns:c16="http://schemas.microsoft.com/office/drawing/2014/chart" uri="{C3380CC4-5D6E-409C-BE32-E72D297353CC}">
              <c16:uniqueId val="{00000001-15A6-4643-AAA3-21051EB00DA6}"/>
            </c:ext>
          </c:extLst>
        </c:ser>
        <c:dLbls>
          <c:showLegendKey val="0"/>
          <c:showVal val="0"/>
          <c:showCatName val="0"/>
          <c:showSerName val="0"/>
          <c:showPercent val="0"/>
          <c:showBubbleSize val="0"/>
        </c:dLbls>
        <c:gapWidth val="80"/>
        <c:axId val="1381368560"/>
        <c:axId val="1"/>
      </c:barChart>
      <c:catAx>
        <c:axId val="1381368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7843419311520741"/>
          <c:min val="0"/>
        </c:scaling>
        <c:delete val="1"/>
        <c:axPos val="l"/>
        <c:numFmt formatCode="General" sourceLinked="1"/>
        <c:majorTickMark val="out"/>
        <c:minorTickMark val="none"/>
        <c:tickLblPos val="nextTo"/>
        <c:crossAx val="1381368560"/>
        <c:crosses val="min"/>
        <c:crossBetween val="between"/>
      </c:valAx>
    </c:plotArea>
    <c:plotVisOnly val="0"/>
    <c:dispBlanksAs val="gap"/>
    <c:showDLblsOverMax val="1"/>
  </c:chart>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252397917237597E-3"/>
          <c:y val="5.2208835341365459E-2"/>
          <c:w val="0.9857495204165525"/>
          <c:h val="0.89558232931726911"/>
        </c:manualLayout>
      </c:layout>
      <c:barChart>
        <c:barDir val="col"/>
        <c:grouping val="stacked"/>
        <c:varyColors val="0"/>
        <c:ser>
          <c:idx val="0"/>
          <c:order val="0"/>
          <c:spPr>
            <a:noFill/>
            <a:ln>
              <a:noFill/>
            </a:ln>
          </c:spPr>
          <c:invertIfNegative val="0"/>
          <c:dPt>
            <c:idx val="0"/>
            <c:invertIfNegative val="0"/>
            <c:bubble3D val="0"/>
            <c:spPr>
              <a:solidFill>
                <a:srgbClr val="DF5327"/>
              </a:solidFill>
              <a:ln w="9525" cmpd="sng" algn="ctr">
                <a:solidFill>
                  <a:schemeClr val="bg1"/>
                </a:solidFill>
                <a:prstDash val="solid"/>
              </a:ln>
            </c:spPr>
            <c:extLst>
              <c:ext xmlns:c16="http://schemas.microsoft.com/office/drawing/2014/chart" uri="{C3380CC4-5D6E-409C-BE32-E72D297353CC}">
                <c16:uniqueId val="{00000000-0EB1-42D3-A942-90AB530CB2F5}"/>
              </c:ext>
            </c:extLst>
          </c:dPt>
          <c:dPt>
            <c:idx val="7"/>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01-0EB1-42D3-A942-90AB530CB2F5}"/>
              </c:ext>
            </c:extLst>
          </c:dPt>
          <c:dPt>
            <c:idx val="10"/>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2-0EB1-42D3-A942-90AB530CB2F5}"/>
              </c:ext>
            </c:extLst>
          </c:dPt>
          <c:dPt>
            <c:idx val="15"/>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03-0EB1-42D3-A942-90AB530CB2F5}"/>
              </c:ext>
            </c:extLst>
          </c:dPt>
          <c:val>
            <c:numRef>
              <c:f>Sheet1!$A$1:$P$1</c:f>
              <c:numCache>
                <c:formatCode>General</c:formatCode>
                <c:ptCount val="16"/>
                <c:pt idx="0">
                  <c:v>-431.50389651008697</c:v>
                </c:pt>
                <c:pt idx="1">
                  <c:v>-431.50389651008697</c:v>
                </c:pt>
                <c:pt idx="2">
                  <c:v>-239.3477976398965</c:v>
                </c:pt>
                <c:pt idx="3">
                  <c:v>-145.70900866275139</c:v>
                </c:pt>
                <c:pt idx="4">
                  <c:v>-50.566048782741319</c:v>
                </c:pt>
                <c:pt idx="5">
                  <c:v>-50.566048782741291</c:v>
                </c:pt>
                <c:pt idx="6">
                  <c:v>-47.288773608123144</c:v>
                </c:pt>
                <c:pt idx="7">
                  <c:v>-47.288773608123392</c:v>
                </c:pt>
                <c:pt idx="8">
                  <c:v>-47.288773608123165</c:v>
                </c:pt>
                <c:pt idx="9">
                  <c:v>-80.774100938320316</c:v>
                </c:pt>
                <c:pt idx="10">
                  <c:v>3.7090406124416972</c:v>
                </c:pt>
                <c:pt idx="11">
                  <c:v>3.7090406124416404</c:v>
                </c:pt>
                <c:pt idx="12">
                  <c:v>9.3496905525589682</c:v>
                </c:pt>
                <c:pt idx="13">
                  <c:v>36.921221460781439</c:v>
                </c:pt>
                <c:pt idx="14">
                  <c:v>16.948643144058899</c:v>
                </c:pt>
                <c:pt idx="15">
                  <c:v>16.948643144059133</c:v>
                </c:pt>
              </c:numCache>
            </c:numRef>
          </c:val>
          <c:extLst>
            <c:ext xmlns:c16="http://schemas.microsoft.com/office/drawing/2014/chart" uri="{C3380CC4-5D6E-409C-BE32-E72D297353CC}">
              <c16:uniqueId val="{00000004-0EB1-42D3-A942-90AB530CB2F5}"/>
            </c:ext>
          </c:extLst>
        </c:ser>
        <c:ser>
          <c:idx val="1"/>
          <c:order val="1"/>
          <c:spPr>
            <a:solidFill>
              <a:schemeClr val="accent6"/>
            </a:solidFill>
            <a:ln w="9525" cmpd="sng" algn="ctr">
              <a:solidFill>
                <a:schemeClr val="bg1"/>
              </a:solidFill>
              <a:prstDash val="solid"/>
            </a:ln>
          </c:spPr>
          <c:invertIfNegative val="0"/>
          <c:dPt>
            <c:idx val="1"/>
            <c:invertIfNegative val="0"/>
            <c:bubble3D val="0"/>
            <c:spPr>
              <a:solidFill>
                <a:srgbClr val="DF5327"/>
              </a:solidFill>
              <a:ln w="9525" cmpd="sng" algn="ctr">
                <a:solidFill>
                  <a:schemeClr val="bg1"/>
                </a:solidFill>
                <a:prstDash val="solid"/>
              </a:ln>
            </c:spPr>
            <c:extLst>
              <c:ext xmlns:c16="http://schemas.microsoft.com/office/drawing/2014/chart" uri="{C3380CC4-5D6E-409C-BE32-E72D297353CC}">
                <c16:uniqueId val="{00000005-0EB1-42D3-A942-90AB530CB2F5}"/>
              </c:ext>
            </c:extLst>
          </c:dPt>
          <c:dPt>
            <c:idx val="2"/>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6-0EB1-42D3-A942-90AB530CB2F5}"/>
              </c:ext>
            </c:extLst>
          </c:dPt>
          <c:dPt>
            <c:idx val="4"/>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7-0EB1-42D3-A942-90AB530CB2F5}"/>
              </c:ext>
            </c:extLst>
          </c:dPt>
          <c:dPt>
            <c:idx val="5"/>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8-0EB1-42D3-A942-90AB530CB2F5}"/>
              </c:ext>
            </c:extLst>
          </c:dPt>
          <c:dPt>
            <c:idx val="8"/>
            <c:invertIfNegative val="0"/>
            <c:bubble3D val="0"/>
            <c:spPr>
              <a:solidFill>
                <a:srgbClr val="DF5327"/>
              </a:solidFill>
              <a:ln w="9525" cmpd="sng" algn="ctr">
                <a:solidFill>
                  <a:schemeClr val="bg1"/>
                </a:solidFill>
                <a:prstDash val="solid"/>
              </a:ln>
            </c:spPr>
            <c:extLst>
              <c:ext xmlns:c16="http://schemas.microsoft.com/office/drawing/2014/chart" uri="{C3380CC4-5D6E-409C-BE32-E72D297353CC}">
                <c16:uniqueId val="{00000009-0EB1-42D3-A942-90AB530CB2F5}"/>
              </c:ext>
            </c:extLst>
          </c:dPt>
          <c:dPt>
            <c:idx val="9"/>
            <c:invertIfNegative val="0"/>
            <c:bubble3D val="0"/>
            <c:spPr>
              <a:solidFill>
                <a:srgbClr val="DF5327"/>
              </a:solidFill>
              <a:ln w="9525" cmpd="sng" algn="ctr">
                <a:solidFill>
                  <a:schemeClr val="bg1"/>
                </a:solidFill>
                <a:prstDash val="solid"/>
              </a:ln>
            </c:spPr>
            <c:extLst>
              <c:ext xmlns:c16="http://schemas.microsoft.com/office/drawing/2014/chart" uri="{C3380CC4-5D6E-409C-BE32-E72D297353CC}">
                <c16:uniqueId val="{0000000A-0EB1-42D3-A942-90AB530CB2F5}"/>
              </c:ext>
            </c:extLst>
          </c:dPt>
          <c:dPt>
            <c:idx val="10"/>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B-0EB1-42D3-A942-90AB530CB2F5}"/>
              </c:ext>
            </c:extLst>
          </c:dPt>
          <c:dPt>
            <c:idx val="12"/>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C-0EB1-42D3-A942-90AB530CB2F5}"/>
              </c:ext>
            </c:extLst>
          </c:dPt>
          <c:dPt>
            <c:idx val="13"/>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D-0EB1-42D3-A942-90AB530CB2F5}"/>
              </c:ext>
            </c:extLst>
          </c:dPt>
          <c:val>
            <c:numRef>
              <c:f>Sheet1!$A$2:$P$2</c:f>
              <c:numCache>
                <c:formatCode>General</c:formatCode>
                <c:ptCount val="16"/>
                <c:pt idx="1">
                  <c:v>-126.02236644555876</c:v>
                </c:pt>
                <c:pt idx="2">
                  <c:v>-318.17846531574924</c:v>
                </c:pt>
                <c:pt idx="3">
                  <c:v>-93.638788977145168</c:v>
                </c:pt>
                <c:pt idx="4">
                  <c:v>-95.142959880010125</c:v>
                </c:pt>
                <c:pt idx="5">
                  <c:v>-29.356138628623938</c:v>
                </c:pt>
                <c:pt idx="6">
                  <c:v>-32.633413803242114</c:v>
                </c:pt>
                <c:pt idx="8">
                  <c:v>-33.485327330197208</c:v>
                </c:pt>
                <c:pt idx="9">
                  <c:v>-39.161660826421809</c:v>
                </c:pt>
                <c:pt idx="10">
                  <c:v>-119.93576176474221</c:v>
                </c:pt>
                <c:pt idx="11">
                  <c:v>5.6406499401171857</c:v>
                </c:pt>
                <c:pt idx="12">
                  <c:v>37.268270533857162</c:v>
                </c:pt>
                <c:pt idx="13">
                  <c:v>9.6967396256341232</c:v>
                </c:pt>
                <c:pt idx="14">
                  <c:v>19.972578316722554</c:v>
                </c:pt>
              </c:numCache>
            </c:numRef>
          </c:val>
          <c:extLst>
            <c:ext xmlns:c16="http://schemas.microsoft.com/office/drawing/2014/chart" uri="{C3380CC4-5D6E-409C-BE32-E72D297353CC}">
              <c16:uniqueId val="{0000000E-0EB1-42D3-A942-90AB530CB2F5}"/>
            </c:ext>
          </c:extLst>
        </c:ser>
        <c:dLbls>
          <c:showLegendKey val="0"/>
          <c:showVal val="0"/>
          <c:showCatName val="0"/>
          <c:showSerName val="0"/>
          <c:showPercent val="0"/>
          <c:showBubbleSize val="0"/>
        </c:dLbls>
        <c:gapWidth val="80"/>
        <c:overlap val="100"/>
        <c:axId val="451094784"/>
        <c:axId val="1"/>
      </c:barChart>
      <c:catAx>
        <c:axId val="4510947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46.61796108641613"/>
          <c:min val="-557.52626295564573"/>
        </c:scaling>
        <c:delete val="1"/>
        <c:axPos val="l"/>
        <c:numFmt formatCode="General" sourceLinked="1"/>
        <c:majorTickMark val="out"/>
        <c:minorTickMark val="none"/>
        <c:tickLblPos val="nextTo"/>
        <c:crossAx val="451094784"/>
        <c:crosses val="min"/>
        <c:crossBetween val="between"/>
      </c:valAx>
    </c:plotArea>
    <c:plotVisOnly val="0"/>
    <c:dispBlanksAs val="gap"/>
    <c:showDLblsOverMax val="1"/>
  </c:chart>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88024776324846E-2"/>
          <c:y val="0.18705035971223022"/>
          <c:w val="0.92842395044735027"/>
          <c:h val="0.62589928057553956"/>
        </c:manualLayout>
      </c:layout>
      <c:barChart>
        <c:barDir val="col"/>
        <c:grouping val="clustered"/>
        <c:varyColors val="0"/>
        <c:ser>
          <c:idx val="0"/>
          <c:order val="0"/>
          <c:spPr>
            <a:solidFill>
              <a:srgbClr val="E1C4E1"/>
            </a:solidFill>
            <a:ln w="9525" cmpd="sng" algn="ctr">
              <a:solidFill>
                <a:schemeClr val="bg1"/>
              </a:solidFill>
              <a:prstDash val="solid"/>
            </a:ln>
          </c:spPr>
          <c:invertIfNegative val="0"/>
          <c:val>
            <c:numRef>
              <c:f>Sheet1!$A$1:$C$1</c:f>
              <c:numCache>
                <c:formatCode>General</c:formatCode>
                <c:ptCount val="3"/>
                <c:pt idx="0">
                  <c:v>3.0068934431553895</c:v>
                </c:pt>
                <c:pt idx="1">
                  <c:v>6.711679683615368</c:v>
                </c:pt>
                <c:pt idx="2">
                  <c:v>8.7640580494011253</c:v>
                </c:pt>
              </c:numCache>
            </c:numRef>
          </c:val>
          <c:extLst>
            <c:ext xmlns:c16="http://schemas.microsoft.com/office/drawing/2014/chart" uri="{C3380CC4-5D6E-409C-BE32-E72D297353CC}">
              <c16:uniqueId val="{00000000-548C-4E87-86D1-CA5D5B50D4AC}"/>
            </c:ext>
          </c:extLst>
        </c:ser>
        <c:ser>
          <c:idx val="1"/>
          <c:order val="1"/>
          <c:spPr>
            <a:solidFill>
              <a:srgbClr val="6F8DB9"/>
            </a:solidFill>
            <a:ln w="9525" cmpd="sng" algn="ctr">
              <a:solidFill>
                <a:schemeClr val="bg1"/>
              </a:solidFill>
              <a:prstDash val="solid"/>
            </a:ln>
          </c:spPr>
          <c:invertIfNegative val="0"/>
          <c:val>
            <c:numRef>
              <c:f>Sheet1!$A$2:$C$2</c:f>
              <c:numCache>
                <c:formatCode>General</c:formatCode>
                <c:ptCount val="3"/>
                <c:pt idx="0">
                  <c:v>4.213283868671458</c:v>
                </c:pt>
                <c:pt idx="1">
                  <c:v>7.5056321645631696</c:v>
                </c:pt>
                <c:pt idx="2">
                  <c:v>8.5714426241259911</c:v>
                </c:pt>
              </c:numCache>
            </c:numRef>
          </c:val>
          <c:extLst>
            <c:ext xmlns:c16="http://schemas.microsoft.com/office/drawing/2014/chart" uri="{C3380CC4-5D6E-409C-BE32-E72D297353CC}">
              <c16:uniqueId val="{00000001-548C-4E87-86D1-CA5D5B50D4AC}"/>
            </c:ext>
          </c:extLst>
        </c:ser>
        <c:dLbls>
          <c:showLegendKey val="0"/>
          <c:showVal val="0"/>
          <c:showCatName val="0"/>
          <c:showSerName val="0"/>
          <c:showPercent val="0"/>
          <c:showBubbleSize val="0"/>
        </c:dLbls>
        <c:gapWidth val="80"/>
        <c:axId val="915404912"/>
        <c:axId val="1"/>
      </c:barChart>
      <c:catAx>
        <c:axId val="9154049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7640580494011253"/>
          <c:min val="0"/>
        </c:scaling>
        <c:delete val="1"/>
        <c:axPos val="l"/>
        <c:numFmt formatCode="General" sourceLinked="1"/>
        <c:majorTickMark val="out"/>
        <c:minorTickMark val="none"/>
        <c:tickLblPos val="nextTo"/>
        <c:crossAx val="915404912"/>
        <c:crosses val="min"/>
        <c:crossBetween val="between"/>
      </c:valAx>
    </c:plotArea>
    <c:plotVisOnly val="0"/>
    <c:dispBlanksAs val="gap"/>
    <c:showDLblsOverMax val="1"/>
  </c:chart>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88024776324846E-2"/>
          <c:y val="0.17218543046357615"/>
          <c:w val="0.92842395044735027"/>
          <c:h val="0.6556291390728477"/>
        </c:manualLayout>
      </c:layout>
      <c:barChart>
        <c:barDir val="col"/>
        <c:grouping val="clustered"/>
        <c:varyColors val="0"/>
        <c:ser>
          <c:idx val="0"/>
          <c:order val="0"/>
          <c:spPr>
            <a:solidFill>
              <a:srgbClr val="E1C4E1"/>
            </a:solidFill>
            <a:ln w="9525" cmpd="sng" algn="ctr">
              <a:solidFill>
                <a:schemeClr val="bg1"/>
              </a:solidFill>
              <a:prstDash val="solid"/>
            </a:ln>
          </c:spPr>
          <c:invertIfNegative val="0"/>
          <c:val>
            <c:numRef>
              <c:f>Sheet1!$A$1:$C$1</c:f>
              <c:numCache>
                <c:formatCode>General</c:formatCode>
                <c:ptCount val="3"/>
                <c:pt idx="0">
                  <c:v>4.4756030187185214</c:v>
                </c:pt>
                <c:pt idx="1">
                  <c:v>7.1162600614594451</c:v>
                </c:pt>
                <c:pt idx="2">
                  <c:v>8.8054686905111765</c:v>
                </c:pt>
              </c:numCache>
            </c:numRef>
          </c:val>
          <c:extLst>
            <c:ext xmlns:c16="http://schemas.microsoft.com/office/drawing/2014/chart" uri="{C3380CC4-5D6E-409C-BE32-E72D297353CC}">
              <c16:uniqueId val="{00000000-4644-4347-81CC-8528D9434C02}"/>
            </c:ext>
          </c:extLst>
        </c:ser>
        <c:ser>
          <c:idx val="1"/>
          <c:order val="1"/>
          <c:spPr>
            <a:solidFill>
              <a:srgbClr val="6F8DB9"/>
            </a:solidFill>
            <a:ln w="9525" cmpd="sng" algn="ctr">
              <a:solidFill>
                <a:schemeClr val="bg1"/>
              </a:solidFill>
              <a:prstDash val="solid"/>
            </a:ln>
          </c:spPr>
          <c:invertIfNegative val="0"/>
          <c:val>
            <c:numRef>
              <c:f>Sheet1!$A$2:$C$2</c:f>
              <c:numCache>
                <c:formatCode>General</c:formatCode>
                <c:ptCount val="3"/>
                <c:pt idx="0">
                  <c:v>5.4066567186690229</c:v>
                </c:pt>
                <c:pt idx="1">
                  <c:v>8.0027797026690948</c:v>
                </c:pt>
                <c:pt idx="2">
                  <c:v>8.8820642970719454</c:v>
                </c:pt>
              </c:numCache>
            </c:numRef>
          </c:val>
          <c:extLst>
            <c:ext xmlns:c16="http://schemas.microsoft.com/office/drawing/2014/chart" uri="{C3380CC4-5D6E-409C-BE32-E72D297353CC}">
              <c16:uniqueId val="{00000001-4644-4347-81CC-8528D9434C02}"/>
            </c:ext>
          </c:extLst>
        </c:ser>
        <c:dLbls>
          <c:showLegendKey val="0"/>
          <c:showVal val="0"/>
          <c:showCatName val="0"/>
          <c:showSerName val="0"/>
          <c:showPercent val="0"/>
          <c:showBubbleSize val="0"/>
        </c:dLbls>
        <c:gapWidth val="80"/>
        <c:axId val="1919844351"/>
        <c:axId val="1"/>
      </c:barChart>
      <c:catAx>
        <c:axId val="19198443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8820642970719454"/>
          <c:min val="0"/>
        </c:scaling>
        <c:delete val="1"/>
        <c:axPos val="l"/>
        <c:numFmt formatCode="General" sourceLinked="1"/>
        <c:majorTickMark val="out"/>
        <c:minorTickMark val="none"/>
        <c:tickLblPos val="nextTo"/>
        <c:crossAx val="1919844351"/>
        <c:crosses val="min"/>
        <c:crossBetween val="between"/>
      </c:valAx>
    </c:plotArea>
    <c:plotVisOnly val="0"/>
    <c:dispBlanksAs val="gap"/>
    <c:showDLblsOverMax val="1"/>
  </c:chart>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88024776324846E-2"/>
          <c:y val="0.18705035971223022"/>
          <c:w val="0.92842395044735027"/>
          <c:h val="0.62589928057553956"/>
        </c:manualLayout>
      </c:layout>
      <c:barChart>
        <c:barDir val="col"/>
        <c:grouping val="clustered"/>
        <c:varyColors val="0"/>
        <c:ser>
          <c:idx val="0"/>
          <c:order val="0"/>
          <c:spPr>
            <a:solidFill>
              <a:srgbClr val="E1C4E1"/>
            </a:solidFill>
            <a:ln w="9525" cmpd="sng" algn="ctr">
              <a:solidFill>
                <a:schemeClr val="bg1"/>
              </a:solidFill>
              <a:prstDash val="solid"/>
            </a:ln>
          </c:spPr>
          <c:invertIfNegative val="0"/>
          <c:val>
            <c:numRef>
              <c:f>Sheet1!$A$1:$C$1</c:f>
              <c:numCache>
                <c:formatCode>General</c:formatCode>
                <c:ptCount val="3"/>
                <c:pt idx="0">
                  <c:v>9.0444364958652379</c:v>
                </c:pt>
                <c:pt idx="1">
                  <c:v>9.7771906419120924</c:v>
                </c:pt>
                <c:pt idx="2">
                  <c:v>6.6551226965237964</c:v>
                </c:pt>
              </c:numCache>
            </c:numRef>
          </c:val>
          <c:extLst>
            <c:ext xmlns:c16="http://schemas.microsoft.com/office/drawing/2014/chart" uri="{C3380CC4-5D6E-409C-BE32-E72D297353CC}">
              <c16:uniqueId val="{00000000-42C9-4877-9824-98DC9BE27052}"/>
            </c:ext>
          </c:extLst>
        </c:ser>
        <c:ser>
          <c:idx val="1"/>
          <c:order val="1"/>
          <c:spPr>
            <a:solidFill>
              <a:srgbClr val="6F8DB9"/>
            </a:solidFill>
            <a:ln w="9525" cmpd="sng" algn="ctr">
              <a:solidFill>
                <a:schemeClr val="bg1"/>
              </a:solidFill>
              <a:prstDash val="solid"/>
            </a:ln>
          </c:spPr>
          <c:invertIfNegative val="0"/>
          <c:val>
            <c:numRef>
              <c:f>Sheet1!$A$2:$C$2</c:f>
              <c:numCache>
                <c:formatCode>General</c:formatCode>
                <c:ptCount val="3"/>
                <c:pt idx="0">
                  <c:v>10.772645736308007</c:v>
                </c:pt>
                <c:pt idx="1">
                  <c:v>11.814206061147804</c:v>
                </c:pt>
                <c:pt idx="2">
                  <c:v>9.4859890177334538</c:v>
                </c:pt>
              </c:numCache>
            </c:numRef>
          </c:val>
          <c:extLst>
            <c:ext xmlns:c16="http://schemas.microsoft.com/office/drawing/2014/chart" uri="{C3380CC4-5D6E-409C-BE32-E72D297353CC}">
              <c16:uniqueId val="{00000001-42C9-4877-9824-98DC9BE27052}"/>
            </c:ext>
          </c:extLst>
        </c:ser>
        <c:dLbls>
          <c:showLegendKey val="0"/>
          <c:showVal val="0"/>
          <c:showCatName val="0"/>
          <c:showSerName val="0"/>
          <c:showPercent val="0"/>
          <c:showBubbleSize val="0"/>
        </c:dLbls>
        <c:gapWidth val="80"/>
        <c:axId val="498834240"/>
        <c:axId val="1"/>
      </c:barChart>
      <c:catAx>
        <c:axId val="498834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814206061147804"/>
          <c:min val="0"/>
        </c:scaling>
        <c:delete val="1"/>
        <c:axPos val="l"/>
        <c:numFmt formatCode="General" sourceLinked="1"/>
        <c:majorTickMark val="out"/>
        <c:minorTickMark val="none"/>
        <c:tickLblPos val="nextTo"/>
        <c:crossAx val="498834240"/>
        <c:crosses val="min"/>
        <c:crossBetween val="between"/>
      </c:valAx>
    </c:plotArea>
    <c:plotVisOnly val="0"/>
    <c:dispBlanksAs val="gap"/>
    <c:showDLblsOverMax val="1"/>
  </c:chart>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88024776324846E-2"/>
          <c:y val="0.13367609254498714"/>
          <c:w val="0.92842395044735027"/>
          <c:h val="0.73264781491002573"/>
        </c:manualLayout>
      </c:layout>
      <c:barChart>
        <c:barDir val="col"/>
        <c:grouping val="clustered"/>
        <c:varyColors val="0"/>
        <c:ser>
          <c:idx val="0"/>
          <c:order val="0"/>
          <c:spPr>
            <a:solidFill>
              <a:srgbClr val="E1C4E1"/>
            </a:solidFill>
            <a:ln w="9525" cmpd="sng" algn="ctr">
              <a:solidFill>
                <a:schemeClr val="bg1"/>
              </a:solidFill>
              <a:prstDash val="solid"/>
            </a:ln>
          </c:spPr>
          <c:invertIfNegative val="0"/>
          <c:val>
            <c:numRef>
              <c:f>Sheet1!$A$1:$C$1</c:f>
              <c:numCache>
                <c:formatCode>General</c:formatCode>
                <c:ptCount val="3"/>
                <c:pt idx="1">
                  <c:v>1.4160000244392235</c:v>
                </c:pt>
                <c:pt idx="2">
                  <c:v>3.9564718104930119</c:v>
                </c:pt>
              </c:numCache>
            </c:numRef>
          </c:val>
          <c:extLst>
            <c:ext xmlns:c16="http://schemas.microsoft.com/office/drawing/2014/chart" uri="{C3380CC4-5D6E-409C-BE32-E72D297353CC}">
              <c16:uniqueId val="{00000000-91AE-49F3-B032-702B3A10C301}"/>
            </c:ext>
          </c:extLst>
        </c:ser>
        <c:ser>
          <c:idx val="1"/>
          <c:order val="1"/>
          <c:spPr>
            <a:solidFill>
              <a:srgbClr val="6F8DB9"/>
            </a:solidFill>
            <a:ln w="9525" cmpd="sng" algn="ctr">
              <a:solidFill>
                <a:schemeClr val="bg1"/>
              </a:solidFill>
              <a:prstDash val="solid"/>
            </a:ln>
          </c:spPr>
          <c:invertIfNegative val="0"/>
          <c:val>
            <c:numRef>
              <c:f>Sheet1!$A$2:$C$2</c:f>
              <c:numCache>
                <c:formatCode>General</c:formatCode>
                <c:ptCount val="3"/>
                <c:pt idx="1">
                  <c:v>4.1480553633353345</c:v>
                </c:pt>
                <c:pt idx="2">
                  <c:v>6.9742490857288786</c:v>
                </c:pt>
              </c:numCache>
            </c:numRef>
          </c:val>
          <c:extLst>
            <c:ext xmlns:c16="http://schemas.microsoft.com/office/drawing/2014/chart" uri="{C3380CC4-5D6E-409C-BE32-E72D297353CC}">
              <c16:uniqueId val="{00000001-91AE-49F3-B032-702B3A10C301}"/>
            </c:ext>
          </c:extLst>
        </c:ser>
        <c:dLbls>
          <c:showLegendKey val="0"/>
          <c:showVal val="0"/>
          <c:showCatName val="0"/>
          <c:showSerName val="0"/>
          <c:showPercent val="0"/>
          <c:showBubbleSize val="0"/>
        </c:dLbls>
        <c:gapWidth val="80"/>
        <c:axId val="1088693103"/>
        <c:axId val="1"/>
      </c:barChart>
      <c:catAx>
        <c:axId val="10886931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9742490857288786"/>
          <c:min val="0"/>
        </c:scaling>
        <c:delete val="1"/>
        <c:axPos val="l"/>
        <c:numFmt formatCode="General" sourceLinked="1"/>
        <c:majorTickMark val="out"/>
        <c:minorTickMark val="none"/>
        <c:tickLblPos val="nextTo"/>
        <c:crossAx val="1088693103"/>
        <c:crosses val="min"/>
        <c:crossBetween val="between"/>
      </c:valAx>
    </c:plotArea>
    <c:plotVisOnly val="0"/>
    <c:dispBlanksAs val="gap"/>
    <c:showDLblsOverMax val="1"/>
  </c:chart>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050279329608939E-2"/>
          <c:y val="6.1538461538461542E-2"/>
          <c:w val="0.94189944134078207"/>
          <c:h val="0.87692307692307692"/>
        </c:manualLayout>
      </c:layout>
      <c:barChart>
        <c:barDir val="col"/>
        <c:grouping val="clustered"/>
        <c:varyColors val="0"/>
        <c:ser>
          <c:idx val="0"/>
          <c:order val="0"/>
          <c:spPr>
            <a:solidFill>
              <a:schemeClr val="accent4"/>
            </a:solidFill>
            <a:ln w="9525" cmpd="sng" algn="ctr">
              <a:solidFill>
                <a:schemeClr val="bg1"/>
              </a:solidFill>
              <a:prstDash val="solid"/>
            </a:ln>
          </c:spPr>
          <c:invertIfNegative val="0"/>
          <c:val>
            <c:numRef>
              <c:f>Sheet1!$A$1:$B$1</c:f>
              <c:numCache>
                <c:formatCode>General</c:formatCode>
                <c:ptCount val="2"/>
                <c:pt idx="0">
                  <c:v>6.7</c:v>
                </c:pt>
                <c:pt idx="1">
                  <c:v>8.7999999999999989</c:v>
                </c:pt>
              </c:numCache>
            </c:numRef>
          </c:val>
          <c:extLst>
            <c:ext xmlns:c16="http://schemas.microsoft.com/office/drawing/2014/chart" uri="{C3380CC4-5D6E-409C-BE32-E72D297353CC}">
              <c16:uniqueId val="{00000000-18D7-4094-BCB8-1B54046F2375}"/>
            </c:ext>
          </c:extLst>
        </c:ser>
        <c:ser>
          <c:idx val="1"/>
          <c:order val="1"/>
          <c:spPr>
            <a:solidFill>
              <a:schemeClr val="accent3"/>
            </a:solidFill>
            <a:ln w="9525" cmpd="sng" algn="ctr">
              <a:solidFill>
                <a:schemeClr val="bg1"/>
              </a:solidFill>
              <a:prstDash val="solid"/>
            </a:ln>
          </c:spPr>
          <c:invertIfNegative val="0"/>
          <c:val>
            <c:numRef>
              <c:f>Sheet1!$A$2:$B$2</c:f>
              <c:numCache>
                <c:formatCode>General</c:formatCode>
                <c:ptCount val="2"/>
                <c:pt idx="0">
                  <c:v>7.5</c:v>
                </c:pt>
                <c:pt idx="1">
                  <c:v>8.6</c:v>
                </c:pt>
              </c:numCache>
            </c:numRef>
          </c:val>
          <c:extLst>
            <c:ext xmlns:c16="http://schemas.microsoft.com/office/drawing/2014/chart" uri="{C3380CC4-5D6E-409C-BE32-E72D297353CC}">
              <c16:uniqueId val="{00000001-18D7-4094-BCB8-1B54046F2375}"/>
            </c:ext>
          </c:extLst>
        </c:ser>
        <c:ser>
          <c:idx val="2"/>
          <c:order val="2"/>
          <c:spPr>
            <a:solidFill>
              <a:schemeClr val="accent2"/>
            </a:solidFill>
            <a:ln w="9525" cmpd="sng" algn="ctr">
              <a:solidFill>
                <a:schemeClr val="bg1"/>
              </a:solidFill>
              <a:prstDash val="solid"/>
            </a:ln>
          </c:spPr>
          <c:invertIfNegative val="0"/>
          <c:val>
            <c:numRef>
              <c:f>Sheet1!$A$3:$B$3</c:f>
              <c:numCache>
                <c:formatCode>General</c:formatCode>
                <c:ptCount val="2"/>
                <c:pt idx="0">
                  <c:v>9.3000000000000007</c:v>
                </c:pt>
                <c:pt idx="1">
                  <c:v>8.9</c:v>
                </c:pt>
              </c:numCache>
            </c:numRef>
          </c:val>
          <c:extLst>
            <c:ext xmlns:c16="http://schemas.microsoft.com/office/drawing/2014/chart" uri="{C3380CC4-5D6E-409C-BE32-E72D297353CC}">
              <c16:uniqueId val="{00000002-18D7-4094-BCB8-1B54046F2375}"/>
            </c:ext>
          </c:extLst>
        </c:ser>
        <c:dLbls>
          <c:showLegendKey val="0"/>
          <c:showVal val="0"/>
          <c:showCatName val="0"/>
          <c:showSerName val="0"/>
          <c:showPercent val="0"/>
          <c:showBubbleSize val="0"/>
        </c:dLbls>
        <c:gapWidth val="80"/>
        <c:axId val="789545072"/>
        <c:axId val="1"/>
      </c:barChart>
      <c:catAx>
        <c:axId val="7895450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789545072"/>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497942386831275E-2"/>
          <c:y val="5.9907834101382486E-2"/>
          <c:w val="0.89300411522633749"/>
          <c:h val="0.88018433179723499"/>
        </c:manualLayout>
      </c:layout>
      <c:barChart>
        <c:barDir val="col"/>
        <c:grouping val="stacked"/>
        <c:varyColors val="0"/>
        <c:ser>
          <c:idx val="0"/>
          <c:order val="0"/>
          <c:spPr>
            <a:solidFill>
              <a:srgbClr val="6F8DB9"/>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0-692E-4F24-8186-FD8C236C67C1}"/>
              </c:ext>
            </c:extLst>
          </c:dPt>
          <c:val>
            <c:numRef>
              <c:f>Sheet1!$A$1:$B$1</c:f>
              <c:numCache>
                <c:formatCode>General</c:formatCode>
                <c:ptCount val="2"/>
                <c:pt idx="0">
                  <c:v>1233.9765259999999</c:v>
                </c:pt>
                <c:pt idx="1">
                  <c:v>6899.502152</c:v>
                </c:pt>
              </c:numCache>
            </c:numRef>
          </c:val>
          <c:extLst>
            <c:ext xmlns:c16="http://schemas.microsoft.com/office/drawing/2014/chart" uri="{C3380CC4-5D6E-409C-BE32-E72D297353CC}">
              <c16:uniqueId val="{00000001-692E-4F24-8186-FD8C236C67C1}"/>
            </c:ext>
          </c:extLst>
        </c:ser>
        <c:ser>
          <c:idx val="1"/>
          <c:order val="1"/>
          <c:spPr>
            <a:solidFill>
              <a:srgbClr val="6F8DB9"/>
            </a:solidFill>
            <a:ln w="9525" cmpd="sng" algn="ctr">
              <a:solidFill>
                <a:schemeClr val="bg1"/>
              </a:solidFill>
              <a:prstDash val="solid"/>
            </a:ln>
          </c:spPr>
          <c:invertIfNegative val="0"/>
          <c:dPt>
            <c:idx val="0"/>
            <c:invertIfNegative val="0"/>
            <c:bubble3D val="0"/>
            <c:spPr>
              <a:solidFill>
                <a:schemeClr val="accent5"/>
              </a:solidFill>
              <a:ln w="9525" cmpd="sng" algn="ctr">
                <a:solidFill>
                  <a:schemeClr val="bg1"/>
                </a:solidFill>
                <a:prstDash val="solid"/>
              </a:ln>
            </c:spPr>
            <c:extLst>
              <c:ext xmlns:c16="http://schemas.microsoft.com/office/drawing/2014/chart" uri="{C3380CC4-5D6E-409C-BE32-E72D297353CC}">
                <c16:uniqueId val="{00000002-692E-4F24-8186-FD8C236C67C1}"/>
              </c:ext>
            </c:extLst>
          </c:dPt>
          <c:val>
            <c:numRef>
              <c:f>Sheet1!$A$2:$B$2</c:f>
              <c:numCache>
                <c:formatCode>General</c:formatCode>
                <c:ptCount val="2"/>
                <c:pt idx="0">
                  <c:v>-130.80019480000001</c:v>
                </c:pt>
                <c:pt idx="1">
                  <c:v>-318.15421789999999</c:v>
                </c:pt>
              </c:numCache>
            </c:numRef>
          </c:val>
          <c:extLst>
            <c:ext xmlns:c16="http://schemas.microsoft.com/office/drawing/2014/chart" uri="{C3380CC4-5D6E-409C-BE32-E72D297353CC}">
              <c16:uniqueId val="{00000003-692E-4F24-8186-FD8C236C67C1}"/>
            </c:ext>
          </c:extLst>
        </c:ser>
        <c:dLbls>
          <c:showLegendKey val="0"/>
          <c:showVal val="0"/>
          <c:showCatName val="0"/>
          <c:showSerName val="0"/>
          <c:showPercent val="0"/>
          <c:showBubbleSize val="0"/>
        </c:dLbls>
        <c:gapWidth val="0"/>
        <c:overlap val="100"/>
        <c:axId val="2107425888"/>
        <c:axId val="1"/>
      </c:barChart>
      <c:catAx>
        <c:axId val="2107425888"/>
        <c:scaling>
          <c:orientation val="minMax"/>
        </c:scaling>
        <c:delete val="1"/>
        <c:axPos val="b"/>
        <c:majorTickMark val="out"/>
        <c:minorTickMark val="none"/>
        <c:tickLblPos val="nextTo"/>
        <c:crossAx val="1"/>
        <c:crossesAt val="0"/>
        <c:auto val="0"/>
        <c:lblAlgn val="ctr"/>
        <c:lblOffset val="100"/>
        <c:noMultiLvlLbl val="0"/>
      </c:catAx>
      <c:valAx>
        <c:axId val="1"/>
        <c:scaling>
          <c:orientation val="minMax"/>
          <c:max val="8000"/>
          <c:min val="-2000"/>
        </c:scaling>
        <c:delete val="0"/>
        <c:axPos val="l"/>
        <c:majorGridlines>
          <c:spPr>
            <a:ln w="3175" cmpd="sng" algn="ctr">
              <a:solidFill>
                <a:schemeClr val="accent6"/>
              </a:solidFill>
              <a:prstDash val="solid"/>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2107425888"/>
        <c:crosses val="min"/>
        <c:crossBetween val="between"/>
        <c:majorUnit val="2000"/>
      </c:valAx>
    </c:plotArea>
    <c:plotVisOnly val="0"/>
    <c:dispBlanksAs val="gap"/>
    <c:showDLblsOverMax val="1"/>
  </c:chart>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050279329608939E-2"/>
          <c:y val="6.1538461538461542E-2"/>
          <c:w val="0.94189944134078207"/>
          <c:h val="0.87692307692307692"/>
        </c:manualLayout>
      </c:layout>
      <c:barChart>
        <c:barDir val="col"/>
        <c:grouping val="clustered"/>
        <c:varyColors val="0"/>
        <c:ser>
          <c:idx val="0"/>
          <c:order val="0"/>
          <c:spPr>
            <a:solidFill>
              <a:schemeClr val="accent4"/>
            </a:solidFill>
            <a:ln w="9525" cmpd="sng" algn="ctr">
              <a:solidFill>
                <a:schemeClr val="bg1"/>
              </a:solidFill>
              <a:prstDash val="solid"/>
            </a:ln>
          </c:spPr>
          <c:invertIfNegative val="0"/>
          <c:val>
            <c:numRef>
              <c:f>Sheet1!$A$1:$B$1</c:f>
              <c:numCache>
                <c:formatCode>General</c:formatCode>
                <c:ptCount val="2"/>
                <c:pt idx="0">
                  <c:v>7.1</c:v>
                </c:pt>
                <c:pt idx="1">
                  <c:v>8.7999999999999989</c:v>
                </c:pt>
              </c:numCache>
            </c:numRef>
          </c:val>
          <c:extLst>
            <c:ext xmlns:c16="http://schemas.microsoft.com/office/drawing/2014/chart" uri="{C3380CC4-5D6E-409C-BE32-E72D297353CC}">
              <c16:uniqueId val="{00000000-17EA-456C-B46E-436246C520D0}"/>
            </c:ext>
          </c:extLst>
        </c:ser>
        <c:ser>
          <c:idx val="1"/>
          <c:order val="1"/>
          <c:spPr>
            <a:solidFill>
              <a:schemeClr val="accent3"/>
            </a:solidFill>
            <a:ln w="9525" cmpd="sng" algn="ctr">
              <a:solidFill>
                <a:schemeClr val="bg1"/>
              </a:solidFill>
              <a:prstDash val="solid"/>
            </a:ln>
          </c:spPr>
          <c:invertIfNegative val="0"/>
          <c:val>
            <c:numRef>
              <c:f>Sheet1!$A$2:$B$2</c:f>
              <c:numCache>
                <c:formatCode>General</c:formatCode>
                <c:ptCount val="2"/>
                <c:pt idx="0">
                  <c:v>8</c:v>
                </c:pt>
                <c:pt idx="1">
                  <c:v>8.9</c:v>
                </c:pt>
              </c:numCache>
            </c:numRef>
          </c:val>
          <c:extLst>
            <c:ext xmlns:c16="http://schemas.microsoft.com/office/drawing/2014/chart" uri="{C3380CC4-5D6E-409C-BE32-E72D297353CC}">
              <c16:uniqueId val="{00000001-17EA-456C-B46E-436246C520D0}"/>
            </c:ext>
          </c:extLst>
        </c:ser>
        <c:ser>
          <c:idx val="2"/>
          <c:order val="2"/>
          <c:spPr>
            <a:solidFill>
              <a:schemeClr val="accent2"/>
            </a:solidFill>
            <a:ln w="9525" cmpd="sng" algn="ctr">
              <a:solidFill>
                <a:schemeClr val="bg1"/>
              </a:solidFill>
              <a:prstDash val="solid"/>
            </a:ln>
          </c:spPr>
          <c:invertIfNegative val="0"/>
          <c:val>
            <c:numRef>
              <c:f>Sheet1!$A$3:$B$3</c:f>
              <c:numCache>
                <c:formatCode>General</c:formatCode>
                <c:ptCount val="2"/>
                <c:pt idx="0">
                  <c:v>10.6</c:v>
                </c:pt>
                <c:pt idx="1">
                  <c:v>10</c:v>
                </c:pt>
              </c:numCache>
            </c:numRef>
          </c:val>
          <c:extLst>
            <c:ext xmlns:c16="http://schemas.microsoft.com/office/drawing/2014/chart" uri="{C3380CC4-5D6E-409C-BE32-E72D297353CC}">
              <c16:uniqueId val="{00000002-17EA-456C-B46E-436246C520D0}"/>
            </c:ext>
          </c:extLst>
        </c:ser>
        <c:dLbls>
          <c:showLegendKey val="0"/>
          <c:showVal val="0"/>
          <c:showCatName val="0"/>
          <c:showSerName val="0"/>
          <c:showPercent val="0"/>
          <c:showBubbleSize val="0"/>
        </c:dLbls>
        <c:gapWidth val="80"/>
        <c:axId val="557846911"/>
        <c:axId val="1"/>
      </c:barChart>
      <c:catAx>
        <c:axId val="557846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557846911"/>
        <c:crosses val="min"/>
        <c:crossBetween val="between"/>
      </c:valAx>
    </c:plotArea>
    <c:plotVisOnly val="0"/>
    <c:dispBlanksAs val="gap"/>
    <c:showDLblsOverMax val="1"/>
  </c:chart>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050279329608939E-2"/>
          <c:y val="6.1538461538461542E-2"/>
          <c:w val="0.94189944134078207"/>
          <c:h val="0.87692307692307692"/>
        </c:manualLayout>
      </c:layout>
      <c:barChart>
        <c:barDir val="col"/>
        <c:grouping val="clustered"/>
        <c:varyColors val="0"/>
        <c:ser>
          <c:idx val="0"/>
          <c:order val="0"/>
          <c:spPr>
            <a:solidFill>
              <a:schemeClr val="accent4"/>
            </a:solidFill>
            <a:ln w="9525" cmpd="sng" algn="ctr">
              <a:solidFill>
                <a:schemeClr val="bg1"/>
              </a:solidFill>
              <a:prstDash val="solid"/>
            </a:ln>
          </c:spPr>
          <c:invertIfNegative val="0"/>
          <c:val>
            <c:numRef>
              <c:f>Sheet1!$A$1:$B$1</c:f>
              <c:numCache>
                <c:formatCode>General</c:formatCode>
                <c:ptCount val="2"/>
                <c:pt idx="0">
                  <c:v>4.2</c:v>
                </c:pt>
                <c:pt idx="1">
                  <c:v>3.5000000000000004</c:v>
                </c:pt>
              </c:numCache>
            </c:numRef>
          </c:val>
          <c:extLst>
            <c:ext xmlns:c16="http://schemas.microsoft.com/office/drawing/2014/chart" uri="{C3380CC4-5D6E-409C-BE32-E72D297353CC}">
              <c16:uniqueId val="{00000000-53C5-4D3B-B78B-FDD6E40AF59B}"/>
            </c:ext>
          </c:extLst>
        </c:ser>
        <c:ser>
          <c:idx val="1"/>
          <c:order val="1"/>
          <c:invertIfNegative val="0"/>
          <c:val>
            <c:numRef>
              <c:f>Sheet1!$A$2:$B$2</c:f>
              <c:numCache>
                <c:formatCode>General</c:formatCode>
                <c:ptCount val="2"/>
                <c:pt idx="0">
                  <c:v>0</c:v>
                </c:pt>
              </c:numCache>
            </c:numRef>
          </c:val>
          <c:extLst>
            <c:ext xmlns:c16="http://schemas.microsoft.com/office/drawing/2014/chart" uri="{C3380CC4-5D6E-409C-BE32-E72D297353CC}">
              <c16:uniqueId val="{00000001-53C5-4D3B-B78B-FDD6E40AF59B}"/>
            </c:ext>
          </c:extLst>
        </c:ser>
        <c:ser>
          <c:idx val="2"/>
          <c:order val="2"/>
          <c:spPr>
            <a:solidFill>
              <a:schemeClr val="accent2"/>
            </a:solidFill>
            <a:ln w="9525" cmpd="sng" algn="ctr">
              <a:solidFill>
                <a:schemeClr val="bg1"/>
              </a:solidFill>
              <a:prstDash val="solid"/>
            </a:ln>
          </c:spPr>
          <c:invertIfNegative val="0"/>
          <c:val>
            <c:numRef>
              <c:f>Sheet1!$A$3:$B$3</c:f>
              <c:numCache>
                <c:formatCode>General</c:formatCode>
                <c:ptCount val="2"/>
                <c:pt idx="0">
                  <c:v>7.5</c:v>
                </c:pt>
                <c:pt idx="1">
                  <c:v>7.1999999999999993</c:v>
                </c:pt>
              </c:numCache>
            </c:numRef>
          </c:val>
          <c:extLst>
            <c:ext xmlns:c16="http://schemas.microsoft.com/office/drawing/2014/chart" uri="{C3380CC4-5D6E-409C-BE32-E72D297353CC}">
              <c16:uniqueId val="{00000002-53C5-4D3B-B78B-FDD6E40AF59B}"/>
            </c:ext>
          </c:extLst>
        </c:ser>
        <c:dLbls>
          <c:showLegendKey val="0"/>
          <c:showVal val="0"/>
          <c:showCatName val="0"/>
          <c:showSerName val="0"/>
          <c:showPercent val="0"/>
          <c:showBubbleSize val="0"/>
        </c:dLbls>
        <c:gapWidth val="80"/>
        <c:axId val="557883871"/>
        <c:axId val="1"/>
      </c:barChart>
      <c:catAx>
        <c:axId val="5578838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557883871"/>
        <c:crosses val="min"/>
        <c:crossBetween val="between"/>
      </c:valAx>
    </c:plotArea>
    <c:plotVisOnly val="0"/>
    <c:dispBlanksAs val="gap"/>
    <c:showDLblsOverMax val="1"/>
  </c:chart>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050279329608939E-2"/>
          <c:y val="6.1538461538461542E-2"/>
          <c:w val="0.94189944134078207"/>
          <c:h val="0.87692307692307692"/>
        </c:manualLayout>
      </c:layout>
      <c:barChart>
        <c:barDir val="col"/>
        <c:grouping val="clustered"/>
        <c:varyColors val="0"/>
        <c:ser>
          <c:idx val="0"/>
          <c:order val="0"/>
          <c:spPr>
            <a:solidFill>
              <a:schemeClr val="accent4"/>
            </a:solidFill>
            <a:ln w="9525" cmpd="sng" algn="ctr">
              <a:solidFill>
                <a:schemeClr val="bg1"/>
              </a:solidFill>
              <a:prstDash val="solid"/>
            </a:ln>
          </c:spPr>
          <c:invertIfNegative val="0"/>
          <c:val>
            <c:numRef>
              <c:f>Sheet1!$A$1:$B$1</c:f>
              <c:numCache>
                <c:formatCode>General</c:formatCode>
                <c:ptCount val="2"/>
                <c:pt idx="0">
                  <c:v>1.4000000000000001</c:v>
                </c:pt>
                <c:pt idx="1">
                  <c:v>4</c:v>
                </c:pt>
              </c:numCache>
            </c:numRef>
          </c:val>
          <c:extLst>
            <c:ext xmlns:c16="http://schemas.microsoft.com/office/drawing/2014/chart" uri="{C3380CC4-5D6E-409C-BE32-E72D297353CC}">
              <c16:uniqueId val="{00000000-6348-4333-A0F8-FF643980AAED}"/>
            </c:ext>
          </c:extLst>
        </c:ser>
        <c:ser>
          <c:idx val="1"/>
          <c:order val="1"/>
          <c:spPr>
            <a:solidFill>
              <a:schemeClr val="accent3"/>
            </a:solidFill>
            <a:ln w="9525" cmpd="sng" algn="ctr">
              <a:solidFill>
                <a:schemeClr val="bg1"/>
              </a:solidFill>
              <a:prstDash val="solid"/>
            </a:ln>
          </c:spPr>
          <c:invertIfNegative val="0"/>
          <c:val>
            <c:numRef>
              <c:f>Sheet1!$A$2:$B$2</c:f>
              <c:numCache>
                <c:formatCode>General</c:formatCode>
                <c:ptCount val="2"/>
                <c:pt idx="0">
                  <c:v>4.1000000000000005</c:v>
                </c:pt>
                <c:pt idx="1">
                  <c:v>7.0000000000000009</c:v>
                </c:pt>
              </c:numCache>
            </c:numRef>
          </c:val>
          <c:extLst>
            <c:ext xmlns:c16="http://schemas.microsoft.com/office/drawing/2014/chart" uri="{C3380CC4-5D6E-409C-BE32-E72D297353CC}">
              <c16:uniqueId val="{00000001-6348-4333-A0F8-FF643980AAED}"/>
            </c:ext>
          </c:extLst>
        </c:ser>
        <c:ser>
          <c:idx val="2"/>
          <c:order val="2"/>
          <c:spPr>
            <a:solidFill>
              <a:schemeClr val="accent2"/>
            </a:solidFill>
            <a:ln w="9525" cmpd="sng" algn="ctr">
              <a:solidFill>
                <a:schemeClr val="bg1"/>
              </a:solidFill>
              <a:prstDash val="solid"/>
            </a:ln>
          </c:spPr>
          <c:invertIfNegative val="0"/>
          <c:val>
            <c:numRef>
              <c:f>Sheet1!$A$3:$B$3</c:f>
              <c:numCache>
                <c:formatCode>General</c:formatCode>
                <c:ptCount val="2"/>
                <c:pt idx="0">
                  <c:v>9</c:v>
                </c:pt>
                <c:pt idx="1">
                  <c:v>9.1999999999999993</c:v>
                </c:pt>
              </c:numCache>
            </c:numRef>
          </c:val>
          <c:extLst>
            <c:ext xmlns:c16="http://schemas.microsoft.com/office/drawing/2014/chart" uri="{C3380CC4-5D6E-409C-BE32-E72D297353CC}">
              <c16:uniqueId val="{00000002-6348-4333-A0F8-FF643980AAED}"/>
            </c:ext>
          </c:extLst>
        </c:ser>
        <c:dLbls>
          <c:showLegendKey val="0"/>
          <c:showVal val="0"/>
          <c:showCatName val="0"/>
          <c:showSerName val="0"/>
          <c:showPercent val="0"/>
          <c:showBubbleSize val="0"/>
        </c:dLbls>
        <c:gapWidth val="80"/>
        <c:axId val="915431312"/>
        <c:axId val="1"/>
      </c:barChart>
      <c:catAx>
        <c:axId val="9154313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15431312"/>
        <c:crosses val="min"/>
        <c:crossBetween val="between"/>
      </c:valAx>
    </c:plotArea>
    <c:plotVisOnly val="0"/>
    <c:dispBlanksAs val="gap"/>
    <c:showDLblsOverMax val="1"/>
  </c:chart>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050279329608939E-2"/>
          <c:y val="6.1538461538461542E-2"/>
          <c:w val="0.94189944134078207"/>
          <c:h val="0.87692307692307692"/>
        </c:manualLayout>
      </c:layout>
      <c:barChart>
        <c:barDir val="col"/>
        <c:grouping val="clustered"/>
        <c:varyColors val="0"/>
        <c:ser>
          <c:idx val="0"/>
          <c:order val="0"/>
          <c:spPr>
            <a:solidFill>
              <a:schemeClr val="accent4"/>
            </a:solidFill>
            <a:ln w="9525" cmpd="sng" algn="ctr">
              <a:solidFill>
                <a:schemeClr val="bg1"/>
              </a:solidFill>
              <a:prstDash val="solid"/>
            </a:ln>
          </c:spPr>
          <c:invertIfNegative val="0"/>
          <c:val>
            <c:numRef>
              <c:f>Sheet1!$A$1:$B$1</c:f>
              <c:numCache>
                <c:formatCode>General</c:formatCode>
                <c:ptCount val="2"/>
                <c:pt idx="0">
                  <c:v>4.2</c:v>
                </c:pt>
                <c:pt idx="1">
                  <c:v>6.6000000000000005</c:v>
                </c:pt>
              </c:numCache>
            </c:numRef>
          </c:val>
          <c:extLst>
            <c:ext xmlns:c16="http://schemas.microsoft.com/office/drawing/2014/chart" uri="{C3380CC4-5D6E-409C-BE32-E72D297353CC}">
              <c16:uniqueId val="{00000000-6DC2-4F1C-BCFB-5D869ADB8F6B}"/>
            </c:ext>
          </c:extLst>
        </c:ser>
        <c:ser>
          <c:idx val="1"/>
          <c:order val="1"/>
          <c:spPr>
            <a:solidFill>
              <a:schemeClr val="accent3"/>
            </a:solidFill>
            <a:ln w="9525" cmpd="sng" algn="ctr">
              <a:solidFill>
                <a:schemeClr val="bg1"/>
              </a:solidFill>
              <a:prstDash val="solid"/>
            </a:ln>
          </c:spPr>
          <c:invertIfNegative val="0"/>
          <c:val>
            <c:numRef>
              <c:f>Sheet1!$A$2:$B$2</c:f>
              <c:numCache>
                <c:formatCode>General</c:formatCode>
                <c:ptCount val="2"/>
                <c:pt idx="0">
                  <c:v>6.4</c:v>
                </c:pt>
                <c:pt idx="1">
                  <c:v>9.1</c:v>
                </c:pt>
              </c:numCache>
            </c:numRef>
          </c:val>
          <c:extLst>
            <c:ext xmlns:c16="http://schemas.microsoft.com/office/drawing/2014/chart" uri="{C3380CC4-5D6E-409C-BE32-E72D297353CC}">
              <c16:uniqueId val="{00000001-6DC2-4F1C-BCFB-5D869ADB8F6B}"/>
            </c:ext>
          </c:extLst>
        </c:ser>
        <c:ser>
          <c:idx val="2"/>
          <c:order val="2"/>
          <c:spPr>
            <a:solidFill>
              <a:schemeClr val="accent2"/>
            </a:solidFill>
            <a:ln w="9525" cmpd="sng" algn="ctr">
              <a:solidFill>
                <a:schemeClr val="bg1"/>
              </a:solidFill>
              <a:prstDash val="solid"/>
            </a:ln>
          </c:spPr>
          <c:invertIfNegative val="0"/>
          <c:val>
            <c:numRef>
              <c:f>Sheet1!$A$3:$B$3</c:f>
              <c:numCache>
                <c:formatCode>General</c:formatCode>
                <c:ptCount val="2"/>
                <c:pt idx="0">
                  <c:v>11.200000000000001</c:v>
                </c:pt>
                <c:pt idx="1">
                  <c:v>11.5</c:v>
                </c:pt>
              </c:numCache>
            </c:numRef>
          </c:val>
          <c:extLst>
            <c:ext xmlns:c16="http://schemas.microsoft.com/office/drawing/2014/chart" uri="{C3380CC4-5D6E-409C-BE32-E72D297353CC}">
              <c16:uniqueId val="{00000002-6DC2-4F1C-BCFB-5D869ADB8F6B}"/>
            </c:ext>
          </c:extLst>
        </c:ser>
        <c:dLbls>
          <c:showLegendKey val="0"/>
          <c:showVal val="0"/>
          <c:showCatName val="0"/>
          <c:showSerName val="0"/>
          <c:showPercent val="0"/>
          <c:showBubbleSize val="0"/>
        </c:dLbls>
        <c:gapWidth val="80"/>
        <c:axId val="588100368"/>
        <c:axId val="1"/>
      </c:barChart>
      <c:catAx>
        <c:axId val="5881003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588100368"/>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4.7838086476540941E-2"/>
          <c:w val="0.9308050565535595"/>
          <c:h val="0.90432382704691816"/>
        </c:manualLayout>
      </c:layout>
      <c:lineChart>
        <c:grouping val="standard"/>
        <c:varyColors val="0"/>
        <c:ser>
          <c:idx val="0"/>
          <c:order val="0"/>
          <c:spPr>
            <a:ln w="28575" cmpd="sng" algn="ctr">
              <a:solidFill>
                <a:schemeClr val="accent5"/>
              </a:solidFill>
              <a:prstDash val="solid"/>
            </a:ln>
          </c:spPr>
          <c:marker>
            <c:symbol val="none"/>
          </c:marker>
          <c:val>
            <c:numRef>
              <c:f>Sheet1!$A$1:$AH$1</c:f>
              <c:numCache>
                <c:formatCode>General</c:formatCode>
                <c:ptCount val="34"/>
                <c:pt idx="0">
                  <c:v>101.630516088951</c:v>
                </c:pt>
                <c:pt idx="1">
                  <c:v>98.62787093</c:v>
                </c:pt>
                <c:pt idx="2">
                  <c:v>99.012752387461305</c:v>
                </c:pt>
                <c:pt idx="3">
                  <c:v>101.526790495345</c:v>
                </c:pt>
                <c:pt idx="4">
                  <c:v>87.363597915281602</c:v>
                </c:pt>
                <c:pt idx="5">
                  <c:v>104.398758402505</c:v>
                </c:pt>
                <c:pt idx="6">
                  <c:v>99.971789389742796</c:v>
                </c:pt>
                <c:pt idx="7">
                  <c:v>98.412310550000001</c:v>
                </c:pt>
                <c:pt idx="8">
                  <c:v>97.801141147219695</c:v>
                </c:pt>
                <c:pt idx="9">
                  <c:v>100.715817770485</c:v>
                </c:pt>
                <c:pt idx="10">
                  <c:v>82.6623185933326</c:v>
                </c:pt>
                <c:pt idx="11">
                  <c:v>83.079081650000006</c:v>
                </c:pt>
                <c:pt idx="12">
                  <c:v>84.416839479382304</c:v>
                </c:pt>
                <c:pt idx="13">
                  <c:v>88.803279610000004</c:v>
                </c:pt>
                <c:pt idx="14">
                  <c:v>102.20876179442099</c:v>
                </c:pt>
                <c:pt idx="15">
                  <c:v>116.12185040561801</c:v>
                </c:pt>
                <c:pt idx="16">
                  <c:v>115.814451652304</c:v>
                </c:pt>
                <c:pt idx="17">
                  <c:v>118.47637168142801</c:v>
                </c:pt>
                <c:pt idx="18">
                  <c:v>113.85724714996999</c:v>
                </c:pt>
                <c:pt idx="19">
                  <c:v>104.846881555835</c:v>
                </c:pt>
                <c:pt idx="20">
                  <c:v>106.34552197540999</c:v>
                </c:pt>
                <c:pt idx="21">
                  <c:v>100.988531500837</c:v>
                </c:pt>
                <c:pt idx="22">
                  <c:v>109.243446249238</c:v>
                </c:pt>
                <c:pt idx="23">
                  <c:v>107.352529119954</c:v>
                </c:pt>
                <c:pt idx="24">
                  <c:v>113.45349937405101</c:v>
                </c:pt>
                <c:pt idx="25">
                  <c:v>119.7161722</c:v>
                </c:pt>
                <c:pt idx="26">
                  <c:v>120.647500478059</c:v>
                </c:pt>
                <c:pt idx="27">
                  <c:v>123.484478724702</c:v>
                </c:pt>
                <c:pt idx="28">
                  <c:v>129.995586055762</c:v>
                </c:pt>
                <c:pt idx="29">
                  <c:v>129.69723796206301</c:v>
                </c:pt>
                <c:pt idx="30">
                  <c:v>131.97375428610499</c:v>
                </c:pt>
                <c:pt idx="31">
                  <c:v>131.579004092969</c:v>
                </c:pt>
                <c:pt idx="32">
                  <c:v>133.73801062429399</c:v>
                </c:pt>
                <c:pt idx="33">
                  <c:v>133.15257828328899</c:v>
                </c:pt>
              </c:numCache>
            </c:numRef>
          </c:val>
          <c:smooth val="0"/>
          <c:extLst>
            <c:ext xmlns:c16="http://schemas.microsoft.com/office/drawing/2014/chart" uri="{C3380CC4-5D6E-409C-BE32-E72D297353CC}">
              <c16:uniqueId val="{00000000-66DC-45AD-92F1-DD1E90CBCF09}"/>
            </c:ext>
          </c:extLst>
        </c:ser>
        <c:ser>
          <c:idx val="1"/>
          <c:order val="1"/>
          <c:spPr>
            <a:ln w="28575" cmpd="sng" algn="ctr">
              <a:solidFill>
                <a:srgbClr val="6F8DB9"/>
              </a:solidFill>
              <a:prstDash val="solid"/>
            </a:ln>
          </c:spPr>
          <c:marker>
            <c:symbol val="none"/>
          </c:marker>
          <c:val>
            <c:numRef>
              <c:f>Sheet1!$A$2:$AH$2</c:f>
              <c:numCache>
                <c:formatCode>General</c:formatCode>
                <c:ptCount val="34"/>
                <c:pt idx="0">
                  <c:v>103.114565235817</c:v>
                </c:pt>
                <c:pt idx="1">
                  <c:v>105.78055602113901</c:v>
                </c:pt>
                <c:pt idx="2">
                  <c:v>102.62370967864901</c:v>
                </c:pt>
                <c:pt idx="3">
                  <c:v>106.589786345401</c:v>
                </c:pt>
                <c:pt idx="4">
                  <c:v>110.42647437100401</c:v>
                </c:pt>
                <c:pt idx="5">
                  <c:v>115.353706693578</c:v>
                </c:pt>
                <c:pt idx="6">
                  <c:v>112.803353566111</c:v>
                </c:pt>
                <c:pt idx="7">
                  <c:v>114.64230073393701</c:v>
                </c:pt>
                <c:pt idx="8">
                  <c:v>112.74069590000001</c:v>
                </c:pt>
                <c:pt idx="9">
                  <c:v>115.00848350943799</c:v>
                </c:pt>
                <c:pt idx="10">
                  <c:v>112.936553725724</c:v>
                </c:pt>
                <c:pt idx="11">
                  <c:v>112.840976741083</c:v>
                </c:pt>
                <c:pt idx="12">
                  <c:v>106.2354722173</c:v>
                </c:pt>
                <c:pt idx="13">
                  <c:v>106.133537084594</c:v>
                </c:pt>
                <c:pt idx="14">
                  <c:v>112.180699745757</c:v>
                </c:pt>
                <c:pt idx="15">
                  <c:v>140.44004907246901</c:v>
                </c:pt>
                <c:pt idx="16">
                  <c:v>148.494762289926</c:v>
                </c:pt>
                <c:pt idx="17">
                  <c:v>147.03008474366899</c:v>
                </c:pt>
                <c:pt idx="18">
                  <c:v>144.26820113245901</c:v>
                </c:pt>
                <c:pt idx="19">
                  <c:v>140.042530063415</c:v>
                </c:pt>
                <c:pt idx="20">
                  <c:v>145.72703598068901</c:v>
                </c:pt>
                <c:pt idx="21">
                  <c:v>143.61327273267599</c:v>
                </c:pt>
                <c:pt idx="22">
                  <c:v>153.059524647427</c:v>
                </c:pt>
                <c:pt idx="23">
                  <c:v>154.75094520677499</c:v>
                </c:pt>
                <c:pt idx="24">
                  <c:v>159.69886875940401</c:v>
                </c:pt>
                <c:pt idx="25">
                  <c:v>161.915376733324</c:v>
                </c:pt>
                <c:pt idx="26">
                  <c:v>158.42912170128201</c:v>
                </c:pt>
                <c:pt idx="27">
                  <c:v>158.61865332438899</c:v>
                </c:pt>
                <c:pt idx="28">
                  <c:v>162.696868390611</c:v>
                </c:pt>
                <c:pt idx="29">
                  <c:v>160.54095440146</c:v>
                </c:pt>
                <c:pt idx="30">
                  <c:v>165.01630643549501</c:v>
                </c:pt>
                <c:pt idx="31">
                  <c:v>164.71102654595899</c:v>
                </c:pt>
                <c:pt idx="32">
                  <c:v>167.72821398237599</c:v>
                </c:pt>
                <c:pt idx="33">
                  <c:v>166.867887274244</c:v>
                </c:pt>
              </c:numCache>
            </c:numRef>
          </c:val>
          <c:smooth val="0"/>
          <c:extLst>
            <c:ext xmlns:c16="http://schemas.microsoft.com/office/drawing/2014/chart" uri="{C3380CC4-5D6E-409C-BE32-E72D297353CC}">
              <c16:uniqueId val="{00000001-66DC-45AD-92F1-DD1E90CBCF09}"/>
            </c:ext>
          </c:extLst>
        </c:ser>
        <c:dLbls>
          <c:showLegendKey val="0"/>
          <c:showVal val="0"/>
          <c:showCatName val="0"/>
          <c:showSerName val="0"/>
          <c:showPercent val="0"/>
          <c:showBubbleSize val="0"/>
        </c:dLbls>
        <c:smooth val="0"/>
        <c:axId val="1303125632"/>
        <c:axId val="1"/>
      </c:lineChart>
      <c:catAx>
        <c:axId val="1303125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000" kern="1200">
                <a:latin typeface="+mn-lt"/>
                <a:ea typeface="+mn-ea"/>
                <a:cs typeface="+mn-cs"/>
                <a:sym typeface="+mn-lt"/>
              </a:defRPr>
            </a:pPr>
            <a:endParaRPr lang="en-US"/>
          </a:p>
        </c:txPr>
        <c:crossAx val="1303125632"/>
        <c:crosses val="min"/>
        <c:crossBetween val="between"/>
        <c:majorUnit val="3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46522234891677E-2"/>
          <c:y val="3.5812672176308541E-2"/>
          <c:w val="0.94070695553021666"/>
          <c:h val="0.92837465564738297"/>
        </c:manualLayout>
      </c:layout>
      <c:barChart>
        <c:barDir val="col"/>
        <c:grouping val="stacked"/>
        <c:varyColors val="0"/>
        <c:ser>
          <c:idx val="0"/>
          <c:order val="0"/>
          <c:spPr>
            <a:solidFill>
              <a:schemeClr val="accent6"/>
            </a:solidFill>
            <a:ln w="9525" cmpd="sng" algn="ctr">
              <a:solidFill>
                <a:schemeClr val="bg1"/>
              </a:solidFill>
              <a:prstDash val="solid"/>
            </a:ln>
          </c:spPr>
          <c:invertIfNegative val="0"/>
          <c:val>
            <c:numRef>
              <c:f>Sheet1!$A$1:$H$1</c:f>
              <c:numCache>
                <c:formatCode>General</c:formatCode>
                <c:ptCount val="8"/>
                <c:pt idx="0">
                  <c:v>107.83818650000001</c:v>
                </c:pt>
                <c:pt idx="1">
                  <c:v>192.74697180000001</c:v>
                </c:pt>
                <c:pt idx="3">
                  <c:v>975.78926449999994</c:v>
                </c:pt>
                <c:pt idx="4">
                  <c:v>3438.229351</c:v>
                </c:pt>
                <c:pt idx="6">
                  <c:v>1233.9765259999999</c:v>
                </c:pt>
                <c:pt idx="7">
                  <c:v>6899.502152</c:v>
                </c:pt>
              </c:numCache>
            </c:numRef>
          </c:val>
          <c:extLst>
            <c:ext xmlns:c16="http://schemas.microsoft.com/office/drawing/2014/chart" uri="{C3380CC4-5D6E-409C-BE32-E72D297353CC}">
              <c16:uniqueId val="{00000000-D9C3-4DB3-9AD5-7DB91A50D2D2}"/>
            </c:ext>
          </c:extLst>
        </c:ser>
        <c:ser>
          <c:idx val="1"/>
          <c:order val="1"/>
          <c:spPr>
            <a:solidFill>
              <a:srgbClr val="6F8DB9"/>
            </a:solidFill>
            <a:ln w="9525" cmpd="sng" algn="ctr">
              <a:solidFill>
                <a:schemeClr val="bg1"/>
              </a:solidFill>
              <a:prstDash val="solid"/>
            </a:ln>
          </c:spPr>
          <c:invertIfNegative val="0"/>
          <c:val>
            <c:numRef>
              <c:f>Sheet1!$A$2:$H$2</c:f>
              <c:numCache>
                <c:formatCode>General</c:formatCode>
                <c:ptCount val="8"/>
                <c:pt idx="0">
                  <c:v>-1706.0070920000001</c:v>
                </c:pt>
                <c:pt idx="1">
                  <c:v>-8896.5106749999995</c:v>
                </c:pt>
                <c:pt idx="3">
                  <c:v>-456.49373839999998</c:v>
                </c:pt>
                <c:pt idx="4">
                  <c:v>-3240.160104</c:v>
                </c:pt>
                <c:pt idx="6">
                  <c:v>-130.80019480000001</c:v>
                </c:pt>
                <c:pt idx="7">
                  <c:v>-318.15421789999999</c:v>
                </c:pt>
              </c:numCache>
            </c:numRef>
          </c:val>
          <c:extLst>
            <c:ext xmlns:c16="http://schemas.microsoft.com/office/drawing/2014/chart" uri="{C3380CC4-5D6E-409C-BE32-E72D297353CC}">
              <c16:uniqueId val="{00000001-D9C3-4DB3-9AD5-7DB91A50D2D2}"/>
            </c:ext>
          </c:extLst>
        </c:ser>
        <c:dLbls>
          <c:showLegendKey val="0"/>
          <c:showVal val="0"/>
          <c:showCatName val="0"/>
          <c:showSerName val="0"/>
          <c:showPercent val="0"/>
          <c:showBubbleSize val="0"/>
        </c:dLbls>
        <c:gapWidth val="0"/>
        <c:overlap val="100"/>
        <c:axId val="1211567968"/>
        <c:axId val="1"/>
      </c:barChart>
      <c:catAx>
        <c:axId val="1211567968"/>
        <c:scaling>
          <c:orientation val="minMax"/>
        </c:scaling>
        <c:delete val="1"/>
        <c:axPos val="b"/>
        <c:majorTickMark val="out"/>
        <c:minorTickMark val="none"/>
        <c:tickLblPos val="nextTo"/>
        <c:crossAx val="1"/>
        <c:crossesAt val="0"/>
        <c:auto val="0"/>
        <c:lblAlgn val="ctr"/>
        <c:lblOffset val="100"/>
        <c:noMultiLvlLbl val="0"/>
      </c:catAx>
      <c:valAx>
        <c:axId val="1"/>
        <c:scaling>
          <c:orientation val="minMax"/>
          <c:max val="8000"/>
          <c:min val="-1000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211567968"/>
        <c:crosses val="min"/>
        <c:crossBetween val="between"/>
        <c:majorUnit val="2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27736867943053E-2"/>
          <c:y val="1.7999307718933887E-2"/>
          <c:w val="0.94894452626411385"/>
          <c:h val="0.96400138456213225"/>
        </c:manualLayout>
      </c:layout>
      <c:barChart>
        <c:barDir val="bar"/>
        <c:grouping val="stacked"/>
        <c:varyColors val="0"/>
        <c:ser>
          <c:idx val="0"/>
          <c:order val="0"/>
          <c:spPr>
            <a:solidFill>
              <a:schemeClr val="accent2"/>
            </a:solidFill>
            <a:ln w="9525" cmpd="sng" algn="ctr">
              <a:solidFill>
                <a:schemeClr val="bg1"/>
              </a:solidFill>
              <a:prstDash val="solid"/>
            </a:ln>
          </c:spPr>
          <c:invertIfNegative val="0"/>
          <c:val>
            <c:numRef>
              <c:f>Sheet1!$A$1:$AB$1</c:f>
              <c:numCache>
                <c:formatCode>General</c:formatCode>
                <c:ptCount val="28"/>
                <c:pt idx="0">
                  <c:v>41.206465678637706</c:v>
                </c:pt>
                <c:pt idx="1">
                  <c:v>20.555665338469588</c:v>
                </c:pt>
                <c:pt idx="2">
                  <c:v>26.496139126920205</c:v>
                </c:pt>
                <c:pt idx="3">
                  <c:v>31.582853180154167</c:v>
                </c:pt>
                <c:pt idx="4">
                  <c:v>15.01331750359366</c:v>
                </c:pt>
                <c:pt idx="5">
                  <c:v>21.404458484516336</c:v>
                </c:pt>
                <c:pt idx="6">
                  <c:v>20.891420907130335</c:v>
                </c:pt>
                <c:pt idx="7">
                  <c:v>14.873860520611487</c:v>
                </c:pt>
                <c:pt idx="8">
                  <c:v>13.769145571762293</c:v>
                </c:pt>
                <c:pt idx="9">
                  <c:v>18.382330577306437</c:v>
                </c:pt>
                <c:pt idx="10">
                  <c:v>22.070714546149329</c:v>
                </c:pt>
                <c:pt idx="11">
                  <c:v>11.695806882321648</c:v>
                </c:pt>
                <c:pt idx="12">
                  <c:v>14.870382831842289</c:v>
                </c:pt>
                <c:pt idx="13">
                  <c:v>15.022561378922422</c:v>
                </c:pt>
                <c:pt idx="14">
                  <c:v>17.837411151079518</c:v>
                </c:pt>
                <c:pt idx="15">
                  <c:v>18.217493347925167</c:v>
                </c:pt>
                <c:pt idx="16">
                  <c:v>10.045453292314715</c:v>
                </c:pt>
                <c:pt idx="17">
                  <c:v>14.576166222672502</c:v>
                </c:pt>
                <c:pt idx="18">
                  <c:v>17.365334883724483</c:v>
                </c:pt>
                <c:pt idx="19">
                  <c:v>7.8295866343639275</c:v>
                </c:pt>
                <c:pt idx="20">
                  <c:v>11.020944149522316</c:v>
                </c:pt>
                <c:pt idx="21">
                  <c:v>9.5264610889047674</c:v>
                </c:pt>
                <c:pt idx="22">
                  <c:v>6.664031851451484</c:v>
                </c:pt>
                <c:pt idx="23">
                  <c:v>10.656138003143036</c:v>
                </c:pt>
                <c:pt idx="24">
                  <c:v>5.882476574685926</c:v>
                </c:pt>
                <c:pt idx="25">
                  <c:v>5.6009814925316741</c:v>
                </c:pt>
                <c:pt idx="26">
                  <c:v>6.1410704189805001</c:v>
                </c:pt>
                <c:pt idx="27">
                  <c:v>9.143829057076978</c:v>
                </c:pt>
              </c:numCache>
            </c:numRef>
          </c:val>
          <c:extLst>
            <c:ext xmlns:c16="http://schemas.microsoft.com/office/drawing/2014/chart" uri="{C3380CC4-5D6E-409C-BE32-E72D297353CC}">
              <c16:uniqueId val="{00000000-BBEC-49F6-951E-6E204AD5A8E8}"/>
            </c:ext>
          </c:extLst>
        </c:ser>
        <c:ser>
          <c:idx val="1"/>
          <c:order val="1"/>
          <c:spPr>
            <a:solidFill>
              <a:schemeClr val="accent3"/>
            </a:solidFill>
            <a:ln w="9525" cmpd="sng" algn="ctr">
              <a:solidFill>
                <a:schemeClr val="bg1"/>
              </a:solidFill>
              <a:prstDash val="solid"/>
            </a:ln>
          </c:spPr>
          <c:invertIfNegative val="0"/>
          <c:val>
            <c:numRef>
              <c:f>Sheet1!$A$2:$AB$2</c:f>
              <c:numCache>
                <c:formatCode>General</c:formatCode>
                <c:ptCount val="28"/>
                <c:pt idx="0">
                  <c:v>75.279777996587001</c:v>
                </c:pt>
                <c:pt idx="1">
                  <c:v>81.643850529748747</c:v>
                </c:pt>
                <c:pt idx="2">
                  <c:v>73.81315974991692</c:v>
                </c:pt>
                <c:pt idx="3">
                  <c:v>54.233549083946777</c:v>
                </c:pt>
                <c:pt idx="4">
                  <c:v>64.681036944441558</c:v>
                </c:pt>
                <c:pt idx="5">
                  <c:v>48.287814340333505</c:v>
                </c:pt>
                <c:pt idx="6">
                  <c:v>46.249015282678045</c:v>
                </c:pt>
                <c:pt idx="7">
                  <c:v>50.372825162494614</c:v>
                </c:pt>
                <c:pt idx="8">
                  <c:v>49.23705816945386</c:v>
                </c:pt>
                <c:pt idx="9">
                  <c:v>43.222820350656868</c:v>
                </c:pt>
                <c:pt idx="10">
                  <c:v>34.49697355856447</c:v>
                </c:pt>
                <c:pt idx="11">
                  <c:v>43.296129963514041</c:v>
                </c:pt>
                <c:pt idx="12">
                  <c:v>35.125644384945268</c:v>
                </c:pt>
                <c:pt idx="13">
                  <c:v>32.500858726602864</c:v>
                </c:pt>
                <c:pt idx="14">
                  <c:v>29.561046681856578</c:v>
                </c:pt>
                <c:pt idx="15">
                  <c:v>27.598484836343196</c:v>
                </c:pt>
                <c:pt idx="16">
                  <c:v>34.342486535325079</c:v>
                </c:pt>
                <c:pt idx="17">
                  <c:v>26.944913645475911</c:v>
                </c:pt>
                <c:pt idx="18">
                  <c:v>22.295422123603217</c:v>
                </c:pt>
                <c:pt idx="19">
                  <c:v>30.248896919490619</c:v>
                </c:pt>
                <c:pt idx="20">
                  <c:v>21.648966085623488</c:v>
                </c:pt>
                <c:pt idx="21">
                  <c:v>21.84628505467051</c:v>
                </c:pt>
                <c:pt idx="22">
                  <c:v>24.145977586791922</c:v>
                </c:pt>
                <c:pt idx="23">
                  <c:v>19.44033109948538</c:v>
                </c:pt>
                <c:pt idx="24">
                  <c:v>20.662616075893713</c:v>
                </c:pt>
                <c:pt idx="25">
                  <c:v>20.547521741256993</c:v>
                </c:pt>
                <c:pt idx="26">
                  <c:v>18.873284839277567</c:v>
                </c:pt>
                <c:pt idx="27">
                  <c:v>14.579526244252966</c:v>
                </c:pt>
              </c:numCache>
            </c:numRef>
          </c:val>
          <c:extLst>
            <c:ext xmlns:c16="http://schemas.microsoft.com/office/drawing/2014/chart" uri="{C3380CC4-5D6E-409C-BE32-E72D297353CC}">
              <c16:uniqueId val="{00000001-BBEC-49F6-951E-6E204AD5A8E8}"/>
            </c:ext>
          </c:extLst>
        </c:ser>
        <c:dLbls>
          <c:showLegendKey val="0"/>
          <c:showVal val="0"/>
          <c:showCatName val="0"/>
          <c:showSerName val="0"/>
          <c:showPercent val="0"/>
          <c:showBubbleSize val="0"/>
        </c:dLbls>
        <c:gapWidth val="80"/>
        <c:overlap val="100"/>
        <c:axId val="302586864"/>
        <c:axId val="1"/>
      </c:barChart>
      <c:catAx>
        <c:axId val="30258686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6.48624367522471"/>
          <c:min val="0"/>
        </c:scaling>
        <c:delete val="1"/>
        <c:axPos val="t"/>
        <c:numFmt formatCode="General" sourceLinked="1"/>
        <c:majorTickMark val="out"/>
        <c:minorTickMark val="none"/>
        <c:tickLblPos val="nextTo"/>
        <c:crossAx val="302586864"/>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998673153471916E-2"/>
          <c:y val="3.2683846637335007E-2"/>
          <c:w val="0.95400265369305615"/>
          <c:h val="0.93463230672532993"/>
        </c:manualLayout>
      </c:layout>
      <c:barChart>
        <c:barDir val="col"/>
        <c:grouping val="stacked"/>
        <c:varyColors val="0"/>
        <c:ser>
          <c:idx val="0"/>
          <c:order val="0"/>
          <c:spPr>
            <a:solidFill>
              <a:schemeClr val="bg2"/>
            </a:solidFill>
            <a:ln>
              <a:noFill/>
            </a:ln>
          </c:spPr>
          <c:invertIfNegative val="0"/>
          <c:dPt>
            <c:idx val="0"/>
            <c:invertIfNegative val="0"/>
            <c:bubble3D val="0"/>
            <c:spPr>
              <a:solidFill>
                <a:srgbClr val="5A5A5A"/>
              </a:solidFill>
              <a:ln>
                <a:noFill/>
              </a:ln>
            </c:spPr>
            <c:extLst>
              <c:ext xmlns:c16="http://schemas.microsoft.com/office/drawing/2014/chart" uri="{C3380CC4-5D6E-409C-BE32-E72D297353CC}">
                <c16:uniqueId val="{00000000-4903-4B08-B2E3-04A5A50AFD4D}"/>
              </c:ext>
            </c:extLst>
          </c:dPt>
          <c:val>
            <c:numRef>
              <c:f>Sheet1!$A$1:$E$1</c:f>
              <c:numCache>
                <c:formatCode>General</c:formatCode>
                <c:ptCount val="5"/>
                <c:pt idx="0">
                  <c:v>2964.3150580000001</c:v>
                </c:pt>
                <c:pt idx="1">
                  <c:v>3066.7321270000002</c:v>
                </c:pt>
                <c:pt idx="2">
                  <c:v>3246.7113479999998</c:v>
                </c:pt>
                <c:pt idx="3">
                  <c:v>3380.56574</c:v>
                </c:pt>
                <c:pt idx="4">
                  <c:v>3554.5512469999999</c:v>
                </c:pt>
              </c:numCache>
            </c:numRef>
          </c:val>
          <c:extLst>
            <c:ext xmlns:c16="http://schemas.microsoft.com/office/drawing/2014/chart" uri="{C3380CC4-5D6E-409C-BE32-E72D297353CC}">
              <c16:uniqueId val="{00000001-4903-4B08-B2E3-04A5A50AFD4D}"/>
            </c:ext>
          </c:extLst>
        </c:ser>
        <c:ser>
          <c:idx val="1"/>
          <c:order val="1"/>
          <c:spPr>
            <a:solidFill>
              <a:schemeClr val="accent6"/>
            </a:solidFill>
            <a:ln>
              <a:noFill/>
            </a:ln>
          </c:spPr>
          <c:invertIfNegative val="0"/>
          <c:val>
            <c:numRef>
              <c:f>Sheet1!$A$2:$E$2</c:f>
              <c:numCache>
                <c:formatCode>General</c:formatCode>
                <c:ptCount val="5"/>
                <c:pt idx="1">
                  <c:v>125.30507070000021</c:v>
                </c:pt>
                <c:pt idx="2">
                  <c:v>174.05336320000015</c:v>
                </c:pt>
                <c:pt idx="3">
                  <c:v>259.51144019999992</c:v>
                </c:pt>
                <c:pt idx="4">
                  <c:v>338.9329115999999</c:v>
                </c:pt>
              </c:numCache>
            </c:numRef>
          </c:val>
          <c:extLst>
            <c:ext xmlns:c16="http://schemas.microsoft.com/office/drawing/2014/chart" uri="{C3380CC4-5D6E-409C-BE32-E72D297353CC}">
              <c16:uniqueId val="{00000002-4903-4B08-B2E3-04A5A50AFD4D}"/>
            </c:ext>
          </c:extLst>
        </c:ser>
        <c:ser>
          <c:idx val="2"/>
          <c:order val="2"/>
          <c:spPr>
            <a:solidFill>
              <a:schemeClr val="accent5"/>
            </a:solidFill>
            <a:ln>
              <a:noFill/>
            </a:ln>
          </c:spPr>
          <c:invertIfNegative val="0"/>
          <c:val>
            <c:numRef>
              <c:f>Sheet1!$A$3:$E$3</c:f>
              <c:numCache>
                <c:formatCode>General</c:formatCode>
                <c:ptCount val="5"/>
                <c:pt idx="1">
                  <c:v>21.70011151000017</c:v>
                </c:pt>
                <c:pt idx="2">
                  <c:v>130.758241</c:v>
                </c:pt>
                <c:pt idx="3">
                  <c:v>396.28527990000021</c:v>
                </c:pt>
                <c:pt idx="4">
                  <c:v>572.0872575999997</c:v>
                </c:pt>
              </c:numCache>
            </c:numRef>
          </c:val>
          <c:extLst>
            <c:ext xmlns:c16="http://schemas.microsoft.com/office/drawing/2014/chart" uri="{C3380CC4-5D6E-409C-BE32-E72D297353CC}">
              <c16:uniqueId val="{00000003-4903-4B08-B2E3-04A5A50AFD4D}"/>
            </c:ext>
          </c:extLst>
        </c:ser>
        <c:ser>
          <c:idx val="3"/>
          <c:order val="3"/>
          <c:spPr>
            <a:solidFill>
              <a:srgbClr val="E1C4E1"/>
            </a:solidFill>
            <a:ln>
              <a:noFill/>
            </a:ln>
          </c:spPr>
          <c:invertIfNegative val="0"/>
          <c:val>
            <c:numRef>
              <c:f>Sheet1!$A$4:$E$4</c:f>
              <c:numCache>
                <c:formatCode>General</c:formatCode>
                <c:ptCount val="5"/>
                <c:pt idx="1">
                  <c:v>5.9529171600001973</c:v>
                </c:pt>
                <c:pt idx="2">
                  <c:v>166.68683310000006</c:v>
                </c:pt>
                <c:pt idx="3">
                  <c:v>379.92039000000022</c:v>
                </c:pt>
                <c:pt idx="4">
                  <c:v>612.67963400000008</c:v>
                </c:pt>
              </c:numCache>
            </c:numRef>
          </c:val>
          <c:extLst>
            <c:ext xmlns:c16="http://schemas.microsoft.com/office/drawing/2014/chart" uri="{C3380CC4-5D6E-409C-BE32-E72D297353CC}">
              <c16:uniqueId val="{00000004-4903-4B08-B2E3-04A5A50AFD4D}"/>
            </c:ext>
          </c:extLst>
        </c:ser>
        <c:dLbls>
          <c:showLegendKey val="0"/>
          <c:showVal val="0"/>
          <c:showCatName val="0"/>
          <c:showSerName val="0"/>
          <c:showPercent val="0"/>
          <c:showBubbleSize val="0"/>
        </c:dLbls>
        <c:gapWidth val="50"/>
        <c:overlap val="100"/>
        <c:axId val="1919854911"/>
        <c:axId val="1"/>
      </c:barChart>
      <c:catAx>
        <c:axId val="1919854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91985491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66746602717829E-2"/>
          <c:y val="3.8319823139277821E-2"/>
          <c:w val="0.91686650679456438"/>
          <c:h val="0.92336035372144432"/>
        </c:manualLayout>
      </c:layout>
      <c:barChart>
        <c:barDir val="bar"/>
        <c:grouping val="stacked"/>
        <c:varyColors val="0"/>
        <c:ser>
          <c:idx val="0"/>
          <c:order val="0"/>
          <c:spPr>
            <a:solidFill>
              <a:schemeClr val="accent3"/>
            </a:solidFill>
            <a:ln>
              <a:noFill/>
            </a:ln>
          </c:spPr>
          <c:invertIfNegative val="0"/>
          <c:val>
            <c:numRef>
              <c:f>Sheet1!$A$1:$E$1</c:f>
              <c:numCache>
                <c:formatCode>General</c:formatCode>
                <c:ptCount val="5"/>
                <c:pt idx="0">
                  <c:v>9.91</c:v>
                </c:pt>
                <c:pt idx="1">
                  <c:v>5.69</c:v>
                </c:pt>
                <c:pt idx="2">
                  <c:v>4.63</c:v>
                </c:pt>
                <c:pt idx="3">
                  <c:v>3.96</c:v>
                </c:pt>
                <c:pt idx="4">
                  <c:v>3.44</c:v>
                </c:pt>
              </c:numCache>
            </c:numRef>
          </c:val>
          <c:extLst>
            <c:ext xmlns:c16="http://schemas.microsoft.com/office/drawing/2014/chart" uri="{C3380CC4-5D6E-409C-BE32-E72D297353CC}">
              <c16:uniqueId val="{00000000-E216-4FCA-88AC-42346E34CC73}"/>
            </c:ext>
          </c:extLst>
        </c:ser>
        <c:dLbls>
          <c:showLegendKey val="0"/>
          <c:showVal val="0"/>
          <c:showCatName val="0"/>
          <c:showSerName val="0"/>
          <c:showPercent val="0"/>
          <c:showBubbleSize val="0"/>
        </c:dLbls>
        <c:gapWidth val="80"/>
        <c:overlap val="100"/>
        <c:axId val="1665028479"/>
        <c:axId val="1"/>
      </c:barChart>
      <c:catAx>
        <c:axId val="166502847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1665028479"/>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123141441097972E-3"/>
          <c:y val="2.009273570324575E-2"/>
          <c:w val="0.98017537171178037"/>
          <c:h val="0.95981452859350846"/>
        </c:manualLayout>
      </c:layout>
      <c:scatterChart>
        <c:scatterStyle val="lineMarker"/>
        <c:varyColors val="0"/>
        <c:ser>
          <c:idx val="0"/>
          <c:order val="0"/>
          <c:spPr>
            <a:ln w="22225" cmpd="sng" algn="ctr">
              <a:solidFill>
                <a:srgbClr val="4C6C9C"/>
              </a:solidFill>
              <a:prstDash val="solid"/>
            </a:ln>
          </c:spPr>
          <c:marker>
            <c:symbol val="none"/>
          </c:marker>
          <c:xVal>
            <c:numRef>
              <c:f>Sheet1!$A$1:$CW$1</c:f>
              <c:numCache>
                <c:formatCode>General</c:formatCode>
                <c:ptCount val="101"/>
                <c:pt idx="0">
                  <c:v>0</c:v>
                </c:pt>
                <c:pt idx="1">
                  <c:v>1</c:v>
                </c:pt>
                <c:pt idx="2">
                  <c:v>2</c:v>
                </c:pt>
                <c:pt idx="3">
                  <c:v>3</c:v>
                </c:pt>
                <c:pt idx="4">
                  <c:v>4</c:v>
                </c:pt>
                <c:pt idx="5">
                  <c:v>5</c:v>
                </c:pt>
                <c:pt idx="6">
                  <c:v>6</c:v>
                </c:pt>
                <c:pt idx="7">
                  <c:v>7.0000000000000009</c:v>
                </c:pt>
                <c:pt idx="8">
                  <c:v>8</c:v>
                </c:pt>
                <c:pt idx="9">
                  <c:v>9</c:v>
                </c:pt>
                <c:pt idx="10">
                  <c:v>10</c:v>
                </c:pt>
                <c:pt idx="11">
                  <c:v>11</c:v>
                </c:pt>
                <c:pt idx="12">
                  <c:v>12</c:v>
                </c:pt>
                <c:pt idx="13">
                  <c:v>13</c:v>
                </c:pt>
                <c:pt idx="14">
                  <c:v>14.000000000000002</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000000000000004</c:v>
                </c:pt>
                <c:pt idx="29">
                  <c:v>28.999999999999996</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000000000000007</c:v>
                </c:pt>
                <c:pt idx="56">
                  <c:v>56.000000000000007</c:v>
                </c:pt>
                <c:pt idx="57">
                  <c:v>56.999999999999993</c:v>
                </c:pt>
                <c:pt idx="58">
                  <c:v>57.999999999999993</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Sheet1!$A$2:$CW$2</c:f>
              <c:numCache>
                <c:formatCode>General</c:formatCode>
                <c:ptCount val="101"/>
                <c:pt idx="0">
                  <c:v>-33.200000000000003</c:v>
                </c:pt>
                <c:pt idx="1">
                  <c:v>-25.2</c:v>
                </c:pt>
                <c:pt idx="2">
                  <c:v>-22.4</c:v>
                </c:pt>
                <c:pt idx="3">
                  <c:v>-20.5</c:v>
                </c:pt>
                <c:pt idx="4">
                  <c:v>-18.899999999999999</c:v>
                </c:pt>
                <c:pt idx="5">
                  <c:v>-17.8</c:v>
                </c:pt>
                <c:pt idx="6">
                  <c:v>-16.899999999999999</c:v>
                </c:pt>
                <c:pt idx="7">
                  <c:v>-16.2</c:v>
                </c:pt>
                <c:pt idx="8">
                  <c:v>-15.3</c:v>
                </c:pt>
                <c:pt idx="9">
                  <c:v>-14.7</c:v>
                </c:pt>
                <c:pt idx="10">
                  <c:v>-14.1</c:v>
                </c:pt>
                <c:pt idx="11">
                  <c:v>-13.5</c:v>
                </c:pt>
                <c:pt idx="12">
                  <c:v>-12.9</c:v>
                </c:pt>
                <c:pt idx="13">
                  <c:v>-12.4</c:v>
                </c:pt>
                <c:pt idx="14">
                  <c:v>-12</c:v>
                </c:pt>
                <c:pt idx="15">
                  <c:v>-11.5</c:v>
                </c:pt>
                <c:pt idx="16">
                  <c:v>-11</c:v>
                </c:pt>
                <c:pt idx="17">
                  <c:v>-10.6</c:v>
                </c:pt>
                <c:pt idx="18">
                  <c:v>-10.1</c:v>
                </c:pt>
                <c:pt idx="19">
                  <c:v>-9.6</c:v>
                </c:pt>
                <c:pt idx="20">
                  <c:v>-9.1999999999999993</c:v>
                </c:pt>
                <c:pt idx="21">
                  <c:v>-8.8000000000000007</c:v>
                </c:pt>
                <c:pt idx="22">
                  <c:v>-8.3000000000000007</c:v>
                </c:pt>
                <c:pt idx="23">
                  <c:v>-7.9</c:v>
                </c:pt>
                <c:pt idx="24">
                  <c:v>-7.5</c:v>
                </c:pt>
                <c:pt idx="25">
                  <c:v>-7.2</c:v>
                </c:pt>
                <c:pt idx="26">
                  <c:v>-6.8</c:v>
                </c:pt>
                <c:pt idx="27">
                  <c:v>-6.5</c:v>
                </c:pt>
                <c:pt idx="28">
                  <c:v>-6.1</c:v>
                </c:pt>
                <c:pt idx="29">
                  <c:v>-5.7</c:v>
                </c:pt>
                <c:pt idx="30">
                  <c:v>-5.4</c:v>
                </c:pt>
                <c:pt idx="31">
                  <c:v>-5</c:v>
                </c:pt>
                <c:pt idx="32">
                  <c:v>-4.7</c:v>
                </c:pt>
                <c:pt idx="33">
                  <c:v>-4.3</c:v>
                </c:pt>
                <c:pt idx="34">
                  <c:v>-3.9</c:v>
                </c:pt>
                <c:pt idx="35">
                  <c:v>-3.5</c:v>
                </c:pt>
                <c:pt idx="36">
                  <c:v>-3.2</c:v>
                </c:pt>
                <c:pt idx="37">
                  <c:v>-2.8</c:v>
                </c:pt>
                <c:pt idx="38">
                  <c:v>-2.4</c:v>
                </c:pt>
                <c:pt idx="39">
                  <c:v>-2</c:v>
                </c:pt>
                <c:pt idx="40">
                  <c:v>-1.6</c:v>
                </c:pt>
                <c:pt idx="41">
                  <c:v>-1.2</c:v>
                </c:pt>
                <c:pt idx="42">
                  <c:v>-0.8</c:v>
                </c:pt>
                <c:pt idx="43">
                  <c:v>-0.4</c:v>
                </c:pt>
                <c:pt idx="44">
                  <c:v>0</c:v>
                </c:pt>
                <c:pt idx="45">
                  <c:v>0.4</c:v>
                </c:pt>
                <c:pt idx="46">
                  <c:v>0.8</c:v>
                </c:pt>
                <c:pt idx="47">
                  <c:v>1.2</c:v>
                </c:pt>
                <c:pt idx="48">
                  <c:v>1.6</c:v>
                </c:pt>
                <c:pt idx="49">
                  <c:v>2</c:v>
                </c:pt>
                <c:pt idx="50">
                  <c:v>2.4</c:v>
                </c:pt>
                <c:pt idx="51">
                  <c:v>2.8</c:v>
                </c:pt>
                <c:pt idx="52">
                  <c:v>3.2</c:v>
                </c:pt>
                <c:pt idx="53">
                  <c:v>3.6</c:v>
                </c:pt>
                <c:pt idx="54">
                  <c:v>3.9</c:v>
                </c:pt>
                <c:pt idx="55">
                  <c:v>4.3</c:v>
                </c:pt>
                <c:pt idx="56">
                  <c:v>4.7</c:v>
                </c:pt>
                <c:pt idx="57">
                  <c:v>5.0999999999999996</c:v>
                </c:pt>
                <c:pt idx="58">
                  <c:v>5.4</c:v>
                </c:pt>
                <c:pt idx="59">
                  <c:v>5.7</c:v>
                </c:pt>
                <c:pt idx="60">
                  <c:v>6.1</c:v>
                </c:pt>
                <c:pt idx="61">
                  <c:v>6.4</c:v>
                </c:pt>
                <c:pt idx="62">
                  <c:v>6.9</c:v>
                </c:pt>
                <c:pt idx="63">
                  <c:v>7.3</c:v>
                </c:pt>
                <c:pt idx="64">
                  <c:v>7.7</c:v>
                </c:pt>
                <c:pt idx="65">
                  <c:v>8.1</c:v>
                </c:pt>
                <c:pt idx="66">
                  <c:v>8.5</c:v>
                </c:pt>
                <c:pt idx="67">
                  <c:v>9</c:v>
                </c:pt>
                <c:pt idx="68">
                  <c:v>9.3000000000000007</c:v>
                </c:pt>
                <c:pt idx="69">
                  <c:v>9.8000000000000007</c:v>
                </c:pt>
                <c:pt idx="70">
                  <c:v>10.199999999999999</c:v>
                </c:pt>
                <c:pt idx="71">
                  <c:v>10.5</c:v>
                </c:pt>
                <c:pt idx="72">
                  <c:v>10.9</c:v>
                </c:pt>
                <c:pt idx="73">
                  <c:v>11.4</c:v>
                </c:pt>
                <c:pt idx="74">
                  <c:v>11.8</c:v>
                </c:pt>
                <c:pt idx="75">
                  <c:v>12.2</c:v>
                </c:pt>
                <c:pt idx="76">
                  <c:v>12.7</c:v>
                </c:pt>
                <c:pt idx="77">
                  <c:v>13</c:v>
                </c:pt>
                <c:pt idx="78">
                  <c:v>13.5</c:v>
                </c:pt>
                <c:pt idx="79">
                  <c:v>13.8</c:v>
                </c:pt>
                <c:pt idx="80">
                  <c:v>14.2</c:v>
                </c:pt>
                <c:pt idx="81">
                  <c:v>14.6</c:v>
                </c:pt>
                <c:pt idx="82">
                  <c:v>15.1</c:v>
                </c:pt>
                <c:pt idx="83">
                  <c:v>15.6</c:v>
                </c:pt>
                <c:pt idx="84">
                  <c:v>16</c:v>
                </c:pt>
                <c:pt idx="85">
                  <c:v>16.600000000000001</c:v>
                </c:pt>
                <c:pt idx="86">
                  <c:v>17.100000000000001</c:v>
                </c:pt>
                <c:pt idx="87">
                  <c:v>17.7</c:v>
                </c:pt>
                <c:pt idx="88">
                  <c:v>18.100000000000001</c:v>
                </c:pt>
                <c:pt idx="89">
                  <c:v>18.600000000000001</c:v>
                </c:pt>
                <c:pt idx="90">
                  <c:v>19.100000000000001</c:v>
                </c:pt>
                <c:pt idx="91">
                  <c:v>19.7</c:v>
                </c:pt>
                <c:pt idx="92">
                  <c:v>20.3</c:v>
                </c:pt>
                <c:pt idx="93">
                  <c:v>21</c:v>
                </c:pt>
                <c:pt idx="94">
                  <c:v>21.8</c:v>
                </c:pt>
                <c:pt idx="95">
                  <c:v>22.7</c:v>
                </c:pt>
                <c:pt idx="96">
                  <c:v>23.6</c:v>
                </c:pt>
                <c:pt idx="97">
                  <c:v>24.6</c:v>
                </c:pt>
                <c:pt idx="98">
                  <c:v>25.7</c:v>
                </c:pt>
                <c:pt idx="99">
                  <c:v>27.1</c:v>
                </c:pt>
                <c:pt idx="100">
                  <c:v>31.5</c:v>
                </c:pt>
              </c:numCache>
            </c:numRef>
          </c:yVal>
          <c:smooth val="0"/>
          <c:extLst>
            <c:ext xmlns:c16="http://schemas.microsoft.com/office/drawing/2014/chart" uri="{C3380CC4-5D6E-409C-BE32-E72D297353CC}">
              <c16:uniqueId val="{00000000-2C41-49A6-8AD4-06A3D8A4FABD}"/>
            </c:ext>
          </c:extLst>
        </c:ser>
        <c:ser>
          <c:idx val="1"/>
          <c:order val="1"/>
          <c:spPr>
            <a:ln w="22225" cmpd="sng" algn="ctr">
              <a:solidFill>
                <a:srgbClr val="F59E00"/>
              </a:solidFill>
              <a:prstDash val="solid"/>
            </a:ln>
          </c:spPr>
          <c:marker>
            <c:symbol val="none"/>
          </c:marker>
          <c:xVal>
            <c:numRef>
              <c:f>Sheet1!$A$1:$CW$1</c:f>
              <c:numCache>
                <c:formatCode>General</c:formatCode>
                <c:ptCount val="101"/>
                <c:pt idx="0">
                  <c:v>0</c:v>
                </c:pt>
                <c:pt idx="1">
                  <c:v>1</c:v>
                </c:pt>
                <c:pt idx="2">
                  <c:v>2</c:v>
                </c:pt>
                <c:pt idx="3">
                  <c:v>3</c:v>
                </c:pt>
                <c:pt idx="4">
                  <c:v>4</c:v>
                </c:pt>
                <c:pt idx="5">
                  <c:v>5</c:v>
                </c:pt>
                <c:pt idx="6">
                  <c:v>6</c:v>
                </c:pt>
                <c:pt idx="7">
                  <c:v>7.0000000000000009</c:v>
                </c:pt>
                <c:pt idx="8">
                  <c:v>8</c:v>
                </c:pt>
                <c:pt idx="9">
                  <c:v>9</c:v>
                </c:pt>
                <c:pt idx="10">
                  <c:v>10</c:v>
                </c:pt>
                <c:pt idx="11">
                  <c:v>11</c:v>
                </c:pt>
                <c:pt idx="12">
                  <c:v>12</c:v>
                </c:pt>
                <c:pt idx="13">
                  <c:v>13</c:v>
                </c:pt>
                <c:pt idx="14">
                  <c:v>14.000000000000002</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000000000000004</c:v>
                </c:pt>
                <c:pt idx="29">
                  <c:v>28.999999999999996</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000000000000007</c:v>
                </c:pt>
                <c:pt idx="56">
                  <c:v>56.000000000000007</c:v>
                </c:pt>
                <c:pt idx="57">
                  <c:v>56.999999999999993</c:v>
                </c:pt>
                <c:pt idx="58">
                  <c:v>57.999999999999993</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Sheet1!$A$3:$CW$3</c:f>
              <c:numCache>
                <c:formatCode>General</c:formatCode>
                <c:ptCount val="101"/>
                <c:pt idx="0">
                  <c:v>-29.6</c:v>
                </c:pt>
                <c:pt idx="1">
                  <c:v>-21.8</c:v>
                </c:pt>
                <c:pt idx="2">
                  <c:v>-18.899999999999999</c:v>
                </c:pt>
                <c:pt idx="3">
                  <c:v>-16.899999999999999</c:v>
                </c:pt>
                <c:pt idx="4">
                  <c:v>-15.4</c:v>
                </c:pt>
                <c:pt idx="5">
                  <c:v>-14.2</c:v>
                </c:pt>
                <c:pt idx="6">
                  <c:v>-13.2</c:v>
                </c:pt>
                <c:pt idx="7">
                  <c:v>-12.4</c:v>
                </c:pt>
                <c:pt idx="8">
                  <c:v>-11.6</c:v>
                </c:pt>
                <c:pt idx="9">
                  <c:v>-10.8</c:v>
                </c:pt>
                <c:pt idx="10">
                  <c:v>-10.1</c:v>
                </c:pt>
                <c:pt idx="11">
                  <c:v>-9.5</c:v>
                </c:pt>
                <c:pt idx="12">
                  <c:v>-8.9</c:v>
                </c:pt>
                <c:pt idx="13">
                  <c:v>-8.4</c:v>
                </c:pt>
                <c:pt idx="14">
                  <c:v>-7.9</c:v>
                </c:pt>
                <c:pt idx="15">
                  <c:v>-7.4</c:v>
                </c:pt>
                <c:pt idx="16">
                  <c:v>-6.9</c:v>
                </c:pt>
                <c:pt idx="17">
                  <c:v>-6.4</c:v>
                </c:pt>
                <c:pt idx="18">
                  <c:v>-5.9</c:v>
                </c:pt>
                <c:pt idx="19">
                  <c:v>-5.4</c:v>
                </c:pt>
                <c:pt idx="20">
                  <c:v>-5</c:v>
                </c:pt>
                <c:pt idx="21">
                  <c:v>-4.5</c:v>
                </c:pt>
                <c:pt idx="22">
                  <c:v>-4.0999999999999996</c:v>
                </c:pt>
                <c:pt idx="23">
                  <c:v>-3.6</c:v>
                </c:pt>
                <c:pt idx="24">
                  <c:v>-3.2</c:v>
                </c:pt>
                <c:pt idx="25">
                  <c:v>-2.8</c:v>
                </c:pt>
                <c:pt idx="26">
                  <c:v>-2.2999999999999998</c:v>
                </c:pt>
                <c:pt idx="27">
                  <c:v>-1.9</c:v>
                </c:pt>
                <c:pt idx="28">
                  <c:v>-1.5</c:v>
                </c:pt>
                <c:pt idx="29">
                  <c:v>-1.1000000000000001</c:v>
                </c:pt>
                <c:pt idx="30">
                  <c:v>-0.7</c:v>
                </c:pt>
                <c:pt idx="31">
                  <c:v>-0.3</c:v>
                </c:pt>
                <c:pt idx="32">
                  <c:v>0.1</c:v>
                </c:pt>
                <c:pt idx="33">
                  <c:v>0.5</c:v>
                </c:pt>
                <c:pt idx="34">
                  <c:v>0.9</c:v>
                </c:pt>
                <c:pt idx="35">
                  <c:v>1.3</c:v>
                </c:pt>
                <c:pt idx="36">
                  <c:v>1.7</c:v>
                </c:pt>
                <c:pt idx="37">
                  <c:v>2.2000000000000002</c:v>
                </c:pt>
                <c:pt idx="38">
                  <c:v>2.6</c:v>
                </c:pt>
                <c:pt idx="39">
                  <c:v>3</c:v>
                </c:pt>
                <c:pt idx="40">
                  <c:v>3.4</c:v>
                </c:pt>
                <c:pt idx="41">
                  <c:v>3.9</c:v>
                </c:pt>
                <c:pt idx="42">
                  <c:v>4.3</c:v>
                </c:pt>
                <c:pt idx="43">
                  <c:v>4.8</c:v>
                </c:pt>
                <c:pt idx="44">
                  <c:v>5.2</c:v>
                </c:pt>
                <c:pt idx="45">
                  <c:v>5.6</c:v>
                </c:pt>
                <c:pt idx="46">
                  <c:v>6</c:v>
                </c:pt>
                <c:pt idx="47">
                  <c:v>6.4</c:v>
                </c:pt>
                <c:pt idx="48">
                  <c:v>6.8</c:v>
                </c:pt>
                <c:pt idx="49">
                  <c:v>7.3</c:v>
                </c:pt>
                <c:pt idx="50">
                  <c:v>7.7</c:v>
                </c:pt>
                <c:pt idx="51">
                  <c:v>8.1999999999999993</c:v>
                </c:pt>
                <c:pt idx="52">
                  <c:v>8.6</c:v>
                </c:pt>
                <c:pt idx="53">
                  <c:v>9</c:v>
                </c:pt>
                <c:pt idx="54">
                  <c:v>9.4</c:v>
                </c:pt>
                <c:pt idx="55">
                  <c:v>9.8000000000000007</c:v>
                </c:pt>
                <c:pt idx="56">
                  <c:v>10.1</c:v>
                </c:pt>
                <c:pt idx="57">
                  <c:v>10.5</c:v>
                </c:pt>
                <c:pt idx="58">
                  <c:v>10.9</c:v>
                </c:pt>
                <c:pt idx="59">
                  <c:v>11.2</c:v>
                </c:pt>
                <c:pt idx="60">
                  <c:v>11.6</c:v>
                </c:pt>
                <c:pt idx="61">
                  <c:v>12</c:v>
                </c:pt>
                <c:pt idx="62">
                  <c:v>12.4</c:v>
                </c:pt>
                <c:pt idx="63">
                  <c:v>12.8</c:v>
                </c:pt>
                <c:pt idx="64">
                  <c:v>13.3</c:v>
                </c:pt>
                <c:pt idx="65">
                  <c:v>13.7</c:v>
                </c:pt>
                <c:pt idx="66">
                  <c:v>14.2</c:v>
                </c:pt>
                <c:pt idx="67">
                  <c:v>14.6</c:v>
                </c:pt>
                <c:pt idx="68">
                  <c:v>15</c:v>
                </c:pt>
                <c:pt idx="69">
                  <c:v>15.4</c:v>
                </c:pt>
                <c:pt idx="70">
                  <c:v>15.8</c:v>
                </c:pt>
                <c:pt idx="71">
                  <c:v>16.3</c:v>
                </c:pt>
                <c:pt idx="72">
                  <c:v>16.7</c:v>
                </c:pt>
                <c:pt idx="73">
                  <c:v>17.2</c:v>
                </c:pt>
                <c:pt idx="74">
                  <c:v>17.7</c:v>
                </c:pt>
                <c:pt idx="75">
                  <c:v>18.100000000000001</c:v>
                </c:pt>
                <c:pt idx="76">
                  <c:v>18.5</c:v>
                </c:pt>
                <c:pt idx="77">
                  <c:v>19</c:v>
                </c:pt>
                <c:pt idx="78">
                  <c:v>19.5</c:v>
                </c:pt>
                <c:pt idx="79">
                  <c:v>19.899999999999999</c:v>
                </c:pt>
                <c:pt idx="80">
                  <c:v>20.399999999999999</c:v>
                </c:pt>
                <c:pt idx="81">
                  <c:v>20.9</c:v>
                </c:pt>
                <c:pt idx="82">
                  <c:v>21.4</c:v>
                </c:pt>
                <c:pt idx="83">
                  <c:v>21.9</c:v>
                </c:pt>
                <c:pt idx="84">
                  <c:v>22.5</c:v>
                </c:pt>
                <c:pt idx="85">
                  <c:v>23</c:v>
                </c:pt>
                <c:pt idx="86">
                  <c:v>23.6</c:v>
                </c:pt>
                <c:pt idx="87">
                  <c:v>24.3</c:v>
                </c:pt>
                <c:pt idx="88">
                  <c:v>24.9</c:v>
                </c:pt>
                <c:pt idx="89">
                  <c:v>25.4</c:v>
                </c:pt>
                <c:pt idx="90">
                  <c:v>26.1</c:v>
                </c:pt>
                <c:pt idx="91">
                  <c:v>26.9</c:v>
                </c:pt>
                <c:pt idx="92">
                  <c:v>27.6</c:v>
                </c:pt>
                <c:pt idx="93">
                  <c:v>28.5</c:v>
                </c:pt>
                <c:pt idx="94">
                  <c:v>29.2</c:v>
                </c:pt>
                <c:pt idx="95">
                  <c:v>30.1</c:v>
                </c:pt>
                <c:pt idx="96">
                  <c:v>31</c:v>
                </c:pt>
                <c:pt idx="97">
                  <c:v>32</c:v>
                </c:pt>
                <c:pt idx="98">
                  <c:v>33.299999999999997</c:v>
                </c:pt>
                <c:pt idx="99">
                  <c:v>35.1</c:v>
                </c:pt>
                <c:pt idx="100">
                  <c:v>40.9</c:v>
                </c:pt>
              </c:numCache>
            </c:numRef>
          </c:yVal>
          <c:smooth val="0"/>
          <c:extLst>
            <c:ext xmlns:c16="http://schemas.microsoft.com/office/drawing/2014/chart" uri="{C3380CC4-5D6E-409C-BE32-E72D297353CC}">
              <c16:uniqueId val="{00000001-2C41-49A6-8AD4-06A3D8A4FABD}"/>
            </c:ext>
          </c:extLst>
        </c:ser>
        <c:ser>
          <c:idx val="2"/>
          <c:order val="2"/>
          <c:spPr>
            <a:ln w="22225" cmpd="sng" algn="ctr">
              <a:solidFill>
                <a:srgbClr val="441A0D"/>
              </a:solidFill>
              <a:prstDash val="solid"/>
            </a:ln>
          </c:spPr>
          <c:marker>
            <c:symbol val="none"/>
          </c:marker>
          <c:xVal>
            <c:numRef>
              <c:f>Sheet1!$A$1:$CW$1</c:f>
              <c:numCache>
                <c:formatCode>General</c:formatCode>
                <c:ptCount val="101"/>
                <c:pt idx="0">
                  <c:v>0</c:v>
                </c:pt>
                <c:pt idx="1">
                  <c:v>1</c:v>
                </c:pt>
                <c:pt idx="2">
                  <c:v>2</c:v>
                </c:pt>
                <c:pt idx="3">
                  <c:v>3</c:v>
                </c:pt>
                <c:pt idx="4">
                  <c:v>4</c:v>
                </c:pt>
                <c:pt idx="5">
                  <c:v>5</c:v>
                </c:pt>
                <c:pt idx="6">
                  <c:v>6</c:v>
                </c:pt>
                <c:pt idx="7">
                  <c:v>7.0000000000000009</c:v>
                </c:pt>
                <c:pt idx="8">
                  <c:v>8</c:v>
                </c:pt>
                <c:pt idx="9">
                  <c:v>9</c:v>
                </c:pt>
                <c:pt idx="10">
                  <c:v>10</c:v>
                </c:pt>
                <c:pt idx="11">
                  <c:v>11</c:v>
                </c:pt>
                <c:pt idx="12">
                  <c:v>12</c:v>
                </c:pt>
                <c:pt idx="13">
                  <c:v>13</c:v>
                </c:pt>
                <c:pt idx="14">
                  <c:v>14.000000000000002</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000000000000004</c:v>
                </c:pt>
                <c:pt idx="29">
                  <c:v>28.999999999999996</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000000000000007</c:v>
                </c:pt>
                <c:pt idx="56">
                  <c:v>56.000000000000007</c:v>
                </c:pt>
                <c:pt idx="57">
                  <c:v>56.999999999999993</c:v>
                </c:pt>
                <c:pt idx="58">
                  <c:v>57.999999999999993</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Sheet1!$A$4:$CW$4</c:f>
              <c:numCache>
                <c:formatCode>General</c:formatCode>
                <c:ptCount val="101"/>
                <c:pt idx="0">
                  <c:v>-26</c:v>
                </c:pt>
                <c:pt idx="1">
                  <c:v>-18</c:v>
                </c:pt>
                <c:pt idx="2">
                  <c:v>-15.1</c:v>
                </c:pt>
                <c:pt idx="3">
                  <c:v>-12.9</c:v>
                </c:pt>
                <c:pt idx="4">
                  <c:v>-11.7</c:v>
                </c:pt>
                <c:pt idx="5">
                  <c:v>-10.4</c:v>
                </c:pt>
                <c:pt idx="6">
                  <c:v>-9.4</c:v>
                </c:pt>
                <c:pt idx="7">
                  <c:v>-8.5</c:v>
                </c:pt>
                <c:pt idx="8">
                  <c:v>-7.6</c:v>
                </c:pt>
                <c:pt idx="9">
                  <c:v>-6.8</c:v>
                </c:pt>
                <c:pt idx="10">
                  <c:v>-6.1</c:v>
                </c:pt>
                <c:pt idx="11">
                  <c:v>-5.4</c:v>
                </c:pt>
                <c:pt idx="12">
                  <c:v>-4.9000000000000004</c:v>
                </c:pt>
                <c:pt idx="13">
                  <c:v>-4.3</c:v>
                </c:pt>
                <c:pt idx="14">
                  <c:v>-3.7</c:v>
                </c:pt>
                <c:pt idx="15">
                  <c:v>-3.2</c:v>
                </c:pt>
                <c:pt idx="16">
                  <c:v>-2.6</c:v>
                </c:pt>
                <c:pt idx="17">
                  <c:v>-2.1</c:v>
                </c:pt>
                <c:pt idx="18">
                  <c:v>-1.6</c:v>
                </c:pt>
                <c:pt idx="19">
                  <c:v>-1.1000000000000001</c:v>
                </c:pt>
                <c:pt idx="20">
                  <c:v>-0.6</c:v>
                </c:pt>
                <c:pt idx="21">
                  <c:v>-0.1</c:v>
                </c:pt>
                <c:pt idx="22">
                  <c:v>0.4</c:v>
                </c:pt>
                <c:pt idx="23">
                  <c:v>0.9</c:v>
                </c:pt>
                <c:pt idx="24">
                  <c:v>1.4</c:v>
                </c:pt>
                <c:pt idx="25">
                  <c:v>1.9</c:v>
                </c:pt>
                <c:pt idx="26">
                  <c:v>2.4</c:v>
                </c:pt>
                <c:pt idx="27">
                  <c:v>2.8</c:v>
                </c:pt>
                <c:pt idx="28">
                  <c:v>3.3</c:v>
                </c:pt>
                <c:pt idx="29">
                  <c:v>3.7</c:v>
                </c:pt>
                <c:pt idx="30">
                  <c:v>4.2</c:v>
                </c:pt>
                <c:pt idx="31">
                  <c:v>4.5999999999999996</c:v>
                </c:pt>
                <c:pt idx="32">
                  <c:v>5.2</c:v>
                </c:pt>
                <c:pt idx="33">
                  <c:v>5.6</c:v>
                </c:pt>
                <c:pt idx="34">
                  <c:v>6.2</c:v>
                </c:pt>
                <c:pt idx="35">
                  <c:v>6.7</c:v>
                </c:pt>
                <c:pt idx="36">
                  <c:v>7.2</c:v>
                </c:pt>
                <c:pt idx="37">
                  <c:v>7.7</c:v>
                </c:pt>
                <c:pt idx="38">
                  <c:v>8.1999999999999993</c:v>
                </c:pt>
                <c:pt idx="39">
                  <c:v>8.6</c:v>
                </c:pt>
                <c:pt idx="40">
                  <c:v>9.1</c:v>
                </c:pt>
                <c:pt idx="41">
                  <c:v>9.5</c:v>
                </c:pt>
                <c:pt idx="42">
                  <c:v>10</c:v>
                </c:pt>
                <c:pt idx="43">
                  <c:v>10.4</c:v>
                </c:pt>
                <c:pt idx="44">
                  <c:v>10.9</c:v>
                </c:pt>
                <c:pt idx="45">
                  <c:v>11.2</c:v>
                </c:pt>
                <c:pt idx="46">
                  <c:v>11.7</c:v>
                </c:pt>
                <c:pt idx="47">
                  <c:v>12.1</c:v>
                </c:pt>
                <c:pt idx="48">
                  <c:v>12.6</c:v>
                </c:pt>
                <c:pt idx="49">
                  <c:v>13.1</c:v>
                </c:pt>
                <c:pt idx="50">
                  <c:v>13.6</c:v>
                </c:pt>
                <c:pt idx="51">
                  <c:v>14.1</c:v>
                </c:pt>
                <c:pt idx="52">
                  <c:v>14.5</c:v>
                </c:pt>
                <c:pt idx="53">
                  <c:v>15</c:v>
                </c:pt>
                <c:pt idx="54">
                  <c:v>15.4</c:v>
                </c:pt>
                <c:pt idx="55">
                  <c:v>15.9</c:v>
                </c:pt>
                <c:pt idx="56">
                  <c:v>16.3</c:v>
                </c:pt>
                <c:pt idx="57">
                  <c:v>16.7</c:v>
                </c:pt>
                <c:pt idx="58">
                  <c:v>17.100000000000001</c:v>
                </c:pt>
                <c:pt idx="59">
                  <c:v>17.5</c:v>
                </c:pt>
                <c:pt idx="60">
                  <c:v>17.899999999999999</c:v>
                </c:pt>
                <c:pt idx="61">
                  <c:v>18.3</c:v>
                </c:pt>
                <c:pt idx="62">
                  <c:v>18.7</c:v>
                </c:pt>
                <c:pt idx="63">
                  <c:v>19.100000000000001</c:v>
                </c:pt>
                <c:pt idx="64">
                  <c:v>19.5</c:v>
                </c:pt>
                <c:pt idx="65">
                  <c:v>20</c:v>
                </c:pt>
                <c:pt idx="66">
                  <c:v>20.399999999999999</c:v>
                </c:pt>
                <c:pt idx="67">
                  <c:v>20.8</c:v>
                </c:pt>
                <c:pt idx="68">
                  <c:v>21.3</c:v>
                </c:pt>
                <c:pt idx="69">
                  <c:v>21.8</c:v>
                </c:pt>
                <c:pt idx="70">
                  <c:v>22.2</c:v>
                </c:pt>
                <c:pt idx="71">
                  <c:v>22.7</c:v>
                </c:pt>
                <c:pt idx="72">
                  <c:v>23.1</c:v>
                </c:pt>
                <c:pt idx="73">
                  <c:v>23.6</c:v>
                </c:pt>
                <c:pt idx="74">
                  <c:v>24</c:v>
                </c:pt>
                <c:pt idx="75">
                  <c:v>24.5</c:v>
                </c:pt>
                <c:pt idx="76">
                  <c:v>25</c:v>
                </c:pt>
                <c:pt idx="77">
                  <c:v>25.4</c:v>
                </c:pt>
                <c:pt idx="78">
                  <c:v>26</c:v>
                </c:pt>
                <c:pt idx="79">
                  <c:v>26.5</c:v>
                </c:pt>
                <c:pt idx="80">
                  <c:v>27</c:v>
                </c:pt>
                <c:pt idx="81">
                  <c:v>27.6</c:v>
                </c:pt>
                <c:pt idx="82">
                  <c:v>28.3</c:v>
                </c:pt>
                <c:pt idx="83">
                  <c:v>28.9</c:v>
                </c:pt>
                <c:pt idx="84">
                  <c:v>29.4</c:v>
                </c:pt>
                <c:pt idx="85">
                  <c:v>30.1</c:v>
                </c:pt>
                <c:pt idx="86">
                  <c:v>30.7</c:v>
                </c:pt>
                <c:pt idx="87">
                  <c:v>31.3</c:v>
                </c:pt>
                <c:pt idx="88">
                  <c:v>31.9</c:v>
                </c:pt>
                <c:pt idx="89">
                  <c:v>32.700000000000003</c:v>
                </c:pt>
                <c:pt idx="90">
                  <c:v>33.6</c:v>
                </c:pt>
                <c:pt idx="91">
                  <c:v>34.299999999999997</c:v>
                </c:pt>
                <c:pt idx="92">
                  <c:v>35.200000000000003</c:v>
                </c:pt>
                <c:pt idx="93">
                  <c:v>36</c:v>
                </c:pt>
                <c:pt idx="94">
                  <c:v>36.799999999999997</c:v>
                </c:pt>
                <c:pt idx="95">
                  <c:v>38</c:v>
                </c:pt>
                <c:pt idx="96">
                  <c:v>38.9</c:v>
                </c:pt>
                <c:pt idx="97">
                  <c:v>40</c:v>
                </c:pt>
                <c:pt idx="98">
                  <c:v>41.4</c:v>
                </c:pt>
                <c:pt idx="99">
                  <c:v>43.5</c:v>
                </c:pt>
                <c:pt idx="100">
                  <c:v>52.5</c:v>
                </c:pt>
              </c:numCache>
            </c:numRef>
          </c:yVal>
          <c:smooth val="0"/>
          <c:extLst>
            <c:ext xmlns:c16="http://schemas.microsoft.com/office/drawing/2014/chart" uri="{C3380CC4-5D6E-409C-BE32-E72D297353CC}">
              <c16:uniqueId val="{00000002-2C41-49A6-8AD4-06A3D8A4FABD}"/>
            </c:ext>
          </c:extLst>
        </c:ser>
        <c:dLbls>
          <c:showLegendKey val="0"/>
          <c:showVal val="0"/>
          <c:showCatName val="0"/>
          <c:showSerName val="0"/>
          <c:showPercent val="0"/>
          <c:showBubbleSize val="0"/>
        </c:dLbls>
        <c:axId val="4"/>
        <c:axId val="5"/>
      </c:scatterChart>
      <c:valAx>
        <c:axId val="4"/>
        <c:scaling>
          <c:orientation val="minMax"/>
          <c:max val="100"/>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Lato"/>
                <a:cs typeface="Lato"/>
              </a:defRPr>
            </a:pPr>
            <a:endParaRPr lang="en-US"/>
          </a:p>
        </c:txPr>
        <c:crossAx val="5"/>
        <c:crossesAt val="0"/>
        <c:crossBetween val="midCat"/>
        <c:majorUnit val="5"/>
      </c:valAx>
      <c:valAx>
        <c:axId val="5"/>
        <c:scaling>
          <c:orientation val="minMax"/>
          <c:max val="60"/>
          <c:min val="-4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291621327529923E-2"/>
          <c:y val="4.1533546325878593E-2"/>
          <c:w val="0.94341675734494013"/>
          <c:h val="0.9169329073482428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4</c:v>
                </c:pt>
                <c:pt idx="1">
                  <c:v>47.5</c:v>
                </c:pt>
                <c:pt idx="2">
                  <c:v>7400</c:v>
                </c:pt>
              </c:numCache>
            </c:numRef>
          </c:val>
          <c:extLst>
            <c:ext xmlns:c16="http://schemas.microsoft.com/office/drawing/2014/chart" uri="{C3380CC4-5D6E-409C-BE32-E72D297353CC}">
              <c16:uniqueId val="{00000000-4763-4E87-B716-F1832DCF5D89}"/>
            </c:ext>
          </c:extLst>
        </c:ser>
        <c:ser>
          <c:idx val="1"/>
          <c:order val="1"/>
          <c:spPr>
            <a:solidFill>
              <a:schemeClr val="accent3"/>
            </a:solidFill>
            <a:ln>
              <a:noFill/>
            </a:ln>
          </c:spPr>
          <c:invertIfNegative val="0"/>
          <c:val>
            <c:numRef>
              <c:f>Sheet1!$A$2:$C$2</c:f>
              <c:numCache>
                <c:formatCode>General</c:formatCode>
                <c:ptCount val="3"/>
                <c:pt idx="0">
                  <c:v>50</c:v>
                </c:pt>
                <c:pt idx="2">
                  <c:v>3139.9503722084337</c:v>
                </c:pt>
              </c:numCache>
            </c:numRef>
          </c:val>
          <c:extLst>
            <c:ext xmlns:c16="http://schemas.microsoft.com/office/drawing/2014/chart" uri="{C3380CC4-5D6E-409C-BE32-E72D297353CC}">
              <c16:uniqueId val="{00000001-4763-4E87-B716-F1832DCF5D89}"/>
            </c:ext>
          </c:extLst>
        </c:ser>
        <c:dLbls>
          <c:showLegendKey val="0"/>
          <c:showVal val="0"/>
          <c:showCatName val="0"/>
          <c:showSerName val="0"/>
          <c:showPercent val="0"/>
          <c:showBubbleSize val="0"/>
        </c:dLbls>
        <c:gapWidth val="80"/>
        <c:overlap val="100"/>
        <c:axId val="798169808"/>
        <c:axId val="1"/>
      </c:barChart>
      <c:catAx>
        <c:axId val="7981698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539.950372208434"/>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79816980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07423580786028E-2"/>
          <c:y val="9.9236641221374045E-2"/>
          <c:w val="0.95458515283842793"/>
          <c:h val="0.80152671755725191"/>
        </c:manualLayout>
      </c:layout>
      <c:scatterChart>
        <c:scatterStyle val="lineMarker"/>
        <c:varyColors val="0"/>
        <c:ser>
          <c:idx val="0"/>
          <c:order val="0"/>
          <c:spPr>
            <a:ln w="28575" cmpd="sng" algn="ctr">
              <a:solidFill>
                <a:srgbClr val="9DB1CF"/>
              </a:solidFill>
              <a:prstDash val="solid"/>
            </a:ln>
          </c:spPr>
          <c:marker>
            <c:symbol val="none"/>
          </c:marker>
          <c:xVal>
            <c:numRef>
              <c:f>Sheet1!$A$1:$AK$1</c:f>
              <c:numCache>
                <c:formatCode>General</c:formatCode>
                <c:ptCount val="37"/>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pt idx="32">
                  <c:v>19601</c:v>
                </c:pt>
                <c:pt idx="33">
                  <c:v>19631</c:v>
                </c:pt>
                <c:pt idx="34">
                  <c:v>19662</c:v>
                </c:pt>
                <c:pt idx="35">
                  <c:v>19692</c:v>
                </c:pt>
                <c:pt idx="36">
                  <c:v>19723</c:v>
                </c:pt>
              </c:numCache>
            </c:numRef>
          </c:xVal>
          <c:yVal>
            <c:numRef>
              <c:f>Sheet1!$A$2:$AK$2</c:f>
              <c:numCache>
                <c:formatCode>General</c:formatCode>
                <c:ptCount val="37"/>
                <c:pt idx="0">
                  <c:v>35550</c:v>
                </c:pt>
                <c:pt idx="1">
                  <c:v>38294.117647058825</c:v>
                </c:pt>
                <c:pt idx="2">
                  <c:v>40891.304347826088</c:v>
                </c:pt>
                <c:pt idx="3">
                  <c:v>44545.454545454544</c:v>
                </c:pt>
                <c:pt idx="4">
                  <c:v>45000</c:v>
                </c:pt>
                <c:pt idx="5">
                  <c:v>45000</c:v>
                </c:pt>
                <c:pt idx="6">
                  <c:v>45727.272727272728</c:v>
                </c:pt>
                <c:pt idx="7">
                  <c:v>53000</c:v>
                </c:pt>
                <c:pt idx="8">
                  <c:v>62954.545454545456</c:v>
                </c:pt>
                <c:pt idx="9">
                  <c:v>80647.058823529413</c:v>
                </c:pt>
                <c:pt idx="10">
                  <c:v>85000</c:v>
                </c:pt>
                <c:pt idx="11">
                  <c:v>86086.956521739135</c:v>
                </c:pt>
                <c:pt idx="12">
                  <c:v>106785.71428571429</c:v>
                </c:pt>
                <c:pt idx="13">
                  <c:v>139406.25</c:v>
                </c:pt>
                <c:pt idx="14">
                  <c:v>158021.73913043478</c:v>
                </c:pt>
                <c:pt idx="15">
                  <c:v>157428.57142857142</c:v>
                </c:pt>
                <c:pt idx="16">
                  <c:v>152500</c:v>
                </c:pt>
                <c:pt idx="17">
                  <c:v>147000</c:v>
                </c:pt>
                <c:pt idx="18">
                  <c:v>147000</c:v>
                </c:pt>
                <c:pt idx="19">
                  <c:v>147000</c:v>
                </c:pt>
                <c:pt idx="20">
                  <c:v>147000</c:v>
                </c:pt>
                <c:pt idx="21">
                  <c:v>153166.66666666666</c:v>
                </c:pt>
                <c:pt idx="22">
                  <c:v>157545.45454545456</c:v>
                </c:pt>
                <c:pt idx="23">
                  <c:v>156909.09090909091</c:v>
                </c:pt>
                <c:pt idx="24">
                  <c:v>148166.66666666666</c:v>
                </c:pt>
                <c:pt idx="25">
                  <c:v>136975</c:v>
                </c:pt>
                <c:pt idx="26">
                  <c:v>114043.47826086957</c:v>
                </c:pt>
                <c:pt idx="27">
                  <c:v>73650</c:v>
                </c:pt>
                <c:pt idx="28">
                  <c:v>78095.238095238092</c:v>
                </c:pt>
                <c:pt idx="29">
                  <c:v>90000</c:v>
                </c:pt>
                <c:pt idx="30">
                  <c:v>89761.904761904763</c:v>
                </c:pt>
                <c:pt idx="31">
                  <c:v>78391.304347826081</c:v>
                </c:pt>
                <c:pt idx="32">
                  <c:v>60750</c:v>
                </c:pt>
                <c:pt idx="33">
                  <c:v>56157.894736842107</c:v>
                </c:pt>
                <c:pt idx="34">
                  <c:v>49000</c:v>
                </c:pt>
                <c:pt idx="35">
                  <c:v>44238.095238095237</c:v>
                </c:pt>
                <c:pt idx="36">
                  <c:v>39000</c:v>
                </c:pt>
              </c:numCache>
            </c:numRef>
          </c:yVal>
          <c:smooth val="0"/>
          <c:extLst>
            <c:ext xmlns:c16="http://schemas.microsoft.com/office/drawing/2014/chart" uri="{C3380CC4-5D6E-409C-BE32-E72D297353CC}">
              <c16:uniqueId val="{00000000-8BE6-4987-8354-3E72C7BF190B}"/>
            </c:ext>
          </c:extLst>
        </c:ser>
        <c:dLbls>
          <c:showLegendKey val="0"/>
          <c:showVal val="0"/>
          <c:showCatName val="0"/>
          <c:showSerName val="0"/>
          <c:showPercent val="0"/>
          <c:showBubbleSize val="0"/>
        </c:dLbls>
        <c:axId val="4"/>
        <c:axId val="5"/>
      </c:scatterChart>
      <c:valAx>
        <c:axId val="4"/>
        <c:scaling>
          <c:orientation val="minMax"/>
          <c:max val="19723"/>
          <c:min val="18628"/>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58021.73913043478"/>
          <c:min val="0"/>
        </c:scaling>
        <c:delete val="1"/>
        <c:axPos val="l"/>
        <c:numFmt formatCode="General" sourceLinked="1"/>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07423580786028E-2"/>
          <c:y val="9.9236641221374045E-2"/>
          <c:w val="0.95458515283842793"/>
          <c:h val="0.80152671755725191"/>
        </c:manualLayout>
      </c:layout>
      <c:scatterChart>
        <c:scatterStyle val="lineMarker"/>
        <c:varyColors val="0"/>
        <c:ser>
          <c:idx val="0"/>
          <c:order val="0"/>
          <c:spPr>
            <a:ln w="28575" cmpd="sng" algn="ctr">
              <a:solidFill>
                <a:schemeClr val="accent5"/>
              </a:solidFill>
              <a:prstDash val="solid"/>
            </a:ln>
          </c:spPr>
          <c:marker>
            <c:symbol val="none"/>
          </c:marker>
          <c:xVal>
            <c:numRef>
              <c:f>Sheet1!$A$1:$AK$1</c:f>
              <c:numCache>
                <c:formatCode>General</c:formatCode>
                <c:ptCount val="37"/>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pt idx="32">
                  <c:v>19601</c:v>
                </c:pt>
                <c:pt idx="33">
                  <c:v>19631</c:v>
                </c:pt>
                <c:pt idx="34">
                  <c:v>19662</c:v>
                </c:pt>
                <c:pt idx="35">
                  <c:v>19692</c:v>
                </c:pt>
                <c:pt idx="36">
                  <c:v>19723</c:v>
                </c:pt>
              </c:numCache>
            </c:numRef>
          </c:xVal>
          <c:yVal>
            <c:numRef>
              <c:f>Sheet1!$A$2:$AK$2</c:f>
              <c:numCache>
                <c:formatCode>General</c:formatCode>
                <c:ptCount val="37"/>
                <c:pt idx="0">
                  <c:v>37500</c:v>
                </c:pt>
                <c:pt idx="1">
                  <c:v>37500</c:v>
                </c:pt>
                <c:pt idx="2">
                  <c:v>37500</c:v>
                </c:pt>
                <c:pt idx="3">
                  <c:v>40700</c:v>
                </c:pt>
                <c:pt idx="4">
                  <c:v>41500</c:v>
                </c:pt>
                <c:pt idx="5">
                  <c:v>41500</c:v>
                </c:pt>
                <c:pt idx="6">
                  <c:v>41500</c:v>
                </c:pt>
                <c:pt idx="7">
                  <c:v>41500</c:v>
                </c:pt>
                <c:pt idx="8">
                  <c:v>41500</c:v>
                </c:pt>
                <c:pt idx="9">
                  <c:v>44875</c:v>
                </c:pt>
                <c:pt idx="10">
                  <c:v>48500</c:v>
                </c:pt>
                <c:pt idx="11">
                  <c:v>49000</c:v>
                </c:pt>
                <c:pt idx="12">
                  <c:v>51500</c:v>
                </c:pt>
                <c:pt idx="13">
                  <c:v>51500</c:v>
                </c:pt>
                <c:pt idx="14">
                  <c:v>51500</c:v>
                </c:pt>
                <c:pt idx="15">
                  <c:v>51500</c:v>
                </c:pt>
                <c:pt idx="16">
                  <c:v>52000</c:v>
                </c:pt>
                <c:pt idx="17">
                  <c:v>52500</c:v>
                </c:pt>
                <c:pt idx="18">
                  <c:v>53250</c:v>
                </c:pt>
                <c:pt idx="19">
                  <c:v>53250</c:v>
                </c:pt>
                <c:pt idx="20">
                  <c:v>53250</c:v>
                </c:pt>
                <c:pt idx="21">
                  <c:v>53250</c:v>
                </c:pt>
                <c:pt idx="22">
                  <c:v>53250</c:v>
                </c:pt>
                <c:pt idx="23">
                  <c:v>50500</c:v>
                </c:pt>
                <c:pt idx="24">
                  <c:v>50000</c:v>
                </c:pt>
                <c:pt idx="25">
                  <c:v>45000</c:v>
                </c:pt>
                <c:pt idx="26">
                  <c:v>42000</c:v>
                </c:pt>
                <c:pt idx="27">
                  <c:v>38000</c:v>
                </c:pt>
                <c:pt idx="28">
                  <c:v>38000</c:v>
                </c:pt>
                <c:pt idx="29">
                  <c:v>36000</c:v>
                </c:pt>
                <c:pt idx="30">
                  <c:v>36000</c:v>
                </c:pt>
                <c:pt idx="31">
                  <c:v>34000</c:v>
                </c:pt>
                <c:pt idx="32">
                  <c:v>34000</c:v>
                </c:pt>
                <c:pt idx="33">
                  <c:v>32000</c:v>
                </c:pt>
                <c:pt idx="34">
                  <c:v>31000</c:v>
                </c:pt>
                <c:pt idx="35">
                  <c:v>31000</c:v>
                </c:pt>
                <c:pt idx="36">
                  <c:v>26000</c:v>
                </c:pt>
              </c:numCache>
            </c:numRef>
          </c:yVal>
          <c:smooth val="0"/>
          <c:extLst>
            <c:ext xmlns:c16="http://schemas.microsoft.com/office/drawing/2014/chart" uri="{C3380CC4-5D6E-409C-BE32-E72D297353CC}">
              <c16:uniqueId val="{00000000-75B2-4AAA-8C8E-DE471357267E}"/>
            </c:ext>
          </c:extLst>
        </c:ser>
        <c:dLbls>
          <c:showLegendKey val="0"/>
          <c:showVal val="0"/>
          <c:showCatName val="0"/>
          <c:showSerName val="0"/>
          <c:showPercent val="0"/>
          <c:showBubbleSize val="0"/>
        </c:dLbls>
        <c:axId val="4"/>
        <c:axId val="5"/>
      </c:scatterChart>
      <c:valAx>
        <c:axId val="4"/>
        <c:scaling>
          <c:orientation val="minMax"/>
          <c:max val="19723"/>
          <c:min val="18628"/>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3250"/>
          <c:min val="2000"/>
        </c:scaling>
        <c:delete val="1"/>
        <c:axPos val="l"/>
        <c:numFmt formatCode="General" sourceLinked="1"/>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07423580786028E-2"/>
          <c:y val="0.10483870967741936"/>
          <c:w val="0.95458515283842793"/>
          <c:h val="0.79032258064516125"/>
        </c:manualLayout>
      </c:layout>
      <c:scatterChart>
        <c:scatterStyle val="lineMarker"/>
        <c:varyColors val="0"/>
        <c:ser>
          <c:idx val="0"/>
          <c:order val="0"/>
          <c:spPr>
            <a:ln w="28575" cmpd="sng" algn="ctr">
              <a:solidFill>
                <a:schemeClr val="accent1"/>
              </a:solidFill>
              <a:prstDash val="solid"/>
            </a:ln>
          </c:spPr>
          <c:marker>
            <c:symbol val="none"/>
          </c:marker>
          <c:xVal>
            <c:numRef>
              <c:f>Sheet1!$A$1:$AK$1</c:f>
              <c:numCache>
                <c:formatCode>General</c:formatCode>
                <c:ptCount val="37"/>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pt idx="32">
                  <c:v>19601</c:v>
                </c:pt>
                <c:pt idx="33">
                  <c:v>19631</c:v>
                </c:pt>
                <c:pt idx="34">
                  <c:v>19662</c:v>
                </c:pt>
                <c:pt idx="35">
                  <c:v>19692</c:v>
                </c:pt>
                <c:pt idx="36">
                  <c:v>19723</c:v>
                </c:pt>
              </c:numCache>
            </c:numRef>
          </c:xVal>
          <c:yVal>
            <c:numRef>
              <c:f>Sheet1!$A$2:$AK$2</c:f>
              <c:numCache>
                <c:formatCode>General</c:formatCode>
                <c:ptCount val="37"/>
                <c:pt idx="0">
                  <c:v>40000</c:v>
                </c:pt>
                <c:pt idx="1">
                  <c:v>41000.000000000015</c:v>
                </c:pt>
                <c:pt idx="2">
                  <c:v>59282.60869565219</c:v>
                </c:pt>
                <c:pt idx="3">
                  <c:v>64500.000000000007</c:v>
                </c:pt>
                <c:pt idx="4">
                  <c:v>65500.000000000015</c:v>
                </c:pt>
                <c:pt idx="5">
                  <c:v>74681.818181818191</c:v>
                </c:pt>
                <c:pt idx="6">
                  <c:v>94090.909090909088</c:v>
                </c:pt>
                <c:pt idx="7">
                  <c:v>95000</c:v>
                </c:pt>
                <c:pt idx="8">
                  <c:v>97918.181818181823</c:v>
                </c:pt>
                <c:pt idx="9">
                  <c:v>106235.7142857143</c:v>
                </c:pt>
                <c:pt idx="10">
                  <c:v>110250.00000000004</c:v>
                </c:pt>
                <c:pt idx="11">
                  <c:v>110250.00000000004</c:v>
                </c:pt>
                <c:pt idx="12">
                  <c:v>110250.00000000004</c:v>
                </c:pt>
                <c:pt idx="13">
                  <c:v>110250.00000000004</c:v>
                </c:pt>
                <c:pt idx="14">
                  <c:v>107315.21739130438</c:v>
                </c:pt>
                <c:pt idx="15">
                  <c:v>95909.090909090941</c:v>
                </c:pt>
                <c:pt idx="16">
                  <c:v>88250</c:v>
                </c:pt>
                <c:pt idx="17">
                  <c:v>73693.181818181823</c:v>
                </c:pt>
                <c:pt idx="18">
                  <c:v>63214.28571428571</c:v>
                </c:pt>
                <c:pt idx="19">
                  <c:v>62500</c:v>
                </c:pt>
                <c:pt idx="20">
                  <c:v>62552.272727272735</c:v>
                </c:pt>
                <c:pt idx="21">
                  <c:v>63636.842105263175</c:v>
                </c:pt>
                <c:pt idx="22">
                  <c:v>63434.090909090919</c:v>
                </c:pt>
                <c:pt idx="23">
                  <c:v>55909.090909090897</c:v>
                </c:pt>
                <c:pt idx="24">
                  <c:v>51526.315789473672</c:v>
                </c:pt>
                <c:pt idx="25">
                  <c:v>47300.000000000015</c:v>
                </c:pt>
                <c:pt idx="26">
                  <c:v>41673.913043478256</c:v>
                </c:pt>
                <c:pt idx="27">
                  <c:v>32083.333333333321</c:v>
                </c:pt>
                <c:pt idx="28">
                  <c:v>29833.333333333332</c:v>
                </c:pt>
                <c:pt idx="29">
                  <c:v>32202.380952380958</c:v>
                </c:pt>
                <c:pt idx="30">
                  <c:v>30680.952380952382</c:v>
                </c:pt>
                <c:pt idx="31">
                  <c:v>27752.173913043491</c:v>
                </c:pt>
                <c:pt idx="32">
                  <c:v>26210</c:v>
                </c:pt>
                <c:pt idx="33">
                  <c:v>24026.31578947368</c:v>
                </c:pt>
                <c:pt idx="34">
                  <c:v>23068.181818181813</c:v>
                </c:pt>
                <c:pt idx="35">
                  <c:v>20622.727272727272</c:v>
                </c:pt>
                <c:pt idx="36">
                  <c:v>18643.750000000007</c:v>
                </c:pt>
              </c:numCache>
            </c:numRef>
          </c:yVal>
          <c:smooth val="0"/>
          <c:extLst>
            <c:ext xmlns:c16="http://schemas.microsoft.com/office/drawing/2014/chart" uri="{C3380CC4-5D6E-409C-BE32-E72D297353CC}">
              <c16:uniqueId val="{00000000-4CDF-4205-B300-BE4949190AC6}"/>
            </c:ext>
          </c:extLst>
        </c:ser>
        <c:dLbls>
          <c:showLegendKey val="0"/>
          <c:showVal val="0"/>
          <c:showCatName val="0"/>
          <c:showSerName val="0"/>
          <c:showPercent val="0"/>
          <c:showBubbleSize val="0"/>
        </c:dLbls>
        <c:axId val="4"/>
        <c:axId val="5"/>
      </c:scatterChart>
      <c:valAx>
        <c:axId val="4"/>
        <c:scaling>
          <c:orientation val="minMax"/>
          <c:max val="19723"/>
          <c:min val="18628"/>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10250.00000000004"/>
          <c:min val="0"/>
        </c:scaling>
        <c:delete val="1"/>
        <c:axPos val="l"/>
        <c:numFmt formatCode="General" sourceLinked="1"/>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07423580786028E-2"/>
          <c:y val="0.10483870967741936"/>
          <c:w val="0.95458515283842793"/>
          <c:h val="0.79032258064516125"/>
        </c:manualLayout>
      </c:layout>
      <c:scatterChart>
        <c:scatterStyle val="lineMarker"/>
        <c:varyColors val="0"/>
        <c:ser>
          <c:idx val="0"/>
          <c:order val="0"/>
          <c:spPr>
            <a:ln w="28575" cmpd="sng" algn="ctr">
              <a:solidFill>
                <a:srgbClr val="007770"/>
              </a:solidFill>
              <a:prstDash val="solid"/>
            </a:ln>
          </c:spPr>
          <c:marker>
            <c:symbol val="none"/>
          </c:marker>
          <c:xVal>
            <c:numRef>
              <c:f>Sheet1!$A$1:$AK$1</c:f>
              <c:numCache>
                <c:formatCode>General</c:formatCode>
                <c:ptCount val="37"/>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pt idx="32">
                  <c:v>19601</c:v>
                </c:pt>
                <c:pt idx="33">
                  <c:v>19631</c:v>
                </c:pt>
                <c:pt idx="34">
                  <c:v>19662</c:v>
                </c:pt>
                <c:pt idx="35">
                  <c:v>19692</c:v>
                </c:pt>
                <c:pt idx="36">
                  <c:v>19723</c:v>
                </c:pt>
              </c:numCache>
            </c:numRef>
          </c:xVal>
          <c:yVal>
            <c:numRef>
              <c:f>Sheet1!$A$2:$AK$2</c:f>
              <c:numCache>
                <c:formatCode>General</c:formatCode>
                <c:ptCount val="37"/>
                <c:pt idx="0">
                  <c:v>99425.351955709339</c:v>
                </c:pt>
                <c:pt idx="1">
                  <c:v>108155.86825570934</c:v>
                </c:pt>
                <c:pt idx="2">
                  <c:v>106071.55580570933</c:v>
                </c:pt>
                <c:pt idx="3">
                  <c:v>113504.29265570935</c:v>
                </c:pt>
                <c:pt idx="4">
                  <c:v>116600.37255570933</c:v>
                </c:pt>
                <c:pt idx="5">
                  <c:v>110283.08250570935</c:v>
                </c:pt>
                <c:pt idx="6">
                  <c:v>112810.71355570934</c:v>
                </c:pt>
                <c:pt idx="7">
                  <c:v>111323.45115570934</c:v>
                </c:pt>
                <c:pt idx="8">
                  <c:v>107151.25110570935</c:v>
                </c:pt>
                <c:pt idx="9">
                  <c:v>111151.84395570934</c:v>
                </c:pt>
                <c:pt idx="10">
                  <c:v>110769.30290570934</c:v>
                </c:pt>
                <c:pt idx="11">
                  <c:v>112757.08630570935</c:v>
                </c:pt>
                <c:pt idx="12">
                  <c:v>112088.39885882352</c:v>
                </c:pt>
                <c:pt idx="13">
                  <c:v>114787.63710882352</c:v>
                </c:pt>
                <c:pt idx="14">
                  <c:v>118302.00955882354</c:v>
                </c:pt>
                <c:pt idx="15">
                  <c:v>113972.50290882352</c:v>
                </c:pt>
                <c:pt idx="16">
                  <c:v>111670.10630882354</c:v>
                </c:pt>
                <c:pt idx="17">
                  <c:v>103164.82445882354</c:v>
                </c:pt>
                <c:pt idx="18">
                  <c:v>100730.14730882354</c:v>
                </c:pt>
                <c:pt idx="19">
                  <c:v>99900.712508823519</c:v>
                </c:pt>
                <c:pt idx="20">
                  <c:v>98173.915058823535</c:v>
                </c:pt>
                <c:pt idx="21">
                  <c:v>97387.382058823539</c:v>
                </c:pt>
                <c:pt idx="22">
                  <c:v>103028.96875882352</c:v>
                </c:pt>
                <c:pt idx="23">
                  <c:v>103979.95865882353</c:v>
                </c:pt>
                <c:pt idx="24">
                  <c:v>110943.64175</c:v>
                </c:pt>
                <c:pt idx="25">
                  <c:v>109073.8383</c:v>
                </c:pt>
                <c:pt idx="26">
                  <c:v>109302.6479</c:v>
                </c:pt>
                <c:pt idx="27">
                  <c:v>106460.40364999999</c:v>
                </c:pt>
                <c:pt idx="28">
                  <c:v>102838.77669999999</c:v>
                </c:pt>
                <c:pt idx="29">
                  <c:v>104458.31964999999</c:v>
                </c:pt>
                <c:pt idx="30">
                  <c:v>108321.9</c:v>
                </c:pt>
                <c:pt idx="31">
                  <c:v>105389.3</c:v>
                </c:pt>
                <c:pt idx="32">
                  <c:v>104299.5</c:v>
                </c:pt>
                <c:pt idx="33">
                  <c:v>103152.3</c:v>
                </c:pt>
                <c:pt idx="34">
                  <c:v>105690.5</c:v>
                </c:pt>
                <c:pt idx="35">
                  <c:v>106368</c:v>
                </c:pt>
                <c:pt idx="36">
                  <c:v>106174.6</c:v>
                </c:pt>
              </c:numCache>
            </c:numRef>
          </c:yVal>
          <c:smooth val="0"/>
          <c:extLst>
            <c:ext xmlns:c16="http://schemas.microsoft.com/office/drawing/2014/chart" uri="{C3380CC4-5D6E-409C-BE32-E72D297353CC}">
              <c16:uniqueId val="{00000000-DABA-48BA-BA10-5DB9EEEE02E1}"/>
            </c:ext>
          </c:extLst>
        </c:ser>
        <c:dLbls>
          <c:showLegendKey val="0"/>
          <c:showVal val="0"/>
          <c:showCatName val="0"/>
          <c:showSerName val="0"/>
          <c:showPercent val="0"/>
          <c:showBubbleSize val="0"/>
        </c:dLbls>
        <c:axId val="4"/>
        <c:axId val="5"/>
      </c:scatterChart>
      <c:valAx>
        <c:axId val="4"/>
        <c:scaling>
          <c:orientation val="minMax"/>
          <c:max val="19723"/>
          <c:min val="18628"/>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200000"/>
          <c:min val="0"/>
        </c:scaling>
        <c:delete val="0"/>
        <c:axPos val="l"/>
        <c:majorGridlines>
          <c:spPr>
            <a:ln>
              <a:noFill/>
            </a:ln>
          </c:spPr>
        </c:majorGridlines>
        <c:numFmt formatCode="General" sourceLinked="1"/>
        <c:majorTickMark val="none"/>
        <c:minorTickMark val="none"/>
        <c:tickLblPos val="none"/>
        <c:spPr>
          <a:ln>
            <a:noFill/>
          </a:ln>
        </c:spPr>
        <c:crossAx val="4"/>
        <c:crosses val="min"/>
        <c:crossBetween val="midCat"/>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247678018575851E-2"/>
          <c:y val="4.0247678018575851E-2"/>
          <c:w val="0.91950464396284826"/>
          <c:h val="0.91950464396284826"/>
        </c:manualLayout>
      </c:layout>
      <c:doughnutChart>
        <c:varyColors val="0"/>
        <c:ser>
          <c:idx val="0"/>
          <c:order val="0"/>
          <c:dPt>
            <c:idx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0-7027-4CC1-A135-12CFC0DAE894}"/>
              </c:ext>
            </c:extLst>
          </c:dPt>
          <c:dPt>
            <c:idx val="1"/>
            <c:bubble3D val="0"/>
            <c:spPr>
              <a:solidFill>
                <a:schemeClr val="accent5"/>
              </a:solidFill>
              <a:ln w="9525" cmpd="sng" algn="ctr">
                <a:solidFill>
                  <a:schemeClr val="bg1"/>
                </a:solidFill>
                <a:prstDash val="solid"/>
              </a:ln>
            </c:spPr>
            <c:extLst>
              <c:ext xmlns:c16="http://schemas.microsoft.com/office/drawing/2014/chart" uri="{C3380CC4-5D6E-409C-BE32-E72D297353CC}">
                <c16:uniqueId val="{00000001-7027-4CC1-A135-12CFC0DAE894}"/>
              </c:ext>
            </c:extLst>
          </c:dPt>
          <c:dPt>
            <c:idx val="2"/>
            <c:bubble3D val="0"/>
            <c:spPr>
              <a:solidFill>
                <a:srgbClr val="007770"/>
              </a:solidFill>
              <a:ln w="9525" cmpd="sng" algn="ctr">
                <a:solidFill>
                  <a:schemeClr val="bg1"/>
                </a:solidFill>
                <a:prstDash val="solid"/>
              </a:ln>
            </c:spPr>
            <c:extLst>
              <c:ext xmlns:c16="http://schemas.microsoft.com/office/drawing/2014/chart" uri="{C3380CC4-5D6E-409C-BE32-E72D297353CC}">
                <c16:uniqueId val="{00000002-7027-4CC1-A135-12CFC0DAE894}"/>
              </c:ext>
            </c:extLst>
          </c:dPt>
          <c:dPt>
            <c:idx val="3"/>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3-7027-4CC1-A135-12CFC0DAE894}"/>
              </c:ext>
            </c:extLst>
          </c:dPt>
          <c:dPt>
            <c:idx val="4"/>
            <c:bubble3D val="0"/>
            <c:spPr>
              <a:pattFill prst="ltDnDiag">
                <a:fgClr>
                  <a:srgbClr val="000000"/>
                </a:fgClr>
                <a:bgClr>
                  <a:srgbClr val="FFFFFF"/>
                </a:bgClr>
              </a:pattFill>
              <a:ln w="9525" cmpd="sng" algn="ctr">
                <a:solidFill>
                  <a:schemeClr val="bg1"/>
                </a:solidFill>
                <a:prstDash val="solid"/>
              </a:ln>
            </c:spPr>
            <c:extLst>
              <c:ext xmlns:c16="http://schemas.microsoft.com/office/drawing/2014/chart" uri="{C3380CC4-5D6E-409C-BE32-E72D297353CC}">
                <c16:uniqueId val="{00000004-7027-4CC1-A135-12CFC0DAE894}"/>
              </c:ext>
            </c:extLst>
          </c:dPt>
          <c:val>
            <c:numRef>
              <c:f>Sheet1!$A$1:$A$5</c:f>
              <c:numCache>
                <c:formatCode>General</c:formatCode>
                <c:ptCount val="5"/>
                <c:pt idx="0">
                  <c:v>47.260000000000005</c:v>
                </c:pt>
                <c:pt idx="1">
                  <c:v>11.4</c:v>
                </c:pt>
                <c:pt idx="2">
                  <c:v>23.16</c:v>
                </c:pt>
                <c:pt idx="3">
                  <c:v>10.92</c:v>
                </c:pt>
                <c:pt idx="4">
                  <c:v>7.2700000000000005</c:v>
                </c:pt>
              </c:numCache>
            </c:numRef>
          </c:val>
          <c:extLst>
            <c:ext xmlns:c16="http://schemas.microsoft.com/office/drawing/2014/chart" uri="{C3380CC4-5D6E-409C-BE32-E72D297353CC}">
              <c16:uniqueId val="{00000005-7027-4CC1-A135-12CFC0DAE894}"/>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59368664929048E-2"/>
          <c:y val="2.2404136148211979E-2"/>
          <c:w val="0.96988126267014185"/>
          <c:h val="0.95519172770357608"/>
        </c:manualLayout>
      </c:layout>
      <c:barChart>
        <c:barDir val="col"/>
        <c:grouping val="stacked"/>
        <c:varyColors val="0"/>
        <c:ser>
          <c:idx val="0"/>
          <c:order val="0"/>
          <c:spPr>
            <a:solidFill>
              <a:schemeClr val="accent5"/>
            </a:solidFill>
            <a:ln w="9525" cmpd="sng" algn="ctr">
              <a:solidFill>
                <a:schemeClr val="bg1"/>
              </a:solidFill>
              <a:prstDash val="solid"/>
            </a:ln>
          </c:spPr>
          <c:invertIfNegative val="0"/>
          <c:val>
            <c:numRef>
              <c:f>Sheet1!$A$1:$B$1</c:f>
              <c:numCache>
                <c:formatCode>General</c:formatCode>
                <c:ptCount val="2"/>
                <c:pt idx="0">
                  <c:v>76.433121019108256</c:v>
                </c:pt>
                <c:pt idx="1">
                  <c:v>68.483063328424151</c:v>
                </c:pt>
              </c:numCache>
            </c:numRef>
          </c:val>
          <c:extLst>
            <c:ext xmlns:c16="http://schemas.microsoft.com/office/drawing/2014/chart" uri="{C3380CC4-5D6E-409C-BE32-E72D297353CC}">
              <c16:uniqueId val="{00000000-CE27-43D8-99C6-2F41A26007A5}"/>
            </c:ext>
          </c:extLst>
        </c:ser>
        <c:ser>
          <c:idx val="1"/>
          <c:order val="1"/>
          <c:spPr>
            <a:solidFill>
              <a:schemeClr val="accent1"/>
            </a:solidFill>
            <a:ln w="9525" cmpd="sng" algn="ctr">
              <a:solidFill>
                <a:schemeClr val="bg1"/>
              </a:solidFill>
              <a:prstDash val="solid"/>
            </a:ln>
          </c:spPr>
          <c:invertIfNegative val="0"/>
          <c:val>
            <c:numRef>
              <c:f>Sheet1!$A$2:$B$2</c:f>
              <c:numCache>
                <c:formatCode>General</c:formatCode>
                <c:ptCount val="2"/>
                <c:pt idx="0">
                  <c:v>7.0063694267515908</c:v>
                </c:pt>
                <c:pt idx="1">
                  <c:v>15.16936671575847</c:v>
                </c:pt>
              </c:numCache>
            </c:numRef>
          </c:val>
          <c:extLst>
            <c:ext xmlns:c16="http://schemas.microsoft.com/office/drawing/2014/chart" uri="{C3380CC4-5D6E-409C-BE32-E72D297353CC}">
              <c16:uniqueId val="{00000001-CE27-43D8-99C6-2F41A26007A5}"/>
            </c:ext>
          </c:extLst>
        </c:ser>
        <c:ser>
          <c:idx val="2"/>
          <c:order val="2"/>
          <c:spPr>
            <a:solidFill>
              <a:schemeClr val="accent2"/>
            </a:solidFill>
            <a:ln w="9525" cmpd="sng" algn="ctr">
              <a:solidFill>
                <a:schemeClr val="bg1"/>
              </a:solidFill>
              <a:prstDash val="solid"/>
            </a:ln>
          </c:spPr>
          <c:invertIfNegative val="0"/>
          <c:val>
            <c:numRef>
              <c:f>Sheet1!$A$3:$B$3</c:f>
              <c:numCache>
                <c:formatCode>General</c:formatCode>
                <c:ptCount val="2"/>
                <c:pt idx="0">
                  <c:v>8.2802547770700627</c:v>
                </c:pt>
                <c:pt idx="1">
                  <c:v>11.340206185567014</c:v>
                </c:pt>
              </c:numCache>
            </c:numRef>
          </c:val>
          <c:extLst>
            <c:ext xmlns:c16="http://schemas.microsoft.com/office/drawing/2014/chart" uri="{C3380CC4-5D6E-409C-BE32-E72D297353CC}">
              <c16:uniqueId val="{00000002-CE27-43D8-99C6-2F41A26007A5}"/>
            </c:ext>
          </c:extLst>
        </c:ser>
        <c:ser>
          <c:idx val="3"/>
          <c:order val="3"/>
          <c:spPr>
            <a:solidFill>
              <a:schemeClr val="accent3"/>
            </a:solidFill>
            <a:ln w="9525" cmpd="sng" algn="ctr">
              <a:solidFill>
                <a:schemeClr val="bg1"/>
              </a:solidFill>
              <a:prstDash val="solid"/>
            </a:ln>
          </c:spPr>
          <c:invertIfNegative val="0"/>
          <c:val>
            <c:numRef>
              <c:f>Sheet1!$A$4:$B$4</c:f>
              <c:numCache>
                <c:formatCode>General</c:formatCode>
                <c:ptCount val="2"/>
                <c:pt idx="0">
                  <c:v>8.2802547770700627</c:v>
                </c:pt>
                <c:pt idx="1">
                  <c:v>5.0073637702503611</c:v>
                </c:pt>
              </c:numCache>
            </c:numRef>
          </c:val>
          <c:extLst>
            <c:ext xmlns:c16="http://schemas.microsoft.com/office/drawing/2014/chart" uri="{C3380CC4-5D6E-409C-BE32-E72D297353CC}">
              <c16:uniqueId val="{00000003-CE27-43D8-99C6-2F41A26007A5}"/>
            </c:ext>
          </c:extLst>
        </c:ser>
        <c:dLbls>
          <c:showLegendKey val="0"/>
          <c:showVal val="0"/>
          <c:showCatName val="0"/>
          <c:showSerName val="0"/>
          <c:showPercent val="0"/>
          <c:showBubbleSize val="0"/>
        </c:dLbls>
        <c:gapWidth val="80"/>
        <c:overlap val="100"/>
        <c:axId val="1140673728"/>
        <c:axId val="1"/>
      </c:barChart>
      <c:catAx>
        <c:axId val="11406737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40673728"/>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656565656565663E-2"/>
          <c:y val="2.1621621621621623E-2"/>
          <c:w val="0.86868686868686873"/>
          <c:h val="0.95675675675675675"/>
        </c:manualLayout>
      </c:layout>
      <c:areaChart>
        <c:grouping val="stacked"/>
        <c:varyColors val="0"/>
        <c:ser>
          <c:idx val="0"/>
          <c:order val="0"/>
          <c:spPr>
            <a:solidFill>
              <a:schemeClr val="accent5"/>
            </a:solidFill>
            <a:ln>
              <a:noFill/>
            </a:ln>
          </c:spPr>
          <c:val>
            <c:numRef>
              <c:f>Sheet1!$A$1:$G$1</c:f>
              <c:numCache>
                <c:formatCode>General</c:formatCode>
                <c:ptCount val="7"/>
                <c:pt idx="0">
                  <c:v>1257.02</c:v>
                </c:pt>
                <c:pt idx="1">
                  <c:v>1156.51</c:v>
                </c:pt>
                <c:pt idx="2">
                  <c:v>1120.9299999999998</c:v>
                </c:pt>
                <c:pt idx="3">
                  <c:v>1085.3499999999999</c:v>
                </c:pt>
                <c:pt idx="4">
                  <c:v>1299.1439698801819</c:v>
                </c:pt>
                <c:pt idx="5">
                  <c:v>746</c:v>
                </c:pt>
                <c:pt idx="6">
                  <c:v>699.1</c:v>
                </c:pt>
              </c:numCache>
            </c:numRef>
          </c:val>
          <c:extLst>
            <c:ext xmlns:c16="http://schemas.microsoft.com/office/drawing/2014/chart" uri="{C3380CC4-5D6E-409C-BE32-E72D297353CC}">
              <c16:uniqueId val="{00000000-B9EE-482A-B4B1-95DAD20C2B3F}"/>
            </c:ext>
          </c:extLst>
        </c:ser>
        <c:ser>
          <c:idx val="1"/>
          <c:order val="1"/>
          <c:spPr>
            <a:solidFill>
              <a:srgbClr val="6F8DB9"/>
            </a:solidFill>
            <a:ln>
              <a:noFill/>
            </a:ln>
          </c:spPr>
          <c:val>
            <c:numRef>
              <c:f>Sheet1!$A$2:$G$2</c:f>
              <c:numCache>
                <c:formatCode>General</c:formatCode>
                <c:ptCount val="7"/>
              </c:numCache>
            </c:numRef>
          </c:val>
          <c:extLst>
            <c:ext xmlns:c16="http://schemas.microsoft.com/office/drawing/2014/chart" uri="{C3380CC4-5D6E-409C-BE32-E72D297353CC}">
              <c16:uniqueId val="{00000001-B9EE-482A-B4B1-95DAD20C2B3F}"/>
            </c:ext>
          </c:extLst>
        </c:ser>
        <c:ser>
          <c:idx val="2"/>
          <c:order val="2"/>
          <c:spPr>
            <a:solidFill>
              <a:srgbClr val="9DB1CF"/>
            </a:solidFill>
            <a:ln>
              <a:noFill/>
            </a:ln>
          </c:spPr>
          <c:val>
            <c:numRef>
              <c:f>Sheet1!$A$3:$G$3</c:f>
              <c:numCache>
                <c:formatCode>General</c:formatCode>
                <c:ptCount val="7"/>
              </c:numCache>
            </c:numRef>
          </c:val>
          <c:extLst>
            <c:ext xmlns:c16="http://schemas.microsoft.com/office/drawing/2014/chart" uri="{C3380CC4-5D6E-409C-BE32-E72D297353CC}">
              <c16:uniqueId val="{00000002-B9EE-482A-B4B1-95DAD20C2B3F}"/>
            </c:ext>
          </c:extLst>
        </c:ser>
        <c:ser>
          <c:idx val="3"/>
          <c:order val="3"/>
          <c:spPr>
            <a:solidFill>
              <a:srgbClr val="C3CFE1"/>
            </a:solidFill>
            <a:ln>
              <a:noFill/>
            </a:ln>
          </c:spPr>
          <c:val>
            <c:numRef>
              <c:f>Sheet1!$A$4:$G$4</c:f>
              <c:numCache>
                <c:formatCode>General</c:formatCode>
                <c:ptCount val="7"/>
              </c:numCache>
            </c:numRef>
          </c:val>
          <c:extLst>
            <c:ext xmlns:c16="http://schemas.microsoft.com/office/drawing/2014/chart" uri="{C3380CC4-5D6E-409C-BE32-E72D297353CC}">
              <c16:uniqueId val="{00000003-B9EE-482A-B4B1-95DAD20C2B3F}"/>
            </c:ext>
          </c:extLst>
        </c:ser>
        <c:ser>
          <c:idx val="4"/>
          <c:order val="4"/>
          <c:spPr>
            <a:solidFill>
              <a:schemeClr val="accent3"/>
            </a:solidFill>
            <a:ln>
              <a:noFill/>
            </a:ln>
          </c:spPr>
          <c:val>
            <c:numRef>
              <c:f>Sheet1!$A$5:$G$5</c:f>
              <c:numCache>
                <c:formatCode>General</c:formatCode>
                <c:ptCount val="7"/>
              </c:numCache>
            </c:numRef>
          </c:val>
          <c:extLst>
            <c:ext xmlns:c16="http://schemas.microsoft.com/office/drawing/2014/chart" uri="{C3380CC4-5D6E-409C-BE32-E72D297353CC}">
              <c16:uniqueId val="{00000004-B9EE-482A-B4B1-95DAD20C2B3F}"/>
            </c:ext>
          </c:extLst>
        </c:ser>
        <c:ser>
          <c:idx val="5"/>
          <c:order val="5"/>
          <c:spPr>
            <a:solidFill>
              <a:schemeClr val="accent2"/>
            </a:solidFill>
            <a:ln>
              <a:noFill/>
            </a:ln>
          </c:spPr>
          <c:val>
            <c:numRef>
              <c:f>Sheet1!$A$6:$G$6</c:f>
              <c:numCache>
                <c:formatCode>General</c:formatCode>
                <c:ptCount val="7"/>
              </c:numCache>
            </c:numRef>
          </c:val>
          <c:extLst>
            <c:ext xmlns:c16="http://schemas.microsoft.com/office/drawing/2014/chart" uri="{C3380CC4-5D6E-409C-BE32-E72D297353CC}">
              <c16:uniqueId val="{00000005-B9EE-482A-B4B1-95DAD20C2B3F}"/>
            </c:ext>
          </c:extLst>
        </c:ser>
        <c:ser>
          <c:idx val="6"/>
          <c:order val="6"/>
          <c:spPr>
            <a:solidFill>
              <a:schemeClr val="accent1"/>
            </a:solidFill>
            <a:ln>
              <a:noFill/>
            </a:ln>
          </c:spPr>
          <c:val>
            <c:numRef>
              <c:f>Sheet1!$A$7:$G$7</c:f>
              <c:numCache>
                <c:formatCode>General</c:formatCode>
                <c:ptCount val="7"/>
              </c:numCache>
            </c:numRef>
          </c:val>
          <c:extLst>
            <c:ext xmlns:c16="http://schemas.microsoft.com/office/drawing/2014/chart" uri="{C3380CC4-5D6E-409C-BE32-E72D297353CC}">
              <c16:uniqueId val="{00000006-B9EE-482A-B4B1-95DAD20C2B3F}"/>
            </c:ext>
          </c:extLst>
        </c:ser>
        <c:dLbls>
          <c:showLegendKey val="0"/>
          <c:showVal val="0"/>
          <c:showCatName val="0"/>
          <c:showSerName val="0"/>
          <c:showPercent val="0"/>
          <c:showBubbleSize val="0"/>
        </c:dLbls>
        <c:axId val="1919880831"/>
        <c:axId val="1"/>
      </c:areaChart>
      <c:catAx>
        <c:axId val="19198808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mn-ea"/>
                <a:cs typeface="+mn-cs"/>
                <a:sym typeface="+mn-lt"/>
              </a:defRPr>
            </a:pPr>
            <a:endParaRPr lang="en-US"/>
          </a:p>
        </c:txPr>
        <c:crossAx val="1919880831"/>
        <c:crosses val="min"/>
        <c:crossBetween val="midCat"/>
        <c:majorUnit val="100"/>
      </c:valAx>
    </c:plotArea>
    <c:plotVisOnly val="0"/>
    <c:dispBlanksAs val="zero"/>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16653322658127E-2"/>
          <c:y val="2.1621621621621623E-2"/>
          <c:w val="0.95836669335468372"/>
          <c:h val="0.95675675675675675"/>
        </c:manualLayout>
      </c:layout>
      <c:areaChart>
        <c:grouping val="stacked"/>
        <c:varyColors val="0"/>
        <c:ser>
          <c:idx val="0"/>
          <c:order val="0"/>
          <c:spPr>
            <a:solidFill>
              <a:srgbClr val="6F8DB9"/>
            </a:solidFill>
            <a:ln>
              <a:noFill/>
            </a:ln>
          </c:spPr>
          <c:val>
            <c:numRef>
              <c:f>Sheet1!$A$1:$AA$1</c:f>
              <c:numCache>
                <c:formatCode>General</c:formatCode>
                <c:ptCount val="27"/>
                <c:pt idx="0">
                  <c:v>317</c:v>
                </c:pt>
                <c:pt idx="1">
                  <c:v>282.60000000000002</c:v>
                </c:pt>
                <c:pt idx="2">
                  <c:v>256.5</c:v>
                </c:pt>
                <c:pt idx="3">
                  <c:v>234.9</c:v>
                </c:pt>
                <c:pt idx="4">
                  <c:v>223</c:v>
                </c:pt>
                <c:pt idx="5">
                  <c:v>212.2</c:v>
                </c:pt>
                <c:pt idx="6">
                  <c:v>203.9</c:v>
                </c:pt>
                <c:pt idx="7">
                  <c:v>198.2</c:v>
                </c:pt>
                <c:pt idx="8">
                  <c:v>193</c:v>
                </c:pt>
                <c:pt idx="9">
                  <c:v>188.2</c:v>
                </c:pt>
                <c:pt idx="10">
                  <c:v>183.9</c:v>
                </c:pt>
                <c:pt idx="11">
                  <c:v>179.8</c:v>
                </c:pt>
                <c:pt idx="12">
                  <c:v>177.2</c:v>
                </c:pt>
                <c:pt idx="13">
                  <c:v>174.7</c:v>
                </c:pt>
                <c:pt idx="14">
                  <c:v>172.4</c:v>
                </c:pt>
                <c:pt idx="15">
                  <c:v>170.2</c:v>
                </c:pt>
                <c:pt idx="16">
                  <c:v>168.2</c:v>
                </c:pt>
                <c:pt idx="17">
                  <c:v>166.6</c:v>
                </c:pt>
                <c:pt idx="18">
                  <c:v>165</c:v>
                </c:pt>
                <c:pt idx="19">
                  <c:v>163.6</c:v>
                </c:pt>
                <c:pt idx="20">
                  <c:v>162.19999999999999</c:v>
                </c:pt>
                <c:pt idx="21">
                  <c:v>160.9</c:v>
                </c:pt>
                <c:pt idx="22">
                  <c:v>159.4</c:v>
                </c:pt>
                <c:pt idx="23">
                  <c:v>158</c:v>
                </c:pt>
                <c:pt idx="24">
                  <c:v>156.6</c:v>
                </c:pt>
                <c:pt idx="25">
                  <c:v>155.30000000000001</c:v>
                </c:pt>
                <c:pt idx="26">
                  <c:v>154.1</c:v>
                </c:pt>
              </c:numCache>
            </c:numRef>
          </c:val>
          <c:extLst>
            <c:ext xmlns:c16="http://schemas.microsoft.com/office/drawing/2014/chart" uri="{C3380CC4-5D6E-409C-BE32-E72D297353CC}">
              <c16:uniqueId val="{00000000-244D-4BD9-B304-DF88F9399616}"/>
            </c:ext>
          </c:extLst>
        </c:ser>
        <c:ser>
          <c:idx val="1"/>
          <c:order val="1"/>
          <c:spPr>
            <a:solidFill>
              <a:srgbClr val="9DB1CF"/>
            </a:solidFill>
            <a:ln>
              <a:noFill/>
            </a:ln>
          </c:spPr>
          <c:val>
            <c:numRef>
              <c:f>Sheet1!$A$2:$AA$2</c:f>
              <c:numCache>
                <c:formatCode>General</c:formatCode>
                <c:ptCount val="27"/>
                <c:pt idx="0">
                  <c:v>61.300000000000011</c:v>
                </c:pt>
                <c:pt idx="1">
                  <c:v>59.199999999999989</c:v>
                </c:pt>
                <c:pt idx="2">
                  <c:v>57.300000000000011</c:v>
                </c:pt>
                <c:pt idx="3">
                  <c:v>55.599999999999994</c:v>
                </c:pt>
                <c:pt idx="4">
                  <c:v>54</c:v>
                </c:pt>
                <c:pt idx="5">
                  <c:v>52.5</c:v>
                </c:pt>
                <c:pt idx="6">
                  <c:v>51.200000000000017</c:v>
                </c:pt>
                <c:pt idx="7">
                  <c:v>49.900000000000006</c:v>
                </c:pt>
                <c:pt idx="8">
                  <c:v>48.699999999999989</c:v>
                </c:pt>
                <c:pt idx="9">
                  <c:v>47.599999999999994</c:v>
                </c:pt>
                <c:pt idx="10">
                  <c:v>46.5</c:v>
                </c:pt>
                <c:pt idx="11">
                  <c:v>45.599999999999994</c:v>
                </c:pt>
                <c:pt idx="12">
                  <c:v>44.900000000000006</c:v>
                </c:pt>
                <c:pt idx="13">
                  <c:v>44.400000000000006</c:v>
                </c:pt>
                <c:pt idx="14">
                  <c:v>43.799999999999983</c:v>
                </c:pt>
                <c:pt idx="15">
                  <c:v>43.300000000000011</c:v>
                </c:pt>
                <c:pt idx="16">
                  <c:v>42.800000000000011</c:v>
                </c:pt>
                <c:pt idx="17">
                  <c:v>42.5</c:v>
                </c:pt>
                <c:pt idx="18">
                  <c:v>42.099999999999994</c:v>
                </c:pt>
                <c:pt idx="19">
                  <c:v>41.700000000000017</c:v>
                </c:pt>
                <c:pt idx="20">
                  <c:v>41.400000000000006</c:v>
                </c:pt>
                <c:pt idx="21">
                  <c:v>41.099999999999994</c:v>
                </c:pt>
                <c:pt idx="22">
                  <c:v>40.799999999999983</c:v>
                </c:pt>
                <c:pt idx="23">
                  <c:v>40.400000000000006</c:v>
                </c:pt>
                <c:pt idx="24">
                  <c:v>40.099999999999994</c:v>
                </c:pt>
                <c:pt idx="25">
                  <c:v>39.800000000000011</c:v>
                </c:pt>
                <c:pt idx="26">
                  <c:v>39.400000000000006</c:v>
                </c:pt>
              </c:numCache>
            </c:numRef>
          </c:val>
          <c:extLst>
            <c:ext xmlns:c16="http://schemas.microsoft.com/office/drawing/2014/chart" uri="{C3380CC4-5D6E-409C-BE32-E72D297353CC}">
              <c16:uniqueId val="{00000001-244D-4BD9-B304-DF88F9399616}"/>
            </c:ext>
          </c:extLst>
        </c:ser>
        <c:ser>
          <c:idx val="2"/>
          <c:order val="2"/>
          <c:spPr>
            <a:solidFill>
              <a:srgbClr val="C3CFE1"/>
            </a:solidFill>
            <a:ln>
              <a:noFill/>
            </a:ln>
          </c:spPr>
          <c:val>
            <c:numRef>
              <c:f>Sheet1!$A$3:$AA$3</c:f>
              <c:numCache>
                <c:formatCode>General</c:formatCode>
                <c:ptCount val="27"/>
                <c:pt idx="0">
                  <c:v>69.699999999999989</c:v>
                </c:pt>
                <c:pt idx="1">
                  <c:v>68.800000000000011</c:v>
                </c:pt>
                <c:pt idx="2">
                  <c:v>67.900000000000034</c:v>
                </c:pt>
                <c:pt idx="3">
                  <c:v>67</c:v>
                </c:pt>
                <c:pt idx="4">
                  <c:v>66.100000000000023</c:v>
                </c:pt>
                <c:pt idx="5">
                  <c:v>65.300000000000011</c:v>
                </c:pt>
                <c:pt idx="6">
                  <c:v>64.600000000000023</c:v>
                </c:pt>
                <c:pt idx="7">
                  <c:v>63.799999999999983</c:v>
                </c:pt>
                <c:pt idx="8">
                  <c:v>63</c:v>
                </c:pt>
                <c:pt idx="9">
                  <c:v>62.299999999999983</c:v>
                </c:pt>
                <c:pt idx="10">
                  <c:v>61.700000000000017</c:v>
                </c:pt>
                <c:pt idx="11">
                  <c:v>61.099999999999994</c:v>
                </c:pt>
                <c:pt idx="12">
                  <c:v>60.700000000000017</c:v>
                </c:pt>
                <c:pt idx="13">
                  <c:v>60.299999999999983</c:v>
                </c:pt>
                <c:pt idx="14">
                  <c:v>59.899999999999977</c:v>
                </c:pt>
                <c:pt idx="15">
                  <c:v>59.600000000000023</c:v>
                </c:pt>
                <c:pt idx="16">
                  <c:v>59.300000000000011</c:v>
                </c:pt>
                <c:pt idx="17">
                  <c:v>59.000000000000028</c:v>
                </c:pt>
                <c:pt idx="18">
                  <c:v>58.799999999999983</c:v>
                </c:pt>
                <c:pt idx="19">
                  <c:v>58.600000000000023</c:v>
                </c:pt>
                <c:pt idx="20">
                  <c:v>58.299999999999983</c:v>
                </c:pt>
                <c:pt idx="21">
                  <c:v>58.100000000000023</c:v>
                </c:pt>
                <c:pt idx="22">
                  <c:v>57.899999999999977</c:v>
                </c:pt>
                <c:pt idx="23">
                  <c:v>57.700000000000017</c:v>
                </c:pt>
                <c:pt idx="24">
                  <c:v>57.400000000000006</c:v>
                </c:pt>
                <c:pt idx="25">
                  <c:v>57.199999999999989</c:v>
                </c:pt>
                <c:pt idx="26">
                  <c:v>57</c:v>
                </c:pt>
              </c:numCache>
            </c:numRef>
          </c:val>
          <c:extLst>
            <c:ext xmlns:c16="http://schemas.microsoft.com/office/drawing/2014/chart" uri="{C3380CC4-5D6E-409C-BE32-E72D297353CC}">
              <c16:uniqueId val="{00000002-244D-4BD9-B304-DF88F9399616}"/>
            </c:ext>
          </c:extLst>
        </c:ser>
        <c:ser>
          <c:idx val="3"/>
          <c:order val="3"/>
          <c:spPr>
            <a:solidFill>
              <a:schemeClr val="accent3"/>
            </a:solidFill>
            <a:ln>
              <a:noFill/>
            </a:ln>
          </c:spPr>
          <c:val>
            <c:numRef>
              <c:f>Sheet1!$A$4:$AA$4</c:f>
              <c:numCache>
                <c:formatCode>General</c:formatCode>
                <c:ptCount val="27"/>
                <c:pt idx="0">
                  <c:v>82.600000000000023</c:v>
                </c:pt>
                <c:pt idx="1">
                  <c:v>81.600000000000023</c:v>
                </c:pt>
                <c:pt idx="2">
                  <c:v>80.800000000000011</c:v>
                </c:pt>
                <c:pt idx="3">
                  <c:v>80.100000000000023</c:v>
                </c:pt>
                <c:pt idx="4">
                  <c:v>79.399999999999977</c:v>
                </c:pt>
                <c:pt idx="5">
                  <c:v>78.800000000000011</c:v>
                </c:pt>
                <c:pt idx="6">
                  <c:v>78.300000000000011</c:v>
                </c:pt>
                <c:pt idx="7">
                  <c:v>77.800000000000011</c:v>
                </c:pt>
                <c:pt idx="8">
                  <c:v>77.300000000000011</c:v>
                </c:pt>
                <c:pt idx="9">
                  <c:v>76.900000000000034</c:v>
                </c:pt>
                <c:pt idx="10">
                  <c:v>76.399999999999977</c:v>
                </c:pt>
                <c:pt idx="11">
                  <c:v>76</c:v>
                </c:pt>
                <c:pt idx="12">
                  <c:v>75.800000000000011</c:v>
                </c:pt>
                <c:pt idx="13">
                  <c:v>75.5</c:v>
                </c:pt>
                <c:pt idx="14">
                  <c:v>75.300000000000011</c:v>
                </c:pt>
                <c:pt idx="15">
                  <c:v>75.100000000000023</c:v>
                </c:pt>
                <c:pt idx="16">
                  <c:v>74.900000000000034</c:v>
                </c:pt>
                <c:pt idx="17">
                  <c:v>74.699999999999989</c:v>
                </c:pt>
                <c:pt idx="18">
                  <c:v>74.5</c:v>
                </c:pt>
                <c:pt idx="19">
                  <c:v>74.400000000000034</c:v>
                </c:pt>
                <c:pt idx="20">
                  <c:v>74.199999999999989</c:v>
                </c:pt>
                <c:pt idx="21">
                  <c:v>74.100000000000023</c:v>
                </c:pt>
                <c:pt idx="22">
                  <c:v>73.900000000000034</c:v>
                </c:pt>
                <c:pt idx="23">
                  <c:v>73.800000000000011</c:v>
                </c:pt>
                <c:pt idx="24">
                  <c:v>73.599999999999994</c:v>
                </c:pt>
                <c:pt idx="25">
                  <c:v>73.5</c:v>
                </c:pt>
                <c:pt idx="26">
                  <c:v>73.300000000000011</c:v>
                </c:pt>
              </c:numCache>
            </c:numRef>
          </c:val>
          <c:extLst>
            <c:ext xmlns:c16="http://schemas.microsoft.com/office/drawing/2014/chart" uri="{C3380CC4-5D6E-409C-BE32-E72D297353CC}">
              <c16:uniqueId val="{00000003-244D-4BD9-B304-DF88F9399616}"/>
            </c:ext>
          </c:extLst>
        </c:ser>
        <c:ser>
          <c:idx val="4"/>
          <c:order val="4"/>
          <c:spPr>
            <a:solidFill>
              <a:schemeClr val="accent2"/>
            </a:solidFill>
            <a:ln>
              <a:noFill/>
            </a:ln>
          </c:spPr>
          <c:val>
            <c:numRef>
              <c:f>Sheet1!$A$5:$AA$5</c:f>
              <c:numCache>
                <c:formatCode>General</c:formatCode>
                <c:ptCount val="27"/>
                <c:pt idx="0">
                  <c:v>83.899999999999977</c:v>
                </c:pt>
                <c:pt idx="1">
                  <c:v>83.899999999999977</c:v>
                </c:pt>
                <c:pt idx="2">
                  <c:v>83.900000000000034</c:v>
                </c:pt>
                <c:pt idx="3">
                  <c:v>83.899999999999977</c:v>
                </c:pt>
                <c:pt idx="4">
                  <c:v>83.899999999999977</c:v>
                </c:pt>
                <c:pt idx="5">
                  <c:v>83.900000000000034</c:v>
                </c:pt>
                <c:pt idx="6">
                  <c:v>83.900000000000034</c:v>
                </c:pt>
                <c:pt idx="7">
                  <c:v>83.900000000000034</c:v>
                </c:pt>
                <c:pt idx="8">
                  <c:v>83.899999999999977</c:v>
                </c:pt>
                <c:pt idx="9">
                  <c:v>83.899999999999977</c:v>
                </c:pt>
                <c:pt idx="10">
                  <c:v>83.899999999999977</c:v>
                </c:pt>
                <c:pt idx="11">
                  <c:v>83.899999999999977</c:v>
                </c:pt>
                <c:pt idx="12">
                  <c:v>83.899999999999977</c:v>
                </c:pt>
                <c:pt idx="13">
                  <c:v>83.899999999999977</c:v>
                </c:pt>
                <c:pt idx="14">
                  <c:v>83.899999999999977</c:v>
                </c:pt>
                <c:pt idx="15">
                  <c:v>83.899999999999977</c:v>
                </c:pt>
                <c:pt idx="16">
                  <c:v>83.899999999999977</c:v>
                </c:pt>
                <c:pt idx="17">
                  <c:v>83.900000000000034</c:v>
                </c:pt>
                <c:pt idx="18">
                  <c:v>83.899999999999977</c:v>
                </c:pt>
                <c:pt idx="19">
                  <c:v>83.899999999999977</c:v>
                </c:pt>
                <c:pt idx="20">
                  <c:v>83.900000000000034</c:v>
                </c:pt>
                <c:pt idx="21">
                  <c:v>83.899999999999977</c:v>
                </c:pt>
                <c:pt idx="22">
                  <c:v>83.899999999999977</c:v>
                </c:pt>
                <c:pt idx="23">
                  <c:v>83.900000000000034</c:v>
                </c:pt>
                <c:pt idx="24">
                  <c:v>83.900000000000034</c:v>
                </c:pt>
                <c:pt idx="25">
                  <c:v>83.900000000000034</c:v>
                </c:pt>
                <c:pt idx="26">
                  <c:v>83.900000000000034</c:v>
                </c:pt>
              </c:numCache>
            </c:numRef>
          </c:val>
          <c:extLst>
            <c:ext xmlns:c16="http://schemas.microsoft.com/office/drawing/2014/chart" uri="{C3380CC4-5D6E-409C-BE32-E72D297353CC}">
              <c16:uniqueId val="{00000004-244D-4BD9-B304-DF88F9399616}"/>
            </c:ext>
          </c:extLst>
        </c:ser>
        <c:ser>
          <c:idx val="5"/>
          <c:order val="5"/>
          <c:spPr>
            <a:solidFill>
              <a:schemeClr val="accent1"/>
            </a:solidFill>
            <a:ln>
              <a:noFill/>
            </a:ln>
          </c:spPr>
          <c:val>
            <c:numRef>
              <c:f>Sheet1!$A$6:$AA$6</c:f>
              <c:numCache>
                <c:formatCode>General</c:formatCode>
                <c:ptCount val="27"/>
                <c:pt idx="0">
                  <c:v>84.600000000000023</c:v>
                </c:pt>
                <c:pt idx="1">
                  <c:v>83.799999999999955</c:v>
                </c:pt>
                <c:pt idx="2">
                  <c:v>83.100000000000023</c:v>
                </c:pt>
                <c:pt idx="3">
                  <c:v>82.399999999999977</c:v>
                </c:pt>
                <c:pt idx="4">
                  <c:v>81.799999999999955</c:v>
                </c:pt>
                <c:pt idx="5">
                  <c:v>81.299999999999955</c:v>
                </c:pt>
                <c:pt idx="6">
                  <c:v>80.799999999999955</c:v>
                </c:pt>
                <c:pt idx="7">
                  <c:v>80.299999999999955</c:v>
                </c:pt>
                <c:pt idx="8">
                  <c:v>79.799999999999955</c:v>
                </c:pt>
                <c:pt idx="9">
                  <c:v>79.399999999999977</c:v>
                </c:pt>
                <c:pt idx="10">
                  <c:v>79</c:v>
                </c:pt>
                <c:pt idx="11">
                  <c:v>78.600000000000023</c:v>
                </c:pt>
                <c:pt idx="12">
                  <c:v>78.399999999999977</c:v>
                </c:pt>
                <c:pt idx="13">
                  <c:v>78.100000000000023</c:v>
                </c:pt>
                <c:pt idx="14">
                  <c:v>77.899999999999977</c:v>
                </c:pt>
                <c:pt idx="15">
                  <c:v>77.699999999999989</c:v>
                </c:pt>
                <c:pt idx="16">
                  <c:v>77.5</c:v>
                </c:pt>
                <c:pt idx="17">
                  <c:v>77.300000000000011</c:v>
                </c:pt>
                <c:pt idx="18">
                  <c:v>77.199999999999989</c:v>
                </c:pt>
                <c:pt idx="19">
                  <c:v>77</c:v>
                </c:pt>
                <c:pt idx="20">
                  <c:v>76.899999999999977</c:v>
                </c:pt>
                <c:pt idx="21">
                  <c:v>76.800000000000011</c:v>
                </c:pt>
                <c:pt idx="22">
                  <c:v>76.600000000000023</c:v>
                </c:pt>
                <c:pt idx="23">
                  <c:v>76.399999999999977</c:v>
                </c:pt>
                <c:pt idx="24">
                  <c:v>76.300000000000011</c:v>
                </c:pt>
                <c:pt idx="25">
                  <c:v>76.199999999999989</c:v>
                </c:pt>
                <c:pt idx="26">
                  <c:v>76</c:v>
                </c:pt>
              </c:numCache>
            </c:numRef>
          </c:val>
          <c:extLst>
            <c:ext xmlns:c16="http://schemas.microsoft.com/office/drawing/2014/chart" uri="{C3380CC4-5D6E-409C-BE32-E72D297353CC}">
              <c16:uniqueId val="{00000005-244D-4BD9-B304-DF88F9399616}"/>
            </c:ext>
          </c:extLst>
        </c:ser>
        <c:dLbls>
          <c:showLegendKey val="0"/>
          <c:showVal val="0"/>
          <c:showCatName val="0"/>
          <c:showSerName val="0"/>
          <c:showPercent val="0"/>
          <c:showBubbleSize val="0"/>
        </c:dLbls>
        <c:axId val="1919876031"/>
        <c:axId val="1"/>
      </c:areaChart>
      <c:catAx>
        <c:axId val="19198760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0"/>
        <c:axPos val="l"/>
        <c:majorGridlines>
          <c:spPr>
            <a:ln>
              <a:noFill/>
            </a:ln>
          </c:spPr>
        </c:majorGridlines>
        <c:numFmt formatCode="General" sourceLinked="1"/>
        <c:majorTickMark val="none"/>
        <c:minorTickMark val="none"/>
        <c:tickLblPos val="none"/>
        <c:spPr>
          <a:ln>
            <a:noFill/>
          </a:ln>
        </c:spPr>
        <c:crossAx val="1919876031"/>
        <c:crosses val="min"/>
        <c:crossBetween val="midCat"/>
      </c:valAx>
    </c:plotArea>
    <c:plotVisOnly val="0"/>
    <c:dispBlanksAs val="zero"/>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66746602717829E-2"/>
          <c:y val="3.8319823139277821E-2"/>
          <c:w val="0.91686650679456438"/>
          <c:h val="0.92336035372144432"/>
        </c:manualLayout>
      </c:layout>
      <c:barChart>
        <c:barDir val="bar"/>
        <c:grouping val="stacked"/>
        <c:varyColors val="0"/>
        <c:ser>
          <c:idx val="0"/>
          <c:order val="0"/>
          <c:spPr>
            <a:solidFill>
              <a:srgbClr val="A6964E"/>
            </a:solidFill>
            <a:ln>
              <a:noFill/>
            </a:ln>
          </c:spPr>
          <c:invertIfNegative val="0"/>
          <c:val>
            <c:numRef>
              <c:f>Sheet1!$A$1:$E$1</c:f>
              <c:numCache>
                <c:formatCode>General</c:formatCode>
                <c:ptCount val="5"/>
                <c:pt idx="0">
                  <c:v>8.2899999999999991</c:v>
                </c:pt>
                <c:pt idx="1">
                  <c:v>7.54</c:v>
                </c:pt>
                <c:pt idx="2">
                  <c:v>7.28</c:v>
                </c:pt>
                <c:pt idx="3">
                  <c:v>7.14</c:v>
                </c:pt>
                <c:pt idx="4">
                  <c:v>6.92</c:v>
                </c:pt>
              </c:numCache>
            </c:numRef>
          </c:val>
          <c:extLst>
            <c:ext xmlns:c16="http://schemas.microsoft.com/office/drawing/2014/chart" uri="{C3380CC4-5D6E-409C-BE32-E72D297353CC}">
              <c16:uniqueId val="{00000000-511A-40DE-8C73-69D8C2527D3C}"/>
            </c:ext>
          </c:extLst>
        </c:ser>
        <c:dLbls>
          <c:showLegendKey val="0"/>
          <c:showVal val="0"/>
          <c:showCatName val="0"/>
          <c:showSerName val="0"/>
          <c:showPercent val="0"/>
          <c:showBubbleSize val="0"/>
        </c:dLbls>
        <c:gapWidth val="80"/>
        <c:overlap val="100"/>
        <c:axId val="1681480464"/>
        <c:axId val="1"/>
      </c:barChart>
      <c:catAx>
        <c:axId val="168148046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168148046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08961817608078E-2"/>
          <c:y val="2.2193768672641914E-2"/>
          <c:w val="0.96718207636478382"/>
          <c:h val="0.95561246265471622"/>
        </c:manualLayout>
      </c:layout>
      <c:barChart>
        <c:barDir val="col"/>
        <c:grouping val="stacked"/>
        <c:varyColors val="0"/>
        <c:ser>
          <c:idx val="0"/>
          <c:order val="0"/>
          <c:spPr>
            <a:solidFill>
              <a:srgbClr val="6F8DB9"/>
            </a:solidFill>
            <a:ln w="9525" cmpd="sng" algn="ctr">
              <a:solidFill>
                <a:schemeClr val="bg1"/>
              </a:solidFill>
              <a:prstDash val="solid"/>
            </a:ln>
          </c:spPr>
          <c:invertIfNegative val="0"/>
          <c:val>
            <c:numRef>
              <c:f>Sheet1!$A$1:$C$1</c:f>
              <c:numCache>
                <c:formatCode>General</c:formatCode>
                <c:ptCount val="3"/>
                <c:pt idx="0">
                  <c:v>-60.7</c:v>
                </c:pt>
                <c:pt idx="1">
                  <c:v>-113.1</c:v>
                </c:pt>
                <c:pt idx="2">
                  <c:v>-217.4</c:v>
                </c:pt>
              </c:numCache>
            </c:numRef>
          </c:val>
          <c:extLst>
            <c:ext xmlns:c16="http://schemas.microsoft.com/office/drawing/2014/chart" uri="{C3380CC4-5D6E-409C-BE32-E72D297353CC}">
              <c16:uniqueId val="{00000000-5342-4FDF-BCC0-CF96C353CE65}"/>
            </c:ext>
          </c:extLst>
        </c:ser>
        <c:ser>
          <c:idx val="1"/>
          <c:order val="1"/>
          <c:spPr>
            <a:solidFill>
              <a:srgbClr val="9DB1CF"/>
            </a:solidFill>
            <a:ln w="9525" cmpd="sng" algn="ctr">
              <a:solidFill>
                <a:schemeClr val="bg1"/>
              </a:solidFill>
              <a:prstDash val="solid"/>
            </a:ln>
          </c:spPr>
          <c:invertIfNegative val="0"/>
          <c:val>
            <c:numRef>
              <c:f>Sheet1!$A$2:$C$2</c:f>
              <c:numCache>
                <c:formatCode>General</c:formatCode>
                <c:ptCount val="3"/>
                <c:pt idx="0">
                  <c:v>-10.099999999999994</c:v>
                </c:pt>
                <c:pt idx="1">
                  <c:v>-10.099999999999994</c:v>
                </c:pt>
                <c:pt idx="2">
                  <c:v>-11.400000000000006</c:v>
                </c:pt>
              </c:numCache>
            </c:numRef>
          </c:val>
          <c:extLst>
            <c:ext xmlns:c16="http://schemas.microsoft.com/office/drawing/2014/chart" uri="{C3380CC4-5D6E-409C-BE32-E72D297353CC}">
              <c16:uniqueId val="{00000001-5342-4FDF-BCC0-CF96C353CE65}"/>
            </c:ext>
          </c:extLst>
        </c:ser>
        <c:ser>
          <c:idx val="2"/>
          <c:order val="2"/>
          <c:spPr>
            <a:solidFill>
              <a:srgbClr val="C3CFE1"/>
            </a:solidFill>
            <a:ln w="9525" cmpd="sng" algn="ctr">
              <a:solidFill>
                <a:schemeClr val="bg1"/>
              </a:solidFill>
              <a:prstDash val="solid"/>
            </a:ln>
          </c:spPr>
          <c:invertIfNegative val="0"/>
          <c:val>
            <c:numRef>
              <c:f>Sheet1!$A$3:$C$3</c:f>
              <c:numCache>
                <c:formatCode>General</c:formatCode>
                <c:ptCount val="3"/>
                <c:pt idx="0">
                  <c:v>-3</c:v>
                </c:pt>
                <c:pt idx="1">
                  <c:v>-5.1999999999999886</c:v>
                </c:pt>
                <c:pt idx="2">
                  <c:v>-9.9000000000000057</c:v>
                </c:pt>
              </c:numCache>
            </c:numRef>
          </c:val>
          <c:extLst>
            <c:ext xmlns:c16="http://schemas.microsoft.com/office/drawing/2014/chart" uri="{C3380CC4-5D6E-409C-BE32-E72D297353CC}">
              <c16:uniqueId val="{00000002-5342-4FDF-BCC0-CF96C353CE65}"/>
            </c:ext>
          </c:extLst>
        </c:ser>
        <c:ser>
          <c:idx val="3"/>
          <c:order val="3"/>
          <c:spPr>
            <a:solidFill>
              <a:schemeClr val="accent2"/>
            </a:solidFill>
            <a:ln w="9525" cmpd="sng" algn="ctr">
              <a:solidFill>
                <a:schemeClr val="bg1"/>
              </a:solidFill>
              <a:prstDash val="solid"/>
            </a:ln>
          </c:spPr>
          <c:invertIfNegative val="0"/>
          <c:val>
            <c:numRef>
              <c:f>Sheet1!$A$4:$C$4</c:f>
              <c:numCache>
                <c:formatCode>General</c:formatCode>
                <c:ptCount val="3"/>
                <c:pt idx="0">
                  <c:v>-2.2999999999999972</c:v>
                </c:pt>
                <c:pt idx="1">
                  <c:v>-3.8000000000000114</c:v>
                </c:pt>
                <c:pt idx="2">
                  <c:v>-6.4000000000000057</c:v>
                </c:pt>
              </c:numCache>
            </c:numRef>
          </c:val>
          <c:extLst>
            <c:ext xmlns:c16="http://schemas.microsoft.com/office/drawing/2014/chart" uri="{C3380CC4-5D6E-409C-BE32-E72D297353CC}">
              <c16:uniqueId val="{00000003-5342-4FDF-BCC0-CF96C353CE65}"/>
            </c:ext>
          </c:extLst>
        </c:ser>
        <c:ser>
          <c:idx val="4"/>
          <c:order val="4"/>
          <c:spPr>
            <a:solidFill>
              <a:schemeClr val="accent2"/>
            </a:solidFill>
            <a:ln w="9525" cmpd="sng" algn="ctr">
              <a:solidFill>
                <a:schemeClr val="bg1"/>
              </a:solidFill>
              <a:prstDash val="solid"/>
            </a:ln>
          </c:spPr>
          <c:invertIfNegative val="0"/>
          <c:val>
            <c:numRef>
              <c:f>Sheet1!$A$5:$C$5</c:f>
              <c:numCache>
                <c:formatCode>General</c:formatCode>
                <c:ptCount val="3"/>
                <c:pt idx="0">
                  <c:v>0</c:v>
                </c:pt>
                <c:pt idx="1">
                  <c:v>0</c:v>
                </c:pt>
                <c:pt idx="2">
                  <c:v>0</c:v>
                </c:pt>
              </c:numCache>
            </c:numRef>
          </c:val>
          <c:extLst>
            <c:ext xmlns:c16="http://schemas.microsoft.com/office/drawing/2014/chart" uri="{C3380CC4-5D6E-409C-BE32-E72D297353CC}">
              <c16:uniqueId val="{00000004-5342-4FDF-BCC0-CF96C353CE65}"/>
            </c:ext>
          </c:extLst>
        </c:ser>
        <c:ser>
          <c:idx val="5"/>
          <c:order val="5"/>
          <c:spPr>
            <a:solidFill>
              <a:schemeClr val="accent2"/>
            </a:solidFill>
            <a:ln w="9525" cmpd="sng" algn="ctr">
              <a:solidFill>
                <a:schemeClr val="bg1"/>
              </a:solidFill>
              <a:prstDash val="solid"/>
            </a:ln>
          </c:spPr>
          <c:invertIfNegative val="0"/>
          <c:val>
            <c:numRef>
              <c:f>Sheet1!$A$6:$C$6</c:f>
              <c:numCache>
                <c:formatCode>General</c:formatCode>
                <c:ptCount val="3"/>
                <c:pt idx="0">
                  <c:v>-3.4000000000000057</c:v>
                </c:pt>
                <c:pt idx="1">
                  <c:v>-4.3000000000000114</c:v>
                </c:pt>
                <c:pt idx="2">
                  <c:v>-5.9000000000000057</c:v>
                </c:pt>
              </c:numCache>
            </c:numRef>
          </c:val>
          <c:extLst>
            <c:ext xmlns:c16="http://schemas.microsoft.com/office/drawing/2014/chart" uri="{C3380CC4-5D6E-409C-BE32-E72D297353CC}">
              <c16:uniqueId val="{00000005-5342-4FDF-BCC0-CF96C353CE65}"/>
            </c:ext>
          </c:extLst>
        </c:ser>
        <c:dLbls>
          <c:showLegendKey val="0"/>
          <c:showVal val="0"/>
          <c:showCatName val="0"/>
          <c:showSerName val="0"/>
          <c:showPercent val="0"/>
          <c:showBubbleSize val="0"/>
        </c:dLbls>
        <c:gapWidth val="80"/>
        <c:overlap val="100"/>
        <c:axId val="1919848671"/>
        <c:axId val="1"/>
      </c:barChart>
      <c:catAx>
        <c:axId val="19198486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50"/>
          <c:min val="-251.00000000000003"/>
        </c:scaling>
        <c:delete val="1"/>
        <c:axPos val="l"/>
        <c:numFmt formatCode="General" sourceLinked="1"/>
        <c:majorTickMark val="out"/>
        <c:minorTickMark val="none"/>
        <c:tickLblPos val="nextTo"/>
        <c:crossAx val="1919848671"/>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28092042186004E-2"/>
          <c:y val="2.4253731343283583E-2"/>
          <c:w val="0.95014381591562802"/>
          <c:h val="0.95149253731343286"/>
        </c:manualLayout>
      </c:layout>
      <c:barChart>
        <c:barDir val="col"/>
        <c:grouping val="stacked"/>
        <c:varyColors val="0"/>
        <c:ser>
          <c:idx val="0"/>
          <c:order val="0"/>
          <c:spPr>
            <a:solidFill>
              <a:srgbClr val="6F8DB9"/>
            </a:solidFill>
            <a:ln w="9525" cmpd="sng" algn="ctr">
              <a:solidFill>
                <a:schemeClr val="bg1"/>
              </a:solidFill>
              <a:prstDash val="solid"/>
            </a:ln>
          </c:spPr>
          <c:invertIfNegative val="0"/>
          <c:val>
            <c:numRef>
              <c:f>Sheet1!$A$1:$E$1</c:f>
              <c:numCache>
                <c:formatCode>General</c:formatCode>
                <c:ptCount val="5"/>
                <c:pt idx="0">
                  <c:v>192.3</c:v>
                </c:pt>
                <c:pt idx="1">
                  <c:v>151.69999999999999</c:v>
                </c:pt>
                <c:pt idx="2">
                  <c:v>109.4</c:v>
                </c:pt>
                <c:pt idx="3">
                  <c:v>90.3</c:v>
                </c:pt>
                <c:pt idx="4">
                  <c:v>82.7</c:v>
                </c:pt>
              </c:numCache>
            </c:numRef>
          </c:val>
          <c:extLst>
            <c:ext xmlns:c16="http://schemas.microsoft.com/office/drawing/2014/chart" uri="{C3380CC4-5D6E-409C-BE32-E72D297353CC}">
              <c16:uniqueId val="{00000000-3CC9-456E-B6D5-9E3E20771325}"/>
            </c:ext>
          </c:extLst>
        </c:ser>
        <c:ser>
          <c:idx val="1"/>
          <c:order val="1"/>
          <c:spPr>
            <a:solidFill>
              <a:srgbClr val="9DB1CF"/>
            </a:solidFill>
            <a:ln w="9525" cmpd="sng" algn="ctr">
              <a:solidFill>
                <a:schemeClr val="bg1"/>
              </a:solidFill>
              <a:prstDash val="solid"/>
            </a:ln>
          </c:spPr>
          <c:invertIfNegative val="0"/>
          <c:val>
            <c:numRef>
              <c:f>Sheet1!$A$2:$E$2</c:f>
              <c:numCache>
                <c:formatCode>General</c:formatCode>
                <c:ptCount val="5"/>
                <c:pt idx="0">
                  <c:v>63.800000000000011</c:v>
                </c:pt>
                <c:pt idx="1">
                  <c:v>59.199999999999989</c:v>
                </c:pt>
                <c:pt idx="2">
                  <c:v>51.200000000000017</c:v>
                </c:pt>
                <c:pt idx="3">
                  <c:v>42.8</c:v>
                </c:pt>
                <c:pt idx="4">
                  <c:v>39.399999999999991</c:v>
                </c:pt>
              </c:numCache>
            </c:numRef>
          </c:val>
          <c:extLst>
            <c:ext xmlns:c16="http://schemas.microsoft.com/office/drawing/2014/chart" uri="{C3380CC4-5D6E-409C-BE32-E72D297353CC}">
              <c16:uniqueId val="{00000001-3CC9-456E-B6D5-9E3E20771325}"/>
            </c:ext>
          </c:extLst>
        </c:ser>
        <c:ser>
          <c:idx val="2"/>
          <c:order val="2"/>
          <c:spPr>
            <a:solidFill>
              <a:srgbClr val="C3CFE1"/>
            </a:solidFill>
            <a:ln w="9525" cmpd="sng" algn="ctr">
              <a:solidFill>
                <a:schemeClr val="bg1"/>
              </a:solidFill>
              <a:prstDash val="solid"/>
            </a:ln>
          </c:spPr>
          <c:invertIfNegative val="0"/>
          <c:val>
            <c:numRef>
              <c:f>Sheet1!$A$3:$E$3</c:f>
              <c:numCache>
                <c:formatCode>General</c:formatCode>
                <c:ptCount val="5"/>
                <c:pt idx="0">
                  <c:v>41.100000000000023</c:v>
                </c:pt>
                <c:pt idx="1">
                  <c:v>39.900000000000006</c:v>
                </c:pt>
                <c:pt idx="2">
                  <c:v>37.5</c:v>
                </c:pt>
                <c:pt idx="3">
                  <c:v>34.400000000000006</c:v>
                </c:pt>
                <c:pt idx="4">
                  <c:v>33.099999999999994</c:v>
                </c:pt>
              </c:numCache>
            </c:numRef>
          </c:val>
          <c:extLst>
            <c:ext xmlns:c16="http://schemas.microsoft.com/office/drawing/2014/chart" uri="{C3380CC4-5D6E-409C-BE32-E72D297353CC}">
              <c16:uniqueId val="{00000002-3CC9-456E-B6D5-9E3E20771325}"/>
            </c:ext>
          </c:extLst>
        </c:ser>
        <c:ser>
          <c:idx val="3"/>
          <c:order val="3"/>
          <c:spPr>
            <a:solidFill>
              <a:srgbClr val="FFD966"/>
            </a:solidFill>
            <a:ln w="9525" cmpd="sng" algn="ctr">
              <a:solidFill>
                <a:schemeClr val="bg1"/>
              </a:solidFill>
              <a:prstDash val="solid"/>
            </a:ln>
          </c:spPr>
          <c:invertIfNegative val="0"/>
          <c:val>
            <c:numRef>
              <c:f>Sheet1!$A$4:$E$4</c:f>
              <c:numCache>
                <c:formatCode>General</c:formatCode>
                <c:ptCount val="5"/>
                <c:pt idx="0">
                  <c:v>51.100000000000023</c:v>
                </c:pt>
                <c:pt idx="1">
                  <c:v>50.099999999999994</c:v>
                </c:pt>
                <c:pt idx="2">
                  <c:v>48.300000000000011</c:v>
                </c:pt>
                <c:pt idx="3">
                  <c:v>46.300000000000011</c:v>
                </c:pt>
                <c:pt idx="4">
                  <c:v>45.5</c:v>
                </c:pt>
              </c:numCache>
            </c:numRef>
          </c:val>
          <c:extLst>
            <c:ext xmlns:c16="http://schemas.microsoft.com/office/drawing/2014/chart" uri="{C3380CC4-5D6E-409C-BE32-E72D297353CC}">
              <c16:uniqueId val="{00000003-3CC9-456E-B6D5-9E3E20771325}"/>
            </c:ext>
          </c:extLst>
        </c:ser>
        <c:ser>
          <c:idx val="4"/>
          <c:order val="4"/>
          <c:spPr>
            <a:solidFill>
              <a:schemeClr val="accent2"/>
            </a:solidFill>
            <a:ln w="9525" cmpd="sng" algn="ctr">
              <a:solidFill>
                <a:schemeClr val="bg1"/>
              </a:solidFill>
              <a:prstDash val="solid"/>
            </a:ln>
          </c:spPr>
          <c:invertIfNegative val="0"/>
          <c:val>
            <c:numRef>
              <c:f>Sheet1!$A$5:$E$5</c:f>
              <c:numCache>
                <c:formatCode>General</c:formatCode>
                <c:ptCount val="5"/>
                <c:pt idx="0">
                  <c:v>83.899999999999977</c:v>
                </c:pt>
                <c:pt idx="1">
                  <c:v>83.899999999999977</c:v>
                </c:pt>
                <c:pt idx="2">
                  <c:v>83.900000000000034</c:v>
                </c:pt>
                <c:pt idx="3">
                  <c:v>83.900000000000034</c:v>
                </c:pt>
                <c:pt idx="4">
                  <c:v>83.900000000000034</c:v>
                </c:pt>
              </c:numCache>
            </c:numRef>
          </c:val>
          <c:extLst>
            <c:ext xmlns:c16="http://schemas.microsoft.com/office/drawing/2014/chart" uri="{C3380CC4-5D6E-409C-BE32-E72D297353CC}">
              <c16:uniqueId val="{00000004-3CC9-456E-B6D5-9E3E20771325}"/>
            </c:ext>
          </c:extLst>
        </c:ser>
        <c:ser>
          <c:idx val="5"/>
          <c:order val="5"/>
          <c:spPr>
            <a:solidFill>
              <a:schemeClr val="accent1"/>
            </a:solidFill>
            <a:ln w="9525" cmpd="sng" algn="ctr">
              <a:solidFill>
                <a:schemeClr val="bg1"/>
              </a:solidFill>
              <a:prstDash val="solid"/>
            </a:ln>
          </c:spPr>
          <c:invertIfNegative val="0"/>
          <c:val>
            <c:numRef>
              <c:f>Sheet1!$A$6:$E$6</c:f>
              <c:numCache>
                <c:formatCode>General</c:formatCode>
                <c:ptCount val="5"/>
                <c:pt idx="0">
                  <c:v>65.800000000000011</c:v>
                </c:pt>
                <c:pt idx="1">
                  <c:v>64.199999999999989</c:v>
                </c:pt>
                <c:pt idx="2">
                  <c:v>61.600000000000023</c:v>
                </c:pt>
                <c:pt idx="3">
                  <c:v>58.800000000000011</c:v>
                </c:pt>
                <c:pt idx="4">
                  <c:v>57.600000000000023</c:v>
                </c:pt>
              </c:numCache>
            </c:numRef>
          </c:val>
          <c:extLst>
            <c:ext xmlns:c16="http://schemas.microsoft.com/office/drawing/2014/chart" uri="{C3380CC4-5D6E-409C-BE32-E72D297353CC}">
              <c16:uniqueId val="{00000005-3CC9-456E-B6D5-9E3E20771325}"/>
            </c:ext>
          </c:extLst>
        </c:ser>
        <c:dLbls>
          <c:showLegendKey val="0"/>
          <c:showVal val="0"/>
          <c:showCatName val="0"/>
          <c:showSerName val="0"/>
          <c:showPercent val="0"/>
          <c:showBubbleSize val="0"/>
        </c:dLbls>
        <c:gapWidth val="80"/>
        <c:overlap val="100"/>
        <c:axId val="1404423647"/>
        <c:axId val="1"/>
      </c:barChart>
      <c:catAx>
        <c:axId val="14044236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
          <c:min val="0"/>
        </c:scaling>
        <c:delete val="0"/>
        <c:axPos val="l"/>
        <c:majorGridlines>
          <c:spPr>
            <a:ln w="3175" cmpd="sng" algn="ctr">
              <a:solidFill>
                <a:schemeClr val="accent6"/>
              </a:solidFill>
              <a:prstDash val="solid"/>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404423647"/>
        <c:crosses val="min"/>
        <c:crossBetween val="between"/>
        <c:majorUnit val="20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29411764705882E-2"/>
          <c:y val="2.4253731343283583E-2"/>
          <c:w val="0.95294117647058818"/>
          <c:h val="0.95149253731343286"/>
        </c:manualLayout>
      </c:layout>
      <c:barChart>
        <c:barDir val="col"/>
        <c:grouping val="stacked"/>
        <c:varyColors val="0"/>
        <c:ser>
          <c:idx val="0"/>
          <c:order val="0"/>
          <c:spPr>
            <a:solidFill>
              <a:srgbClr val="6F8DB9"/>
            </a:solidFill>
            <a:ln w="9525" cmpd="sng" algn="ctr">
              <a:solidFill>
                <a:schemeClr val="bg1"/>
              </a:solidFill>
              <a:prstDash val="solid"/>
            </a:ln>
          </c:spPr>
          <c:invertIfNegative val="0"/>
          <c:val>
            <c:numRef>
              <c:f>Sheet1!$A$1:$E$1</c:f>
              <c:numCache>
                <c:formatCode>General</c:formatCode>
                <c:ptCount val="5"/>
                <c:pt idx="0">
                  <c:v>358.2</c:v>
                </c:pt>
                <c:pt idx="1">
                  <c:v>282.60000000000002</c:v>
                </c:pt>
                <c:pt idx="2">
                  <c:v>203.9</c:v>
                </c:pt>
                <c:pt idx="3">
                  <c:v>168.2</c:v>
                </c:pt>
                <c:pt idx="4">
                  <c:v>154.1</c:v>
                </c:pt>
              </c:numCache>
            </c:numRef>
          </c:val>
          <c:extLst>
            <c:ext xmlns:c16="http://schemas.microsoft.com/office/drawing/2014/chart" uri="{C3380CC4-5D6E-409C-BE32-E72D297353CC}">
              <c16:uniqueId val="{00000000-04F8-4BEA-82A9-750FA51C67B2}"/>
            </c:ext>
          </c:extLst>
        </c:ser>
        <c:ser>
          <c:idx val="1"/>
          <c:order val="1"/>
          <c:spPr>
            <a:solidFill>
              <a:srgbClr val="9DB1CF"/>
            </a:solidFill>
            <a:ln w="9525" cmpd="sng" algn="ctr">
              <a:solidFill>
                <a:schemeClr val="bg1"/>
              </a:solidFill>
              <a:prstDash val="solid"/>
            </a:ln>
          </c:spPr>
          <c:invertIfNegative val="0"/>
          <c:val>
            <c:numRef>
              <c:f>Sheet1!$A$2:$E$2</c:f>
              <c:numCache>
                <c:formatCode>General</c:formatCode>
                <c:ptCount val="5"/>
                <c:pt idx="0">
                  <c:v>63.800000000000011</c:v>
                </c:pt>
                <c:pt idx="1">
                  <c:v>59.199999999999989</c:v>
                </c:pt>
                <c:pt idx="2">
                  <c:v>51.200000000000017</c:v>
                </c:pt>
                <c:pt idx="3">
                  <c:v>42.800000000000011</c:v>
                </c:pt>
                <c:pt idx="4">
                  <c:v>39.400000000000006</c:v>
                </c:pt>
              </c:numCache>
            </c:numRef>
          </c:val>
          <c:extLst>
            <c:ext xmlns:c16="http://schemas.microsoft.com/office/drawing/2014/chart" uri="{C3380CC4-5D6E-409C-BE32-E72D297353CC}">
              <c16:uniqueId val="{00000001-04F8-4BEA-82A9-750FA51C67B2}"/>
            </c:ext>
          </c:extLst>
        </c:ser>
        <c:ser>
          <c:idx val="2"/>
          <c:order val="2"/>
          <c:spPr>
            <a:solidFill>
              <a:srgbClr val="C3CFE1"/>
            </a:solidFill>
            <a:ln w="9525" cmpd="sng" algn="ctr">
              <a:solidFill>
                <a:schemeClr val="bg1"/>
              </a:solidFill>
              <a:prstDash val="solid"/>
            </a:ln>
          </c:spPr>
          <c:invertIfNegative val="0"/>
          <c:val>
            <c:numRef>
              <c:f>Sheet1!$A$3:$E$3</c:f>
              <c:numCache>
                <c:formatCode>General</c:formatCode>
                <c:ptCount val="5"/>
                <c:pt idx="0">
                  <c:v>70.899999999999977</c:v>
                </c:pt>
                <c:pt idx="1">
                  <c:v>68.800000000000011</c:v>
                </c:pt>
                <c:pt idx="2">
                  <c:v>64.600000000000023</c:v>
                </c:pt>
                <c:pt idx="3">
                  <c:v>59.300000000000011</c:v>
                </c:pt>
                <c:pt idx="4">
                  <c:v>57</c:v>
                </c:pt>
              </c:numCache>
            </c:numRef>
          </c:val>
          <c:extLst>
            <c:ext xmlns:c16="http://schemas.microsoft.com/office/drawing/2014/chart" uri="{C3380CC4-5D6E-409C-BE32-E72D297353CC}">
              <c16:uniqueId val="{00000002-04F8-4BEA-82A9-750FA51C67B2}"/>
            </c:ext>
          </c:extLst>
        </c:ser>
        <c:ser>
          <c:idx val="3"/>
          <c:order val="3"/>
          <c:spPr>
            <a:solidFill>
              <a:srgbClr val="FFD966"/>
            </a:solidFill>
            <a:ln w="9525" cmpd="sng" algn="ctr">
              <a:solidFill>
                <a:schemeClr val="bg1"/>
              </a:solidFill>
              <a:prstDash val="solid"/>
            </a:ln>
          </c:spPr>
          <c:invertIfNegative val="0"/>
          <c:val>
            <c:numRef>
              <c:f>Sheet1!$A$4:$E$4</c:f>
              <c:numCache>
                <c:formatCode>General</c:formatCode>
                <c:ptCount val="5"/>
                <c:pt idx="0">
                  <c:v>85.5</c:v>
                </c:pt>
                <c:pt idx="1">
                  <c:v>83.800000000000011</c:v>
                </c:pt>
                <c:pt idx="2">
                  <c:v>80.800000000000011</c:v>
                </c:pt>
                <c:pt idx="3">
                  <c:v>77.5</c:v>
                </c:pt>
                <c:pt idx="4">
                  <c:v>76</c:v>
                </c:pt>
              </c:numCache>
            </c:numRef>
          </c:val>
          <c:extLst>
            <c:ext xmlns:c16="http://schemas.microsoft.com/office/drawing/2014/chart" uri="{C3380CC4-5D6E-409C-BE32-E72D297353CC}">
              <c16:uniqueId val="{00000003-04F8-4BEA-82A9-750FA51C67B2}"/>
            </c:ext>
          </c:extLst>
        </c:ser>
        <c:ser>
          <c:idx val="4"/>
          <c:order val="4"/>
          <c:spPr>
            <a:solidFill>
              <a:schemeClr val="accent2"/>
            </a:solidFill>
            <a:ln w="9525" cmpd="sng" algn="ctr">
              <a:solidFill>
                <a:schemeClr val="bg1"/>
              </a:solidFill>
              <a:prstDash val="solid"/>
            </a:ln>
          </c:spPr>
          <c:invertIfNegative val="0"/>
          <c:val>
            <c:numRef>
              <c:f>Sheet1!$A$5:$E$5</c:f>
              <c:numCache>
                <c:formatCode>General</c:formatCode>
                <c:ptCount val="5"/>
                <c:pt idx="0">
                  <c:v>83.899999999999977</c:v>
                </c:pt>
                <c:pt idx="1">
                  <c:v>83.900000000000034</c:v>
                </c:pt>
                <c:pt idx="2">
                  <c:v>83.900000000000034</c:v>
                </c:pt>
                <c:pt idx="3">
                  <c:v>83.900000000000034</c:v>
                </c:pt>
                <c:pt idx="4">
                  <c:v>83.899999999999977</c:v>
                </c:pt>
              </c:numCache>
            </c:numRef>
          </c:val>
          <c:extLst>
            <c:ext xmlns:c16="http://schemas.microsoft.com/office/drawing/2014/chart" uri="{C3380CC4-5D6E-409C-BE32-E72D297353CC}">
              <c16:uniqueId val="{00000004-04F8-4BEA-82A9-750FA51C67B2}"/>
            </c:ext>
          </c:extLst>
        </c:ser>
        <c:ser>
          <c:idx val="5"/>
          <c:order val="5"/>
          <c:spPr>
            <a:solidFill>
              <a:schemeClr val="accent1"/>
            </a:solidFill>
            <a:ln w="9525" cmpd="sng" algn="ctr">
              <a:solidFill>
                <a:schemeClr val="bg1"/>
              </a:solidFill>
              <a:prstDash val="solid"/>
            </a:ln>
          </c:spPr>
          <c:invertIfNegative val="0"/>
          <c:val>
            <c:numRef>
              <c:f>Sheet1!$A$6:$E$6</c:f>
              <c:numCache>
                <c:formatCode>General</c:formatCode>
                <c:ptCount val="5"/>
                <c:pt idx="0">
                  <c:v>83.700000000000045</c:v>
                </c:pt>
                <c:pt idx="1">
                  <c:v>81.600000000000023</c:v>
                </c:pt>
                <c:pt idx="2">
                  <c:v>78.299999999999955</c:v>
                </c:pt>
                <c:pt idx="3">
                  <c:v>74.899999999999977</c:v>
                </c:pt>
                <c:pt idx="4">
                  <c:v>73.300000000000011</c:v>
                </c:pt>
              </c:numCache>
            </c:numRef>
          </c:val>
          <c:extLst>
            <c:ext xmlns:c16="http://schemas.microsoft.com/office/drawing/2014/chart" uri="{C3380CC4-5D6E-409C-BE32-E72D297353CC}">
              <c16:uniqueId val="{00000005-04F8-4BEA-82A9-750FA51C67B2}"/>
            </c:ext>
          </c:extLst>
        </c:ser>
        <c:dLbls>
          <c:showLegendKey val="0"/>
          <c:showVal val="0"/>
          <c:showCatName val="0"/>
          <c:showSerName val="0"/>
          <c:showPercent val="0"/>
          <c:showBubbleSize val="0"/>
        </c:dLbls>
        <c:gapWidth val="80"/>
        <c:overlap val="100"/>
        <c:axId val="167687616"/>
        <c:axId val="1"/>
      </c:barChart>
      <c:catAx>
        <c:axId val="167687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
          <c:min val="0"/>
        </c:scaling>
        <c:delete val="0"/>
        <c:axPos val="l"/>
        <c:majorGridlines>
          <c:spPr>
            <a:ln w="3175" cmpd="sng" algn="ctr">
              <a:solidFill>
                <a:schemeClr val="accent6"/>
              </a:solidFill>
              <a:prstDash val="solid"/>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67687616"/>
        <c:crosses val="min"/>
        <c:crossBetween val="between"/>
        <c:majorUnit val="20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29411764705882E-2"/>
          <c:y val="2.4253731343283583E-2"/>
          <c:w val="0.95294117647058818"/>
          <c:h val="0.95149253731343286"/>
        </c:manualLayout>
      </c:layout>
      <c:barChart>
        <c:barDir val="col"/>
        <c:grouping val="stacked"/>
        <c:varyColors val="0"/>
        <c:ser>
          <c:idx val="0"/>
          <c:order val="0"/>
          <c:spPr>
            <a:solidFill>
              <a:srgbClr val="6F8DB9"/>
            </a:solidFill>
            <a:ln w="9525" cmpd="sng" algn="ctr">
              <a:solidFill>
                <a:schemeClr val="bg1"/>
              </a:solidFill>
              <a:prstDash val="solid"/>
            </a:ln>
          </c:spPr>
          <c:invertIfNegative val="0"/>
          <c:val>
            <c:numRef>
              <c:f>Sheet1!$A$1:$E$1</c:f>
              <c:numCache>
                <c:formatCode>General</c:formatCode>
                <c:ptCount val="5"/>
                <c:pt idx="0">
                  <c:v>655.4</c:v>
                </c:pt>
                <c:pt idx="1">
                  <c:v>517.1</c:v>
                </c:pt>
                <c:pt idx="2">
                  <c:v>373</c:v>
                </c:pt>
                <c:pt idx="3">
                  <c:v>307.7</c:v>
                </c:pt>
                <c:pt idx="4">
                  <c:v>281.89999999999998</c:v>
                </c:pt>
              </c:numCache>
            </c:numRef>
          </c:val>
          <c:extLst>
            <c:ext xmlns:c16="http://schemas.microsoft.com/office/drawing/2014/chart" uri="{C3380CC4-5D6E-409C-BE32-E72D297353CC}">
              <c16:uniqueId val="{00000000-F2E7-48C6-BC75-D95399C00A14}"/>
            </c:ext>
          </c:extLst>
        </c:ser>
        <c:ser>
          <c:idx val="1"/>
          <c:order val="1"/>
          <c:spPr>
            <a:solidFill>
              <a:srgbClr val="9DB1CF"/>
            </a:solidFill>
            <a:ln w="9525" cmpd="sng" algn="ctr">
              <a:solidFill>
                <a:schemeClr val="bg1"/>
              </a:solidFill>
              <a:prstDash val="solid"/>
            </a:ln>
          </c:spPr>
          <c:invertIfNegative val="0"/>
          <c:val>
            <c:numRef>
              <c:f>Sheet1!$A$2:$E$2</c:f>
              <c:numCache>
                <c:formatCode>General</c:formatCode>
                <c:ptCount val="5"/>
                <c:pt idx="0">
                  <c:v>63.799999999999955</c:v>
                </c:pt>
                <c:pt idx="1">
                  <c:v>59.200000000000045</c:v>
                </c:pt>
                <c:pt idx="2">
                  <c:v>51.199999999999989</c:v>
                </c:pt>
                <c:pt idx="3">
                  <c:v>42.800000000000011</c:v>
                </c:pt>
                <c:pt idx="4">
                  <c:v>39.399999999999977</c:v>
                </c:pt>
              </c:numCache>
            </c:numRef>
          </c:val>
          <c:extLst>
            <c:ext xmlns:c16="http://schemas.microsoft.com/office/drawing/2014/chart" uri="{C3380CC4-5D6E-409C-BE32-E72D297353CC}">
              <c16:uniqueId val="{00000001-F2E7-48C6-BC75-D95399C00A14}"/>
            </c:ext>
          </c:extLst>
        </c:ser>
        <c:ser>
          <c:idx val="2"/>
          <c:order val="2"/>
          <c:spPr>
            <a:solidFill>
              <a:srgbClr val="C3CFE1"/>
            </a:solidFill>
            <a:ln w="9525" cmpd="sng" algn="ctr">
              <a:solidFill>
                <a:schemeClr val="bg1"/>
              </a:solidFill>
              <a:prstDash val="solid"/>
            </a:ln>
          </c:spPr>
          <c:invertIfNegative val="0"/>
          <c:val>
            <c:numRef>
              <c:f>Sheet1!$A$3:$E$3</c:f>
              <c:numCache>
                <c:formatCode>General</c:formatCode>
                <c:ptCount val="5"/>
                <c:pt idx="0">
                  <c:v>116.89999999999998</c:v>
                </c:pt>
                <c:pt idx="1">
                  <c:v>113.39999999999998</c:v>
                </c:pt>
                <c:pt idx="2">
                  <c:v>106.50000000000006</c:v>
                </c:pt>
                <c:pt idx="3">
                  <c:v>97.800000000000011</c:v>
                </c:pt>
                <c:pt idx="4">
                  <c:v>94</c:v>
                </c:pt>
              </c:numCache>
            </c:numRef>
          </c:val>
          <c:extLst>
            <c:ext xmlns:c16="http://schemas.microsoft.com/office/drawing/2014/chart" uri="{C3380CC4-5D6E-409C-BE32-E72D297353CC}">
              <c16:uniqueId val="{00000002-F2E7-48C6-BC75-D95399C00A14}"/>
            </c:ext>
          </c:extLst>
        </c:ser>
        <c:ser>
          <c:idx val="3"/>
          <c:order val="3"/>
          <c:spPr>
            <a:solidFill>
              <a:srgbClr val="FFD966"/>
            </a:solidFill>
            <a:ln w="9525" cmpd="sng" algn="ctr">
              <a:solidFill>
                <a:schemeClr val="bg1"/>
              </a:solidFill>
              <a:prstDash val="solid"/>
            </a:ln>
          </c:spPr>
          <c:invertIfNegative val="0"/>
          <c:val>
            <c:numRef>
              <c:f>Sheet1!$A$4:$E$4</c:f>
              <c:numCache>
                <c:formatCode>General</c:formatCode>
                <c:ptCount val="5"/>
                <c:pt idx="0">
                  <c:v>126</c:v>
                </c:pt>
                <c:pt idx="1">
                  <c:v>123.5</c:v>
                </c:pt>
                <c:pt idx="2">
                  <c:v>119</c:v>
                </c:pt>
                <c:pt idx="3">
                  <c:v>114.19999999999999</c:v>
                </c:pt>
                <c:pt idx="4">
                  <c:v>112</c:v>
                </c:pt>
              </c:numCache>
            </c:numRef>
          </c:val>
          <c:extLst>
            <c:ext xmlns:c16="http://schemas.microsoft.com/office/drawing/2014/chart" uri="{C3380CC4-5D6E-409C-BE32-E72D297353CC}">
              <c16:uniqueId val="{00000003-F2E7-48C6-BC75-D95399C00A14}"/>
            </c:ext>
          </c:extLst>
        </c:ser>
        <c:ser>
          <c:idx val="4"/>
          <c:order val="4"/>
          <c:spPr>
            <a:solidFill>
              <a:schemeClr val="accent2"/>
            </a:solidFill>
            <a:ln w="9525" cmpd="sng" algn="ctr">
              <a:solidFill>
                <a:schemeClr val="bg1"/>
              </a:solidFill>
              <a:prstDash val="solid"/>
            </a:ln>
          </c:spPr>
          <c:invertIfNegative val="0"/>
          <c:val>
            <c:numRef>
              <c:f>Sheet1!$A$5:$E$5</c:f>
              <c:numCache>
                <c:formatCode>General</c:formatCode>
                <c:ptCount val="5"/>
                <c:pt idx="0">
                  <c:v>83.900000000000091</c:v>
                </c:pt>
                <c:pt idx="1">
                  <c:v>83.899999999999977</c:v>
                </c:pt>
                <c:pt idx="2">
                  <c:v>83.899999999999977</c:v>
                </c:pt>
                <c:pt idx="3">
                  <c:v>83.899999999999977</c:v>
                </c:pt>
                <c:pt idx="4">
                  <c:v>83.899999999999977</c:v>
                </c:pt>
              </c:numCache>
            </c:numRef>
          </c:val>
          <c:extLst>
            <c:ext xmlns:c16="http://schemas.microsoft.com/office/drawing/2014/chart" uri="{C3380CC4-5D6E-409C-BE32-E72D297353CC}">
              <c16:uniqueId val="{00000004-F2E7-48C6-BC75-D95399C00A14}"/>
            </c:ext>
          </c:extLst>
        </c:ser>
        <c:ser>
          <c:idx val="5"/>
          <c:order val="5"/>
          <c:spPr>
            <a:solidFill>
              <a:schemeClr val="accent1"/>
            </a:solidFill>
            <a:ln w="9525" cmpd="sng" algn="ctr">
              <a:solidFill>
                <a:schemeClr val="bg1"/>
              </a:solidFill>
              <a:prstDash val="solid"/>
            </a:ln>
          </c:spPr>
          <c:invertIfNegative val="0"/>
          <c:val>
            <c:numRef>
              <c:f>Sheet1!$A$6:$E$6</c:f>
              <c:numCache>
                <c:formatCode>General</c:formatCode>
                <c:ptCount val="5"/>
                <c:pt idx="0">
                  <c:v>102.90000000000009</c:v>
                </c:pt>
                <c:pt idx="1">
                  <c:v>100.29999999999995</c:v>
                </c:pt>
                <c:pt idx="2">
                  <c:v>96.200000000000045</c:v>
                </c:pt>
                <c:pt idx="3">
                  <c:v>91.899999999999977</c:v>
                </c:pt>
                <c:pt idx="4">
                  <c:v>90.100000000000023</c:v>
                </c:pt>
              </c:numCache>
            </c:numRef>
          </c:val>
          <c:extLst>
            <c:ext xmlns:c16="http://schemas.microsoft.com/office/drawing/2014/chart" uri="{C3380CC4-5D6E-409C-BE32-E72D297353CC}">
              <c16:uniqueId val="{00000005-F2E7-48C6-BC75-D95399C00A14}"/>
            </c:ext>
          </c:extLst>
        </c:ser>
        <c:dLbls>
          <c:showLegendKey val="0"/>
          <c:showVal val="0"/>
          <c:showCatName val="0"/>
          <c:showSerName val="0"/>
          <c:showPercent val="0"/>
          <c:showBubbleSize val="0"/>
        </c:dLbls>
        <c:gapWidth val="80"/>
        <c:overlap val="100"/>
        <c:axId val="1896385647"/>
        <c:axId val="1"/>
      </c:barChart>
      <c:catAx>
        <c:axId val="18963856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
          <c:min val="0"/>
        </c:scaling>
        <c:delete val="0"/>
        <c:axPos val="l"/>
        <c:majorGridlines>
          <c:spPr>
            <a:ln w="3175" cmpd="sng" algn="ctr">
              <a:solidFill>
                <a:schemeClr val="accent6"/>
              </a:solidFill>
              <a:prstDash val="solid"/>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896385647"/>
        <c:crosses val="min"/>
        <c:crossBetween val="between"/>
        <c:majorUnit val="20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086780210867802E-2"/>
          <c:y val="2.1320213202132021E-2"/>
          <c:w val="0.95782643957826441"/>
          <c:h val="0.95735957359573598"/>
        </c:manualLayout>
      </c:layout>
      <c:barChart>
        <c:barDir val="col"/>
        <c:grouping val="stacked"/>
        <c:varyColors val="0"/>
        <c:ser>
          <c:idx val="0"/>
          <c:order val="0"/>
          <c:spPr>
            <a:solidFill>
              <a:srgbClr val="3C3C3B"/>
            </a:solidFill>
            <a:ln>
              <a:noFill/>
            </a:ln>
          </c:spPr>
          <c:invertIfNegative val="0"/>
          <c:val>
            <c:numRef>
              <c:f>Sheet1!$A$1:$D$1</c:f>
              <c:numCache>
                <c:formatCode>General</c:formatCode>
                <c:ptCount val="4"/>
                <c:pt idx="0">
                  <c:v>5.3801965749719152</c:v>
                </c:pt>
                <c:pt idx="1">
                  <c:v>7.2407174474644584</c:v>
                </c:pt>
                <c:pt idx="2">
                  <c:v>9.4354097246425361</c:v>
                </c:pt>
                <c:pt idx="3">
                  <c:v>10.572318860691022</c:v>
                </c:pt>
              </c:numCache>
            </c:numRef>
          </c:val>
          <c:extLst>
            <c:ext xmlns:c16="http://schemas.microsoft.com/office/drawing/2014/chart" uri="{C3380CC4-5D6E-409C-BE32-E72D297353CC}">
              <c16:uniqueId val="{00000000-95BF-4D94-BF59-D17A83B070A0}"/>
            </c:ext>
          </c:extLst>
        </c:ser>
        <c:ser>
          <c:idx val="1"/>
          <c:order val="1"/>
          <c:spPr>
            <a:solidFill>
              <a:srgbClr val="5A5A5A"/>
            </a:solidFill>
            <a:ln>
              <a:noFill/>
            </a:ln>
          </c:spPr>
          <c:invertIfNegative val="0"/>
          <c:val>
            <c:numRef>
              <c:f>Sheet1!$A$2:$D$2</c:f>
              <c:numCache>
                <c:formatCode>General</c:formatCode>
                <c:ptCount val="4"/>
                <c:pt idx="0">
                  <c:v>4.9476650196098468</c:v>
                </c:pt>
                <c:pt idx="1">
                  <c:v>4.9949210325109945</c:v>
                </c:pt>
                <c:pt idx="2">
                  <c:v>5.0618235464435557</c:v>
                </c:pt>
                <c:pt idx="3">
                  <c:v>5.1348414300971559</c:v>
                </c:pt>
              </c:numCache>
            </c:numRef>
          </c:val>
          <c:extLst>
            <c:ext xmlns:c16="http://schemas.microsoft.com/office/drawing/2014/chart" uri="{C3380CC4-5D6E-409C-BE32-E72D297353CC}">
              <c16:uniqueId val="{00000001-95BF-4D94-BF59-D17A83B070A0}"/>
            </c:ext>
          </c:extLst>
        </c:ser>
        <c:ser>
          <c:idx val="2"/>
          <c:order val="2"/>
          <c:spPr>
            <a:solidFill>
              <a:srgbClr val="C0C0C0"/>
            </a:solidFill>
            <a:ln>
              <a:noFill/>
            </a:ln>
          </c:spPr>
          <c:invertIfNegative val="0"/>
          <c:val>
            <c:numRef>
              <c:f>Sheet1!$A$3:$D$3</c:f>
              <c:numCache>
                <c:formatCode>General</c:formatCode>
                <c:ptCount val="4"/>
                <c:pt idx="0">
                  <c:v>3.7467812505559479</c:v>
                </c:pt>
                <c:pt idx="1">
                  <c:v>5.2972631322627883</c:v>
                </c:pt>
                <c:pt idx="2">
                  <c:v>7.7101393634205841</c:v>
                </c:pt>
                <c:pt idx="3">
                  <c:v>11.439637833650945</c:v>
                </c:pt>
              </c:numCache>
            </c:numRef>
          </c:val>
          <c:extLst>
            <c:ext xmlns:c16="http://schemas.microsoft.com/office/drawing/2014/chart" uri="{C3380CC4-5D6E-409C-BE32-E72D297353CC}">
              <c16:uniqueId val="{00000002-95BF-4D94-BF59-D17A83B070A0}"/>
            </c:ext>
          </c:extLst>
        </c:ser>
        <c:ser>
          <c:idx val="3"/>
          <c:order val="3"/>
          <c:spPr>
            <a:solidFill>
              <a:schemeClr val="accent3"/>
            </a:solidFill>
            <a:ln>
              <a:noFill/>
            </a:ln>
          </c:spPr>
          <c:invertIfNegative val="0"/>
          <c:val>
            <c:numRef>
              <c:f>Sheet1!$A$4:$D$4</c:f>
              <c:numCache>
                <c:formatCode>General</c:formatCode>
                <c:ptCount val="4"/>
                <c:pt idx="0">
                  <c:v>0.94725520681307174</c:v>
                </c:pt>
                <c:pt idx="1">
                  <c:v>1.3502272850306092</c:v>
                </c:pt>
                <c:pt idx="2">
                  <c:v>2.1914366240630017</c:v>
                </c:pt>
                <c:pt idx="3">
                  <c:v>3.661209765868211</c:v>
                </c:pt>
              </c:numCache>
            </c:numRef>
          </c:val>
          <c:extLst>
            <c:ext xmlns:c16="http://schemas.microsoft.com/office/drawing/2014/chart" uri="{C3380CC4-5D6E-409C-BE32-E72D297353CC}">
              <c16:uniqueId val="{00000003-95BF-4D94-BF59-D17A83B070A0}"/>
            </c:ext>
          </c:extLst>
        </c:ser>
        <c:ser>
          <c:idx val="4"/>
          <c:order val="4"/>
          <c:spPr>
            <a:solidFill>
              <a:schemeClr val="accent2"/>
            </a:solidFill>
            <a:ln>
              <a:noFill/>
            </a:ln>
          </c:spPr>
          <c:invertIfNegative val="0"/>
          <c:val>
            <c:numRef>
              <c:f>Sheet1!$A$5:$D$5</c:f>
              <c:numCache>
                <c:formatCode>General</c:formatCode>
                <c:ptCount val="4"/>
                <c:pt idx="0">
                  <c:v>1.8515780639999981</c:v>
                </c:pt>
                <c:pt idx="1">
                  <c:v>1.8515780639999981</c:v>
                </c:pt>
                <c:pt idx="2">
                  <c:v>1.8515780640000017</c:v>
                </c:pt>
                <c:pt idx="3">
                  <c:v>1.8515780639999981</c:v>
                </c:pt>
              </c:numCache>
            </c:numRef>
          </c:val>
          <c:extLst>
            <c:ext xmlns:c16="http://schemas.microsoft.com/office/drawing/2014/chart" uri="{C3380CC4-5D6E-409C-BE32-E72D297353CC}">
              <c16:uniqueId val="{00000004-95BF-4D94-BF59-D17A83B070A0}"/>
            </c:ext>
          </c:extLst>
        </c:ser>
        <c:ser>
          <c:idx val="5"/>
          <c:order val="5"/>
          <c:spPr>
            <a:solidFill>
              <a:schemeClr val="accent1"/>
            </a:solidFill>
            <a:ln>
              <a:noFill/>
            </a:ln>
          </c:spPr>
          <c:invertIfNegative val="0"/>
          <c:val>
            <c:numRef>
              <c:f>Sheet1!$A$6:$D$6</c:f>
              <c:numCache>
                <c:formatCode>General</c:formatCode>
                <c:ptCount val="4"/>
                <c:pt idx="0">
                  <c:v>1.1844174378622796</c:v>
                </c:pt>
                <c:pt idx="1">
                  <c:v>1.6572540098006208</c:v>
                </c:pt>
                <c:pt idx="2">
                  <c:v>2.1659613452469557</c:v>
                </c:pt>
                <c:pt idx="3">
                  <c:v>2.4827957461341654</c:v>
                </c:pt>
              </c:numCache>
            </c:numRef>
          </c:val>
          <c:extLst>
            <c:ext xmlns:c16="http://schemas.microsoft.com/office/drawing/2014/chart" uri="{C3380CC4-5D6E-409C-BE32-E72D297353CC}">
              <c16:uniqueId val="{00000005-95BF-4D94-BF59-D17A83B070A0}"/>
            </c:ext>
          </c:extLst>
        </c:ser>
        <c:dLbls>
          <c:showLegendKey val="0"/>
          <c:showVal val="0"/>
          <c:showCatName val="0"/>
          <c:showSerName val="0"/>
          <c:showPercent val="0"/>
          <c:showBubbleSize val="0"/>
        </c:dLbls>
        <c:gapWidth val="80"/>
        <c:overlap val="100"/>
        <c:axId val="167535456"/>
        <c:axId val="1"/>
      </c:barChart>
      <c:catAx>
        <c:axId val="1675354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400" kern="1200">
                <a:latin typeface="+mn-lt"/>
                <a:ea typeface="+mn-ea"/>
                <a:cs typeface="+mn-cs"/>
                <a:sym typeface="+mn-lt"/>
              </a:defRPr>
            </a:pPr>
            <a:endParaRPr lang="en-US"/>
          </a:p>
        </c:txPr>
        <c:crossAx val="167535456"/>
        <c:crosses val="min"/>
        <c:crossBetween val="between"/>
        <c:majorUnit val="1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267960146827478E-2"/>
          <c:y val="2.8571428571428571E-2"/>
          <c:w val="0.94546407970634505"/>
          <c:h val="0.94285714285714284"/>
        </c:manualLayout>
      </c:layout>
      <c:barChart>
        <c:barDir val="bar"/>
        <c:grouping val="stacked"/>
        <c:varyColors val="0"/>
        <c:ser>
          <c:idx val="0"/>
          <c:order val="0"/>
          <c:spPr>
            <a:solidFill>
              <a:schemeClr val="accent3"/>
            </a:solidFill>
            <a:ln>
              <a:noFill/>
            </a:ln>
          </c:spPr>
          <c:invertIfNegative val="0"/>
          <c:dPt>
            <c:idx val="4"/>
            <c:invertIfNegative val="0"/>
            <c:bubble3D val="0"/>
            <c:spPr>
              <a:solidFill>
                <a:schemeClr val="accent2"/>
              </a:solidFill>
              <a:ln>
                <a:noFill/>
              </a:ln>
            </c:spPr>
            <c:extLst>
              <c:ext xmlns:c16="http://schemas.microsoft.com/office/drawing/2014/chart" uri="{C3380CC4-5D6E-409C-BE32-E72D297353CC}">
                <c16:uniqueId val="{00000000-2022-4167-8CB4-0FBC11461442}"/>
              </c:ext>
            </c:extLst>
          </c:dPt>
          <c:val>
            <c:numRef>
              <c:f>Sheet1!$A$1:$J$1</c:f>
              <c:numCache>
                <c:formatCode>General</c:formatCode>
                <c:ptCount val="10"/>
                <c:pt idx="0">
                  <c:v>4</c:v>
                </c:pt>
                <c:pt idx="1">
                  <c:v>0.1</c:v>
                </c:pt>
                <c:pt idx="2">
                  <c:v>1.3</c:v>
                </c:pt>
                <c:pt idx="3">
                  <c:v>2</c:v>
                </c:pt>
                <c:pt idx="4">
                  <c:v>2.6</c:v>
                </c:pt>
                <c:pt idx="5">
                  <c:v>0.3</c:v>
                </c:pt>
                <c:pt idx="6">
                  <c:v>0.2</c:v>
                </c:pt>
                <c:pt idx="7">
                  <c:v>1.4</c:v>
                </c:pt>
                <c:pt idx="8">
                  <c:v>0.9</c:v>
                </c:pt>
                <c:pt idx="9">
                  <c:v>0</c:v>
                </c:pt>
              </c:numCache>
            </c:numRef>
          </c:val>
          <c:extLst>
            <c:ext xmlns:c16="http://schemas.microsoft.com/office/drawing/2014/chart" uri="{C3380CC4-5D6E-409C-BE32-E72D297353CC}">
              <c16:uniqueId val="{00000001-2022-4167-8CB4-0FBC11461442}"/>
            </c:ext>
          </c:extLst>
        </c:ser>
        <c:ser>
          <c:idx val="1"/>
          <c:order val="1"/>
          <c:spPr>
            <a:solidFill>
              <a:schemeClr val="accent2"/>
            </a:solidFill>
            <a:ln>
              <a:noFill/>
            </a:ln>
          </c:spPr>
          <c:invertIfNegative val="0"/>
          <c:dPt>
            <c:idx val="4"/>
            <c:invertIfNegative val="0"/>
            <c:bubble3D val="0"/>
            <c:spPr>
              <a:solidFill>
                <a:schemeClr val="accent1"/>
              </a:solidFill>
              <a:ln>
                <a:noFill/>
              </a:ln>
            </c:spPr>
            <c:extLst>
              <c:ext xmlns:c16="http://schemas.microsoft.com/office/drawing/2014/chart" uri="{C3380CC4-5D6E-409C-BE32-E72D297353CC}">
                <c16:uniqueId val="{00000002-2022-4167-8CB4-0FBC11461442}"/>
              </c:ext>
            </c:extLst>
          </c:dPt>
          <c:val>
            <c:numRef>
              <c:f>Sheet1!$A$2:$J$2</c:f>
              <c:numCache>
                <c:formatCode>General</c:formatCode>
                <c:ptCount val="10"/>
                <c:pt idx="0">
                  <c:v>5</c:v>
                </c:pt>
                <c:pt idx="1">
                  <c:v>4.5999999999999996</c:v>
                </c:pt>
                <c:pt idx="2">
                  <c:v>2.4000000000000004</c:v>
                </c:pt>
                <c:pt idx="3">
                  <c:v>1.2999999999999998</c:v>
                </c:pt>
                <c:pt idx="4">
                  <c:v>0.89999999999999991</c:v>
                </c:pt>
                <c:pt idx="5">
                  <c:v>1.8999999999999997</c:v>
                </c:pt>
                <c:pt idx="6">
                  <c:v>1.6</c:v>
                </c:pt>
                <c:pt idx="7">
                  <c:v>0.39999999999999991</c:v>
                </c:pt>
                <c:pt idx="8">
                  <c:v>0.49999999999999989</c:v>
                </c:pt>
                <c:pt idx="9">
                  <c:v>1.2</c:v>
                </c:pt>
              </c:numCache>
            </c:numRef>
          </c:val>
          <c:extLst>
            <c:ext xmlns:c16="http://schemas.microsoft.com/office/drawing/2014/chart" uri="{C3380CC4-5D6E-409C-BE32-E72D297353CC}">
              <c16:uniqueId val="{00000003-2022-4167-8CB4-0FBC11461442}"/>
            </c:ext>
          </c:extLst>
        </c:ser>
        <c:ser>
          <c:idx val="2"/>
          <c:order val="2"/>
          <c:spPr>
            <a:solidFill>
              <a:schemeClr val="accent1"/>
            </a:solidFill>
            <a:ln>
              <a:noFill/>
            </a:ln>
          </c:spPr>
          <c:invertIfNegative val="0"/>
          <c:val>
            <c:numRef>
              <c:f>Sheet1!$A$3:$J$3</c:f>
              <c:numCache>
                <c:formatCode>General</c:formatCode>
                <c:ptCount val="10"/>
                <c:pt idx="0">
                  <c:v>0.90000000000000036</c:v>
                </c:pt>
                <c:pt idx="1">
                  <c:v>1</c:v>
                </c:pt>
                <c:pt idx="2">
                  <c:v>0.90000000000000036</c:v>
                </c:pt>
                <c:pt idx="3">
                  <c:v>0.70000000000000018</c:v>
                </c:pt>
                <c:pt idx="5">
                  <c:v>0.89999999999999991</c:v>
                </c:pt>
                <c:pt idx="6">
                  <c:v>0.8</c:v>
                </c:pt>
                <c:pt idx="7">
                  <c:v>0.39999999999999991</c:v>
                </c:pt>
                <c:pt idx="8">
                  <c:v>0.80000000000000027</c:v>
                </c:pt>
                <c:pt idx="9">
                  <c:v>0.7</c:v>
                </c:pt>
              </c:numCache>
            </c:numRef>
          </c:val>
          <c:extLst>
            <c:ext xmlns:c16="http://schemas.microsoft.com/office/drawing/2014/chart" uri="{C3380CC4-5D6E-409C-BE32-E72D297353CC}">
              <c16:uniqueId val="{00000004-2022-4167-8CB4-0FBC11461442}"/>
            </c:ext>
          </c:extLst>
        </c:ser>
        <c:dLbls>
          <c:showLegendKey val="0"/>
          <c:showVal val="0"/>
          <c:showCatName val="0"/>
          <c:showSerName val="0"/>
          <c:showPercent val="0"/>
          <c:showBubbleSize val="0"/>
        </c:dLbls>
        <c:gapWidth val="80"/>
        <c:overlap val="100"/>
        <c:axId val="1223334896"/>
        <c:axId val="1"/>
      </c:barChart>
      <c:catAx>
        <c:axId val="122333489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1223334896"/>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657765061198533E-3"/>
          <c:y val="2.1469859620148638E-2"/>
          <c:w val="0.98346844698776026"/>
          <c:h val="0.95706028075970273"/>
        </c:manualLayout>
      </c:layout>
      <c:barChart>
        <c:barDir val="col"/>
        <c:grouping val="stacked"/>
        <c:varyColors val="0"/>
        <c:ser>
          <c:idx val="0"/>
          <c:order val="0"/>
          <c:spPr>
            <a:solidFill>
              <a:schemeClr val="accent1"/>
            </a:solidFill>
            <a:ln w="9525" cmpd="sng" algn="ctr">
              <a:solidFill>
                <a:schemeClr val="accent1"/>
              </a:solidFill>
              <a:prstDash val="solid"/>
            </a:ln>
          </c:spPr>
          <c:invertIfNegative val="0"/>
          <c:dPt>
            <c:idx val="21"/>
            <c:invertIfNegative val="0"/>
            <c:bubble3D val="0"/>
            <c:spPr>
              <a:noFill/>
              <a:ln>
                <a:noFill/>
              </a:ln>
            </c:spPr>
            <c:extLst>
              <c:ext xmlns:c16="http://schemas.microsoft.com/office/drawing/2014/chart" uri="{C3380CC4-5D6E-409C-BE32-E72D297353CC}">
                <c16:uniqueId val="{00000000-67DE-4ECB-B9B4-C5F62C1D9C92}"/>
              </c:ext>
            </c:extLst>
          </c:dPt>
          <c:dPt>
            <c:idx val="22"/>
            <c:invertIfNegative val="0"/>
            <c:bubble3D val="0"/>
            <c:spPr>
              <a:noFill/>
              <a:ln>
                <a:noFill/>
              </a:ln>
            </c:spPr>
            <c:extLst>
              <c:ext xmlns:c16="http://schemas.microsoft.com/office/drawing/2014/chart" uri="{C3380CC4-5D6E-409C-BE32-E72D297353CC}">
                <c16:uniqueId val="{00000001-67DE-4ECB-B9B4-C5F62C1D9C92}"/>
              </c:ext>
            </c:extLst>
          </c:dPt>
          <c:dPt>
            <c:idx val="23"/>
            <c:invertIfNegative val="0"/>
            <c:bubble3D val="0"/>
            <c:spPr>
              <a:noFill/>
              <a:ln>
                <a:noFill/>
              </a:ln>
            </c:spPr>
            <c:extLst>
              <c:ext xmlns:c16="http://schemas.microsoft.com/office/drawing/2014/chart" uri="{C3380CC4-5D6E-409C-BE32-E72D297353CC}">
                <c16:uniqueId val="{00000002-67DE-4ECB-B9B4-C5F62C1D9C92}"/>
              </c:ext>
            </c:extLst>
          </c:dPt>
          <c:dPt>
            <c:idx val="24"/>
            <c:invertIfNegative val="0"/>
            <c:bubble3D val="0"/>
            <c:spPr>
              <a:noFill/>
              <a:ln>
                <a:noFill/>
              </a:ln>
            </c:spPr>
            <c:extLst>
              <c:ext xmlns:c16="http://schemas.microsoft.com/office/drawing/2014/chart" uri="{C3380CC4-5D6E-409C-BE32-E72D297353CC}">
                <c16:uniqueId val="{00000003-67DE-4ECB-B9B4-C5F62C1D9C92}"/>
              </c:ext>
            </c:extLst>
          </c:dPt>
          <c:dPt>
            <c:idx val="25"/>
            <c:invertIfNegative val="0"/>
            <c:bubble3D val="0"/>
            <c:spPr>
              <a:noFill/>
              <a:ln>
                <a:noFill/>
              </a:ln>
            </c:spPr>
            <c:extLst>
              <c:ext xmlns:c16="http://schemas.microsoft.com/office/drawing/2014/chart" uri="{C3380CC4-5D6E-409C-BE32-E72D297353CC}">
                <c16:uniqueId val="{00000004-67DE-4ECB-B9B4-C5F62C1D9C92}"/>
              </c:ext>
            </c:extLst>
          </c:dPt>
          <c:dPt>
            <c:idx val="26"/>
            <c:invertIfNegative val="0"/>
            <c:bubble3D val="0"/>
            <c:spPr>
              <a:noFill/>
              <a:ln>
                <a:noFill/>
              </a:ln>
            </c:spPr>
            <c:extLst>
              <c:ext xmlns:c16="http://schemas.microsoft.com/office/drawing/2014/chart" uri="{C3380CC4-5D6E-409C-BE32-E72D297353CC}">
                <c16:uniqueId val="{00000005-67DE-4ECB-B9B4-C5F62C1D9C92}"/>
              </c:ext>
            </c:extLst>
          </c:dPt>
          <c:dPt>
            <c:idx val="27"/>
            <c:invertIfNegative val="0"/>
            <c:bubble3D val="0"/>
            <c:spPr>
              <a:noFill/>
              <a:ln>
                <a:noFill/>
              </a:ln>
            </c:spPr>
            <c:extLst>
              <c:ext xmlns:c16="http://schemas.microsoft.com/office/drawing/2014/chart" uri="{C3380CC4-5D6E-409C-BE32-E72D297353CC}">
                <c16:uniqueId val="{00000006-67DE-4ECB-B9B4-C5F62C1D9C92}"/>
              </c:ext>
            </c:extLst>
          </c:dPt>
          <c:dPt>
            <c:idx val="28"/>
            <c:invertIfNegative val="0"/>
            <c:bubble3D val="0"/>
            <c:spPr>
              <a:noFill/>
              <a:ln>
                <a:noFill/>
              </a:ln>
            </c:spPr>
            <c:extLst>
              <c:ext xmlns:c16="http://schemas.microsoft.com/office/drawing/2014/chart" uri="{C3380CC4-5D6E-409C-BE32-E72D297353CC}">
                <c16:uniqueId val="{00000007-67DE-4ECB-B9B4-C5F62C1D9C92}"/>
              </c:ext>
            </c:extLst>
          </c:dPt>
          <c:val>
            <c:numRef>
              <c:f>Sheet1!$A$1:$AC$1</c:f>
              <c:numCache>
                <c:formatCode>General</c:formatCode>
                <c:ptCount val="29"/>
                <c:pt idx="0">
                  <c:v>3112.8049999999998</c:v>
                </c:pt>
                <c:pt idx="1">
                  <c:v>690</c:v>
                </c:pt>
                <c:pt idx="2">
                  <c:v>371.4</c:v>
                </c:pt>
                <c:pt idx="3">
                  <c:v>368.5</c:v>
                </c:pt>
                <c:pt idx="4">
                  <c:v>340</c:v>
                </c:pt>
                <c:pt idx="5">
                  <c:v>334</c:v>
                </c:pt>
                <c:pt idx="6">
                  <c:v>300</c:v>
                </c:pt>
                <c:pt idx="7">
                  <c:v>212.3</c:v>
                </c:pt>
                <c:pt idx="8">
                  <c:v>200</c:v>
                </c:pt>
                <c:pt idx="9">
                  <c:v>197.8</c:v>
                </c:pt>
                <c:pt idx="10">
                  <c:v>157.30000000000001</c:v>
                </c:pt>
                <c:pt idx="11">
                  <c:v>150</c:v>
                </c:pt>
                <c:pt idx="12">
                  <c:v>150</c:v>
                </c:pt>
                <c:pt idx="13">
                  <c:v>140</c:v>
                </c:pt>
                <c:pt idx="14">
                  <c:v>129</c:v>
                </c:pt>
                <c:pt idx="15">
                  <c:v>120</c:v>
                </c:pt>
                <c:pt idx="16">
                  <c:v>100.75</c:v>
                </c:pt>
                <c:pt idx="17">
                  <c:v>100</c:v>
                </c:pt>
                <c:pt idx="18">
                  <c:v>99.9</c:v>
                </c:pt>
                <c:pt idx="19">
                  <c:v>98</c:v>
                </c:pt>
                <c:pt idx="20">
                  <c:v>95</c:v>
                </c:pt>
                <c:pt idx="21">
                  <c:v>3300</c:v>
                </c:pt>
                <c:pt idx="22">
                  <c:v>1600</c:v>
                </c:pt>
                <c:pt idx="23">
                  <c:v>1500</c:v>
                </c:pt>
                <c:pt idx="24">
                  <c:v>1200</c:v>
                </c:pt>
                <c:pt idx="25">
                  <c:v>1100</c:v>
                </c:pt>
                <c:pt idx="26">
                  <c:v>1040</c:v>
                </c:pt>
                <c:pt idx="27">
                  <c:v>1000</c:v>
                </c:pt>
                <c:pt idx="28">
                  <c:v>700</c:v>
                </c:pt>
              </c:numCache>
            </c:numRef>
          </c:val>
          <c:extLst>
            <c:ext xmlns:c16="http://schemas.microsoft.com/office/drawing/2014/chart" uri="{C3380CC4-5D6E-409C-BE32-E72D297353CC}">
              <c16:uniqueId val="{00000008-67DE-4ECB-B9B4-C5F62C1D9C92}"/>
            </c:ext>
          </c:extLst>
        </c:ser>
        <c:ser>
          <c:idx val="1"/>
          <c:order val="1"/>
          <c:spPr>
            <a:noFill/>
            <a:ln>
              <a:noFill/>
            </a:ln>
          </c:spPr>
          <c:invertIfNegative val="0"/>
          <c:val>
            <c:numRef>
              <c:f>Sheet1!$A$2:$AC$2</c:f>
              <c:numCache>
                <c:formatCode>General</c:formatCode>
                <c:ptCount val="29"/>
                <c:pt idx="0">
                  <c:v>377.22729545454467</c:v>
                </c:pt>
                <c:pt idx="1">
                  <c:v>1142</c:v>
                </c:pt>
                <c:pt idx="2">
                  <c:v>427</c:v>
                </c:pt>
                <c:pt idx="3">
                  <c:v>265.89999999999998</c:v>
                </c:pt>
                <c:pt idx="4">
                  <c:v>146</c:v>
                </c:pt>
                <c:pt idx="5">
                  <c:v>0</c:v>
                </c:pt>
                <c:pt idx="6">
                  <c:v>2200</c:v>
                </c:pt>
                <c:pt idx="7">
                  <c:v>1468.4</c:v>
                </c:pt>
                <c:pt idx="8">
                  <c:v>63.199999999999989</c:v>
                </c:pt>
                <c:pt idx="9">
                  <c:v>265.60000000000002</c:v>
                </c:pt>
                <c:pt idx="10">
                  <c:v>479.99999999999994</c:v>
                </c:pt>
                <c:pt idx="11">
                  <c:v>1000</c:v>
                </c:pt>
                <c:pt idx="12">
                  <c:v>900</c:v>
                </c:pt>
                <c:pt idx="13">
                  <c:v>720</c:v>
                </c:pt>
                <c:pt idx="14">
                  <c:v>197.23000000000002</c:v>
                </c:pt>
                <c:pt idx="15">
                  <c:v>360</c:v>
                </c:pt>
                <c:pt idx="16">
                  <c:v>0</c:v>
                </c:pt>
                <c:pt idx="17">
                  <c:v>1578</c:v>
                </c:pt>
                <c:pt idx="18">
                  <c:v>1418</c:v>
                </c:pt>
                <c:pt idx="19">
                  <c:v>50</c:v>
                </c:pt>
                <c:pt idx="20">
                  <c:v>299.60000000000002</c:v>
                </c:pt>
              </c:numCache>
            </c:numRef>
          </c:val>
          <c:extLst>
            <c:ext xmlns:c16="http://schemas.microsoft.com/office/drawing/2014/chart" uri="{C3380CC4-5D6E-409C-BE32-E72D297353CC}">
              <c16:uniqueId val="{00000009-67DE-4ECB-B9B4-C5F62C1D9C92}"/>
            </c:ext>
          </c:extLst>
        </c:ser>
        <c:dLbls>
          <c:showLegendKey val="0"/>
          <c:showVal val="0"/>
          <c:showCatName val="0"/>
          <c:showSerName val="0"/>
          <c:showPercent val="0"/>
          <c:showBubbleSize val="0"/>
        </c:dLbls>
        <c:gapWidth val="80"/>
        <c:overlap val="100"/>
        <c:axId val="2055599487"/>
        <c:axId val="1"/>
      </c:barChart>
      <c:catAx>
        <c:axId val="20555994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733.0072954545449"/>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55599487"/>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647887323943662"/>
          <c:y val="2.1469859620148638E-2"/>
          <c:w val="0.70704225352112671"/>
          <c:h val="0.95706028075970273"/>
        </c:manualLayout>
      </c:layout>
      <c:barChart>
        <c:barDir val="col"/>
        <c:grouping val="stacked"/>
        <c:varyColors val="0"/>
        <c:ser>
          <c:idx val="0"/>
          <c:order val="0"/>
          <c:spPr>
            <a:solidFill>
              <a:schemeClr val="accent1"/>
            </a:solidFill>
            <a:ln w="9525" cmpd="sng" algn="ctr">
              <a:solidFill>
                <a:schemeClr val="accent1"/>
              </a:solidFill>
              <a:prstDash val="solid"/>
            </a:ln>
          </c:spPr>
          <c:invertIfNegative val="0"/>
          <c:val>
            <c:numRef>
              <c:f>Sheet1!$A$1</c:f>
              <c:numCache>
                <c:formatCode>General</c:formatCode>
                <c:ptCount val="1"/>
                <c:pt idx="0">
                  <c:v>7530.1549999999997</c:v>
                </c:pt>
              </c:numCache>
            </c:numRef>
          </c:val>
          <c:extLst>
            <c:ext xmlns:c16="http://schemas.microsoft.com/office/drawing/2014/chart" uri="{C3380CC4-5D6E-409C-BE32-E72D297353CC}">
              <c16:uniqueId val="{00000000-8640-42D7-8894-C8947A493C25}"/>
            </c:ext>
          </c:extLst>
        </c:ser>
        <c:ser>
          <c:idx val="1"/>
          <c:order val="1"/>
          <c:spPr>
            <a:noFill/>
            <a:ln>
              <a:noFill/>
            </a:ln>
          </c:spPr>
          <c:invertIfNegative val="0"/>
          <c:val>
            <c:numRef>
              <c:f>Sheet1!$A$2</c:f>
              <c:numCache>
                <c:formatCode>General</c:formatCode>
                <c:ptCount val="1"/>
                <c:pt idx="0">
                  <c:v>33115.15</c:v>
                </c:pt>
              </c:numCache>
            </c:numRef>
          </c:val>
          <c:extLst>
            <c:ext xmlns:c16="http://schemas.microsoft.com/office/drawing/2014/chart" uri="{C3380CC4-5D6E-409C-BE32-E72D297353CC}">
              <c16:uniqueId val="{00000001-8640-42D7-8894-C8947A493C25}"/>
            </c:ext>
          </c:extLst>
        </c:ser>
        <c:dLbls>
          <c:showLegendKey val="0"/>
          <c:showVal val="0"/>
          <c:showCatName val="0"/>
          <c:showSerName val="0"/>
          <c:showPercent val="0"/>
          <c:showBubbleSize val="0"/>
        </c:dLbls>
        <c:gapWidth val="80"/>
        <c:overlap val="100"/>
        <c:axId val="1346975519"/>
        <c:axId val="1"/>
      </c:barChart>
      <c:catAx>
        <c:axId val="13469755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00"/>
          <c:min val="0"/>
        </c:scaling>
        <c:delete val="0"/>
        <c:axPos val="l"/>
        <c:majorGridlines>
          <c:spPr>
            <a:ln w="3175" cmpd="sng" algn="ctr">
              <a:solidFill>
                <a:schemeClr val="accent6"/>
              </a:solidFill>
              <a:prstDash val="solid"/>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346975519"/>
        <c:crosses val="min"/>
        <c:crossBetween val="between"/>
        <c:majorUnit val="5000"/>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93866374589269E-3"/>
          <c:y val="2.4761904761904763E-2"/>
          <c:w val="0.98576122672508215"/>
          <c:h val="0.95047619047619047"/>
        </c:manualLayout>
      </c:layout>
      <c:barChart>
        <c:barDir val="col"/>
        <c:grouping val="stacked"/>
        <c:varyColors val="0"/>
        <c:ser>
          <c:idx val="0"/>
          <c:order val="0"/>
          <c:spPr>
            <a:noFill/>
            <a:ln>
              <a:noFill/>
            </a:ln>
          </c:spPr>
          <c:invertIfNegative val="0"/>
          <c:dPt>
            <c:idx val="0"/>
            <c:invertIfNegative val="0"/>
            <c:bubble3D val="0"/>
            <c:spPr>
              <a:solidFill>
                <a:srgbClr val="9DB1CF"/>
              </a:solidFill>
              <a:ln w="9525" cmpd="sng" algn="ctr">
                <a:solidFill>
                  <a:srgbClr val="9DB1CF"/>
                </a:solidFill>
                <a:prstDash val="solid"/>
              </a:ln>
            </c:spPr>
            <c:extLst>
              <c:ext xmlns:c16="http://schemas.microsoft.com/office/drawing/2014/chart" uri="{C3380CC4-5D6E-409C-BE32-E72D297353CC}">
                <c16:uniqueId val="{00000000-F42D-4852-BCF9-02396E6DA78B}"/>
              </c:ext>
            </c:extLst>
          </c:dPt>
          <c:dPt>
            <c:idx val="16"/>
            <c:invertIfNegative val="0"/>
            <c:bubble3D val="0"/>
            <c:spPr>
              <a:solidFill>
                <a:schemeClr val="accent6"/>
              </a:solidFill>
              <a:ln>
                <a:noFill/>
              </a:ln>
            </c:spPr>
            <c:extLst>
              <c:ext xmlns:c16="http://schemas.microsoft.com/office/drawing/2014/chart" uri="{C3380CC4-5D6E-409C-BE32-E72D297353CC}">
                <c16:uniqueId val="{00000001-F42D-4852-BCF9-02396E6DA78B}"/>
              </c:ext>
            </c:extLst>
          </c:dPt>
          <c:val>
            <c:numRef>
              <c:f>Sheet1!$A$1:$Q$1</c:f>
              <c:numCache>
                <c:formatCode>General</c:formatCode>
                <c:ptCount val="17"/>
                <c:pt idx="0">
                  <c:v>796</c:v>
                </c:pt>
                <c:pt idx="1">
                  <c:v>7077.8200000000006</c:v>
                </c:pt>
                <c:pt idx="2">
                  <c:v>7277.82</c:v>
                </c:pt>
                <c:pt idx="3">
                  <c:v>7517.8199999999924</c:v>
                </c:pt>
                <c:pt idx="4">
                  <c:v>7760.82</c:v>
                </c:pt>
                <c:pt idx="5">
                  <c:v>8164.9629076999918</c:v>
                </c:pt>
                <c:pt idx="6">
                  <c:v>8607.4629076999845</c:v>
                </c:pt>
                <c:pt idx="7">
                  <c:v>9086.4629076999772</c:v>
                </c:pt>
                <c:pt idx="8">
                  <c:v>9868.4629076999699</c:v>
                </c:pt>
                <c:pt idx="9">
                  <c:v>10664.462907699955</c:v>
                </c:pt>
                <c:pt idx="10">
                  <c:v>11664.462907699955</c:v>
                </c:pt>
                <c:pt idx="11">
                  <c:v>12817.86290769995</c:v>
                </c:pt>
                <c:pt idx="12">
                  <c:v>14437.86290769995</c:v>
                </c:pt>
                <c:pt idx="13">
                  <c:v>16184.86290769992</c:v>
                </c:pt>
                <c:pt idx="14">
                  <c:v>18032.862907699891</c:v>
                </c:pt>
                <c:pt idx="15">
                  <c:v>20178.86290769992</c:v>
                </c:pt>
                <c:pt idx="16">
                  <c:v>74.499999699939508</c:v>
                </c:pt>
              </c:numCache>
            </c:numRef>
          </c:val>
          <c:extLst>
            <c:ext xmlns:c16="http://schemas.microsoft.com/office/drawing/2014/chart" uri="{C3380CC4-5D6E-409C-BE32-E72D297353CC}">
              <c16:uniqueId val="{00000002-F42D-4852-BCF9-02396E6DA78B}"/>
            </c:ext>
          </c:extLst>
        </c:ser>
        <c:ser>
          <c:idx val="1"/>
          <c:order val="1"/>
          <c:spPr>
            <a:solidFill>
              <a:srgbClr val="6F8DB9"/>
            </a:solidFill>
            <a:ln w="9525" cmpd="sng" algn="ctr">
              <a:solidFill>
                <a:srgbClr val="6F8DB9"/>
              </a:solidFill>
              <a:prstDash val="solid"/>
            </a:ln>
          </c:spPr>
          <c:invertIfNegative val="0"/>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3-F42D-4852-BCF9-02396E6DA78B}"/>
              </c:ext>
            </c:extLst>
          </c:dPt>
          <c:dPt>
            <c:idx val="2"/>
            <c:invertIfNegative val="0"/>
            <c:bubble3D val="0"/>
            <c:spPr>
              <a:solidFill>
                <a:schemeClr val="accent5"/>
              </a:solidFill>
              <a:ln w="9525" cmpd="sng" algn="ctr">
                <a:solidFill>
                  <a:schemeClr val="accent5"/>
                </a:solidFill>
                <a:prstDash val="solid"/>
              </a:ln>
            </c:spPr>
            <c:extLst>
              <c:ext xmlns:c16="http://schemas.microsoft.com/office/drawing/2014/chart" uri="{C3380CC4-5D6E-409C-BE32-E72D297353CC}">
                <c16:uniqueId val="{00000004-F42D-4852-BCF9-02396E6DA78B}"/>
              </c:ext>
            </c:extLst>
          </c:dPt>
          <c:dPt>
            <c:idx val="3"/>
            <c:invertIfNegative val="0"/>
            <c:bubble3D val="0"/>
            <c:spPr>
              <a:solidFill>
                <a:schemeClr val="tx2"/>
              </a:solidFill>
              <a:ln w="9525" cmpd="sng" algn="ctr">
                <a:solidFill>
                  <a:schemeClr val="tx2"/>
                </a:solidFill>
                <a:prstDash val="solid"/>
              </a:ln>
            </c:spPr>
            <c:extLst>
              <c:ext xmlns:c16="http://schemas.microsoft.com/office/drawing/2014/chart" uri="{C3380CC4-5D6E-409C-BE32-E72D297353CC}">
                <c16:uniqueId val="{00000005-F42D-4852-BCF9-02396E6DA78B}"/>
              </c:ext>
            </c:extLst>
          </c:dPt>
          <c:dPt>
            <c:idx val="4"/>
            <c:invertIfNegative val="0"/>
            <c:bubble3D val="0"/>
            <c:spPr>
              <a:solidFill>
                <a:srgbClr val="9DB1CF"/>
              </a:solidFill>
              <a:ln w="9525" cmpd="sng" algn="ctr">
                <a:solidFill>
                  <a:srgbClr val="9DB1CF"/>
                </a:solidFill>
                <a:prstDash val="solid"/>
              </a:ln>
            </c:spPr>
            <c:extLst>
              <c:ext xmlns:c16="http://schemas.microsoft.com/office/drawing/2014/chart" uri="{C3380CC4-5D6E-409C-BE32-E72D297353CC}">
                <c16:uniqueId val="{00000006-F42D-4852-BCF9-02396E6DA78B}"/>
              </c:ext>
            </c:extLst>
          </c:dPt>
          <c:dPt>
            <c:idx val="6"/>
            <c:invertIfNegative val="0"/>
            <c:bubble3D val="0"/>
            <c:spPr>
              <a:solidFill>
                <a:srgbClr val="4C6C9C"/>
              </a:solidFill>
              <a:ln w="9525" cmpd="sng" algn="ctr">
                <a:solidFill>
                  <a:schemeClr val="bg1"/>
                </a:solidFill>
                <a:prstDash val="solid"/>
              </a:ln>
            </c:spPr>
            <c:extLst>
              <c:ext xmlns:c16="http://schemas.microsoft.com/office/drawing/2014/chart" uri="{C3380CC4-5D6E-409C-BE32-E72D297353CC}">
                <c16:uniqueId val="{00000007-F42D-4852-BCF9-02396E6DA78B}"/>
              </c:ext>
            </c:extLst>
          </c:dPt>
          <c:dPt>
            <c:idx val="7"/>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8-F42D-4852-BCF9-02396E6DA78B}"/>
              </c:ext>
            </c:extLst>
          </c:dPt>
          <c:dPt>
            <c:idx val="8"/>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9-F42D-4852-BCF9-02396E6DA78B}"/>
              </c:ext>
            </c:extLst>
          </c:dPt>
          <c:dPt>
            <c:idx val="9"/>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A-F42D-4852-BCF9-02396E6DA78B}"/>
              </c:ext>
            </c:extLst>
          </c:dPt>
          <c:dPt>
            <c:idx val="10"/>
            <c:invertIfNegative val="0"/>
            <c:bubble3D val="0"/>
            <c:spPr>
              <a:solidFill>
                <a:srgbClr val="B97800"/>
              </a:solidFill>
              <a:ln w="9525" cmpd="sng" algn="ctr">
                <a:solidFill>
                  <a:schemeClr val="bg1"/>
                </a:solidFill>
                <a:prstDash val="solid"/>
              </a:ln>
            </c:spPr>
            <c:extLst>
              <c:ext xmlns:c16="http://schemas.microsoft.com/office/drawing/2014/chart" uri="{C3380CC4-5D6E-409C-BE32-E72D297353CC}">
                <c16:uniqueId val="{0000000B-F42D-4852-BCF9-02396E6DA78B}"/>
              </c:ext>
            </c:extLst>
          </c:dPt>
          <c:dPt>
            <c:idx val="11"/>
            <c:invertIfNegative val="0"/>
            <c:bubble3D val="0"/>
            <c:spPr>
              <a:solidFill>
                <a:srgbClr val="9F3C1C"/>
              </a:solidFill>
              <a:ln w="9525" cmpd="sng" algn="ctr">
                <a:solidFill>
                  <a:schemeClr val="bg1"/>
                </a:solidFill>
                <a:prstDash val="solid"/>
              </a:ln>
            </c:spPr>
            <c:extLst>
              <c:ext xmlns:c16="http://schemas.microsoft.com/office/drawing/2014/chart" uri="{C3380CC4-5D6E-409C-BE32-E72D297353CC}">
                <c16:uniqueId val="{0000000C-F42D-4852-BCF9-02396E6DA78B}"/>
              </c:ext>
            </c:extLst>
          </c:dPt>
          <c:dPt>
            <c:idx val="12"/>
            <c:invertIfNegative val="0"/>
            <c:bubble3D val="0"/>
            <c:spPr>
              <a:solidFill>
                <a:srgbClr val="DF5327"/>
              </a:solidFill>
              <a:ln w="9525" cmpd="sng" algn="ctr">
                <a:solidFill>
                  <a:schemeClr val="bg1"/>
                </a:solidFill>
                <a:prstDash val="solid"/>
              </a:ln>
            </c:spPr>
            <c:extLst>
              <c:ext xmlns:c16="http://schemas.microsoft.com/office/drawing/2014/chart" uri="{C3380CC4-5D6E-409C-BE32-E72D297353CC}">
                <c16:uniqueId val="{0000000D-F42D-4852-BCF9-02396E6DA78B}"/>
              </c:ext>
            </c:extLst>
          </c:dPt>
          <c:dPt>
            <c:idx val="13"/>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E-F42D-4852-BCF9-02396E6DA78B}"/>
              </c:ext>
            </c:extLst>
          </c:dPt>
          <c:dPt>
            <c:idx val="14"/>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F-F42D-4852-BCF9-02396E6DA78B}"/>
              </c:ext>
            </c:extLst>
          </c:dPt>
          <c:dPt>
            <c:idx val="15"/>
            <c:invertIfNegative val="0"/>
            <c:bubble3D val="0"/>
            <c:spPr>
              <a:solidFill>
                <a:srgbClr val="657D1A"/>
              </a:solidFill>
              <a:ln w="9525" cmpd="sng" algn="ctr">
                <a:solidFill>
                  <a:schemeClr val="bg1"/>
                </a:solidFill>
                <a:prstDash val="solid"/>
              </a:ln>
            </c:spPr>
            <c:extLst>
              <c:ext xmlns:c16="http://schemas.microsoft.com/office/drawing/2014/chart" uri="{C3380CC4-5D6E-409C-BE32-E72D297353CC}">
                <c16:uniqueId val="{00000010-F42D-4852-BCF9-02396E6DA78B}"/>
              </c:ext>
            </c:extLst>
          </c:dPt>
          <c:dPt>
            <c:idx val="16"/>
            <c:invertIfNegative val="0"/>
            <c:bubble3D val="0"/>
            <c:spPr>
              <a:solidFill>
                <a:schemeClr val="accent5"/>
              </a:solidFill>
              <a:ln>
                <a:noFill/>
              </a:ln>
            </c:spPr>
            <c:extLst>
              <c:ext xmlns:c16="http://schemas.microsoft.com/office/drawing/2014/chart" uri="{C3380CC4-5D6E-409C-BE32-E72D297353CC}">
                <c16:uniqueId val="{00000011-F42D-4852-BCF9-02396E6DA78B}"/>
              </c:ext>
            </c:extLst>
          </c:dPt>
          <c:val>
            <c:numRef>
              <c:f>Sheet1!$A$2:$Q$2</c:f>
              <c:numCache>
                <c:formatCode>General</c:formatCode>
                <c:ptCount val="17"/>
                <c:pt idx="0">
                  <c:v>199.29999999999995</c:v>
                </c:pt>
                <c:pt idx="1">
                  <c:v>200</c:v>
                </c:pt>
                <c:pt idx="2">
                  <c:v>240</c:v>
                </c:pt>
                <c:pt idx="3">
                  <c:v>243</c:v>
                </c:pt>
                <c:pt idx="4">
                  <c:v>404.14290770000025</c:v>
                </c:pt>
                <c:pt idx="5">
                  <c:v>442.5</c:v>
                </c:pt>
                <c:pt idx="6">
                  <c:v>479</c:v>
                </c:pt>
                <c:pt idx="7">
                  <c:v>782</c:v>
                </c:pt>
                <c:pt idx="8">
                  <c:v>796</c:v>
                </c:pt>
                <c:pt idx="9">
                  <c:v>1000</c:v>
                </c:pt>
                <c:pt idx="10">
                  <c:v>1153.3999999999996</c:v>
                </c:pt>
                <c:pt idx="11">
                  <c:v>1620</c:v>
                </c:pt>
                <c:pt idx="12">
                  <c:v>1747</c:v>
                </c:pt>
                <c:pt idx="13">
                  <c:v>1848</c:v>
                </c:pt>
                <c:pt idx="14">
                  <c:v>2146</c:v>
                </c:pt>
                <c:pt idx="15">
                  <c:v>8707</c:v>
                </c:pt>
                <c:pt idx="16">
                  <c:v>240</c:v>
                </c:pt>
              </c:numCache>
            </c:numRef>
          </c:val>
          <c:extLst>
            <c:ext xmlns:c16="http://schemas.microsoft.com/office/drawing/2014/chart" uri="{C3380CC4-5D6E-409C-BE32-E72D297353CC}">
              <c16:uniqueId val="{00000012-F42D-4852-BCF9-02396E6DA78B}"/>
            </c:ext>
          </c:extLst>
        </c:ser>
        <c:ser>
          <c:idx val="2"/>
          <c:order val="2"/>
          <c:spPr>
            <a:solidFill>
              <a:srgbClr val="4C6C9C"/>
            </a:solidFill>
            <a:ln w="9525" cmpd="sng" algn="ctr">
              <a:solidFill>
                <a:schemeClr val="bg1"/>
              </a:solidFill>
              <a:prstDash val="solid"/>
            </a:ln>
          </c:spPr>
          <c:invertIfNegative val="0"/>
          <c:dPt>
            <c:idx val="16"/>
            <c:invertIfNegative val="0"/>
            <c:bubble3D val="0"/>
            <c:spPr>
              <a:solidFill>
                <a:schemeClr val="tx2"/>
              </a:solidFill>
              <a:ln>
                <a:noFill/>
              </a:ln>
            </c:spPr>
            <c:extLst>
              <c:ext xmlns:c16="http://schemas.microsoft.com/office/drawing/2014/chart" uri="{C3380CC4-5D6E-409C-BE32-E72D297353CC}">
                <c16:uniqueId val="{00000013-F42D-4852-BCF9-02396E6DA78B}"/>
              </c:ext>
            </c:extLst>
          </c:dPt>
          <c:val>
            <c:numRef>
              <c:f>Sheet1!$A$3:$Q$3</c:f>
              <c:numCache>
                <c:formatCode>General</c:formatCode>
                <c:ptCount val="17"/>
                <c:pt idx="0">
                  <c:v>144.45000000000005</c:v>
                </c:pt>
                <c:pt idx="16">
                  <c:v>243</c:v>
                </c:pt>
              </c:numCache>
            </c:numRef>
          </c:val>
          <c:extLst>
            <c:ext xmlns:c16="http://schemas.microsoft.com/office/drawing/2014/chart" uri="{C3380CC4-5D6E-409C-BE32-E72D297353CC}">
              <c16:uniqueId val="{00000014-F42D-4852-BCF9-02396E6DA78B}"/>
            </c:ext>
          </c:extLst>
        </c:ser>
        <c:ser>
          <c:idx val="3"/>
          <c:order val="3"/>
          <c:spPr>
            <a:solidFill>
              <a:srgbClr val="9DB1CF"/>
            </a:solidFill>
            <a:ln>
              <a:noFill/>
            </a:ln>
          </c:spPr>
          <c:invertIfNegative val="0"/>
          <c:dPt>
            <c:idx val="0"/>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15-F42D-4852-BCF9-02396E6DA78B}"/>
              </c:ext>
            </c:extLst>
          </c:dPt>
          <c:val>
            <c:numRef>
              <c:f>Sheet1!$A$4:$Q$4</c:f>
              <c:numCache>
                <c:formatCode>General</c:formatCode>
                <c:ptCount val="17"/>
                <c:pt idx="0">
                  <c:v>203</c:v>
                </c:pt>
                <c:pt idx="16">
                  <c:v>1200.142908</c:v>
                </c:pt>
              </c:numCache>
            </c:numRef>
          </c:val>
          <c:extLst>
            <c:ext xmlns:c16="http://schemas.microsoft.com/office/drawing/2014/chart" uri="{C3380CC4-5D6E-409C-BE32-E72D297353CC}">
              <c16:uniqueId val="{00000016-F42D-4852-BCF9-02396E6DA78B}"/>
            </c:ext>
          </c:extLst>
        </c:ser>
        <c:ser>
          <c:idx val="4"/>
          <c:order val="4"/>
          <c:spPr>
            <a:solidFill>
              <a:srgbClr val="6F8DB9"/>
            </a:solidFill>
            <a:ln>
              <a:noFill/>
            </a:ln>
          </c:spPr>
          <c:invertIfNegative val="0"/>
          <c:dPt>
            <c:idx val="0"/>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17-F42D-4852-BCF9-02396E6DA78B}"/>
              </c:ext>
            </c:extLst>
          </c:dPt>
          <c:val>
            <c:numRef>
              <c:f>Sheet1!$A$5:$Q$5</c:f>
              <c:numCache>
                <c:formatCode>General</c:formatCode>
                <c:ptCount val="17"/>
                <c:pt idx="0">
                  <c:v>4</c:v>
                </c:pt>
                <c:pt idx="16">
                  <c:v>641.79999999999995</c:v>
                </c:pt>
              </c:numCache>
            </c:numRef>
          </c:val>
          <c:extLst>
            <c:ext xmlns:c16="http://schemas.microsoft.com/office/drawing/2014/chart" uri="{C3380CC4-5D6E-409C-BE32-E72D297353CC}">
              <c16:uniqueId val="{00000018-F42D-4852-BCF9-02396E6DA78B}"/>
            </c:ext>
          </c:extLst>
        </c:ser>
        <c:ser>
          <c:idx val="5"/>
          <c:order val="5"/>
          <c:spPr>
            <a:solidFill>
              <a:srgbClr val="4C6C9C"/>
            </a:solidFill>
            <a:ln>
              <a:noFill/>
            </a:ln>
          </c:spPr>
          <c:invertIfNegative val="0"/>
          <c:dPt>
            <c:idx val="0"/>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19-F42D-4852-BCF9-02396E6DA78B}"/>
              </c:ext>
            </c:extLst>
          </c:dPt>
          <c:val>
            <c:numRef>
              <c:f>Sheet1!$A$6:$Q$6</c:f>
              <c:numCache>
                <c:formatCode>General</c:formatCode>
                <c:ptCount val="17"/>
                <c:pt idx="0">
                  <c:v>0</c:v>
                </c:pt>
                <c:pt idx="16">
                  <c:v>623.44999999999982</c:v>
                </c:pt>
              </c:numCache>
            </c:numRef>
          </c:val>
          <c:extLst>
            <c:ext xmlns:c16="http://schemas.microsoft.com/office/drawing/2014/chart" uri="{C3380CC4-5D6E-409C-BE32-E72D297353CC}">
              <c16:uniqueId val="{0000001A-F42D-4852-BCF9-02396E6DA78B}"/>
            </c:ext>
          </c:extLst>
        </c:ser>
        <c:ser>
          <c:idx val="6"/>
          <c:order val="6"/>
          <c:spPr>
            <a:solidFill>
              <a:srgbClr val="B97800"/>
            </a:solidFill>
            <a:ln w="9525" cmpd="sng" algn="ctr">
              <a:solidFill>
                <a:schemeClr val="bg1"/>
              </a:solidFill>
              <a:prstDash val="solid"/>
            </a:ln>
          </c:spPr>
          <c:invertIfNegative val="0"/>
          <c:dPt>
            <c:idx val="16"/>
            <c:invertIfNegative val="0"/>
            <c:bubble3D val="0"/>
            <c:spPr>
              <a:solidFill>
                <a:schemeClr val="accent3"/>
              </a:solidFill>
              <a:ln>
                <a:noFill/>
              </a:ln>
            </c:spPr>
            <c:extLst>
              <c:ext xmlns:c16="http://schemas.microsoft.com/office/drawing/2014/chart" uri="{C3380CC4-5D6E-409C-BE32-E72D297353CC}">
                <c16:uniqueId val="{0000001B-F42D-4852-BCF9-02396E6DA78B}"/>
              </c:ext>
            </c:extLst>
          </c:dPt>
          <c:val>
            <c:numRef>
              <c:f>Sheet1!$A$7:$Q$7</c:f>
              <c:numCache>
                <c:formatCode>General</c:formatCode>
                <c:ptCount val="17"/>
                <c:pt idx="0">
                  <c:v>60.5</c:v>
                </c:pt>
                <c:pt idx="16">
                  <c:v>985</c:v>
                </c:pt>
              </c:numCache>
            </c:numRef>
          </c:val>
          <c:extLst>
            <c:ext xmlns:c16="http://schemas.microsoft.com/office/drawing/2014/chart" uri="{C3380CC4-5D6E-409C-BE32-E72D297353CC}">
              <c16:uniqueId val="{0000001C-F42D-4852-BCF9-02396E6DA78B}"/>
            </c:ext>
          </c:extLst>
        </c:ser>
        <c:ser>
          <c:idx val="7"/>
          <c:order val="7"/>
          <c:spPr>
            <a:solidFill>
              <a:srgbClr val="9F3C1C"/>
            </a:solidFill>
            <a:ln w="9525" cmpd="sng" algn="ctr">
              <a:solidFill>
                <a:schemeClr val="bg1"/>
              </a:solidFill>
              <a:prstDash val="solid"/>
            </a:ln>
          </c:spPr>
          <c:invertIfNegative val="0"/>
          <c:dPt>
            <c:idx val="16"/>
            <c:invertIfNegative val="0"/>
            <c:bubble3D val="0"/>
            <c:spPr>
              <a:solidFill>
                <a:schemeClr val="accent2"/>
              </a:solidFill>
              <a:ln>
                <a:noFill/>
              </a:ln>
            </c:spPr>
            <c:extLst>
              <c:ext xmlns:c16="http://schemas.microsoft.com/office/drawing/2014/chart" uri="{C3380CC4-5D6E-409C-BE32-E72D297353CC}">
                <c16:uniqueId val="{0000001D-F42D-4852-BCF9-02396E6DA78B}"/>
              </c:ext>
            </c:extLst>
          </c:dPt>
          <c:val>
            <c:numRef>
              <c:f>Sheet1!$A$8:$Q$8</c:f>
              <c:numCache>
                <c:formatCode>General</c:formatCode>
                <c:ptCount val="17"/>
                <c:pt idx="0">
                  <c:v>1174.44</c:v>
                </c:pt>
                <c:pt idx="16">
                  <c:v>800</c:v>
                </c:pt>
              </c:numCache>
            </c:numRef>
          </c:val>
          <c:extLst>
            <c:ext xmlns:c16="http://schemas.microsoft.com/office/drawing/2014/chart" uri="{C3380CC4-5D6E-409C-BE32-E72D297353CC}">
              <c16:uniqueId val="{0000001E-F42D-4852-BCF9-02396E6DA78B}"/>
            </c:ext>
          </c:extLst>
        </c:ser>
        <c:ser>
          <c:idx val="8"/>
          <c:order val="8"/>
          <c:spPr>
            <a:solidFill>
              <a:srgbClr val="DF5327"/>
            </a:solidFill>
            <a:ln w="9525" cmpd="sng" algn="ctr">
              <a:solidFill>
                <a:schemeClr val="bg1"/>
              </a:solidFill>
              <a:prstDash val="solid"/>
            </a:ln>
          </c:spPr>
          <c:invertIfNegative val="0"/>
          <c:dPt>
            <c:idx val="16"/>
            <c:invertIfNegative val="0"/>
            <c:bubble3D val="0"/>
            <c:spPr>
              <a:solidFill>
                <a:schemeClr val="accent1"/>
              </a:solidFill>
              <a:ln>
                <a:noFill/>
              </a:ln>
            </c:spPr>
            <c:extLst>
              <c:ext xmlns:c16="http://schemas.microsoft.com/office/drawing/2014/chart" uri="{C3380CC4-5D6E-409C-BE32-E72D297353CC}">
                <c16:uniqueId val="{0000001F-F42D-4852-BCF9-02396E6DA78B}"/>
              </c:ext>
            </c:extLst>
          </c:dPt>
          <c:val>
            <c:numRef>
              <c:f>Sheet1!$A$9:$Q$9</c:f>
              <c:numCache>
                <c:formatCode>General</c:formatCode>
                <c:ptCount val="17"/>
                <c:pt idx="0">
                  <c:v>684</c:v>
                </c:pt>
                <c:pt idx="16">
                  <c:v>1000</c:v>
                </c:pt>
              </c:numCache>
            </c:numRef>
          </c:val>
          <c:extLst>
            <c:ext xmlns:c16="http://schemas.microsoft.com/office/drawing/2014/chart" uri="{C3380CC4-5D6E-409C-BE32-E72D297353CC}">
              <c16:uniqueId val="{00000020-F42D-4852-BCF9-02396E6DA78B}"/>
            </c:ext>
          </c:extLst>
        </c:ser>
        <c:ser>
          <c:idx val="9"/>
          <c:order val="9"/>
          <c:spPr>
            <a:solidFill>
              <a:srgbClr val="B97800"/>
            </a:solidFill>
            <a:ln>
              <a:noFill/>
            </a:ln>
          </c:spPr>
          <c:invertIfNegative val="0"/>
          <c:dPt>
            <c:idx val="0"/>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21-F42D-4852-BCF9-02396E6DA78B}"/>
              </c:ext>
            </c:extLst>
          </c:dPt>
          <c:val>
            <c:numRef>
              <c:f>Sheet1!$A$10:$Q$10</c:f>
              <c:numCache>
                <c:formatCode>General</c:formatCode>
                <c:ptCount val="17"/>
                <c:pt idx="0">
                  <c:v>0</c:v>
                </c:pt>
                <c:pt idx="16">
                  <c:v>1213.8999999999996</c:v>
                </c:pt>
              </c:numCache>
            </c:numRef>
          </c:val>
          <c:extLst>
            <c:ext xmlns:c16="http://schemas.microsoft.com/office/drawing/2014/chart" uri="{C3380CC4-5D6E-409C-BE32-E72D297353CC}">
              <c16:uniqueId val="{00000022-F42D-4852-BCF9-02396E6DA78B}"/>
            </c:ext>
          </c:extLst>
        </c:ser>
        <c:ser>
          <c:idx val="10"/>
          <c:order val="10"/>
          <c:spPr>
            <a:solidFill>
              <a:srgbClr val="9F3C1C"/>
            </a:solidFill>
            <a:ln>
              <a:noFill/>
            </a:ln>
          </c:spPr>
          <c:invertIfNegative val="0"/>
          <c:dPt>
            <c:idx val="0"/>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23-F42D-4852-BCF9-02396E6DA78B}"/>
              </c:ext>
            </c:extLst>
          </c:dPt>
          <c:val>
            <c:numRef>
              <c:f>Sheet1!$A$11:$Q$11</c:f>
              <c:numCache>
                <c:formatCode>General</c:formatCode>
                <c:ptCount val="17"/>
                <c:pt idx="0">
                  <c:v>85</c:v>
                </c:pt>
                <c:pt idx="16">
                  <c:v>2744.4400000000005</c:v>
                </c:pt>
              </c:numCache>
            </c:numRef>
          </c:val>
          <c:extLst>
            <c:ext xmlns:c16="http://schemas.microsoft.com/office/drawing/2014/chart" uri="{C3380CC4-5D6E-409C-BE32-E72D297353CC}">
              <c16:uniqueId val="{00000024-F42D-4852-BCF9-02396E6DA78B}"/>
            </c:ext>
          </c:extLst>
        </c:ser>
        <c:ser>
          <c:idx val="11"/>
          <c:order val="11"/>
          <c:spPr>
            <a:solidFill>
              <a:srgbClr val="657D1A"/>
            </a:solidFill>
            <a:ln w="9525" cmpd="sng" algn="ctr">
              <a:solidFill>
                <a:schemeClr val="bg1"/>
              </a:solidFill>
              <a:prstDash val="solid"/>
            </a:ln>
          </c:spPr>
          <c:invertIfNegative val="0"/>
          <c:dPt>
            <c:idx val="16"/>
            <c:invertIfNegative val="0"/>
            <c:bubble3D val="0"/>
            <c:spPr>
              <a:solidFill>
                <a:srgbClr val="DF5327"/>
              </a:solidFill>
              <a:ln>
                <a:noFill/>
              </a:ln>
            </c:spPr>
            <c:extLst>
              <c:ext xmlns:c16="http://schemas.microsoft.com/office/drawing/2014/chart" uri="{C3380CC4-5D6E-409C-BE32-E72D297353CC}">
                <c16:uniqueId val="{00000025-F42D-4852-BCF9-02396E6DA78B}"/>
              </c:ext>
            </c:extLst>
          </c:dPt>
          <c:val>
            <c:numRef>
              <c:f>Sheet1!$A$12:$Q$12</c:f>
              <c:numCache>
                <c:formatCode>General</c:formatCode>
                <c:ptCount val="17"/>
                <c:pt idx="0">
                  <c:v>3308.0000000000005</c:v>
                </c:pt>
                <c:pt idx="16">
                  <c:v>2431</c:v>
                </c:pt>
              </c:numCache>
            </c:numRef>
          </c:val>
          <c:extLst>
            <c:ext xmlns:c16="http://schemas.microsoft.com/office/drawing/2014/chart" uri="{C3380CC4-5D6E-409C-BE32-E72D297353CC}">
              <c16:uniqueId val="{00000026-F42D-4852-BCF9-02396E6DA78B}"/>
            </c:ext>
          </c:extLst>
        </c:ser>
        <c:ser>
          <c:idx val="12"/>
          <c:order val="12"/>
          <c:spPr>
            <a:solidFill>
              <a:srgbClr val="CFDE63"/>
            </a:solidFill>
            <a:ln>
              <a:noFill/>
            </a:ln>
          </c:spPr>
          <c:invertIfNegative val="0"/>
          <c:dPt>
            <c:idx val="0"/>
            <c:invertIfNegative val="0"/>
            <c:bubble3D val="0"/>
            <c:spPr>
              <a:solidFill>
                <a:srgbClr val="B874B8"/>
              </a:solidFill>
              <a:ln w="9525" cmpd="sng" algn="ctr">
                <a:solidFill>
                  <a:schemeClr val="bg1"/>
                </a:solidFill>
                <a:prstDash val="solid"/>
              </a:ln>
            </c:spPr>
            <c:extLst>
              <c:ext xmlns:c16="http://schemas.microsoft.com/office/drawing/2014/chart" uri="{C3380CC4-5D6E-409C-BE32-E72D297353CC}">
                <c16:uniqueId val="{00000027-F42D-4852-BCF9-02396E6DA78B}"/>
              </c:ext>
            </c:extLst>
          </c:dPt>
          <c:val>
            <c:numRef>
              <c:f>Sheet1!$A$13:$Q$13</c:f>
              <c:numCache>
                <c:formatCode>General</c:formatCode>
                <c:ptCount val="17"/>
                <c:pt idx="0">
                  <c:v>200</c:v>
                </c:pt>
                <c:pt idx="16">
                  <c:v>1848</c:v>
                </c:pt>
              </c:numCache>
            </c:numRef>
          </c:val>
          <c:extLst>
            <c:ext xmlns:c16="http://schemas.microsoft.com/office/drawing/2014/chart" uri="{C3380CC4-5D6E-409C-BE32-E72D297353CC}">
              <c16:uniqueId val="{00000028-F42D-4852-BCF9-02396E6DA78B}"/>
            </c:ext>
          </c:extLst>
        </c:ser>
        <c:ser>
          <c:idx val="13"/>
          <c:order val="13"/>
          <c:spPr>
            <a:solidFill>
              <a:srgbClr val="A6B727"/>
            </a:solidFill>
            <a:ln>
              <a:noFill/>
            </a:ln>
          </c:spPr>
          <c:invertIfNegative val="0"/>
          <c:dPt>
            <c:idx val="0"/>
            <c:invertIfNegative val="0"/>
            <c:bubble3D val="0"/>
            <c:spPr>
              <a:solidFill>
                <a:srgbClr val="007770"/>
              </a:solidFill>
              <a:ln w="9525" cmpd="sng" algn="ctr">
                <a:solidFill>
                  <a:schemeClr val="bg1"/>
                </a:solidFill>
                <a:prstDash val="solid"/>
              </a:ln>
            </c:spPr>
            <c:extLst>
              <c:ext xmlns:c16="http://schemas.microsoft.com/office/drawing/2014/chart" uri="{C3380CC4-5D6E-409C-BE32-E72D297353CC}">
                <c16:uniqueId val="{00000029-F42D-4852-BCF9-02396E6DA78B}"/>
              </c:ext>
            </c:extLst>
          </c:dPt>
          <c:val>
            <c:numRef>
              <c:f>Sheet1!$A$14:$Q$14</c:f>
              <c:numCache>
                <c:formatCode>General</c:formatCode>
                <c:ptCount val="17"/>
                <c:pt idx="0">
                  <c:v>129.10000000000036</c:v>
                </c:pt>
                <c:pt idx="16">
                  <c:v>2230.9999999999982</c:v>
                </c:pt>
              </c:numCache>
            </c:numRef>
          </c:val>
          <c:extLst>
            <c:ext xmlns:c16="http://schemas.microsoft.com/office/drawing/2014/chart" uri="{C3380CC4-5D6E-409C-BE32-E72D297353CC}">
              <c16:uniqueId val="{0000002A-F42D-4852-BCF9-02396E6DA78B}"/>
            </c:ext>
          </c:extLst>
        </c:ser>
        <c:ser>
          <c:idx val="14"/>
          <c:order val="14"/>
          <c:spPr>
            <a:solidFill>
              <a:srgbClr val="657D1A"/>
            </a:solidFill>
            <a:ln>
              <a:noFill/>
            </a:ln>
          </c:spPr>
          <c:invertIfNegative val="0"/>
          <c:dPt>
            <c:idx val="0"/>
            <c:invertIfNegative val="0"/>
            <c:bubble3D val="0"/>
            <c:spPr>
              <a:solidFill>
                <a:srgbClr val="7030A0"/>
              </a:solidFill>
              <a:ln w="9525" cmpd="sng" algn="ctr">
                <a:solidFill>
                  <a:schemeClr val="bg1"/>
                </a:solidFill>
                <a:prstDash val="solid"/>
              </a:ln>
            </c:spPr>
            <c:extLst>
              <c:ext xmlns:c16="http://schemas.microsoft.com/office/drawing/2014/chart" uri="{C3380CC4-5D6E-409C-BE32-E72D297353CC}">
                <c16:uniqueId val="{0000002B-F42D-4852-BCF9-02396E6DA78B}"/>
              </c:ext>
            </c:extLst>
          </c:dPt>
          <c:val>
            <c:numRef>
              <c:f>Sheet1!$A$15:$Q$15</c:f>
              <c:numCache>
                <c:formatCode>General</c:formatCode>
                <c:ptCount val="17"/>
                <c:pt idx="0">
                  <c:v>75</c:v>
                </c:pt>
                <c:pt idx="16">
                  <c:v>12015</c:v>
                </c:pt>
              </c:numCache>
            </c:numRef>
          </c:val>
          <c:extLst>
            <c:ext xmlns:c16="http://schemas.microsoft.com/office/drawing/2014/chart" uri="{C3380CC4-5D6E-409C-BE32-E72D297353CC}">
              <c16:uniqueId val="{0000002C-F42D-4852-BCF9-02396E6DA78B}"/>
            </c:ext>
          </c:extLst>
        </c:ser>
        <c:ser>
          <c:idx val="15"/>
          <c:order val="15"/>
          <c:spPr>
            <a:solidFill>
              <a:srgbClr val="B874B8"/>
            </a:solidFill>
            <a:ln>
              <a:noFill/>
            </a:ln>
          </c:spPr>
          <c:invertIfNegative val="0"/>
          <c:dPt>
            <c:idx val="0"/>
            <c:invertIfNegative val="0"/>
            <c:bubble3D val="0"/>
            <c:spPr>
              <a:solidFill>
                <a:srgbClr val="E1C4E1"/>
              </a:solidFill>
              <a:ln w="9525" cmpd="sng" algn="ctr">
                <a:solidFill>
                  <a:schemeClr val="bg1"/>
                </a:solidFill>
                <a:prstDash val="solid"/>
              </a:ln>
            </c:spPr>
            <c:extLst>
              <c:ext xmlns:c16="http://schemas.microsoft.com/office/drawing/2014/chart" uri="{C3380CC4-5D6E-409C-BE32-E72D297353CC}">
                <c16:uniqueId val="{0000002D-F42D-4852-BCF9-02396E6DA78B}"/>
              </c:ext>
            </c:extLst>
          </c:dPt>
          <c:val>
            <c:numRef>
              <c:f>Sheet1!$A$16:$Q$16</c:f>
              <c:numCache>
                <c:formatCode>General</c:formatCode>
                <c:ptCount val="17"/>
                <c:pt idx="0">
                  <c:v>15.029999999999745</c:v>
                </c:pt>
                <c:pt idx="16">
                  <c:v>200</c:v>
                </c:pt>
              </c:numCache>
            </c:numRef>
          </c:val>
          <c:extLst>
            <c:ext xmlns:c16="http://schemas.microsoft.com/office/drawing/2014/chart" uri="{C3380CC4-5D6E-409C-BE32-E72D297353CC}">
              <c16:uniqueId val="{0000002E-F42D-4852-BCF9-02396E6DA78B}"/>
            </c:ext>
          </c:extLst>
        </c:ser>
        <c:ser>
          <c:idx val="16"/>
          <c:order val="16"/>
          <c:spPr>
            <a:solidFill>
              <a:srgbClr val="007770"/>
            </a:solidFill>
            <a:ln>
              <a:noFill/>
            </a:ln>
          </c:spPr>
          <c:invertIfNegative val="0"/>
          <c:dPt>
            <c:idx val="0"/>
            <c:invertIfNegative val="0"/>
            <c:bubble3D val="0"/>
            <c:spPr>
              <a:solidFill>
                <a:schemeClr val="tx2"/>
              </a:solidFill>
              <a:ln w="9525" cmpd="sng" algn="ctr">
                <a:solidFill>
                  <a:schemeClr val="tx2"/>
                </a:solidFill>
                <a:prstDash val="solid"/>
              </a:ln>
            </c:spPr>
            <c:extLst>
              <c:ext xmlns:c16="http://schemas.microsoft.com/office/drawing/2014/chart" uri="{C3380CC4-5D6E-409C-BE32-E72D297353CC}">
                <c16:uniqueId val="{0000002F-F42D-4852-BCF9-02396E6DA78B}"/>
              </c:ext>
            </c:extLst>
          </c:dPt>
          <c:val>
            <c:numRef>
              <c:f>Sheet1!$A$17:$Q$17</c:f>
              <c:numCache>
                <c:formatCode>General</c:formatCode>
                <c:ptCount val="17"/>
                <c:pt idx="0">
                  <c:v>0</c:v>
                </c:pt>
                <c:pt idx="16">
                  <c:v>296.09999999999854</c:v>
                </c:pt>
              </c:numCache>
            </c:numRef>
          </c:val>
          <c:extLst>
            <c:ext xmlns:c16="http://schemas.microsoft.com/office/drawing/2014/chart" uri="{C3380CC4-5D6E-409C-BE32-E72D297353CC}">
              <c16:uniqueId val="{00000030-F42D-4852-BCF9-02396E6DA78B}"/>
            </c:ext>
          </c:extLst>
        </c:ser>
        <c:ser>
          <c:idx val="17"/>
          <c:order val="17"/>
          <c:spPr>
            <a:solidFill>
              <a:srgbClr val="7030A0"/>
            </a:solidFill>
            <a:ln>
              <a:noFill/>
            </a:ln>
          </c:spPr>
          <c:invertIfNegative val="0"/>
          <c:dPt>
            <c:idx val="0"/>
            <c:invertIfNegative val="0"/>
            <c:bubble3D val="0"/>
            <c:spPr>
              <a:solidFill>
                <a:schemeClr val="accent5"/>
              </a:solidFill>
              <a:ln w="9525" cmpd="sng" algn="ctr">
                <a:solidFill>
                  <a:schemeClr val="accent5"/>
                </a:solidFill>
                <a:prstDash val="solid"/>
              </a:ln>
            </c:spPr>
            <c:extLst>
              <c:ext xmlns:c16="http://schemas.microsoft.com/office/drawing/2014/chart" uri="{C3380CC4-5D6E-409C-BE32-E72D297353CC}">
                <c16:uniqueId val="{00000031-F42D-4852-BCF9-02396E6DA78B}"/>
              </c:ext>
            </c:extLst>
          </c:dPt>
          <c:val>
            <c:numRef>
              <c:f>Sheet1!$A$18:$Q$18</c:f>
              <c:numCache>
                <c:formatCode>General</c:formatCode>
                <c:ptCount val="17"/>
                <c:pt idx="0">
                  <c:v>0</c:v>
                </c:pt>
                <c:pt idx="16">
                  <c:v>0</c:v>
                </c:pt>
              </c:numCache>
            </c:numRef>
          </c:val>
          <c:extLst>
            <c:ext xmlns:c16="http://schemas.microsoft.com/office/drawing/2014/chart" uri="{C3380CC4-5D6E-409C-BE32-E72D297353CC}">
              <c16:uniqueId val="{00000032-F42D-4852-BCF9-02396E6DA78B}"/>
            </c:ext>
          </c:extLst>
        </c:ser>
        <c:ser>
          <c:idx val="18"/>
          <c:order val="18"/>
          <c:spPr>
            <a:solidFill>
              <a:srgbClr val="E1C4E1"/>
            </a:solidFill>
            <a:ln>
              <a:noFill/>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33-F42D-4852-BCF9-02396E6DA78B}"/>
              </c:ext>
            </c:extLst>
          </c:dPt>
          <c:val>
            <c:numRef>
              <c:f>Sheet1!$A$19:$Q$19</c:f>
              <c:numCache>
                <c:formatCode>General</c:formatCode>
                <c:ptCount val="17"/>
                <c:pt idx="0">
                  <c:v>0</c:v>
                </c:pt>
                <c:pt idx="16">
                  <c:v>98.529999999998836</c:v>
                </c:pt>
              </c:numCache>
            </c:numRef>
          </c:val>
          <c:extLst>
            <c:ext xmlns:c16="http://schemas.microsoft.com/office/drawing/2014/chart" uri="{C3380CC4-5D6E-409C-BE32-E72D297353CC}">
              <c16:uniqueId val="{00000034-F42D-4852-BCF9-02396E6DA78B}"/>
            </c:ext>
          </c:extLst>
        </c:ser>
        <c:ser>
          <c:idx val="19"/>
          <c:order val="19"/>
          <c:spPr>
            <a:solidFill>
              <a:schemeClr val="accent6"/>
            </a:solidFill>
            <a:ln>
              <a:noFill/>
            </a:ln>
          </c:spPr>
          <c:invertIfNegative val="0"/>
          <c:val>
            <c:numRef>
              <c:f>Sheet1!$A$20:$Q$20</c:f>
              <c:numCache>
                <c:formatCode>General</c:formatCode>
                <c:ptCount val="17"/>
                <c:pt idx="16">
                  <c:v>-125.50000030006049</c:v>
                </c:pt>
              </c:numCache>
            </c:numRef>
          </c:val>
          <c:extLst>
            <c:ext xmlns:c16="http://schemas.microsoft.com/office/drawing/2014/chart" uri="{C3380CC4-5D6E-409C-BE32-E72D297353CC}">
              <c16:uniqueId val="{00000035-F42D-4852-BCF9-02396E6DA78B}"/>
            </c:ext>
          </c:extLst>
        </c:ser>
        <c:dLbls>
          <c:showLegendKey val="0"/>
          <c:showVal val="0"/>
          <c:showCatName val="0"/>
          <c:showSerName val="0"/>
          <c:showPercent val="0"/>
          <c:showBubbleSize val="0"/>
        </c:dLbls>
        <c:gapWidth val="80"/>
        <c:overlap val="100"/>
        <c:axId val="893925024"/>
        <c:axId val="1"/>
      </c:barChart>
      <c:catAx>
        <c:axId val="893925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8885.862907699935"/>
          <c:min val="-125.50000030006049"/>
        </c:scaling>
        <c:delete val="1"/>
        <c:axPos val="l"/>
        <c:numFmt formatCode="General" sourceLinked="1"/>
        <c:majorTickMark val="out"/>
        <c:minorTickMark val="none"/>
        <c:tickLblPos val="nextTo"/>
        <c:crossAx val="893925024"/>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104417670682729E-2"/>
          <c:y val="4.1969330104923326E-2"/>
          <c:w val="0.94779116465863456"/>
          <c:h val="0.91606133979015336"/>
        </c:manualLayout>
      </c:layout>
      <c:barChart>
        <c:barDir val="bar"/>
        <c:grouping val="stacked"/>
        <c:varyColors val="0"/>
        <c:ser>
          <c:idx val="0"/>
          <c:order val="0"/>
          <c:spPr>
            <a:solidFill>
              <a:schemeClr val="accent6"/>
            </a:solidFill>
            <a:ln w="9525" cmpd="sng" algn="ctr">
              <a:solidFill>
                <a:schemeClr val="bg1"/>
              </a:solidFill>
              <a:prstDash val="solid"/>
            </a:ln>
          </c:spPr>
          <c:invertIfNegative val="0"/>
          <c:val>
            <c:numRef>
              <c:f>Sheet1!$A$1:$E$1</c:f>
              <c:numCache>
                <c:formatCode>General</c:formatCode>
                <c:ptCount val="5"/>
                <c:pt idx="0">
                  <c:v>36.9</c:v>
                </c:pt>
                <c:pt idx="1">
                  <c:v>15.8</c:v>
                </c:pt>
                <c:pt idx="2">
                  <c:v>13.8</c:v>
                </c:pt>
                <c:pt idx="3">
                  <c:v>6.8</c:v>
                </c:pt>
                <c:pt idx="4">
                  <c:v>5.0999999999999996</c:v>
                </c:pt>
              </c:numCache>
            </c:numRef>
          </c:val>
          <c:extLst>
            <c:ext xmlns:c16="http://schemas.microsoft.com/office/drawing/2014/chart" uri="{C3380CC4-5D6E-409C-BE32-E72D297353CC}">
              <c16:uniqueId val="{00000000-AA1F-4EE7-998C-DB7FD2D3D151}"/>
            </c:ext>
          </c:extLst>
        </c:ser>
        <c:dLbls>
          <c:showLegendKey val="0"/>
          <c:showVal val="0"/>
          <c:showCatName val="0"/>
          <c:showSerName val="0"/>
          <c:showPercent val="0"/>
          <c:showBubbleSize val="0"/>
        </c:dLbls>
        <c:gapWidth val="80"/>
        <c:overlap val="100"/>
        <c:axId val="1346870879"/>
        <c:axId val="1"/>
      </c:barChart>
      <c:catAx>
        <c:axId val="134687087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9"/>
          <c:min val="0"/>
        </c:scaling>
        <c:delete val="1"/>
        <c:axPos val="t"/>
        <c:numFmt formatCode="General" sourceLinked="1"/>
        <c:majorTickMark val="out"/>
        <c:minorTickMark val="none"/>
        <c:tickLblPos val="nextTo"/>
        <c:crossAx val="134687087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66746602717829E-2"/>
          <c:y val="3.8319823139277821E-2"/>
          <c:w val="0.91686650679456438"/>
          <c:h val="0.92336035372144432"/>
        </c:manualLayout>
      </c:layout>
      <c:barChart>
        <c:barDir val="bar"/>
        <c:grouping val="stacked"/>
        <c:varyColors val="0"/>
        <c:ser>
          <c:idx val="0"/>
          <c:order val="0"/>
          <c:spPr>
            <a:solidFill>
              <a:srgbClr val="6F854E"/>
            </a:solidFill>
            <a:ln>
              <a:noFill/>
            </a:ln>
          </c:spPr>
          <c:invertIfNegative val="0"/>
          <c:val>
            <c:numRef>
              <c:f>Sheet1!$A$1:$E$1</c:f>
              <c:numCache>
                <c:formatCode>General</c:formatCode>
                <c:ptCount val="5"/>
                <c:pt idx="0">
                  <c:v>7.679045369711055</c:v>
                </c:pt>
                <c:pt idx="1">
                  <c:v>7.3630207382785944</c:v>
                </c:pt>
                <c:pt idx="2">
                  <c:v>7.2927484237868683</c:v>
                </c:pt>
                <c:pt idx="3">
                  <c:v>6.5472647410066056</c:v>
                </c:pt>
                <c:pt idx="4">
                  <c:v>5.8909768997398348</c:v>
                </c:pt>
              </c:numCache>
            </c:numRef>
          </c:val>
          <c:extLst>
            <c:ext xmlns:c16="http://schemas.microsoft.com/office/drawing/2014/chart" uri="{C3380CC4-5D6E-409C-BE32-E72D297353CC}">
              <c16:uniqueId val="{00000000-A11F-4518-B020-8D3061A3E777}"/>
            </c:ext>
          </c:extLst>
        </c:ser>
        <c:dLbls>
          <c:showLegendKey val="0"/>
          <c:showVal val="0"/>
          <c:showCatName val="0"/>
          <c:showSerName val="0"/>
          <c:showPercent val="0"/>
          <c:showBubbleSize val="0"/>
        </c:dLbls>
        <c:gapWidth val="80"/>
        <c:overlap val="100"/>
        <c:axId val="1681453584"/>
        <c:axId val="1"/>
      </c:barChart>
      <c:catAx>
        <c:axId val="168145358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5"/>
          <c:min val="0"/>
        </c:scaling>
        <c:delete val="1"/>
        <c:axPos val="t"/>
        <c:numFmt formatCode="General" sourceLinked="1"/>
        <c:majorTickMark val="out"/>
        <c:minorTickMark val="none"/>
        <c:tickLblPos val="nextTo"/>
        <c:crossAx val="1681453584"/>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553038105046344E-2"/>
          <c:y val="4.701627486437613E-2"/>
          <c:w val="0.89289392378990728"/>
          <c:h val="0.9059674502712477"/>
        </c:manualLayout>
      </c:layout>
      <c:barChart>
        <c:barDir val="col"/>
        <c:grouping val="stacked"/>
        <c:varyColors val="0"/>
        <c:ser>
          <c:idx val="0"/>
          <c:order val="0"/>
          <c:spPr>
            <a:solidFill>
              <a:srgbClr val="C0C0C0"/>
            </a:solidFill>
            <a:ln w="9525" cmpd="sng" algn="ctr">
              <a:solidFill>
                <a:schemeClr val="bg1"/>
              </a:solidFill>
              <a:prstDash val="solid"/>
            </a:ln>
          </c:spPr>
          <c:invertIfNegative val="0"/>
          <c:val>
            <c:numRef>
              <c:f>Sheet1!$A$1</c:f>
              <c:numCache>
                <c:formatCode>General</c:formatCode>
                <c:ptCount val="1"/>
                <c:pt idx="0">
                  <c:v>46</c:v>
                </c:pt>
              </c:numCache>
            </c:numRef>
          </c:val>
          <c:extLst>
            <c:ext xmlns:c16="http://schemas.microsoft.com/office/drawing/2014/chart" uri="{C3380CC4-5D6E-409C-BE32-E72D297353CC}">
              <c16:uniqueId val="{00000000-0118-44B1-940D-90C070A29802}"/>
            </c:ext>
          </c:extLst>
        </c:ser>
        <c:ser>
          <c:idx val="1"/>
          <c:order val="1"/>
          <c:spPr>
            <a:solidFill>
              <a:srgbClr val="D81E14"/>
            </a:solidFill>
            <a:ln w="9525" cmpd="sng" algn="ctr">
              <a:solidFill>
                <a:schemeClr val="bg1"/>
              </a:solidFill>
              <a:prstDash val="solid"/>
            </a:ln>
          </c:spPr>
          <c:invertIfNegative val="0"/>
          <c:val>
            <c:numRef>
              <c:f>Sheet1!$A$2</c:f>
              <c:numCache>
                <c:formatCode>General</c:formatCode>
                <c:ptCount val="1"/>
                <c:pt idx="0">
                  <c:v>17</c:v>
                </c:pt>
              </c:numCache>
            </c:numRef>
          </c:val>
          <c:extLst>
            <c:ext xmlns:c16="http://schemas.microsoft.com/office/drawing/2014/chart" uri="{C3380CC4-5D6E-409C-BE32-E72D297353CC}">
              <c16:uniqueId val="{00000001-0118-44B1-940D-90C070A29802}"/>
            </c:ext>
          </c:extLst>
        </c:ser>
        <c:ser>
          <c:idx val="2"/>
          <c:order val="2"/>
          <c:spPr>
            <a:solidFill>
              <a:srgbClr val="0AA547"/>
            </a:solidFill>
            <a:ln w="9525" cmpd="sng" algn="ctr">
              <a:solidFill>
                <a:schemeClr val="bg1"/>
              </a:solidFill>
              <a:prstDash val="solid"/>
            </a:ln>
          </c:spPr>
          <c:invertIfNegative val="0"/>
          <c:val>
            <c:numRef>
              <c:f>Sheet1!$A$3</c:f>
              <c:numCache>
                <c:formatCode>General</c:formatCode>
                <c:ptCount val="1"/>
                <c:pt idx="0">
                  <c:v>18.000000000000004</c:v>
                </c:pt>
              </c:numCache>
            </c:numRef>
          </c:val>
          <c:extLst>
            <c:ext xmlns:c16="http://schemas.microsoft.com/office/drawing/2014/chart" uri="{C3380CC4-5D6E-409C-BE32-E72D297353CC}">
              <c16:uniqueId val="{00000002-0118-44B1-940D-90C070A29802}"/>
            </c:ext>
          </c:extLst>
        </c:ser>
        <c:ser>
          <c:idx val="3"/>
          <c:order val="3"/>
          <c:spPr>
            <a:solidFill>
              <a:srgbClr val="6F8DB9"/>
            </a:solidFill>
            <a:ln w="9525" cmpd="sng" algn="ctr">
              <a:solidFill>
                <a:schemeClr val="bg1"/>
              </a:solidFill>
              <a:prstDash val="solid"/>
            </a:ln>
          </c:spPr>
          <c:invertIfNegative val="0"/>
          <c:val>
            <c:numRef>
              <c:f>Sheet1!$A$4</c:f>
              <c:numCache>
                <c:formatCode>General</c:formatCode>
                <c:ptCount val="1"/>
                <c:pt idx="0">
                  <c:v>18.999999999999993</c:v>
                </c:pt>
              </c:numCache>
            </c:numRef>
          </c:val>
          <c:extLst>
            <c:ext xmlns:c16="http://schemas.microsoft.com/office/drawing/2014/chart" uri="{C3380CC4-5D6E-409C-BE32-E72D297353CC}">
              <c16:uniqueId val="{00000003-0118-44B1-940D-90C070A29802}"/>
            </c:ext>
          </c:extLst>
        </c:ser>
        <c:dLbls>
          <c:showLegendKey val="0"/>
          <c:showVal val="0"/>
          <c:showCatName val="0"/>
          <c:showSerName val="0"/>
          <c:showPercent val="0"/>
          <c:showBubbleSize val="0"/>
        </c:dLbls>
        <c:gapWidth val="80"/>
        <c:overlap val="100"/>
        <c:axId val="1346868479"/>
        <c:axId val="1"/>
      </c:barChart>
      <c:catAx>
        <c:axId val="13468684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1346868479"/>
        <c:crosses val="min"/>
        <c:crossBetween val="between"/>
        <c:majorUnit val="20"/>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61919504643963E-2"/>
          <c:y val="2.1648626144879269E-2"/>
          <c:w val="0.97987616099071206"/>
          <c:h val="0.95670274771024144"/>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0">
                  <c:v>4.1100000000000003</c:v>
                </c:pt>
                <c:pt idx="1">
                  <c:v>7.17</c:v>
                </c:pt>
                <c:pt idx="2">
                  <c:v>8.32</c:v>
                </c:pt>
                <c:pt idx="3">
                  <c:v>9.06</c:v>
                </c:pt>
                <c:pt idx="4">
                  <c:v>8.75</c:v>
                </c:pt>
              </c:numCache>
            </c:numRef>
          </c:val>
          <c:extLst>
            <c:ext xmlns:c16="http://schemas.microsoft.com/office/drawing/2014/chart" uri="{C3380CC4-5D6E-409C-BE32-E72D297353CC}">
              <c16:uniqueId val="{00000000-DD32-4834-98DF-A840832AFEC8}"/>
            </c:ext>
          </c:extLst>
        </c:ser>
        <c:ser>
          <c:idx val="1"/>
          <c:order val="1"/>
          <c:spPr>
            <a:solidFill>
              <a:srgbClr val="9DB1CF"/>
            </a:solidFill>
            <a:ln>
              <a:noFill/>
            </a:ln>
          </c:spPr>
          <c:invertIfNegative val="0"/>
          <c:val>
            <c:numRef>
              <c:f>Sheet1!$A$2:$E$2</c:f>
              <c:numCache>
                <c:formatCode>General</c:formatCode>
                <c:ptCount val="5"/>
                <c:pt idx="0">
                  <c:v>2.87</c:v>
                </c:pt>
                <c:pt idx="1">
                  <c:v>11.33</c:v>
                </c:pt>
                <c:pt idx="2">
                  <c:v>25</c:v>
                </c:pt>
                <c:pt idx="3">
                  <c:v>33.880000000000003</c:v>
                </c:pt>
                <c:pt idx="4">
                  <c:v>44.61</c:v>
                </c:pt>
              </c:numCache>
            </c:numRef>
          </c:val>
          <c:extLst>
            <c:ext xmlns:c16="http://schemas.microsoft.com/office/drawing/2014/chart" uri="{C3380CC4-5D6E-409C-BE32-E72D297353CC}">
              <c16:uniqueId val="{00000001-DD32-4834-98DF-A840832AFEC8}"/>
            </c:ext>
          </c:extLst>
        </c:ser>
        <c:ser>
          <c:idx val="2"/>
          <c:order val="2"/>
          <c:spPr>
            <a:solidFill>
              <a:srgbClr val="6F8DB9"/>
            </a:solidFill>
            <a:ln>
              <a:noFill/>
            </a:ln>
          </c:spPr>
          <c:invertIfNegative val="0"/>
          <c:val>
            <c:numRef>
              <c:f>Sheet1!$A$3:$E$3</c:f>
              <c:numCache>
                <c:formatCode>General</c:formatCode>
                <c:ptCount val="5"/>
                <c:pt idx="0">
                  <c:v>9.9999999999999645E-2</c:v>
                </c:pt>
                <c:pt idx="1">
                  <c:v>3.1000000000000014</c:v>
                </c:pt>
                <c:pt idx="2">
                  <c:v>17.86</c:v>
                </c:pt>
                <c:pt idx="3">
                  <c:v>33.059999999999995</c:v>
                </c:pt>
                <c:pt idx="4">
                  <c:v>44.649999999999991</c:v>
                </c:pt>
              </c:numCache>
            </c:numRef>
          </c:val>
          <c:extLst>
            <c:ext xmlns:c16="http://schemas.microsoft.com/office/drawing/2014/chart" uri="{C3380CC4-5D6E-409C-BE32-E72D297353CC}">
              <c16:uniqueId val="{00000002-DD32-4834-98DF-A840832AFEC8}"/>
            </c:ext>
          </c:extLst>
        </c:ser>
        <c:dLbls>
          <c:showLegendKey val="0"/>
          <c:showVal val="0"/>
          <c:showCatName val="0"/>
          <c:showSerName val="0"/>
          <c:showPercent val="0"/>
          <c:showBubbleSize val="0"/>
        </c:dLbls>
        <c:gapWidth val="50"/>
        <c:overlap val="100"/>
        <c:axId val="798005056"/>
        <c:axId val="1"/>
      </c:barChart>
      <c:lineChart>
        <c:grouping val="standard"/>
        <c:varyColors val="0"/>
        <c:ser>
          <c:idx val="3"/>
          <c:order val="3"/>
          <c:spPr>
            <a:ln w="22225" cmpd="sng" algn="ctr">
              <a:solidFill>
                <a:srgbClr val="DF5327"/>
              </a:solidFill>
              <a:prstDash val="dash"/>
            </a:ln>
          </c:spPr>
          <c:marker>
            <c:symbol val="none"/>
          </c:marker>
          <c:val>
            <c:numRef>
              <c:f>Sheet1!$A$4:$E$4</c:f>
              <c:numCache>
                <c:formatCode>General</c:formatCode>
                <c:ptCount val="5"/>
                <c:pt idx="0">
                  <c:v>28.8</c:v>
                </c:pt>
                <c:pt idx="1">
                  <c:v>28.8</c:v>
                </c:pt>
                <c:pt idx="2">
                  <c:v>28.8</c:v>
                </c:pt>
                <c:pt idx="3">
                  <c:v>28.8</c:v>
                </c:pt>
                <c:pt idx="4">
                  <c:v>28.8</c:v>
                </c:pt>
              </c:numCache>
            </c:numRef>
          </c:val>
          <c:smooth val="0"/>
          <c:extLst>
            <c:ext xmlns:c16="http://schemas.microsoft.com/office/drawing/2014/chart" uri="{C3380CC4-5D6E-409C-BE32-E72D297353CC}">
              <c16:uniqueId val="{00000003-DD32-4834-98DF-A840832AFEC8}"/>
            </c:ext>
          </c:extLst>
        </c:ser>
        <c:dLbls>
          <c:showLegendKey val="0"/>
          <c:showVal val="0"/>
          <c:showCatName val="0"/>
          <c:showSerName val="0"/>
          <c:showPercent val="0"/>
          <c:showBubbleSize val="0"/>
        </c:dLbls>
        <c:marker val="1"/>
        <c:smooth val="0"/>
        <c:axId val="798005056"/>
        <c:axId val="1"/>
      </c:lineChart>
      <c:catAx>
        <c:axId val="7980050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798005056"/>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46103456065055E-2"/>
          <c:y val="1.8518518518518517E-2"/>
          <c:w val="0.97650779308786984"/>
          <c:h val="0.96296296296296291"/>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val>
            <c:numRef>
              <c:f>Sheet1!$A$1:$AO$1</c:f>
              <c:numCache>
                <c:formatCode>General</c:formatCode>
                <c:ptCount val="41"/>
                <c:pt idx="0">
                  <c:v>2.1709999999999998</c:v>
                </c:pt>
                <c:pt idx="1">
                  <c:v>5.266</c:v>
                </c:pt>
                <c:pt idx="3">
                  <c:v>0</c:v>
                </c:pt>
                <c:pt idx="4">
                  <c:v>0</c:v>
                </c:pt>
                <c:pt idx="6">
                  <c:v>0.38600000000000001</c:v>
                </c:pt>
                <c:pt idx="7">
                  <c:v>1.0860000000000001</c:v>
                </c:pt>
                <c:pt idx="9">
                  <c:v>1E-3</c:v>
                </c:pt>
                <c:pt idx="10">
                  <c:v>1E-3</c:v>
                </c:pt>
                <c:pt idx="12">
                  <c:v>0</c:v>
                </c:pt>
                <c:pt idx="13">
                  <c:v>0</c:v>
                </c:pt>
                <c:pt idx="15">
                  <c:v>0</c:v>
                </c:pt>
                <c:pt idx="16">
                  <c:v>1E-3</c:v>
                </c:pt>
                <c:pt idx="18">
                  <c:v>0.73399999999999999</c:v>
                </c:pt>
                <c:pt idx="19">
                  <c:v>0.70099999999999996</c:v>
                </c:pt>
                <c:pt idx="21">
                  <c:v>0</c:v>
                </c:pt>
                <c:pt idx="22">
                  <c:v>1E-3</c:v>
                </c:pt>
                <c:pt idx="24">
                  <c:v>0.61699999999999999</c:v>
                </c:pt>
                <c:pt idx="25">
                  <c:v>1.3919999999999999</c:v>
                </c:pt>
                <c:pt idx="27">
                  <c:v>0</c:v>
                </c:pt>
                <c:pt idx="28">
                  <c:v>0</c:v>
                </c:pt>
                <c:pt idx="30">
                  <c:v>0</c:v>
                </c:pt>
                <c:pt idx="31">
                  <c:v>0</c:v>
                </c:pt>
                <c:pt idx="33">
                  <c:v>0</c:v>
                </c:pt>
                <c:pt idx="34">
                  <c:v>0</c:v>
                </c:pt>
                <c:pt idx="36">
                  <c:v>5.6000000000000001E-2</c:v>
                </c:pt>
                <c:pt idx="37">
                  <c:v>0.433</c:v>
                </c:pt>
                <c:pt idx="39">
                  <c:v>0</c:v>
                </c:pt>
                <c:pt idx="40">
                  <c:v>0</c:v>
                </c:pt>
              </c:numCache>
            </c:numRef>
          </c:val>
          <c:extLst>
            <c:ext xmlns:c16="http://schemas.microsoft.com/office/drawing/2014/chart" uri="{C3380CC4-5D6E-409C-BE32-E72D297353CC}">
              <c16:uniqueId val="{00000000-471E-4829-BCF7-70E6E5842AF4}"/>
            </c:ext>
          </c:extLst>
        </c:ser>
        <c:ser>
          <c:idx val="1"/>
          <c:order val="1"/>
          <c:spPr>
            <a:solidFill>
              <a:srgbClr val="9DB1CF"/>
            </a:solidFill>
            <a:ln w="9525" cmpd="sng" algn="ctr">
              <a:solidFill>
                <a:schemeClr val="bg1"/>
              </a:solidFill>
              <a:prstDash val="solid"/>
            </a:ln>
          </c:spPr>
          <c:invertIfNegative val="0"/>
          <c:val>
            <c:numRef>
              <c:f>Sheet1!$A$2:$AO$2</c:f>
              <c:numCache>
                <c:formatCode>General</c:formatCode>
                <c:ptCount val="41"/>
                <c:pt idx="0">
                  <c:v>1.117</c:v>
                </c:pt>
                <c:pt idx="1">
                  <c:v>7.8780000000000001</c:v>
                </c:pt>
                <c:pt idx="3">
                  <c:v>3.7999999999999999E-2</c:v>
                </c:pt>
                <c:pt idx="4">
                  <c:v>0.22700000000000001</c:v>
                </c:pt>
                <c:pt idx="6">
                  <c:v>0.78799999999999992</c:v>
                </c:pt>
                <c:pt idx="7">
                  <c:v>6.0140000000000002</c:v>
                </c:pt>
                <c:pt idx="9">
                  <c:v>0.20200000000000001</c:v>
                </c:pt>
                <c:pt idx="10">
                  <c:v>1.1910000000000001</c:v>
                </c:pt>
                <c:pt idx="12">
                  <c:v>0</c:v>
                </c:pt>
                <c:pt idx="13">
                  <c:v>3.0009999999999999</c:v>
                </c:pt>
                <c:pt idx="15">
                  <c:v>0</c:v>
                </c:pt>
                <c:pt idx="16">
                  <c:v>1E-3</c:v>
                </c:pt>
                <c:pt idx="18">
                  <c:v>3.7000000000000033E-2</c:v>
                </c:pt>
                <c:pt idx="19">
                  <c:v>0.70099999999999996</c:v>
                </c:pt>
                <c:pt idx="21">
                  <c:v>7.3999999999999996E-2</c:v>
                </c:pt>
                <c:pt idx="22">
                  <c:v>0.91700000000000004</c:v>
                </c:pt>
                <c:pt idx="24">
                  <c:v>6.6000000000000059E-2</c:v>
                </c:pt>
                <c:pt idx="25">
                  <c:v>0.12400000000000011</c:v>
                </c:pt>
                <c:pt idx="27">
                  <c:v>0.14299999999999999</c:v>
                </c:pt>
                <c:pt idx="28">
                  <c:v>1.036</c:v>
                </c:pt>
                <c:pt idx="30">
                  <c:v>2E-3</c:v>
                </c:pt>
                <c:pt idx="31">
                  <c:v>1.0009999999999999</c:v>
                </c:pt>
                <c:pt idx="33">
                  <c:v>0.19900000000000001</c:v>
                </c:pt>
                <c:pt idx="34">
                  <c:v>0.65300000000000002</c:v>
                </c:pt>
                <c:pt idx="36">
                  <c:v>0</c:v>
                </c:pt>
                <c:pt idx="37">
                  <c:v>3.0000000000000027E-3</c:v>
                </c:pt>
                <c:pt idx="39">
                  <c:v>0</c:v>
                </c:pt>
                <c:pt idx="40">
                  <c:v>1E-3</c:v>
                </c:pt>
              </c:numCache>
            </c:numRef>
          </c:val>
          <c:extLst>
            <c:ext xmlns:c16="http://schemas.microsoft.com/office/drawing/2014/chart" uri="{C3380CC4-5D6E-409C-BE32-E72D297353CC}">
              <c16:uniqueId val="{00000001-471E-4829-BCF7-70E6E5842AF4}"/>
            </c:ext>
          </c:extLst>
        </c:ser>
        <c:ser>
          <c:idx val="2"/>
          <c:order val="2"/>
          <c:spPr>
            <a:solidFill>
              <a:srgbClr val="6F8DB9"/>
            </a:solidFill>
            <a:ln w="9525" cmpd="sng" algn="ctr">
              <a:solidFill>
                <a:schemeClr val="bg1"/>
              </a:solidFill>
              <a:prstDash val="solid"/>
            </a:ln>
          </c:spPr>
          <c:invertIfNegative val="0"/>
          <c:val>
            <c:numRef>
              <c:f>Sheet1!$A$3:$AO$3</c:f>
              <c:numCache>
                <c:formatCode>General</c:formatCode>
                <c:ptCount val="41"/>
                <c:pt idx="0">
                  <c:v>2.0000000000000018E-2</c:v>
                </c:pt>
                <c:pt idx="1">
                  <c:v>0.7970000000000006</c:v>
                </c:pt>
                <c:pt idx="3">
                  <c:v>4.6999999999999993E-2</c:v>
                </c:pt>
                <c:pt idx="4">
                  <c:v>10.120999999999999</c:v>
                </c:pt>
                <c:pt idx="6">
                  <c:v>0</c:v>
                </c:pt>
                <c:pt idx="7">
                  <c:v>0</c:v>
                </c:pt>
                <c:pt idx="9">
                  <c:v>1.0000000000000009E-3</c:v>
                </c:pt>
                <c:pt idx="10">
                  <c:v>3.0910000000000002</c:v>
                </c:pt>
                <c:pt idx="12">
                  <c:v>0</c:v>
                </c:pt>
                <c:pt idx="13">
                  <c:v>9.9999999999988987E-4</c:v>
                </c:pt>
                <c:pt idx="15">
                  <c:v>0</c:v>
                </c:pt>
                <c:pt idx="16">
                  <c:v>2.0009999999999999</c:v>
                </c:pt>
                <c:pt idx="18">
                  <c:v>2.5000000000000022E-2</c:v>
                </c:pt>
                <c:pt idx="19">
                  <c:v>0.50100000000000011</c:v>
                </c:pt>
                <c:pt idx="21">
                  <c:v>0</c:v>
                </c:pt>
                <c:pt idx="22">
                  <c:v>0.91699999999999993</c:v>
                </c:pt>
                <c:pt idx="24">
                  <c:v>1.0000000000000009E-3</c:v>
                </c:pt>
                <c:pt idx="25">
                  <c:v>9.9999999999988987E-4</c:v>
                </c:pt>
                <c:pt idx="27">
                  <c:v>1.0000000000000009E-3</c:v>
                </c:pt>
                <c:pt idx="28">
                  <c:v>9.9999999999988987E-4</c:v>
                </c:pt>
                <c:pt idx="30">
                  <c:v>2E-3</c:v>
                </c:pt>
                <c:pt idx="31">
                  <c:v>9.9999999999988987E-4</c:v>
                </c:pt>
                <c:pt idx="33">
                  <c:v>0</c:v>
                </c:pt>
                <c:pt idx="34">
                  <c:v>0</c:v>
                </c:pt>
                <c:pt idx="36">
                  <c:v>3.9999999999999966E-3</c:v>
                </c:pt>
                <c:pt idx="37">
                  <c:v>3.4999999999999976E-2</c:v>
                </c:pt>
                <c:pt idx="39">
                  <c:v>0</c:v>
                </c:pt>
                <c:pt idx="40">
                  <c:v>0.376</c:v>
                </c:pt>
              </c:numCache>
            </c:numRef>
          </c:val>
          <c:extLst>
            <c:ext xmlns:c16="http://schemas.microsoft.com/office/drawing/2014/chart" uri="{C3380CC4-5D6E-409C-BE32-E72D297353CC}">
              <c16:uniqueId val="{00000002-471E-4829-BCF7-70E6E5842AF4}"/>
            </c:ext>
          </c:extLst>
        </c:ser>
        <c:dLbls>
          <c:showLegendKey val="0"/>
          <c:showVal val="0"/>
          <c:showCatName val="0"/>
          <c:showSerName val="0"/>
          <c:showPercent val="0"/>
          <c:showBubbleSize val="0"/>
        </c:dLbls>
        <c:gapWidth val="0"/>
        <c:overlap val="100"/>
        <c:axId val="1223382896"/>
        <c:axId val="1"/>
      </c:barChart>
      <c:catAx>
        <c:axId val="122338289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941000000000001"/>
          <c:min val="0"/>
        </c:scaling>
        <c:delete val="1"/>
        <c:axPos val="t"/>
        <c:numFmt formatCode="General" sourceLinked="1"/>
        <c:majorTickMark val="out"/>
        <c:minorTickMark val="none"/>
        <c:tickLblPos val="nextTo"/>
        <c:crossAx val="1223382896"/>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542087542087546E-2"/>
          <c:y val="0.15902140672782875"/>
          <c:w val="0.82491582491582494"/>
          <c:h val="0.68195718654434245"/>
        </c:manualLayout>
      </c:layout>
      <c:barChart>
        <c:barDir val="bar"/>
        <c:grouping val="stacked"/>
        <c:varyColors val="0"/>
        <c:ser>
          <c:idx val="0"/>
          <c:order val="0"/>
          <c:spPr>
            <a:solidFill>
              <a:schemeClr val="accent5"/>
            </a:solidFill>
            <a:ln w="3175" algn="ctr">
              <a:solidFill>
                <a:schemeClr val="bg1"/>
              </a:solidFill>
              <a:prstDash val="solid"/>
            </a:ln>
          </c:spPr>
          <c:invertIfNegative val="0"/>
          <c:val>
            <c:numRef>
              <c:f>Sheet1!$A$1:$B$1</c:f>
              <c:numCache>
                <c:formatCode>General</c:formatCode>
                <c:ptCount val="2"/>
                <c:pt idx="0">
                  <c:v>1</c:v>
                </c:pt>
                <c:pt idx="1">
                  <c:v>1.8</c:v>
                </c:pt>
              </c:numCache>
            </c:numRef>
          </c:val>
          <c:extLst>
            <c:ext xmlns:c16="http://schemas.microsoft.com/office/drawing/2014/chart" uri="{C3380CC4-5D6E-409C-BE32-E72D297353CC}">
              <c16:uniqueId val="{00000000-5CB2-4980-9A39-80570ECAD9DF}"/>
            </c:ext>
          </c:extLst>
        </c:ser>
        <c:dLbls>
          <c:showLegendKey val="0"/>
          <c:showVal val="0"/>
          <c:showCatName val="0"/>
          <c:showSerName val="0"/>
          <c:showPercent val="0"/>
          <c:showBubbleSize val="0"/>
        </c:dLbls>
        <c:gapWidth val="10"/>
        <c:overlap val="100"/>
        <c:axId val="318490159"/>
        <c:axId val="1"/>
      </c:barChart>
      <c:catAx>
        <c:axId val="318490159"/>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
          <c:min val="0"/>
        </c:scaling>
        <c:delete val="1"/>
        <c:axPos val="t"/>
        <c:numFmt formatCode="General" sourceLinked="1"/>
        <c:majorTickMark val="out"/>
        <c:minorTickMark val="none"/>
        <c:tickLblPos val="nextTo"/>
        <c:crossAx val="318490159"/>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901189860320744E-2"/>
          <c:y val="2.8776978417266189E-2"/>
          <c:w val="0.9461976202793585"/>
          <c:h val="0.94244604316546765"/>
        </c:manualLayout>
      </c:layout>
      <c:barChart>
        <c:barDir val="bar"/>
        <c:grouping val="stacked"/>
        <c:varyColors val="0"/>
        <c:ser>
          <c:idx val="0"/>
          <c:order val="0"/>
          <c:spPr>
            <a:solidFill>
              <a:schemeClr val="accent1"/>
            </a:solidFill>
            <a:ln w="3175" cmpd="sng" algn="ctr">
              <a:solidFill>
                <a:schemeClr val="bg1"/>
              </a:solidFill>
              <a:prstDash val="solid"/>
            </a:ln>
          </c:spPr>
          <c:invertIfNegative val="0"/>
          <c:val>
            <c:numRef>
              <c:f>Sheet1!$A$1:$J$1</c:f>
              <c:numCache>
                <c:formatCode>General</c:formatCode>
                <c:ptCount val="10"/>
                <c:pt idx="0">
                  <c:v>0</c:v>
                </c:pt>
                <c:pt idx="1">
                  <c:v>1397925236.48</c:v>
                </c:pt>
                <c:pt idx="2">
                  <c:v>314299814.80000001</c:v>
                </c:pt>
                <c:pt idx="3">
                  <c:v>201998.85879999999</c:v>
                </c:pt>
                <c:pt idx="4">
                  <c:v>0</c:v>
                </c:pt>
                <c:pt idx="5">
                  <c:v>471378.04670000001</c:v>
                </c:pt>
                <c:pt idx="6">
                  <c:v>315198.44870000001</c:v>
                </c:pt>
                <c:pt idx="7">
                  <c:v>33905107.18</c:v>
                </c:pt>
                <c:pt idx="8">
                  <c:v>0</c:v>
                </c:pt>
                <c:pt idx="9">
                  <c:v>0</c:v>
                </c:pt>
              </c:numCache>
            </c:numRef>
          </c:val>
          <c:extLst>
            <c:ext xmlns:c16="http://schemas.microsoft.com/office/drawing/2014/chart" uri="{C3380CC4-5D6E-409C-BE32-E72D297353CC}">
              <c16:uniqueId val="{00000000-5A88-4031-A34B-FCB6AFF5CB20}"/>
            </c:ext>
          </c:extLst>
        </c:ser>
        <c:ser>
          <c:idx val="1"/>
          <c:order val="1"/>
          <c:spPr>
            <a:solidFill>
              <a:srgbClr val="9DB1CF"/>
            </a:solidFill>
            <a:ln w="3175" cmpd="sng" algn="ctr">
              <a:solidFill>
                <a:schemeClr val="bg1"/>
              </a:solidFill>
              <a:prstDash val="solid"/>
            </a:ln>
          </c:spPr>
          <c:invertIfNegative val="0"/>
          <c:val>
            <c:numRef>
              <c:f>Sheet1!$A$2:$J$2</c:f>
              <c:numCache>
                <c:formatCode>General</c:formatCode>
                <c:ptCount val="10"/>
                <c:pt idx="0">
                  <c:v>79448999.060000002</c:v>
                </c:pt>
                <c:pt idx="1">
                  <c:v>4362480471</c:v>
                </c:pt>
                <c:pt idx="2">
                  <c:v>3211451589</c:v>
                </c:pt>
                <c:pt idx="3">
                  <c:v>640879185.60000002</c:v>
                </c:pt>
                <c:pt idx="4">
                  <c:v>1807898693</c:v>
                </c:pt>
                <c:pt idx="5">
                  <c:v>699190.48549999995</c:v>
                </c:pt>
                <c:pt idx="6">
                  <c:v>882268984.29999995</c:v>
                </c:pt>
                <c:pt idx="7">
                  <c:v>413263271.19999999</c:v>
                </c:pt>
                <c:pt idx="8">
                  <c:v>610121669.70000005</c:v>
                </c:pt>
                <c:pt idx="9">
                  <c:v>551701805.20000005</c:v>
                </c:pt>
              </c:numCache>
            </c:numRef>
          </c:val>
          <c:extLst>
            <c:ext xmlns:c16="http://schemas.microsoft.com/office/drawing/2014/chart" uri="{C3380CC4-5D6E-409C-BE32-E72D297353CC}">
              <c16:uniqueId val="{00000001-5A88-4031-A34B-FCB6AFF5CB20}"/>
            </c:ext>
          </c:extLst>
        </c:ser>
        <c:ser>
          <c:idx val="2"/>
          <c:order val="2"/>
          <c:spPr>
            <a:solidFill>
              <a:srgbClr val="6F8DB9"/>
            </a:solidFill>
            <a:ln w="3175" cmpd="sng" algn="ctr">
              <a:solidFill>
                <a:schemeClr val="bg1"/>
              </a:solidFill>
              <a:prstDash val="solid"/>
            </a:ln>
          </c:spPr>
          <c:invertIfNegative val="0"/>
          <c:val>
            <c:numRef>
              <c:f>Sheet1!$A$3:$J$3</c:f>
              <c:numCache>
                <c:formatCode>General</c:formatCode>
                <c:ptCount val="10"/>
                <c:pt idx="0">
                  <c:v>10678708992</c:v>
                </c:pt>
                <c:pt idx="1">
                  <c:v>734944462.06900024</c:v>
                </c:pt>
                <c:pt idx="2">
                  <c:v>1067114.2080001831</c:v>
                </c:pt>
                <c:pt idx="3">
                  <c:v>2673452228</c:v>
                </c:pt>
                <c:pt idx="4">
                  <c:v>1080260.6240000725</c:v>
                </c:pt>
                <c:pt idx="5">
                  <c:v>1744269048</c:v>
                </c:pt>
                <c:pt idx="6">
                  <c:v>787590723.60000014</c:v>
                </c:pt>
                <c:pt idx="7">
                  <c:v>442943969.69999993</c:v>
                </c:pt>
                <c:pt idx="8">
                  <c:v>9242.796893954277</c:v>
                </c:pt>
                <c:pt idx="9">
                  <c:v>4226.9062030315399</c:v>
                </c:pt>
              </c:numCache>
            </c:numRef>
          </c:val>
          <c:extLst>
            <c:ext xmlns:c16="http://schemas.microsoft.com/office/drawing/2014/chart" uri="{C3380CC4-5D6E-409C-BE32-E72D297353CC}">
              <c16:uniqueId val="{00000002-5A88-4031-A34B-FCB6AFF5CB20}"/>
            </c:ext>
          </c:extLst>
        </c:ser>
        <c:dLbls>
          <c:showLegendKey val="0"/>
          <c:showVal val="0"/>
          <c:showCatName val="0"/>
          <c:showSerName val="0"/>
          <c:showPercent val="0"/>
          <c:showBubbleSize val="0"/>
        </c:dLbls>
        <c:gapWidth val="80"/>
        <c:overlap val="100"/>
        <c:axId val="1316944624"/>
        <c:axId val="1"/>
      </c:barChart>
      <c:catAx>
        <c:axId val="131694462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800000000"/>
          <c:min val="0"/>
        </c:scaling>
        <c:delete val="0"/>
        <c:axPos val="t"/>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316944624"/>
        <c:crosses val="min"/>
        <c:crossBetween val="between"/>
        <c:majorUnit val="200000000"/>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463104325699746E-2"/>
          <c:y val="2.8776978417266189E-2"/>
          <c:w val="0.94707379134860048"/>
          <c:h val="0.94244604316546765"/>
        </c:manualLayout>
      </c:layout>
      <c:barChart>
        <c:barDir val="bar"/>
        <c:grouping val="stacked"/>
        <c:varyColors val="0"/>
        <c:ser>
          <c:idx val="0"/>
          <c:order val="0"/>
          <c:spPr>
            <a:solidFill>
              <a:schemeClr val="accent1"/>
            </a:solidFill>
            <a:ln w="3175" cmpd="sng" algn="ctr">
              <a:solidFill>
                <a:schemeClr val="bg1"/>
              </a:solidFill>
              <a:prstDash val="solid"/>
            </a:ln>
          </c:spPr>
          <c:invertIfNegative val="0"/>
          <c:val>
            <c:numRef>
              <c:f>Sheet1!$A$1:$J$1</c:f>
              <c:numCache>
                <c:formatCode>General</c:formatCode>
                <c:ptCount val="10"/>
                <c:pt idx="0">
                  <c:v>0</c:v>
                </c:pt>
                <c:pt idx="1">
                  <c:v>152.0486386</c:v>
                </c:pt>
                <c:pt idx="2">
                  <c:v>0</c:v>
                </c:pt>
                <c:pt idx="3">
                  <c:v>0</c:v>
                </c:pt>
                <c:pt idx="4">
                  <c:v>128.207953</c:v>
                </c:pt>
                <c:pt idx="5">
                  <c:v>423.9056124</c:v>
                </c:pt>
                <c:pt idx="6">
                  <c:v>0</c:v>
                </c:pt>
                <c:pt idx="7">
                  <c:v>3109.7812160000003</c:v>
                </c:pt>
                <c:pt idx="8">
                  <c:v>0</c:v>
                </c:pt>
                <c:pt idx="9">
                  <c:v>101348878.3</c:v>
                </c:pt>
              </c:numCache>
            </c:numRef>
          </c:val>
          <c:extLst>
            <c:ext xmlns:c16="http://schemas.microsoft.com/office/drawing/2014/chart" uri="{C3380CC4-5D6E-409C-BE32-E72D297353CC}">
              <c16:uniqueId val="{00000000-6BBF-4B0C-AEE3-5B9D06FA0AE3}"/>
            </c:ext>
          </c:extLst>
        </c:ser>
        <c:ser>
          <c:idx val="1"/>
          <c:order val="1"/>
          <c:spPr>
            <a:solidFill>
              <a:srgbClr val="9DB1CF"/>
            </a:solidFill>
            <a:ln w="3175" cmpd="sng" algn="ctr">
              <a:solidFill>
                <a:schemeClr val="bg1"/>
              </a:solidFill>
              <a:prstDash val="solid"/>
            </a:ln>
          </c:spPr>
          <c:invertIfNegative val="0"/>
          <c:val>
            <c:numRef>
              <c:f>Sheet1!$A$2:$J$2</c:f>
              <c:numCache>
                <c:formatCode>General</c:formatCode>
                <c:ptCount val="10"/>
                <c:pt idx="0">
                  <c:v>10868.38256</c:v>
                </c:pt>
                <c:pt idx="1">
                  <c:v>828.90308430000005</c:v>
                </c:pt>
                <c:pt idx="2">
                  <c:v>60550.962879999999</c:v>
                </c:pt>
                <c:pt idx="3">
                  <c:v>1894238090</c:v>
                </c:pt>
                <c:pt idx="4">
                  <c:v>52618098.240000002</c:v>
                </c:pt>
                <c:pt idx="5">
                  <c:v>144248798.90000001</c:v>
                </c:pt>
                <c:pt idx="6">
                  <c:v>533072256.19999999</c:v>
                </c:pt>
                <c:pt idx="7">
                  <c:v>514423097.60000002</c:v>
                </c:pt>
                <c:pt idx="8">
                  <c:v>461834815.80000001</c:v>
                </c:pt>
                <c:pt idx="9">
                  <c:v>305385400.30000001</c:v>
                </c:pt>
              </c:numCache>
            </c:numRef>
          </c:val>
          <c:extLst>
            <c:ext xmlns:c16="http://schemas.microsoft.com/office/drawing/2014/chart" uri="{C3380CC4-5D6E-409C-BE32-E72D297353CC}">
              <c16:uniqueId val="{00000001-6BBF-4B0C-AEE3-5B9D06FA0AE3}"/>
            </c:ext>
          </c:extLst>
        </c:ser>
        <c:ser>
          <c:idx val="2"/>
          <c:order val="2"/>
          <c:spPr>
            <a:solidFill>
              <a:srgbClr val="6F8DB9"/>
            </a:solidFill>
            <a:ln w="3175" cmpd="sng" algn="ctr">
              <a:solidFill>
                <a:schemeClr val="bg1"/>
              </a:solidFill>
              <a:prstDash val="solid"/>
            </a:ln>
          </c:spPr>
          <c:invertIfNegative val="0"/>
          <c:val>
            <c:numRef>
              <c:f>Sheet1!$A$3:$J$3</c:f>
              <c:numCache>
                <c:formatCode>General</c:formatCode>
                <c:ptCount val="10"/>
                <c:pt idx="0">
                  <c:v>4885635781.1898403</c:v>
                </c:pt>
                <c:pt idx="1">
                  <c:v>3009383165</c:v>
                </c:pt>
                <c:pt idx="2">
                  <c:v>2237697031</c:v>
                </c:pt>
                <c:pt idx="3">
                  <c:v>1216.3217840194702</c:v>
                </c:pt>
                <c:pt idx="4">
                  <c:v>770313630.10000002</c:v>
                </c:pt>
                <c:pt idx="5">
                  <c:v>511039124.79999995</c:v>
                </c:pt>
                <c:pt idx="6">
                  <c:v>49723.709839999676</c:v>
                </c:pt>
                <c:pt idx="7">
                  <c:v>8106.116937994957</c:v>
                </c:pt>
                <c:pt idx="8">
                  <c:v>68490.966319978237</c:v>
                </c:pt>
                <c:pt idx="9">
                  <c:v>901.52353537082672</c:v>
                </c:pt>
              </c:numCache>
            </c:numRef>
          </c:val>
          <c:extLst>
            <c:ext xmlns:c16="http://schemas.microsoft.com/office/drawing/2014/chart" uri="{C3380CC4-5D6E-409C-BE32-E72D297353CC}">
              <c16:uniqueId val="{00000002-6BBF-4B0C-AEE3-5B9D06FA0AE3}"/>
            </c:ext>
          </c:extLst>
        </c:ser>
        <c:dLbls>
          <c:showLegendKey val="0"/>
          <c:showVal val="0"/>
          <c:showCatName val="0"/>
          <c:showSerName val="0"/>
          <c:showPercent val="0"/>
          <c:showBubbleSize val="0"/>
        </c:dLbls>
        <c:gapWidth val="80"/>
        <c:overlap val="100"/>
        <c:axId val="789511712"/>
        <c:axId val="1"/>
      </c:barChart>
      <c:catAx>
        <c:axId val="78951171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800000000"/>
          <c:min val="0"/>
        </c:scaling>
        <c:delete val="0"/>
        <c:axPos val="t"/>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789511712"/>
        <c:crosses val="min"/>
        <c:crossBetween val="between"/>
        <c:majorUnit val="200000000"/>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44155181214904E-2"/>
          <c:y val="2.8776978417266189E-2"/>
          <c:w val="0.94691168963757022"/>
          <c:h val="0.94244604316546765"/>
        </c:manualLayout>
      </c:layout>
      <c:barChart>
        <c:barDir val="bar"/>
        <c:grouping val="stacked"/>
        <c:varyColors val="0"/>
        <c:ser>
          <c:idx val="0"/>
          <c:order val="0"/>
          <c:spPr>
            <a:solidFill>
              <a:schemeClr val="accent1"/>
            </a:solidFill>
            <a:ln w="3175" cmpd="sng" algn="ctr">
              <a:solidFill>
                <a:schemeClr val="bg1"/>
              </a:solidFill>
              <a:prstDash val="solid"/>
            </a:ln>
          </c:spPr>
          <c:invertIfNegative val="0"/>
          <c:val>
            <c:numRef>
              <c:f>Sheet1!$A$1:$J$1</c:f>
              <c:numCache>
                <c:formatCode>General</c:formatCode>
                <c:ptCount val="10"/>
                <c:pt idx="0">
                  <c:v>0</c:v>
                </c:pt>
                <c:pt idx="1">
                  <c:v>0</c:v>
                </c:pt>
                <c:pt idx="2">
                  <c:v>0.74079117000000005</c:v>
                </c:pt>
                <c:pt idx="3">
                  <c:v>2218.6200939999999</c:v>
                </c:pt>
                <c:pt idx="4">
                  <c:v>1695.8966954</c:v>
                </c:pt>
                <c:pt idx="5">
                  <c:v>0</c:v>
                </c:pt>
                <c:pt idx="6">
                  <c:v>0</c:v>
                </c:pt>
                <c:pt idx="7">
                  <c:v>390.4870325</c:v>
                </c:pt>
                <c:pt idx="8">
                  <c:v>0</c:v>
                </c:pt>
                <c:pt idx="9">
                  <c:v>2130.5971610000001</c:v>
                </c:pt>
              </c:numCache>
            </c:numRef>
          </c:val>
          <c:extLst>
            <c:ext xmlns:c16="http://schemas.microsoft.com/office/drawing/2014/chart" uri="{C3380CC4-5D6E-409C-BE32-E72D297353CC}">
              <c16:uniqueId val="{00000000-5897-4139-83F2-9D6D3DB3D14F}"/>
            </c:ext>
          </c:extLst>
        </c:ser>
        <c:ser>
          <c:idx val="1"/>
          <c:order val="1"/>
          <c:spPr>
            <a:solidFill>
              <a:srgbClr val="9DB1CF"/>
            </a:solidFill>
            <a:ln w="3175" cmpd="sng" algn="ctr">
              <a:solidFill>
                <a:schemeClr val="bg1"/>
              </a:solidFill>
              <a:prstDash val="solid"/>
            </a:ln>
          </c:spPr>
          <c:invertIfNegative val="0"/>
          <c:val>
            <c:numRef>
              <c:f>Sheet1!$A$2:$J$2</c:f>
              <c:numCache>
                <c:formatCode>General</c:formatCode>
                <c:ptCount val="10"/>
                <c:pt idx="0">
                  <c:v>21539.56998</c:v>
                </c:pt>
                <c:pt idx="1">
                  <c:v>2902664690</c:v>
                </c:pt>
                <c:pt idx="2">
                  <c:v>0.97268399000000016</c:v>
                </c:pt>
                <c:pt idx="3">
                  <c:v>3707.8358680000001</c:v>
                </c:pt>
                <c:pt idx="4">
                  <c:v>855803048.70000005</c:v>
                </c:pt>
                <c:pt idx="5">
                  <c:v>195734960.90000001</c:v>
                </c:pt>
                <c:pt idx="6">
                  <c:v>72920.659180000002</c:v>
                </c:pt>
                <c:pt idx="7">
                  <c:v>49370192.030000001</c:v>
                </c:pt>
                <c:pt idx="8">
                  <c:v>425347173.89999998</c:v>
                </c:pt>
                <c:pt idx="9">
                  <c:v>129725054</c:v>
                </c:pt>
              </c:numCache>
            </c:numRef>
          </c:val>
          <c:extLst>
            <c:ext xmlns:c16="http://schemas.microsoft.com/office/drawing/2014/chart" uri="{C3380CC4-5D6E-409C-BE32-E72D297353CC}">
              <c16:uniqueId val="{00000001-5897-4139-83F2-9D6D3DB3D14F}"/>
            </c:ext>
          </c:extLst>
        </c:ser>
        <c:ser>
          <c:idx val="2"/>
          <c:order val="2"/>
          <c:spPr>
            <a:solidFill>
              <a:srgbClr val="6F8DB9"/>
            </a:solidFill>
            <a:ln w="3175" cmpd="sng" algn="ctr">
              <a:solidFill>
                <a:schemeClr val="bg1"/>
              </a:solidFill>
              <a:prstDash val="solid"/>
            </a:ln>
          </c:spPr>
          <c:invertIfNegative val="0"/>
          <c:val>
            <c:numRef>
              <c:f>Sheet1!$A$3:$J$3</c:f>
              <c:numCache>
                <c:formatCode>General</c:formatCode>
                <c:ptCount val="10"/>
                <c:pt idx="0">
                  <c:v>3916087718</c:v>
                </c:pt>
                <c:pt idx="1">
                  <c:v>1638.2928009033203</c:v>
                </c:pt>
                <c:pt idx="2">
                  <c:v>1690236050</c:v>
                </c:pt>
                <c:pt idx="3">
                  <c:v>899952739.79999995</c:v>
                </c:pt>
                <c:pt idx="4">
                  <c:v>12414.267204046249</c:v>
                </c:pt>
                <c:pt idx="5">
                  <c:v>395415047.80000007</c:v>
                </c:pt>
                <c:pt idx="6">
                  <c:v>564008713.20000005</c:v>
                </c:pt>
                <c:pt idx="7">
                  <c:v>446413332.5</c:v>
                </c:pt>
                <c:pt idx="8">
                  <c:v>77522.17596000433</c:v>
                </c:pt>
                <c:pt idx="9">
                  <c:v>220313390.69999999</c:v>
                </c:pt>
              </c:numCache>
            </c:numRef>
          </c:val>
          <c:extLst>
            <c:ext xmlns:c16="http://schemas.microsoft.com/office/drawing/2014/chart" uri="{C3380CC4-5D6E-409C-BE32-E72D297353CC}">
              <c16:uniqueId val="{00000002-5897-4139-83F2-9D6D3DB3D14F}"/>
            </c:ext>
          </c:extLst>
        </c:ser>
        <c:dLbls>
          <c:showLegendKey val="0"/>
          <c:showVal val="0"/>
          <c:showCatName val="0"/>
          <c:showSerName val="0"/>
          <c:showPercent val="0"/>
          <c:showBubbleSize val="0"/>
        </c:dLbls>
        <c:gapWidth val="80"/>
        <c:overlap val="100"/>
        <c:axId val="1303239872"/>
        <c:axId val="1"/>
      </c:barChart>
      <c:catAx>
        <c:axId val="130323987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800000000"/>
          <c:min val="0"/>
        </c:scaling>
        <c:delete val="0"/>
        <c:axPos val="t"/>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303239872"/>
        <c:crosses val="min"/>
        <c:crossBetween val="between"/>
        <c:majorUnit val="200000000"/>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12987012987013E-2"/>
          <c:y val="0.17747440273037543"/>
          <c:w val="0.94597402597402602"/>
          <c:h val="0.6450511945392492"/>
        </c:manualLayout>
      </c:layout>
      <c:barChart>
        <c:barDir val="bar"/>
        <c:grouping val="stacked"/>
        <c:varyColors val="0"/>
        <c:ser>
          <c:idx val="0"/>
          <c:order val="0"/>
          <c:spPr>
            <a:solidFill>
              <a:schemeClr val="accent1"/>
            </a:solidFill>
            <a:ln w="3175" cmpd="sng" algn="ctr">
              <a:solidFill>
                <a:schemeClr val="bg1"/>
              </a:solidFill>
              <a:prstDash val="solid"/>
            </a:ln>
          </c:spPr>
          <c:invertIfNegative val="0"/>
          <c:val>
            <c:numRef>
              <c:f>Sheet1!$A$1</c:f>
              <c:numCache>
                <c:formatCode>General</c:formatCode>
                <c:ptCount val="1"/>
                <c:pt idx="0">
                  <c:v>2324434459.0700002</c:v>
                </c:pt>
              </c:numCache>
            </c:numRef>
          </c:val>
          <c:extLst>
            <c:ext xmlns:c16="http://schemas.microsoft.com/office/drawing/2014/chart" uri="{C3380CC4-5D6E-409C-BE32-E72D297353CC}">
              <c16:uniqueId val="{00000000-90B7-4FA5-AE8C-732A1816196B}"/>
            </c:ext>
          </c:extLst>
        </c:ser>
        <c:ser>
          <c:idx val="1"/>
          <c:order val="1"/>
          <c:spPr>
            <a:solidFill>
              <a:srgbClr val="9DB1CF"/>
            </a:solidFill>
            <a:ln w="3175" cmpd="sng" algn="ctr">
              <a:solidFill>
                <a:schemeClr val="bg1"/>
              </a:solidFill>
              <a:prstDash val="solid"/>
            </a:ln>
          </c:spPr>
          <c:invertIfNegative val="0"/>
          <c:val>
            <c:numRef>
              <c:f>Sheet1!$A$2</c:f>
              <c:numCache>
                <c:formatCode>General</c:formatCode>
                <c:ptCount val="1"/>
                <c:pt idx="0">
                  <c:v>13616091328</c:v>
                </c:pt>
              </c:numCache>
            </c:numRef>
          </c:val>
          <c:extLst>
            <c:ext xmlns:c16="http://schemas.microsoft.com/office/drawing/2014/chart" uri="{C3380CC4-5D6E-409C-BE32-E72D297353CC}">
              <c16:uniqueId val="{00000001-90B7-4FA5-AE8C-732A1816196B}"/>
            </c:ext>
          </c:extLst>
        </c:ser>
        <c:ser>
          <c:idx val="2"/>
          <c:order val="2"/>
          <c:spPr>
            <a:solidFill>
              <a:srgbClr val="6F8DB9"/>
            </a:solidFill>
            <a:ln w="3175" cmpd="sng" algn="ctr">
              <a:solidFill>
                <a:schemeClr val="bg1"/>
              </a:solidFill>
              <a:prstDash val="solid"/>
            </a:ln>
          </c:spPr>
          <c:invertIfNegative val="0"/>
          <c:val>
            <c:numRef>
              <c:f>Sheet1!$A$3</c:f>
              <c:numCache>
                <c:formatCode>General</c:formatCode>
                <c:ptCount val="1"/>
                <c:pt idx="0">
                  <c:v>17478069397</c:v>
                </c:pt>
              </c:numCache>
            </c:numRef>
          </c:val>
          <c:extLst>
            <c:ext xmlns:c16="http://schemas.microsoft.com/office/drawing/2014/chart" uri="{C3380CC4-5D6E-409C-BE32-E72D297353CC}">
              <c16:uniqueId val="{00000002-90B7-4FA5-AE8C-732A1816196B}"/>
            </c:ext>
          </c:extLst>
        </c:ser>
        <c:dLbls>
          <c:showLegendKey val="0"/>
          <c:showVal val="0"/>
          <c:showCatName val="0"/>
          <c:showSerName val="0"/>
          <c:showPercent val="0"/>
          <c:showBubbleSize val="0"/>
        </c:dLbls>
        <c:gapWidth val="80"/>
        <c:overlap val="100"/>
        <c:axId val="1303232672"/>
        <c:axId val="1"/>
      </c:barChart>
      <c:catAx>
        <c:axId val="130323267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00000000"/>
          <c:min val="0"/>
        </c:scaling>
        <c:delete val="0"/>
        <c:axPos val="t"/>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303232672"/>
        <c:crosses val="min"/>
        <c:crossBetween val="between"/>
        <c:majorUnit val="5000000000"/>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463104325699746E-2"/>
          <c:y val="0.17747440273037543"/>
          <c:w val="0.94707379134860048"/>
          <c:h val="0.6450511945392492"/>
        </c:manualLayout>
      </c:layout>
      <c:barChart>
        <c:barDir val="bar"/>
        <c:grouping val="stacked"/>
        <c:varyColors val="0"/>
        <c:ser>
          <c:idx val="0"/>
          <c:order val="0"/>
          <c:spPr>
            <a:solidFill>
              <a:schemeClr val="accent1"/>
            </a:solidFill>
            <a:ln w="3175" cmpd="sng" algn="ctr">
              <a:solidFill>
                <a:schemeClr val="bg1"/>
              </a:solidFill>
              <a:prstDash val="solid"/>
            </a:ln>
          </c:spPr>
          <c:invertIfNegative val="0"/>
          <c:val>
            <c:numRef>
              <c:f>Sheet1!$A$1</c:f>
              <c:numCache>
                <c:formatCode>General</c:formatCode>
                <c:ptCount val="1"/>
                <c:pt idx="0">
                  <c:v>190264482.24539998</c:v>
                </c:pt>
              </c:numCache>
            </c:numRef>
          </c:val>
          <c:extLst>
            <c:ext xmlns:c16="http://schemas.microsoft.com/office/drawing/2014/chart" uri="{C3380CC4-5D6E-409C-BE32-E72D297353CC}">
              <c16:uniqueId val="{00000000-FDE4-45E3-981F-516941E57876}"/>
            </c:ext>
          </c:extLst>
        </c:ser>
        <c:ser>
          <c:idx val="1"/>
          <c:order val="1"/>
          <c:spPr>
            <a:solidFill>
              <a:srgbClr val="9DB1CF"/>
            </a:solidFill>
            <a:ln w="3175" cmpd="sng" algn="ctr">
              <a:solidFill>
                <a:schemeClr val="bg1"/>
              </a:solidFill>
              <a:prstDash val="solid"/>
            </a:ln>
          </c:spPr>
          <c:invertIfNegative val="0"/>
          <c:val>
            <c:numRef>
              <c:f>Sheet1!$A$2</c:f>
              <c:numCache>
                <c:formatCode>General</c:formatCode>
                <c:ptCount val="1"/>
                <c:pt idx="0">
                  <c:v>5202540523</c:v>
                </c:pt>
              </c:numCache>
            </c:numRef>
          </c:val>
          <c:extLst>
            <c:ext xmlns:c16="http://schemas.microsoft.com/office/drawing/2014/chart" uri="{C3380CC4-5D6E-409C-BE32-E72D297353CC}">
              <c16:uniqueId val="{00000001-FDE4-45E3-981F-516941E57876}"/>
            </c:ext>
          </c:extLst>
        </c:ser>
        <c:ser>
          <c:idx val="2"/>
          <c:order val="2"/>
          <c:spPr>
            <a:solidFill>
              <a:srgbClr val="6F8DB9"/>
            </a:solidFill>
            <a:ln w="3175" cmpd="sng" algn="ctr">
              <a:solidFill>
                <a:schemeClr val="bg1"/>
              </a:solidFill>
              <a:prstDash val="solid"/>
            </a:ln>
          </c:spPr>
          <c:invertIfNegative val="0"/>
          <c:val>
            <c:numRef>
              <c:f>Sheet1!$A$3</c:f>
              <c:numCache>
                <c:formatCode>General</c:formatCode>
                <c:ptCount val="1"/>
                <c:pt idx="0">
                  <c:v>11719638995.189842</c:v>
                </c:pt>
              </c:numCache>
            </c:numRef>
          </c:val>
          <c:extLst>
            <c:ext xmlns:c16="http://schemas.microsoft.com/office/drawing/2014/chart" uri="{C3380CC4-5D6E-409C-BE32-E72D297353CC}">
              <c16:uniqueId val="{00000002-FDE4-45E3-981F-516941E57876}"/>
            </c:ext>
          </c:extLst>
        </c:ser>
        <c:ser>
          <c:idx val="3"/>
          <c:order val="3"/>
          <c:spPr>
            <a:noFill/>
            <a:ln>
              <a:noFill/>
            </a:ln>
          </c:spPr>
          <c:invertIfNegative val="0"/>
          <c:val>
            <c:numRef>
              <c:f>Sheet1!$A$4</c:f>
              <c:numCache>
                <c:formatCode>General</c:formatCode>
                <c:ptCount val="1"/>
                <c:pt idx="0">
                  <c:v>3390000000</c:v>
                </c:pt>
              </c:numCache>
            </c:numRef>
          </c:val>
          <c:extLst>
            <c:ext xmlns:c16="http://schemas.microsoft.com/office/drawing/2014/chart" uri="{C3380CC4-5D6E-409C-BE32-E72D297353CC}">
              <c16:uniqueId val="{00000003-FDE4-45E3-981F-516941E57876}"/>
            </c:ext>
          </c:extLst>
        </c:ser>
        <c:dLbls>
          <c:showLegendKey val="0"/>
          <c:showVal val="0"/>
          <c:showCatName val="0"/>
          <c:showSerName val="0"/>
          <c:showPercent val="0"/>
          <c:showBubbleSize val="0"/>
        </c:dLbls>
        <c:gapWidth val="80"/>
        <c:overlap val="100"/>
        <c:axId val="794369312"/>
        <c:axId val="1"/>
      </c:barChart>
      <c:catAx>
        <c:axId val="79436931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00000000"/>
          <c:min val="0"/>
        </c:scaling>
        <c:delete val="0"/>
        <c:axPos val="t"/>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794369312"/>
        <c:crosses val="min"/>
        <c:crossBetween val="between"/>
        <c:majorUnit val="5000000000"/>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513227513227514E-2"/>
          <c:y val="0.17747440273037543"/>
          <c:w val="0.94497354497354502"/>
          <c:h val="0.6450511945392492"/>
        </c:manualLayout>
      </c:layout>
      <c:barChart>
        <c:barDir val="bar"/>
        <c:grouping val="stacked"/>
        <c:varyColors val="0"/>
        <c:ser>
          <c:idx val="0"/>
          <c:order val="0"/>
          <c:spPr>
            <a:solidFill>
              <a:schemeClr val="accent2"/>
            </a:solidFill>
            <a:ln w="3175" cmpd="sng" algn="ctr">
              <a:solidFill>
                <a:schemeClr val="bg1"/>
              </a:solidFill>
              <a:prstDash val="solid"/>
            </a:ln>
          </c:spPr>
          <c:invertIfNegative val="0"/>
          <c:val>
            <c:numRef>
              <c:f>Sheet1!$A$1</c:f>
              <c:numCache>
                <c:formatCode>General</c:formatCode>
                <c:ptCount val="1"/>
                <c:pt idx="0">
                  <c:v>69393117.028800011</c:v>
                </c:pt>
              </c:numCache>
            </c:numRef>
          </c:val>
          <c:extLst>
            <c:ext xmlns:c16="http://schemas.microsoft.com/office/drawing/2014/chart" uri="{C3380CC4-5D6E-409C-BE32-E72D297353CC}">
              <c16:uniqueId val="{00000000-2592-40F9-9652-A3150C31F440}"/>
            </c:ext>
          </c:extLst>
        </c:ser>
        <c:ser>
          <c:idx val="1"/>
          <c:order val="1"/>
          <c:spPr>
            <a:solidFill>
              <a:srgbClr val="9DB1CF"/>
            </a:solidFill>
            <a:ln w="3175" cmpd="sng" algn="ctr">
              <a:solidFill>
                <a:schemeClr val="bg1"/>
              </a:solidFill>
              <a:prstDash val="solid"/>
            </a:ln>
          </c:spPr>
          <c:invertIfNegative val="0"/>
          <c:val>
            <c:numRef>
              <c:f>Sheet1!$A$2</c:f>
              <c:numCache>
                <c:formatCode>General</c:formatCode>
                <c:ptCount val="1"/>
                <c:pt idx="0">
                  <c:v>5451296461</c:v>
                </c:pt>
              </c:numCache>
            </c:numRef>
          </c:val>
          <c:extLst>
            <c:ext xmlns:c16="http://schemas.microsoft.com/office/drawing/2014/chart" uri="{C3380CC4-5D6E-409C-BE32-E72D297353CC}">
              <c16:uniqueId val="{00000001-2592-40F9-9652-A3150C31F440}"/>
            </c:ext>
          </c:extLst>
        </c:ser>
        <c:ser>
          <c:idx val="2"/>
          <c:order val="2"/>
          <c:spPr>
            <a:solidFill>
              <a:srgbClr val="6F8DB9"/>
            </a:solidFill>
            <a:ln w="3175" cmpd="sng" algn="ctr">
              <a:solidFill>
                <a:schemeClr val="bg1"/>
              </a:solidFill>
              <a:prstDash val="solid"/>
            </a:ln>
          </c:spPr>
          <c:invertIfNegative val="0"/>
          <c:val>
            <c:numRef>
              <c:f>Sheet1!$A$3</c:f>
              <c:numCache>
                <c:formatCode>General</c:formatCode>
                <c:ptCount val="1"/>
                <c:pt idx="0">
                  <c:v>8439348207.0021715</c:v>
                </c:pt>
              </c:numCache>
            </c:numRef>
          </c:val>
          <c:extLst>
            <c:ext xmlns:c16="http://schemas.microsoft.com/office/drawing/2014/chart" uri="{C3380CC4-5D6E-409C-BE32-E72D297353CC}">
              <c16:uniqueId val="{00000002-2592-40F9-9652-A3150C31F440}"/>
            </c:ext>
          </c:extLst>
        </c:ser>
        <c:ser>
          <c:idx val="3"/>
          <c:order val="3"/>
          <c:spPr>
            <a:noFill/>
            <a:ln>
              <a:noFill/>
            </a:ln>
          </c:spPr>
          <c:invertIfNegative val="0"/>
          <c:val>
            <c:numRef>
              <c:f>Sheet1!$A$4</c:f>
              <c:numCache>
                <c:formatCode>General</c:formatCode>
                <c:ptCount val="1"/>
                <c:pt idx="0">
                  <c:v>10500000000</c:v>
                </c:pt>
              </c:numCache>
            </c:numRef>
          </c:val>
          <c:extLst>
            <c:ext xmlns:c16="http://schemas.microsoft.com/office/drawing/2014/chart" uri="{C3380CC4-5D6E-409C-BE32-E72D297353CC}">
              <c16:uniqueId val="{00000003-2592-40F9-9652-A3150C31F440}"/>
            </c:ext>
          </c:extLst>
        </c:ser>
        <c:dLbls>
          <c:showLegendKey val="0"/>
          <c:showVal val="0"/>
          <c:showCatName val="0"/>
          <c:showSerName val="0"/>
          <c:showPercent val="0"/>
          <c:showBubbleSize val="0"/>
        </c:dLbls>
        <c:gapWidth val="80"/>
        <c:overlap val="100"/>
        <c:axId val="1303215872"/>
        <c:axId val="1"/>
      </c:barChart>
      <c:catAx>
        <c:axId val="130321587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00000000"/>
          <c:min val="0"/>
        </c:scaling>
        <c:delete val="0"/>
        <c:axPos val="t"/>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303215872"/>
        <c:crosses val="min"/>
        <c:crossBetween val="between"/>
        <c:majorUnit val="5000000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66746602717829E-2"/>
          <c:y val="3.8319823139277821E-2"/>
          <c:w val="0.91686650679456438"/>
          <c:h val="0.92336035372144432"/>
        </c:manualLayout>
      </c:layout>
      <c:barChart>
        <c:barDir val="bar"/>
        <c:grouping val="stacked"/>
        <c:varyColors val="0"/>
        <c:ser>
          <c:idx val="0"/>
          <c:order val="0"/>
          <c:spPr>
            <a:solidFill>
              <a:srgbClr val="4E5F6E"/>
            </a:solidFill>
            <a:ln>
              <a:noFill/>
            </a:ln>
          </c:spPr>
          <c:invertIfNegative val="0"/>
          <c:val>
            <c:numRef>
              <c:f>Sheet1!$A$1:$E$1</c:f>
              <c:numCache>
                <c:formatCode>General</c:formatCode>
                <c:ptCount val="5"/>
                <c:pt idx="0">
                  <c:v>9.6820335158694437</c:v>
                </c:pt>
                <c:pt idx="1">
                  <c:v>9.2701566111464206</c:v>
                </c:pt>
                <c:pt idx="2">
                  <c:v>9</c:v>
                </c:pt>
                <c:pt idx="3">
                  <c:v>8.925062039691678</c:v>
                </c:pt>
                <c:pt idx="4">
                  <c:v>8.8143490674901575</c:v>
                </c:pt>
              </c:numCache>
            </c:numRef>
          </c:val>
          <c:extLst>
            <c:ext xmlns:c16="http://schemas.microsoft.com/office/drawing/2014/chart" uri="{C3380CC4-5D6E-409C-BE32-E72D297353CC}">
              <c16:uniqueId val="{00000000-801C-4D82-99F1-ABD7F7F34213}"/>
            </c:ext>
          </c:extLst>
        </c:ser>
        <c:dLbls>
          <c:showLegendKey val="0"/>
          <c:showVal val="0"/>
          <c:showCatName val="0"/>
          <c:showSerName val="0"/>
          <c:showPercent val="0"/>
          <c:showBubbleSize val="0"/>
        </c:dLbls>
        <c:gapWidth val="80"/>
        <c:overlap val="100"/>
        <c:axId val="1665069759"/>
        <c:axId val="1"/>
      </c:barChart>
      <c:catAx>
        <c:axId val="166506975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1665069759"/>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54445912780821E-2"/>
          <c:y val="1.8413597733711047E-2"/>
          <c:w val="0.91429110817443837"/>
          <c:h val="0.88279036827195467"/>
        </c:manualLayout>
      </c:layout>
      <c:scatterChart>
        <c:scatterStyle val="lineMarker"/>
        <c:varyColors val="0"/>
        <c:ser>
          <c:idx val="0"/>
          <c:order val="0"/>
          <c:spPr>
            <a:ln w="22225" cmpd="sng" algn="ctr">
              <a:solidFill>
                <a:srgbClr val="6F8DB9"/>
              </a:solidFill>
              <a:prstDash val="dash"/>
            </a:ln>
          </c:spPr>
          <c:marker>
            <c:symbol val="none"/>
          </c:marker>
          <c:xVal>
            <c:numRef>
              <c:f>Sheet1!$A$1:$M$1</c:f>
              <c:numCache>
                <c:formatCode>General</c:formatCode>
                <c:ptCount val="1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numCache>
            </c:numRef>
          </c:xVal>
          <c:yVal>
            <c:numRef>
              <c:f>Sheet1!$A$2:$M$2</c:f>
              <c:numCache>
                <c:formatCode>General</c:formatCode>
                <c:ptCount val="13"/>
                <c:pt idx="0">
                  <c:v>510</c:v>
                </c:pt>
                <c:pt idx="1">
                  <c:v>1010</c:v>
                </c:pt>
                <c:pt idx="2">
                  <c:v>1550</c:v>
                </c:pt>
                <c:pt idx="3">
                  <c:v>2600</c:v>
                </c:pt>
                <c:pt idx="4">
                  <c:v>4500</c:v>
                </c:pt>
                <c:pt idx="5">
                  <c:v>7527.82</c:v>
                </c:pt>
                <c:pt idx="6">
                  <c:v>13585.75539</c:v>
                </c:pt>
                <c:pt idx="7">
                  <c:v>20897.079949999999</c:v>
                </c:pt>
                <c:pt idx="8">
                  <c:v>29845.32127</c:v>
                </c:pt>
                <c:pt idx="9">
                  <c:v>34887.230600000003</c:v>
                </c:pt>
                <c:pt idx="10">
                  <c:v>40340.611729999997</c:v>
                </c:pt>
                <c:pt idx="11">
                  <c:v>45124.453009999997</c:v>
                </c:pt>
                <c:pt idx="12">
                  <c:v>50480.59837</c:v>
                </c:pt>
              </c:numCache>
            </c:numRef>
          </c:yVal>
          <c:smooth val="0"/>
          <c:extLst>
            <c:ext xmlns:c16="http://schemas.microsoft.com/office/drawing/2014/chart" uri="{C3380CC4-5D6E-409C-BE32-E72D297353CC}">
              <c16:uniqueId val="{00000000-10D7-4136-8689-83525D6E50DA}"/>
            </c:ext>
          </c:extLst>
        </c:ser>
        <c:ser>
          <c:idx val="1"/>
          <c:order val="1"/>
          <c:spPr>
            <a:ln w="22225" cmpd="sng" algn="ctr">
              <a:solidFill>
                <a:srgbClr val="A6B727"/>
              </a:solidFill>
              <a:prstDash val="solid"/>
            </a:ln>
          </c:spPr>
          <c:marker>
            <c:symbol val="none"/>
          </c:marker>
          <c:xVal>
            <c:numRef>
              <c:f>Sheet1!$A$1:$M$1</c:f>
              <c:numCache>
                <c:formatCode>General</c:formatCode>
                <c:ptCount val="1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numCache>
            </c:numRef>
          </c:xVal>
          <c:yVal>
            <c:numRef>
              <c:f>Sheet1!$A$3:$M$3</c:f>
              <c:numCache>
                <c:formatCode>General</c:formatCode>
                <c:ptCount val="13"/>
                <c:pt idx="0">
                  <c:v>618.5</c:v>
                </c:pt>
                <c:pt idx="1">
                  <c:v>998.5</c:v>
                </c:pt>
                <c:pt idx="2">
                  <c:v>1553</c:v>
                </c:pt>
                <c:pt idx="3">
                  <c:v>2700</c:v>
                </c:pt>
                <c:pt idx="4">
                  <c:v>4650</c:v>
                </c:pt>
                <c:pt idx="5">
                  <c:v>6959.79</c:v>
                </c:pt>
                <c:pt idx="6">
                  <c:v>9465.3143999999993</c:v>
                </c:pt>
                <c:pt idx="7">
                  <c:v>12494.21501</c:v>
                </c:pt>
                <c:pt idx="8">
                  <c:v>16117.53736</c:v>
                </c:pt>
                <c:pt idx="9">
                  <c:v>20264.434649999999</c:v>
                </c:pt>
                <c:pt idx="10">
                  <c:v>24954.72004</c:v>
                </c:pt>
                <c:pt idx="11">
                  <c:v>30259.596320000001</c:v>
                </c:pt>
                <c:pt idx="12">
                  <c:v>36259.596319999997</c:v>
                </c:pt>
              </c:numCache>
            </c:numRef>
          </c:yVal>
          <c:smooth val="0"/>
          <c:extLst>
            <c:ext xmlns:c16="http://schemas.microsoft.com/office/drawing/2014/chart" uri="{C3380CC4-5D6E-409C-BE32-E72D297353CC}">
              <c16:uniqueId val="{00000001-10D7-4136-8689-83525D6E50DA}"/>
            </c:ext>
          </c:extLst>
        </c:ser>
        <c:dLbls>
          <c:showLegendKey val="0"/>
          <c:showVal val="0"/>
          <c:showCatName val="0"/>
          <c:showSerName val="0"/>
          <c:showPercent val="0"/>
          <c:showBubbleSize val="0"/>
        </c:dLbls>
        <c:axId val="4"/>
        <c:axId val="5"/>
      </c:scatterChart>
      <c:valAx>
        <c:axId val="4"/>
        <c:scaling>
          <c:orientation val="minMax"/>
          <c:max val="2030"/>
          <c:min val="2018"/>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Lato"/>
                <a:cs typeface="Lato"/>
              </a:defRPr>
            </a:pPr>
            <a:endParaRPr lang="en-US"/>
          </a:p>
        </c:txPr>
        <c:crossAx val="5"/>
        <c:crosses val="min"/>
        <c:crossBetween val="midCat"/>
        <c:majorUnit val="1"/>
      </c:valAx>
      <c:valAx>
        <c:axId val="5"/>
        <c:scaling>
          <c:orientation val="minMax"/>
          <c:max val="550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4"/>
        <c:crosses val="min"/>
        <c:crossBetween val="midCat"/>
        <c:majorUnit val="5000"/>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706422018348627E-2"/>
          <c:y val="4.7706422018348627E-2"/>
          <c:w val="0.90458715596330275"/>
          <c:h val="0.90458715596330275"/>
        </c:manualLayout>
      </c:layout>
      <c:doughnutChart>
        <c:varyColors val="0"/>
        <c:ser>
          <c:idx val="0"/>
          <c:order val="0"/>
          <c:dPt>
            <c:idx val="0"/>
            <c:bubble3D val="0"/>
            <c:spPr>
              <a:solidFill>
                <a:srgbClr val="9DA464"/>
              </a:solidFill>
              <a:ln w="9525" cmpd="sng" algn="ctr">
                <a:solidFill>
                  <a:schemeClr val="bg1"/>
                </a:solidFill>
                <a:prstDash val="solid"/>
              </a:ln>
            </c:spPr>
            <c:extLst>
              <c:ext xmlns:c16="http://schemas.microsoft.com/office/drawing/2014/chart" uri="{C3380CC4-5D6E-409C-BE32-E72D297353CC}">
                <c16:uniqueId val="{00000000-3C7C-463D-AFD6-6B564EDD67AE}"/>
              </c:ext>
            </c:extLst>
          </c:dPt>
          <c:dPt>
            <c:idx val="1"/>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1-3C7C-463D-AFD6-6B564EDD67AE}"/>
              </c:ext>
            </c:extLst>
          </c:dPt>
          <c:dPt>
            <c:idx val="2"/>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2-3C7C-463D-AFD6-6B564EDD67AE}"/>
              </c:ext>
            </c:extLst>
          </c:dPt>
          <c:dPt>
            <c:idx val="3"/>
            <c:bubble3D val="0"/>
            <c:spPr>
              <a:solidFill>
                <a:srgbClr val="657D1A"/>
              </a:solidFill>
              <a:ln w="9525" cmpd="sng" algn="ctr">
                <a:solidFill>
                  <a:schemeClr val="bg1"/>
                </a:solidFill>
                <a:prstDash val="solid"/>
              </a:ln>
            </c:spPr>
            <c:extLst>
              <c:ext xmlns:c16="http://schemas.microsoft.com/office/drawing/2014/chart" uri="{C3380CC4-5D6E-409C-BE32-E72D297353CC}">
                <c16:uniqueId val="{00000003-3C7C-463D-AFD6-6B564EDD67AE}"/>
              </c:ext>
            </c:extLst>
          </c:dPt>
          <c:val>
            <c:numRef>
              <c:f>Sheet1!$A$1:$A$4</c:f>
              <c:numCache>
                <c:formatCode>General</c:formatCode>
                <c:ptCount val="4"/>
                <c:pt idx="0">
                  <c:v>21.403661726242373</c:v>
                </c:pt>
                <c:pt idx="1">
                  <c:v>5.5797733217088057</c:v>
                </c:pt>
                <c:pt idx="2">
                  <c:v>13.993025283347865</c:v>
                </c:pt>
                <c:pt idx="3">
                  <c:v>59.023539668700963</c:v>
                </c:pt>
              </c:numCache>
            </c:numRef>
          </c:val>
          <c:extLst>
            <c:ext xmlns:c16="http://schemas.microsoft.com/office/drawing/2014/chart" uri="{C3380CC4-5D6E-409C-BE32-E72D297353CC}">
              <c16:uniqueId val="{00000004-3C7C-463D-AFD6-6B564EDD67AE}"/>
            </c:ext>
          </c:extLst>
        </c:ser>
        <c:dLbls>
          <c:showLegendKey val="0"/>
          <c:showVal val="0"/>
          <c:showCatName val="0"/>
          <c:showSerName val="0"/>
          <c:showPercent val="0"/>
          <c:showBubbleSize val="0"/>
          <c:showLeaderLines val="0"/>
        </c:dLbls>
        <c:firstSliceAng val="212"/>
        <c:holeSize val="45"/>
      </c:doughnutChart>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60629607491532E-2"/>
          <c:y val="2.3019034971226208E-2"/>
          <c:w val="0.97927874078501698"/>
          <c:h val="0.95396193005754759"/>
        </c:manualLayout>
      </c:layout>
      <c:barChart>
        <c:barDir val="col"/>
        <c:grouping val="stacked"/>
        <c:varyColors val="0"/>
        <c:ser>
          <c:idx val="0"/>
          <c:order val="0"/>
          <c:spPr>
            <a:solidFill>
              <a:schemeClr val="accent1"/>
            </a:solidFill>
            <a:ln>
              <a:noFill/>
            </a:ln>
          </c:spPr>
          <c:invertIfNegative val="0"/>
          <c:val>
            <c:numRef>
              <c:f>Sheet1!$A$1:$I$1</c:f>
              <c:numCache>
                <c:formatCode>General</c:formatCode>
                <c:ptCount val="9"/>
                <c:pt idx="0">
                  <c:v>10.43</c:v>
                </c:pt>
                <c:pt idx="2">
                  <c:v>41.19</c:v>
                </c:pt>
                <c:pt idx="4">
                  <c:v>146.32</c:v>
                </c:pt>
                <c:pt idx="6">
                  <c:v>226.44</c:v>
                </c:pt>
                <c:pt idx="8">
                  <c:v>294.01</c:v>
                </c:pt>
              </c:numCache>
            </c:numRef>
          </c:val>
          <c:extLst>
            <c:ext xmlns:c16="http://schemas.microsoft.com/office/drawing/2014/chart" uri="{C3380CC4-5D6E-409C-BE32-E72D297353CC}">
              <c16:uniqueId val="{00000000-D01B-4CEF-AAFE-5A321AA9C4AB}"/>
            </c:ext>
          </c:extLst>
        </c:ser>
        <c:ser>
          <c:idx val="1"/>
          <c:order val="1"/>
          <c:spPr>
            <a:solidFill>
              <a:schemeClr val="accent1"/>
            </a:solidFill>
            <a:ln>
              <a:noFill/>
            </a:ln>
          </c:spPr>
          <c:invertIfNegative val="0"/>
          <c:val>
            <c:numRef>
              <c:f>Sheet1!$A$2:$I$2</c:f>
              <c:numCache>
                <c:formatCode>General</c:formatCode>
                <c:ptCount val="9"/>
                <c:pt idx="0">
                  <c:v>60.12</c:v>
                </c:pt>
                <c:pt idx="2">
                  <c:v>131.84</c:v>
                </c:pt>
                <c:pt idx="4">
                  <c:v>703.37000000000012</c:v>
                </c:pt>
                <c:pt idx="6">
                  <c:v>3741.44</c:v>
                </c:pt>
                <c:pt idx="8">
                  <c:v>6202.15</c:v>
                </c:pt>
              </c:numCache>
            </c:numRef>
          </c:val>
          <c:extLst>
            <c:ext xmlns:c16="http://schemas.microsoft.com/office/drawing/2014/chart" uri="{C3380CC4-5D6E-409C-BE32-E72D297353CC}">
              <c16:uniqueId val="{00000001-D01B-4CEF-AAFE-5A321AA9C4AB}"/>
            </c:ext>
          </c:extLst>
        </c:ser>
        <c:ser>
          <c:idx val="2"/>
          <c:order val="2"/>
          <c:spPr>
            <a:solidFill>
              <a:schemeClr val="accent1"/>
            </a:solidFill>
            <a:ln>
              <a:noFill/>
            </a:ln>
          </c:spPr>
          <c:invertIfNegative val="0"/>
          <c:val>
            <c:numRef>
              <c:f>Sheet1!$A$3:$I$3</c:f>
              <c:numCache>
                <c:formatCode>General</c:formatCode>
                <c:ptCount val="9"/>
                <c:pt idx="0">
                  <c:v>206.46999999999997</c:v>
                </c:pt>
                <c:pt idx="2">
                  <c:v>392.07000000000005</c:v>
                </c:pt>
                <c:pt idx="4">
                  <c:v>1004.6699999999998</c:v>
                </c:pt>
                <c:pt idx="6">
                  <c:v>2016.4799999999996</c:v>
                </c:pt>
                <c:pt idx="8">
                  <c:v>2615.3899999999994</c:v>
                </c:pt>
              </c:numCache>
            </c:numRef>
          </c:val>
          <c:extLst>
            <c:ext xmlns:c16="http://schemas.microsoft.com/office/drawing/2014/chart" uri="{C3380CC4-5D6E-409C-BE32-E72D297353CC}">
              <c16:uniqueId val="{00000002-D01B-4CEF-AAFE-5A321AA9C4AB}"/>
            </c:ext>
          </c:extLst>
        </c:ser>
        <c:dLbls>
          <c:showLegendKey val="0"/>
          <c:showVal val="0"/>
          <c:showCatName val="0"/>
          <c:showSerName val="0"/>
          <c:showPercent val="0"/>
          <c:showBubbleSize val="0"/>
        </c:dLbls>
        <c:gapWidth val="0"/>
        <c:overlap val="100"/>
        <c:axId val="149246768"/>
        <c:axId val="1"/>
      </c:barChart>
      <c:catAx>
        <c:axId val="1492467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149246768"/>
        <c:crosses val="min"/>
        <c:crossBetween val="between"/>
        <c:majorUnit val="2000"/>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07369758576874E-2"/>
          <c:y val="6.607369758576874E-2"/>
          <c:w val="0.86785260482846249"/>
          <c:h val="0.86785260482846249"/>
        </c:manualLayout>
      </c:layout>
      <c:doughnutChart>
        <c:varyColors val="0"/>
        <c:ser>
          <c:idx val="0"/>
          <c:order val="0"/>
          <c:dPt>
            <c:idx val="0"/>
            <c:bubble3D val="0"/>
            <c:spPr>
              <a:solidFill>
                <a:srgbClr val="969696"/>
              </a:solidFill>
              <a:ln w="9525" cmpd="sng" algn="ctr">
                <a:solidFill>
                  <a:schemeClr val="bg1"/>
                </a:solidFill>
                <a:prstDash val="solid"/>
              </a:ln>
            </c:spPr>
            <c:extLst>
              <c:ext xmlns:c16="http://schemas.microsoft.com/office/drawing/2014/chart" uri="{C3380CC4-5D6E-409C-BE32-E72D297353CC}">
                <c16:uniqueId val="{00000000-9747-41DE-9E46-25FCB46ED0CC}"/>
              </c:ext>
            </c:extLst>
          </c:dPt>
          <c:dPt>
            <c:idx val="1"/>
            <c:bubble3D val="0"/>
            <c:spPr>
              <a:solidFill>
                <a:srgbClr val="657D1A"/>
              </a:solidFill>
              <a:ln w="9525" cmpd="sng" algn="ctr">
                <a:solidFill>
                  <a:schemeClr val="bg1"/>
                </a:solidFill>
                <a:prstDash val="solid"/>
              </a:ln>
            </c:spPr>
            <c:extLst>
              <c:ext xmlns:c16="http://schemas.microsoft.com/office/drawing/2014/chart" uri="{C3380CC4-5D6E-409C-BE32-E72D297353CC}">
                <c16:uniqueId val="{00000001-9747-41DE-9E46-25FCB46ED0CC}"/>
              </c:ext>
            </c:extLst>
          </c:dPt>
          <c:dPt>
            <c:idx val="2"/>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2-9747-41DE-9E46-25FCB46ED0CC}"/>
              </c:ext>
            </c:extLst>
          </c:dPt>
          <c:dPt>
            <c:idx val="3"/>
            <c:bubble3D val="0"/>
            <c:spPr>
              <a:solidFill>
                <a:srgbClr val="736835"/>
              </a:solidFill>
              <a:ln w="9525" cmpd="sng" algn="ctr">
                <a:solidFill>
                  <a:schemeClr val="bg1"/>
                </a:solidFill>
                <a:prstDash val="solid"/>
              </a:ln>
            </c:spPr>
            <c:extLst>
              <c:ext xmlns:c16="http://schemas.microsoft.com/office/drawing/2014/chart" uri="{C3380CC4-5D6E-409C-BE32-E72D297353CC}">
                <c16:uniqueId val="{00000003-9747-41DE-9E46-25FCB46ED0CC}"/>
              </c:ext>
            </c:extLst>
          </c:dPt>
          <c:dPt>
            <c:idx val="4"/>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4-9747-41DE-9E46-25FCB46ED0CC}"/>
              </c:ext>
            </c:extLst>
          </c:dPt>
          <c:dPt>
            <c:idx val="5"/>
            <c:bubble3D val="0"/>
            <c:spPr>
              <a:solidFill>
                <a:srgbClr val="9DA464"/>
              </a:solidFill>
              <a:ln w="9525" cmpd="sng" algn="ctr">
                <a:solidFill>
                  <a:schemeClr val="bg1"/>
                </a:solidFill>
                <a:prstDash val="solid"/>
              </a:ln>
            </c:spPr>
            <c:extLst>
              <c:ext xmlns:c16="http://schemas.microsoft.com/office/drawing/2014/chart" uri="{C3380CC4-5D6E-409C-BE32-E72D297353CC}">
                <c16:uniqueId val="{00000005-9747-41DE-9E46-25FCB46ED0CC}"/>
              </c:ext>
            </c:extLst>
          </c:dPt>
          <c:dPt>
            <c:idx val="6"/>
            <c:bubble3D val="0"/>
            <c:spPr>
              <a:solidFill>
                <a:srgbClr val="A6964E"/>
              </a:solidFill>
              <a:ln w="9525" cmpd="sng" algn="ctr">
                <a:solidFill>
                  <a:schemeClr val="bg1"/>
                </a:solidFill>
                <a:prstDash val="solid"/>
              </a:ln>
            </c:spPr>
            <c:extLst>
              <c:ext xmlns:c16="http://schemas.microsoft.com/office/drawing/2014/chart" uri="{C3380CC4-5D6E-409C-BE32-E72D297353CC}">
                <c16:uniqueId val="{00000006-9747-41DE-9E46-25FCB46ED0CC}"/>
              </c:ext>
            </c:extLst>
          </c:dPt>
          <c:val>
            <c:numRef>
              <c:f>Sheet1!$A$1:$A$7</c:f>
              <c:numCache>
                <c:formatCode>General</c:formatCode>
                <c:ptCount val="7"/>
                <c:pt idx="0">
                  <c:v>26.115569528553305</c:v>
                </c:pt>
                <c:pt idx="1">
                  <c:v>19.405855489637023</c:v>
                </c:pt>
                <c:pt idx="2">
                  <c:v>16.574712974595055</c:v>
                </c:pt>
                <c:pt idx="3">
                  <c:v>14.371966981495001</c:v>
                </c:pt>
                <c:pt idx="4">
                  <c:v>12.815215816514575</c:v>
                </c:pt>
                <c:pt idx="5">
                  <c:v>9.0926788074001834</c:v>
                </c:pt>
                <c:pt idx="6">
                  <c:v>1.6240004018048533</c:v>
                </c:pt>
              </c:numCache>
            </c:numRef>
          </c:val>
          <c:extLst>
            <c:ext xmlns:c16="http://schemas.microsoft.com/office/drawing/2014/chart" uri="{C3380CC4-5D6E-409C-BE32-E72D297353CC}">
              <c16:uniqueId val="{00000007-9747-41DE-9E46-25FCB46ED0CC}"/>
            </c:ext>
          </c:extLst>
        </c:ser>
        <c:dLbls>
          <c:showLegendKey val="0"/>
          <c:showVal val="0"/>
          <c:showCatName val="0"/>
          <c:showSerName val="0"/>
          <c:showPercent val="0"/>
          <c:showBubbleSize val="0"/>
          <c:showLeaderLines val="0"/>
        </c:dLbls>
        <c:firstSliceAng val="266"/>
        <c:holeSize val="45"/>
      </c:doughnutChart>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40880503144654E-2"/>
          <c:y val="6.540880503144654E-2"/>
          <c:w val="0.86918238993710695"/>
          <c:h val="0.86918238993710695"/>
        </c:manualLayout>
      </c:layout>
      <c:doughnutChart>
        <c:varyColors val="0"/>
        <c:ser>
          <c:idx val="0"/>
          <c:order val="0"/>
          <c:dPt>
            <c:idx val="0"/>
            <c:bubble3D val="0"/>
            <c:spPr>
              <a:solidFill>
                <a:srgbClr val="969696"/>
              </a:solidFill>
              <a:ln w="9525" cmpd="sng" algn="ctr">
                <a:solidFill>
                  <a:schemeClr val="bg1"/>
                </a:solidFill>
                <a:prstDash val="solid"/>
              </a:ln>
            </c:spPr>
            <c:extLst>
              <c:ext xmlns:c16="http://schemas.microsoft.com/office/drawing/2014/chart" uri="{C3380CC4-5D6E-409C-BE32-E72D297353CC}">
                <c16:uniqueId val="{00000000-3987-4830-93E3-38E5C6BED1B8}"/>
              </c:ext>
            </c:extLst>
          </c:dPt>
          <c:dPt>
            <c:idx val="1"/>
            <c:bubble3D val="0"/>
            <c:spPr>
              <a:solidFill>
                <a:srgbClr val="657D1A"/>
              </a:solidFill>
              <a:ln w="9525" cmpd="sng" algn="ctr">
                <a:solidFill>
                  <a:schemeClr val="bg1"/>
                </a:solidFill>
                <a:prstDash val="solid"/>
              </a:ln>
            </c:spPr>
            <c:extLst>
              <c:ext xmlns:c16="http://schemas.microsoft.com/office/drawing/2014/chart" uri="{C3380CC4-5D6E-409C-BE32-E72D297353CC}">
                <c16:uniqueId val="{00000001-3987-4830-93E3-38E5C6BED1B8}"/>
              </c:ext>
            </c:extLst>
          </c:dPt>
          <c:dPt>
            <c:idx val="2"/>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2-3987-4830-93E3-38E5C6BED1B8}"/>
              </c:ext>
            </c:extLst>
          </c:dPt>
          <c:dPt>
            <c:idx val="3"/>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3-3987-4830-93E3-38E5C6BED1B8}"/>
              </c:ext>
            </c:extLst>
          </c:dPt>
          <c:dPt>
            <c:idx val="4"/>
            <c:bubble3D val="0"/>
            <c:spPr>
              <a:solidFill>
                <a:srgbClr val="9DA464"/>
              </a:solidFill>
              <a:ln w="9525" cmpd="sng" algn="ctr">
                <a:solidFill>
                  <a:schemeClr val="bg1"/>
                </a:solidFill>
                <a:prstDash val="solid"/>
              </a:ln>
            </c:spPr>
            <c:extLst>
              <c:ext xmlns:c16="http://schemas.microsoft.com/office/drawing/2014/chart" uri="{C3380CC4-5D6E-409C-BE32-E72D297353CC}">
                <c16:uniqueId val="{00000004-3987-4830-93E3-38E5C6BED1B8}"/>
              </c:ext>
            </c:extLst>
          </c:dPt>
          <c:dPt>
            <c:idx val="5"/>
            <c:bubble3D val="0"/>
            <c:spPr>
              <a:solidFill>
                <a:srgbClr val="A6964E"/>
              </a:solidFill>
              <a:ln w="9525" cmpd="sng" algn="ctr">
                <a:solidFill>
                  <a:schemeClr val="bg1"/>
                </a:solidFill>
                <a:prstDash val="solid"/>
              </a:ln>
            </c:spPr>
            <c:extLst>
              <c:ext xmlns:c16="http://schemas.microsoft.com/office/drawing/2014/chart" uri="{C3380CC4-5D6E-409C-BE32-E72D297353CC}">
                <c16:uniqueId val="{00000005-3987-4830-93E3-38E5C6BED1B8}"/>
              </c:ext>
            </c:extLst>
          </c:dPt>
          <c:dPt>
            <c:idx val="6"/>
            <c:bubble3D val="0"/>
            <c:spPr>
              <a:solidFill>
                <a:srgbClr val="736835"/>
              </a:solidFill>
              <a:ln w="9525" cmpd="sng" algn="ctr">
                <a:solidFill>
                  <a:schemeClr val="bg1"/>
                </a:solidFill>
                <a:prstDash val="solid"/>
              </a:ln>
            </c:spPr>
            <c:extLst>
              <c:ext xmlns:c16="http://schemas.microsoft.com/office/drawing/2014/chart" uri="{C3380CC4-5D6E-409C-BE32-E72D297353CC}">
                <c16:uniqueId val="{00000006-3987-4830-93E3-38E5C6BED1B8}"/>
              </c:ext>
            </c:extLst>
          </c:dPt>
          <c:val>
            <c:numRef>
              <c:f>Sheet1!$A$1:$A$7</c:f>
              <c:numCache>
                <c:formatCode>General</c:formatCode>
                <c:ptCount val="7"/>
                <c:pt idx="0">
                  <c:v>25.023636733829985</c:v>
                </c:pt>
                <c:pt idx="1">
                  <c:v>20.959508943423589</c:v>
                </c:pt>
                <c:pt idx="2">
                  <c:v>18.701204722265427</c:v>
                </c:pt>
                <c:pt idx="3">
                  <c:v>10.644946295771536</c:v>
                </c:pt>
                <c:pt idx="4">
                  <c:v>9.9925758408971586</c:v>
                </c:pt>
                <c:pt idx="5">
                  <c:v>9.0236542383779401</c:v>
                </c:pt>
                <c:pt idx="6">
                  <c:v>5.6544732254343737</c:v>
                </c:pt>
              </c:numCache>
            </c:numRef>
          </c:val>
          <c:extLst>
            <c:ext xmlns:c16="http://schemas.microsoft.com/office/drawing/2014/chart" uri="{C3380CC4-5D6E-409C-BE32-E72D297353CC}">
              <c16:uniqueId val="{00000007-3987-4830-93E3-38E5C6BED1B8}"/>
            </c:ext>
          </c:extLst>
        </c:ser>
        <c:dLbls>
          <c:showLegendKey val="0"/>
          <c:showVal val="0"/>
          <c:showCatName val="0"/>
          <c:showSerName val="0"/>
          <c:showPercent val="0"/>
          <c:showBubbleSize val="0"/>
          <c:showLeaderLines val="0"/>
        </c:dLbls>
        <c:firstSliceAng val="270"/>
        <c:holeSize val="45"/>
      </c:doughnutChart>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267960146827478E-2"/>
          <c:y val="2.8446389496717725E-2"/>
          <c:w val="0.94546407970634505"/>
          <c:h val="0.94310722100656452"/>
        </c:manualLayout>
      </c:layout>
      <c:barChart>
        <c:barDir val="bar"/>
        <c:grouping val="stacked"/>
        <c:varyColors val="0"/>
        <c:ser>
          <c:idx val="0"/>
          <c:order val="0"/>
          <c:spPr>
            <a:solidFill>
              <a:srgbClr val="E9E261"/>
            </a:solidFill>
            <a:ln>
              <a:noFill/>
            </a:ln>
          </c:spPr>
          <c:invertIfNegative val="0"/>
          <c:val>
            <c:numRef>
              <c:f>Sheet1!$A$1:$J$1</c:f>
              <c:numCache>
                <c:formatCode>General</c:formatCode>
                <c:ptCount val="10"/>
                <c:pt idx="0">
                  <c:v>2</c:v>
                </c:pt>
                <c:pt idx="1">
                  <c:v>2</c:v>
                </c:pt>
                <c:pt idx="2">
                  <c:v>1.3</c:v>
                </c:pt>
                <c:pt idx="3">
                  <c:v>1.3</c:v>
                </c:pt>
                <c:pt idx="4">
                  <c:v>2</c:v>
                </c:pt>
                <c:pt idx="5">
                  <c:v>1.3</c:v>
                </c:pt>
                <c:pt idx="6">
                  <c:v>2</c:v>
                </c:pt>
                <c:pt idx="7">
                  <c:v>2</c:v>
                </c:pt>
                <c:pt idx="8">
                  <c:v>0.7</c:v>
                </c:pt>
                <c:pt idx="9">
                  <c:v>0.7</c:v>
                </c:pt>
              </c:numCache>
            </c:numRef>
          </c:val>
          <c:extLst>
            <c:ext xmlns:c16="http://schemas.microsoft.com/office/drawing/2014/chart" uri="{C3380CC4-5D6E-409C-BE32-E72D297353CC}">
              <c16:uniqueId val="{00000000-87AD-4320-A380-0AF4E0B0318C}"/>
            </c:ext>
          </c:extLst>
        </c:ser>
        <c:ser>
          <c:idx val="1"/>
          <c:order val="1"/>
          <c:spPr>
            <a:solidFill>
              <a:srgbClr val="C8BD88"/>
            </a:solidFill>
            <a:ln>
              <a:noFill/>
            </a:ln>
          </c:spPr>
          <c:invertIfNegative val="0"/>
          <c:val>
            <c:numRef>
              <c:f>Sheet1!$A$2:$J$2</c:f>
              <c:numCache>
                <c:formatCode>General</c:formatCode>
                <c:ptCount val="10"/>
                <c:pt idx="0">
                  <c:v>1.6</c:v>
                </c:pt>
                <c:pt idx="1">
                  <c:v>1.6</c:v>
                </c:pt>
                <c:pt idx="2">
                  <c:v>1.7</c:v>
                </c:pt>
                <c:pt idx="3">
                  <c:v>1.1000000000000003</c:v>
                </c:pt>
                <c:pt idx="4">
                  <c:v>1.2000000000000002</c:v>
                </c:pt>
                <c:pt idx="5">
                  <c:v>1.9999999999999998</c:v>
                </c:pt>
                <c:pt idx="6">
                  <c:v>0.89999999999999991</c:v>
                </c:pt>
                <c:pt idx="7">
                  <c:v>0.89999999999999991</c:v>
                </c:pt>
                <c:pt idx="8">
                  <c:v>1.1000000000000001</c:v>
                </c:pt>
                <c:pt idx="9">
                  <c:v>1.3999999999999997</c:v>
                </c:pt>
              </c:numCache>
            </c:numRef>
          </c:val>
          <c:extLst>
            <c:ext xmlns:c16="http://schemas.microsoft.com/office/drawing/2014/chart" uri="{C3380CC4-5D6E-409C-BE32-E72D297353CC}">
              <c16:uniqueId val="{00000001-87AD-4320-A380-0AF4E0B0318C}"/>
            </c:ext>
          </c:extLst>
        </c:ser>
        <c:ser>
          <c:idx val="2"/>
          <c:order val="2"/>
          <c:spPr>
            <a:solidFill>
              <a:srgbClr val="A6964E"/>
            </a:solidFill>
            <a:ln>
              <a:noFill/>
            </a:ln>
          </c:spPr>
          <c:invertIfNegative val="0"/>
          <c:val>
            <c:numRef>
              <c:f>Sheet1!$A$3:$J$3</c:f>
              <c:numCache>
                <c:formatCode>General</c:formatCode>
                <c:ptCount val="10"/>
                <c:pt idx="0">
                  <c:v>2.1</c:v>
                </c:pt>
                <c:pt idx="1">
                  <c:v>1.4999999999999996</c:v>
                </c:pt>
                <c:pt idx="2">
                  <c:v>2.5999999999999996</c:v>
                </c:pt>
                <c:pt idx="3">
                  <c:v>2.2999999999999998</c:v>
                </c:pt>
                <c:pt idx="4">
                  <c:v>1.5</c:v>
                </c:pt>
                <c:pt idx="5">
                  <c:v>1.5</c:v>
                </c:pt>
                <c:pt idx="6">
                  <c:v>1.5000000000000004</c:v>
                </c:pt>
                <c:pt idx="7">
                  <c:v>1.5000000000000004</c:v>
                </c:pt>
                <c:pt idx="8">
                  <c:v>2.4000000000000004</c:v>
                </c:pt>
                <c:pt idx="9">
                  <c:v>1.5</c:v>
                </c:pt>
              </c:numCache>
            </c:numRef>
          </c:val>
          <c:extLst>
            <c:ext xmlns:c16="http://schemas.microsoft.com/office/drawing/2014/chart" uri="{C3380CC4-5D6E-409C-BE32-E72D297353CC}">
              <c16:uniqueId val="{00000002-87AD-4320-A380-0AF4E0B0318C}"/>
            </c:ext>
          </c:extLst>
        </c:ser>
        <c:ser>
          <c:idx val="3"/>
          <c:order val="3"/>
          <c:spPr>
            <a:solidFill>
              <a:srgbClr val="7B7039"/>
            </a:solidFill>
            <a:ln>
              <a:noFill/>
            </a:ln>
          </c:spPr>
          <c:invertIfNegative val="0"/>
          <c:val>
            <c:numRef>
              <c:f>Sheet1!$A$4:$J$4</c:f>
              <c:numCache>
                <c:formatCode>General</c:formatCode>
                <c:ptCount val="10"/>
                <c:pt idx="0">
                  <c:v>2</c:v>
                </c:pt>
                <c:pt idx="1">
                  <c:v>1.7000000000000002</c:v>
                </c:pt>
                <c:pt idx="2">
                  <c:v>1</c:v>
                </c:pt>
                <c:pt idx="3">
                  <c:v>1.7000000000000002</c:v>
                </c:pt>
                <c:pt idx="4">
                  <c:v>1.2999999999999998</c:v>
                </c:pt>
                <c:pt idx="5">
                  <c:v>1.2999999999999998</c:v>
                </c:pt>
                <c:pt idx="6">
                  <c:v>1.2999999999999998</c:v>
                </c:pt>
                <c:pt idx="7">
                  <c:v>0.70000000000000018</c:v>
                </c:pt>
                <c:pt idx="8">
                  <c:v>0.70000000000000018</c:v>
                </c:pt>
                <c:pt idx="9">
                  <c:v>1.2999999999999998</c:v>
                </c:pt>
              </c:numCache>
            </c:numRef>
          </c:val>
          <c:extLst>
            <c:ext xmlns:c16="http://schemas.microsoft.com/office/drawing/2014/chart" uri="{C3380CC4-5D6E-409C-BE32-E72D297353CC}">
              <c16:uniqueId val="{00000003-87AD-4320-A380-0AF4E0B0318C}"/>
            </c:ext>
          </c:extLst>
        </c:ser>
        <c:ser>
          <c:idx val="4"/>
          <c:order val="4"/>
          <c:spPr>
            <a:solidFill>
              <a:srgbClr val="5C542A"/>
            </a:solidFill>
            <a:ln>
              <a:noFill/>
            </a:ln>
          </c:spPr>
          <c:invertIfNegative val="0"/>
          <c:val>
            <c:numRef>
              <c:f>Sheet1!$A$5:$J$5</c:f>
              <c:numCache>
                <c:formatCode>General</c:formatCode>
                <c:ptCount val="10"/>
                <c:pt idx="0">
                  <c:v>0.70000000000000018</c:v>
                </c:pt>
                <c:pt idx="1">
                  <c:v>0.79999999999999982</c:v>
                </c:pt>
                <c:pt idx="2">
                  <c:v>0.70000000000000018</c:v>
                </c:pt>
                <c:pt idx="3">
                  <c:v>0.79999999999999982</c:v>
                </c:pt>
                <c:pt idx="4">
                  <c:v>0.90000000000000036</c:v>
                </c:pt>
                <c:pt idx="5">
                  <c:v>0.40000000000000036</c:v>
                </c:pt>
                <c:pt idx="6">
                  <c:v>0.59999999999999964</c:v>
                </c:pt>
                <c:pt idx="7">
                  <c:v>0.59999999999999964</c:v>
                </c:pt>
                <c:pt idx="8">
                  <c:v>0.59999999999999964</c:v>
                </c:pt>
                <c:pt idx="9">
                  <c:v>0.40000000000000036</c:v>
                </c:pt>
              </c:numCache>
            </c:numRef>
          </c:val>
          <c:extLst>
            <c:ext xmlns:c16="http://schemas.microsoft.com/office/drawing/2014/chart" uri="{C3380CC4-5D6E-409C-BE32-E72D297353CC}">
              <c16:uniqueId val="{00000004-87AD-4320-A380-0AF4E0B0318C}"/>
            </c:ext>
          </c:extLst>
        </c:ser>
        <c:dLbls>
          <c:showLegendKey val="0"/>
          <c:showVal val="0"/>
          <c:showCatName val="0"/>
          <c:showSerName val="0"/>
          <c:showPercent val="0"/>
          <c:showBubbleSize val="0"/>
        </c:dLbls>
        <c:gapWidth val="80"/>
        <c:overlap val="100"/>
        <c:axId val="262493327"/>
        <c:axId val="1"/>
      </c:barChart>
      <c:catAx>
        <c:axId val="26249332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262493327"/>
        <c:crosses val="min"/>
        <c:crossBetween val="between"/>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196891191709849E-3"/>
          <c:y val="3.3419023136246784E-2"/>
          <c:w val="0.98316062176165808"/>
          <c:h val="0.93316195372750643"/>
        </c:manualLayout>
      </c:layout>
      <c:barChart>
        <c:barDir val="col"/>
        <c:grouping val="stacked"/>
        <c:varyColors val="0"/>
        <c:ser>
          <c:idx val="0"/>
          <c:order val="0"/>
          <c:spPr>
            <a:solidFill>
              <a:srgbClr val="A6B727"/>
            </a:solidFill>
            <a:ln>
              <a:noFill/>
            </a:ln>
          </c:spPr>
          <c:invertIfNegative val="0"/>
          <c:dPt>
            <c:idx val="6"/>
            <c:invertIfNegative val="0"/>
            <c:bubble3D val="0"/>
            <c:spPr>
              <a:solidFill>
                <a:srgbClr val="6F8DB9"/>
              </a:solidFill>
              <a:ln>
                <a:noFill/>
              </a:ln>
            </c:spPr>
            <c:extLst>
              <c:ext xmlns:c16="http://schemas.microsoft.com/office/drawing/2014/chart" uri="{C3380CC4-5D6E-409C-BE32-E72D297353CC}">
                <c16:uniqueId val="{00000000-0813-43A2-BC38-5AEA66679C5D}"/>
              </c:ext>
            </c:extLst>
          </c:dPt>
          <c:dPt>
            <c:idx val="8"/>
            <c:invertIfNegative val="0"/>
            <c:bubble3D val="0"/>
            <c:spPr>
              <a:solidFill>
                <a:srgbClr val="6F8DB9"/>
              </a:solidFill>
              <a:ln>
                <a:noFill/>
              </a:ln>
            </c:spPr>
            <c:extLst>
              <c:ext xmlns:c16="http://schemas.microsoft.com/office/drawing/2014/chart" uri="{C3380CC4-5D6E-409C-BE32-E72D297353CC}">
                <c16:uniqueId val="{00000001-0813-43A2-BC38-5AEA66679C5D}"/>
              </c:ext>
            </c:extLst>
          </c:dPt>
          <c:dPt>
            <c:idx val="10"/>
            <c:invertIfNegative val="0"/>
            <c:bubble3D val="0"/>
            <c:spPr>
              <a:solidFill>
                <a:srgbClr val="9DB1CF"/>
              </a:solidFill>
              <a:ln>
                <a:noFill/>
              </a:ln>
            </c:spPr>
            <c:extLst>
              <c:ext xmlns:c16="http://schemas.microsoft.com/office/drawing/2014/chart" uri="{C3380CC4-5D6E-409C-BE32-E72D297353CC}">
                <c16:uniqueId val="{00000002-0813-43A2-BC38-5AEA66679C5D}"/>
              </c:ext>
            </c:extLst>
          </c:dPt>
          <c:dPt>
            <c:idx val="12"/>
            <c:invertIfNegative val="0"/>
            <c:bubble3D val="0"/>
            <c:spPr>
              <a:solidFill>
                <a:srgbClr val="6F8DB9"/>
              </a:solidFill>
              <a:ln>
                <a:noFill/>
              </a:ln>
            </c:spPr>
            <c:extLst>
              <c:ext xmlns:c16="http://schemas.microsoft.com/office/drawing/2014/chart" uri="{C3380CC4-5D6E-409C-BE32-E72D297353CC}">
                <c16:uniqueId val="{00000003-0813-43A2-BC38-5AEA66679C5D}"/>
              </c:ext>
            </c:extLst>
          </c:dPt>
          <c:dPt>
            <c:idx val="14"/>
            <c:invertIfNegative val="0"/>
            <c:bubble3D val="0"/>
            <c:spPr>
              <a:solidFill>
                <a:srgbClr val="9DB1CF"/>
              </a:solidFill>
              <a:ln>
                <a:noFill/>
              </a:ln>
            </c:spPr>
            <c:extLst>
              <c:ext xmlns:c16="http://schemas.microsoft.com/office/drawing/2014/chart" uri="{C3380CC4-5D6E-409C-BE32-E72D297353CC}">
                <c16:uniqueId val="{00000004-0813-43A2-BC38-5AEA66679C5D}"/>
              </c:ext>
            </c:extLst>
          </c:dPt>
          <c:dPt>
            <c:idx val="16"/>
            <c:invertIfNegative val="0"/>
            <c:bubble3D val="0"/>
            <c:spPr>
              <a:solidFill>
                <a:srgbClr val="9DB1CF"/>
              </a:solidFill>
              <a:ln>
                <a:noFill/>
              </a:ln>
            </c:spPr>
            <c:extLst>
              <c:ext xmlns:c16="http://schemas.microsoft.com/office/drawing/2014/chart" uri="{C3380CC4-5D6E-409C-BE32-E72D297353CC}">
                <c16:uniqueId val="{00000005-0813-43A2-BC38-5AEA66679C5D}"/>
              </c:ext>
            </c:extLst>
          </c:dPt>
          <c:dPt>
            <c:idx val="18"/>
            <c:invertIfNegative val="0"/>
            <c:bubble3D val="0"/>
            <c:spPr>
              <a:solidFill>
                <a:srgbClr val="9DB1CF"/>
              </a:solidFill>
              <a:ln>
                <a:noFill/>
              </a:ln>
            </c:spPr>
            <c:extLst>
              <c:ext xmlns:c16="http://schemas.microsoft.com/office/drawing/2014/chart" uri="{C3380CC4-5D6E-409C-BE32-E72D297353CC}">
                <c16:uniqueId val="{00000006-0813-43A2-BC38-5AEA66679C5D}"/>
              </c:ext>
            </c:extLst>
          </c:dPt>
          <c:dPt>
            <c:idx val="20"/>
            <c:invertIfNegative val="0"/>
            <c:bubble3D val="0"/>
            <c:spPr>
              <a:solidFill>
                <a:srgbClr val="9DB1CF"/>
              </a:solidFill>
              <a:ln>
                <a:noFill/>
              </a:ln>
            </c:spPr>
            <c:extLst>
              <c:ext xmlns:c16="http://schemas.microsoft.com/office/drawing/2014/chart" uri="{C3380CC4-5D6E-409C-BE32-E72D297353CC}">
                <c16:uniqueId val="{00000007-0813-43A2-BC38-5AEA66679C5D}"/>
              </c:ext>
            </c:extLst>
          </c:dPt>
          <c:dPt>
            <c:idx val="21"/>
            <c:invertIfNegative val="0"/>
            <c:bubble3D val="0"/>
            <c:spPr>
              <a:solidFill>
                <a:srgbClr val="9DB1CF"/>
              </a:solidFill>
              <a:ln>
                <a:noFill/>
              </a:ln>
            </c:spPr>
            <c:extLst>
              <c:ext xmlns:c16="http://schemas.microsoft.com/office/drawing/2014/chart" uri="{C3380CC4-5D6E-409C-BE32-E72D297353CC}">
                <c16:uniqueId val="{00000008-0813-43A2-BC38-5AEA66679C5D}"/>
              </c:ext>
            </c:extLst>
          </c:dPt>
          <c:dPt>
            <c:idx val="22"/>
            <c:invertIfNegative val="0"/>
            <c:bubble3D val="0"/>
            <c:spPr>
              <a:solidFill>
                <a:srgbClr val="9DB1CF"/>
              </a:solidFill>
              <a:ln>
                <a:noFill/>
              </a:ln>
            </c:spPr>
            <c:extLst>
              <c:ext xmlns:c16="http://schemas.microsoft.com/office/drawing/2014/chart" uri="{C3380CC4-5D6E-409C-BE32-E72D297353CC}">
                <c16:uniqueId val="{00000009-0813-43A2-BC38-5AEA66679C5D}"/>
              </c:ext>
            </c:extLst>
          </c:dPt>
          <c:val>
            <c:numRef>
              <c:f>Sheet1!$A$1:$X$1</c:f>
              <c:numCache>
                <c:formatCode>General</c:formatCode>
                <c:ptCount val="24"/>
                <c:pt idx="0">
                  <c:v>59.722222222222221</c:v>
                </c:pt>
                <c:pt idx="1">
                  <c:v>55.072463768115945</c:v>
                </c:pt>
                <c:pt idx="2">
                  <c:v>58.333333333333336</c:v>
                </c:pt>
                <c:pt idx="3">
                  <c:v>74.074074074074076</c:v>
                </c:pt>
                <c:pt idx="4">
                  <c:v>51.825677267373372</c:v>
                </c:pt>
                <c:pt idx="5">
                  <c:v>59.829059829059837</c:v>
                </c:pt>
                <c:pt idx="6">
                  <c:v>51.300842799560279</c:v>
                </c:pt>
                <c:pt idx="7">
                  <c:v>57.446808510638292</c:v>
                </c:pt>
                <c:pt idx="8">
                  <c:v>78.740157480314963</c:v>
                </c:pt>
                <c:pt idx="9">
                  <c:v>61.728395061728406</c:v>
                </c:pt>
                <c:pt idx="10">
                  <c:v>36</c:v>
                </c:pt>
                <c:pt idx="11">
                  <c:v>59.243697478991599</c:v>
                </c:pt>
                <c:pt idx="12">
                  <c:v>39.42181340341655</c:v>
                </c:pt>
                <c:pt idx="13">
                  <c:v>49.748743718592969</c:v>
                </c:pt>
                <c:pt idx="14">
                  <c:v>61.303673047077076</c:v>
                </c:pt>
                <c:pt idx="15">
                  <c:v>91.603053435114504</c:v>
                </c:pt>
                <c:pt idx="16">
                  <c:v>50.961538461538467</c:v>
                </c:pt>
                <c:pt idx="17">
                  <c:v>46.808510638297882</c:v>
                </c:pt>
                <c:pt idx="18">
                  <c:v>71.428571428571416</c:v>
                </c:pt>
                <c:pt idx="19">
                  <c:v>78.571428571428555</c:v>
                </c:pt>
                <c:pt idx="20">
                  <c:v>37.142857142857146</c:v>
                </c:pt>
                <c:pt idx="21">
                  <c:v>72.555205047318609</c:v>
                </c:pt>
                <c:pt idx="22">
                  <c:v>54.54545454545454</c:v>
                </c:pt>
                <c:pt idx="23">
                  <c:v>91.666666666666657</c:v>
                </c:pt>
              </c:numCache>
            </c:numRef>
          </c:val>
          <c:extLst>
            <c:ext xmlns:c16="http://schemas.microsoft.com/office/drawing/2014/chart" uri="{C3380CC4-5D6E-409C-BE32-E72D297353CC}">
              <c16:uniqueId val="{0000000A-0813-43A2-BC38-5AEA66679C5D}"/>
            </c:ext>
          </c:extLst>
        </c:ser>
        <c:ser>
          <c:idx val="1"/>
          <c:order val="1"/>
          <c:spPr>
            <a:solidFill>
              <a:srgbClr val="9DB1CF"/>
            </a:solidFill>
            <a:ln>
              <a:noFill/>
            </a:ln>
          </c:spPr>
          <c:invertIfNegative val="0"/>
          <c:dPt>
            <c:idx val="2"/>
            <c:invertIfNegative val="0"/>
            <c:bubble3D val="0"/>
            <c:spPr>
              <a:solidFill>
                <a:srgbClr val="6F8DB9"/>
              </a:solidFill>
              <a:ln>
                <a:noFill/>
              </a:ln>
            </c:spPr>
            <c:extLst>
              <c:ext xmlns:c16="http://schemas.microsoft.com/office/drawing/2014/chart" uri="{C3380CC4-5D6E-409C-BE32-E72D297353CC}">
                <c16:uniqueId val="{0000000B-0813-43A2-BC38-5AEA66679C5D}"/>
              </c:ext>
            </c:extLst>
          </c:dPt>
          <c:dPt>
            <c:idx val="5"/>
            <c:invertIfNegative val="0"/>
            <c:bubble3D val="0"/>
            <c:spPr>
              <a:solidFill>
                <a:srgbClr val="6F8DB9"/>
              </a:solidFill>
              <a:ln>
                <a:noFill/>
              </a:ln>
            </c:spPr>
            <c:extLst>
              <c:ext xmlns:c16="http://schemas.microsoft.com/office/drawing/2014/chart" uri="{C3380CC4-5D6E-409C-BE32-E72D297353CC}">
                <c16:uniqueId val="{0000000C-0813-43A2-BC38-5AEA66679C5D}"/>
              </c:ext>
            </c:extLst>
          </c:dPt>
          <c:dPt>
            <c:idx val="10"/>
            <c:invertIfNegative val="0"/>
            <c:bubble3D val="0"/>
            <c:spPr>
              <a:solidFill>
                <a:srgbClr val="A6B727"/>
              </a:solidFill>
              <a:ln>
                <a:noFill/>
              </a:ln>
            </c:spPr>
            <c:extLst>
              <c:ext xmlns:c16="http://schemas.microsoft.com/office/drawing/2014/chart" uri="{C3380CC4-5D6E-409C-BE32-E72D297353CC}">
                <c16:uniqueId val="{0000000D-0813-43A2-BC38-5AEA66679C5D}"/>
              </c:ext>
            </c:extLst>
          </c:dPt>
          <c:dPt>
            <c:idx val="12"/>
            <c:invertIfNegative val="0"/>
            <c:bubble3D val="0"/>
            <c:spPr>
              <a:solidFill>
                <a:srgbClr val="A6B727"/>
              </a:solidFill>
              <a:ln>
                <a:noFill/>
              </a:ln>
            </c:spPr>
            <c:extLst>
              <c:ext xmlns:c16="http://schemas.microsoft.com/office/drawing/2014/chart" uri="{C3380CC4-5D6E-409C-BE32-E72D297353CC}">
                <c16:uniqueId val="{0000000E-0813-43A2-BC38-5AEA66679C5D}"/>
              </c:ext>
            </c:extLst>
          </c:dPt>
          <c:dPt>
            <c:idx val="13"/>
            <c:invertIfNegative val="0"/>
            <c:bubble3D val="0"/>
            <c:spPr>
              <a:solidFill>
                <a:srgbClr val="6F8DB9"/>
              </a:solidFill>
              <a:ln>
                <a:noFill/>
              </a:ln>
            </c:spPr>
            <c:extLst>
              <c:ext xmlns:c16="http://schemas.microsoft.com/office/drawing/2014/chart" uri="{C3380CC4-5D6E-409C-BE32-E72D297353CC}">
                <c16:uniqueId val="{0000000F-0813-43A2-BC38-5AEA66679C5D}"/>
              </c:ext>
            </c:extLst>
          </c:dPt>
          <c:dPt>
            <c:idx val="14"/>
            <c:invertIfNegative val="0"/>
            <c:bubble3D val="0"/>
            <c:spPr>
              <a:solidFill>
                <a:srgbClr val="6F8DB9"/>
              </a:solidFill>
              <a:ln>
                <a:noFill/>
              </a:ln>
            </c:spPr>
            <c:extLst>
              <c:ext xmlns:c16="http://schemas.microsoft.com/office/drawing/2014/chart" uri="{C3380CC4-5D6E-409C-BE32-E72D297353CC}">
                <c16:uniqueId val="{00000010-0813-43A2-BC38-5AEA66679C5D}"/>
              </c:ext>
            </c:extLst>
          </c:dPt>
          <c:dPt>
            <c:idx val="16"/>
            <c:invertIfNegative val="0"/>
            <c:bubble3D val="0"/>
            <c:spPr>
              <a:solidFill>
                <a:srgbClr val="A6B727"/>
              </a:solidFill>
              <a:ln>
                <a:noFill/>
              </a:ln>
            </c:spPr>
            <c:extLst>
              <c:ext xmlns:c16="http://schemas.microsoft.com/office/drawing/2014/chart" uri="{C3380CC4-5D6E-409C-BE32-E72D297353CC}">
                <c16:uniqueId val="{00000011-0813-43A2-BC38-5AEA66679C5D}"/>
              </c:ext>
            </c:extLst>
          </c:dPt>
          <c:dPt>
            <c:idx val="18"/>
            <c:invertIfNegative val="0"/>
            <c:bubble3D val="0"/>
            <c:spPr>
              <a:solidFill>
                <a:srgbClr val="A6B727"/>
              </a:solidFill>
              <a:ln>
                <a:noFill/>
              </a:ln>
            </c:spPr>
            <c:extLst>
              <c:ext xmlns:c16="http://schemas.microsoft.com/office/drawing/2014/chart" uri="{C3380CC4-5D6E-409C-BE32-E72D297353CC}">
                <c16:uniqueId val="{00000012-0813-43A2-BC38-5AEA66679C5D}"/>
              </c:ext>
            </c:extLst>
          </c:dPt>
          <c:dPt>
            <c:idx val="20"/>
            <c:invertIfNegative val="0"/>
            <c:bubble3D val="0"/>
            <c:spPr>
              <a:solidFill>
                <a:srgbClr val="A6B727"/>
              </a:solidFill>
              <a:ln>
                <a:noFill/>
              </a:ln>
            </c:spPr>
            <c:extLst>
              <c:ext xmlns:c16="http://schemas.microsoft.com/office/drawing/2014/chart" uri="{C3380CC4-5D6E-409C-BE32-E72D297353CC}">
                <c16:uniqueId val="{00000013-0813-43A2-BC38-5AEA66679C5D}"/>
              </c:ext>
            </c:extLst>
          </c:dPt>
          <c:dPt>
            <c:idx val="21"/>
            <c:invertIfNegative val="0"/>
            <c:bubble3D val="0"/>
            <c:spPr>
              <a:solidFill>
                <a:srgbClr val="A6B727"/>
              </a:solidFill>
              <a:ln>
                <a:noFill/>
              </a:ln>
            </c:spPr>
            <c:extLst>
              <c:ext xmlns:c16="http://schemas.microsoft.com/office/drawing/2014/chart" uri="{C3380CC4-5D6E-409C-BE32-E72D297353CC}">
                <c16:uniqueId val="{00000014-0813-43A2-BC38-5AEA66679C5D}"/>
              </c:ext>
            </c:extLst>
          </c:dPt>
          <c:dPt>
            <c:idx val="22"/>
            <c:invertIfNegative val="0"/>
            <c:bubble3D val="0"/>
            <c:spPr>
              <a:solidFill>
                <a:srgbClr val="6F8DB9"/>
              </a:solidFill>
              <a:ln>
                <a:noFill/>
              </a:ln>
            </c:spPr>
            <c:extLst>
              <c:ext xmlns:c16="http://schemas.microsoft.com/office/drawing/2014/chart" uri="{C3380CC4-5D6E-409C-BE32-E72D297353CC}">
                <c16:uniqueId val="{00000015-0813-43A2-BC38-5AEA66679C5D}"/>
              </c:ext>
            </c:extLst>
          </c:dPt>
          <c:val>
            <c:numRef>
              <c:f>Sheet1!$A$2:$X$2</c:f>
              <c:numCache>
                <c:formatCode>General</c:formatCode>
                <c:ptCount val="24"/>
                <c:pt idx="0">
                  <c:v>31.944444444444454</c:v>
                </c:pt>
                <c:pt idx="1">
                  <c:v>43.840579710144922</c:v>
                </c:pt>
                <c:pt idx="2">
                  <c:v>41.666666666666664</c:v>
                </c:pt>
                <c:pt idx="3">
                  <c:v>24.074074074074069</c:v>
                </c:pt>
                <c:pt idx="4">
                  <c:v>40.871613663133097</c:v>
                </c:pt>
                <c:pt idx="5">
                  <c:v>24.786324786324787</c:v>
                </c:pt>
                <c:pt idx="6">
                  <c:v>42.030047636496882</c:v>
                </c:pt>
                <c:pt idx="7">
                  <c:v>29.787234042553191</c:v>
                </c:pt>
                <c:pt idx="8">
                  <c:v>19.4488188976378</c:v>
                </c:pt>
                <c:pt idx="9">
                  <c:v>32.098765432098773</c:v>
                </c:pt>
                <c:pt idx="10">
                  <c:v>31.999999999999996</c:v>
                </c:pt>
                <c:pt idx="11">
                  <c:v>29.411764705882348</c:v>
                </c:pt>
                <c:pt idx="12">
                  <c:v>35.260621988611476</c:v>
                </c:pt>
                <c:pt idx="13">
                  <c:v>29.145728643216074</c:v>
                </c:pt>
                <c:pt idx="14">
                  <c:v>31.039834454216241</c:v>
                </c:pt>
                <c:pt idx="15">
                  <c:v>8.3969465648855</c:v>
                </c:pt>
                <c:pt idx="16">
                  <c:v>49.038461538461554</c:v>
                </c:pt>
                <c:pt idx="17">
                  <c:v>38.297872340425535</c:v>
                </c:pt>
                <c:pt idx="18">
                  <c:v>28.571428571428569</c:v>
                </c:pt>
                <c:pt idx="19">
                  <c:v>21.428571428571431</c:v>
                </c:pt>
                <c:pt idx="20">
                  <c:v>34.285714285714278</c:v>
                </c:pt>
                <c:pt idx="21">
                  <c:v>27.444794952681384</c:v>
                </c:pt>
                <c:pt idx="22">
                  <c:v>45.45454545454546</c:v>
                </c:pt>
                <c:pt idx="23">
                  <c:v>8.3333333333333375</c:v>
                </c:pt>
              </c:numCache>
            </c:numRef>
          </c:val>
          <c:extLst>
            <c:ext xmlns:c16="http://schemas.microsoft.com/office/drawing/2014/chart" uri="{C3380CC4-5D6E-409C-BE32-E72D297353CC}">
              <c16:uniqueId val="{00000016-0813-43A2-BC38-5AEA66679C5D}"/>
            </c:ext>
          </c:extLst>
        </c:ser>
        <c:ser>
          <c:idx val="2"/>
          <c:order val="2"/>
          <c:spPr>
            <a:solidFill>
              <a:srgbClr val="6F8DB9"/>
            </a:solidFill>
            <a:ln>
              <a:noFill/>
            </a:ln>
          </c:spPr>
          <c:invertIfNegative val="0"/>
          <c:dPt>
            <c:idx val="2"/>
            <c:invertIfNegative val="0"/>
            <c:bubble3D val="0"/>
            <c:spPr>
              <a:solidFill>
                <a:srgbClr val="9DB1CF"/>
              </a:solidFill>
              <a:ln>
                <a:noFill/>
              </a:ln>
            </c:spPr>
            <c:extLst>
              <c:ext xmlns:c16="http://schemas.microsoft.com/office/drawing/2014/chart" uri="{C3380CC4-5D6E-409C-BE32-E72D297353CC}">
                <c16:uniqueId val="{00000017-0813-43A2-BC38-5AEA66679C5D}"/>
              </c:ext>
            </c:extLst>
          </c:dPt>
          <c:dPt>
            <c:idx val="5"/>
            <c:invertIfNegative val="0"/>
            <c:bubble3D val="0"/>
            <c:spPr>
              <a:solidFill>
                <a:srgbClr val="9DB1CF"/>
              </a:solidFill>
              <a:ln>
                <a:noFill/>
              </a:ln>
            </c:spPr>
            <c:extLst>
              <c:ext xmlns:c16="http://schemas.microsoft.com/office/drawing/2014/chart" uri="{C3380CC4-5D6E-409C-BE32-E72D297353CC}">
                <c16:uniqueId val="{00000018-0813-43A2-BC38-5AEA66679C5D}"/>
              </c:ext>
            </c:extLst>
          </c:dPt>
          <c:dPt>
            <c:idx val="6"/>
            <c:invertIfNegative val="0"/>
            <c:bubble3D val="0"/>
            <c:spPr>
              <a:solidFill>
                <a:srgbClr val="A6B727"/>
              </a:solidFill>
              <a:ln>
                <a:noFill/>
              </a:ln>
            </c:spPr>
            <c:extLst>
              <c:ext xmlns:c16="http://schemas.microsoft.com/office/drawing/2014/chart" uri="{C3380CC4-5D6E-409C-BE32-E72D297353CC}">
                <c16:uniqueId val="{00000019-0813-43A2-BC38-5AEA66679C5D}"/>
              </c:ext>
            </c:extLst>
          </c:dPt>
          <c:dPt>
            <c:idx val="8"/>
            <c:invertIfNegative val="0"/>
            <c:bubble3D val="0"/>
            <c:spPr>
              <a:solidFill>
                <a:srgbClr val="A6B727"/>
              </a:solidFill>
              <a:ln>
                <a:noFill/>
              </a:ln>
            </c:spPr>
            <c:extLst>
              <c:ext xmlns:c16="http://schemas.microsoft.com/office/drawing/2014/chart" uri="{C3380CC4-5D6E-409C-BE32-E72D297353CC}">
                <c16:uniqueId val="{0000001A-0813-43A2-BC38-5AEA66679C5D}"/>
              </c:ext>
            </c:extLst>
          </c:dPt>
          <c:dPt>
            <c:idx val="12"/>
            <c:invertIfNegative val="0"/>
            <c:bubble3D val="0"/>
            <c:spPr>
              <a:solidFill>
                <a:srgbClr val="9DB1CF"/>
              </a:solidFill>
              <a:ln>
                <a:noFill/>
              </a:ln>
            </c:spPr>
            <c:extLst>
              <c:ext xmlns:c16="http://schemas.microsoft.com/office/drawing/2014/chart" uri="{C3380CC4-5D6E-409C-BE32-E72D297353CC}">
                <c16:uniqueId val="{0000001B-0813-43A2-BC38-5AEA66679C5D}"/>
              </c:ext>
            </c:extLst>
          </c:dPt>
          <c:dPt>
            <c:idx val="13"/>
            <c:invertIfNegative val="0"/>
            <c:bubble3D val="0"/>
            <c:spPr>
              <a:solidFill>
                <a:srgbClr val="9DB1CF"/>
              </a:solidFill>
              <a:ln>
                <a:noFill/>
              </a:ln>
            </c:spPr>
            <c:extLst>
              <c:ext xmlns:c16="http://schemas.microsoft.com/office/drawing/2014/chart" uri="{C3380CC4-5D6E-409C-BE32-E72D297353CC}">
                <c16:uniqueId val="{0000001C-0813-43A2-BC38-5AEA66679C5D}"/>
              </c:ext>
            </c:extLst>
          </c:dPt>
          <c:dPt>
            <c:idx val="14"/>
            <c:invertIfNegative val="0"/>
            <c:bubble3D val="0"/>
            <c:spPr>
              <a:solidFill>
                <a:srgbClr val="A6B727"/>
              </a:solidFill>
              <a:ln>
                <a:noFill/>
              </a:ln>
            </c:spPr>
            <c:extLst>
              <c:ext xmlns:c16="http://schemas.microsoft.com/office/drawing/2014/chart" uri="{C3380CC4-5D6E-409C-BE32-E72D297353CC}">
                <c16:uniqueId val="{0000001D-0813-43A2-BC38-5AEA66679C5D}"/>
              </c:ext>
            </c:extLst>
          </c:dPt>
          <c:dPt>
            <c:idx val="22"/>
            <c:invertIfNegative val="0"/>
            <c:bubble3D val="0"/>
            <c:spPr>
              <a:solidFill>
                <a:srgbClr val="A6B727"/>
              </a:solidFill>
              <a:ln>
                <a:noFill/>
              </a:ln>
            </c:spPr>
            <c:extLst>
              <c:ext xmlns:c16="http://schemas.microsoft.com/office/drawing/2014/chart" uri="{C3380CC4-5D6E-409C-BE32-E72D297353CC}">
                <c16:uniqueId val="{0000001E-0813-43A2-BC38-5AEA66679C5D}"/>
              </c:ext>
            </c:extLst>
          </c:dPt>
          <c:val>
            <c:numRef>
              <c:f>Sheet1!$A$3:$X$3</c:f>
              <c:numCache>
                <c:formatCode>General</c:formatCode>
                <c:ptCount val="24"/>
                <c:pt idx="0">
                  <c:v>8.333333333333325</c:v>
                </c:pt>
                <c:pt idx="1">
                  <c:v>1.0869565217391353</c:v>
                </c:pt>
                <c:pt idx="2">
                  <c:v>0</c:v>
                </c:pt>
                <c:pt idx="3">
                  <c:v>1.851851851851849</c:v>
                </c:pt>
                <c:pt idx="4">
                  <c:v>7.3027090694935186</c:v>
                </c:pt>
                <c:pt idx="5">
                  <c:v>15.384615384615374</c:v>
                </c:pt>
                <c:pt idx="6">
                  <c:v>6.6691095639428326</c:v>
                </c:pt>
                <c:pt idx="7">
                  <c:v>12.765957446808507</c:v>
                </c:pt>
                <c:pt idx="8">
                  <c:v>1.8110236220472364</c:v>
                </c:pt>
                <c:pt idx="9">
                  <c:v>6.1728395061728447</c:v>
                </c:pt>
                <c:pt idx="10">
                  <c:v>32.000000000000007</c:v>
                </c:pt>
                <c:pt idx="11">
                  <c:v>11.344537815126055</c:v>
                </c:pt>
                <c:pt idx="12">
                  <c:v>25.317564607971967</c:v>
                </c:pt>
                <c:pt idx="13">
                  <c:v>21.105527638190956</c:v>
                </c:pt>
                <c:pt idx="14">
                  <c:v>7.6564924987066689</c:v>
                </c:pt>
                <c:pt idx="15">
                  <c:v>0</c:v>
                </c:pt>
                <c:pt idx="16">
                  <c:v>0</c:v>
                </c:pt>
                <c:pt idx="17">
                  <c:v>14.893617021276583</c:v>
                </c:pt>
                <c:pt idx="18">
                  <c:v>0</c:v>
                </c:pt>
                <c:pt idx="19">
                  <c:v>0</c:v>
                </c:pt>
                <c:pt idx="20">
                  <c:v>28.571428571428569</c:v>
                </c:pt>
                <c:pt idx="21">
                  <c:v>0</c:v>
                </c:pt>
                <c:pt idx="22">
                  <c:v>0</c:v>
                </c:pt>
                <c:pt idx="23">
                  <c:v>0</c:v>
                </c:pt>
              </c:numCache>
            </c:numRef>
          </c:val>
          <c:extLst>
            <c:ext xmlns:c16="http://schemas.microsoft.com/office/drawing/2014/chart" uri="{C3380CC4-5D6E-409C-BE32-E72D297353CC}">
              <c16:uniqueId val="{0000001F-0813-43A2-BC38-5AEA66679C5D}"/>
            </c:ext>
          </c:extLst>
        </c:ser>
        <c:dLbls>
          <c:showLegendKey val="0"/>
          <c:showVal val="0"/>
          <c:showCatName val="0"/>
          <c:showSerName val="0"/>
          <c:showPercent val="0"/>
          <c:showBubbleSize val="0"/>
        </c:dLbls>
        <c:gapWidth val="80"/>
        <c:overlap val="100"/>
        <c:axId val="797974336"/>
        <c:axId val="1"/>
      </c:barChart>
      <c:catAx>
        <c:axId val="797974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797974336"/>
        <c:crosses val="min"/>
        <c:crossBetween val="between"/>
        <c:majorUnit val="10"/>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7855579868709"/>
          <c:y val="2.2787028921998246E-2"/>
          <c:w val="0.7724288840262582"/>
          <c:h val="0.95442594215600352"/>
        </c:manualLayout>
      </c:layout>
      <c:barChart>
        <c:barDir val="col"/>
        <c:grouping val="stacked"/>
        <c:varyColors val="0"/>
        <c:ser>
          <c:idx val="0"/>
          <c:order val="0"/>
          <c:spPr>
            <a:solidFill>
              <a:srgbClr val="A6B727"/>
            </a:solidFill>
            <a:ln>
              <a:noFill/>
            </a:ln>
          </c:spPr>
          <c:invertIfNegative val="0"/>
          <c:val>
            <c:numRef>
              <c:f>Sheet1!$A$1</c:f>
              <c:numCache>
                <c:formatCode>General</c:formatCode>
                <c:ptCount val="1"/>
                <c:pt idx="0">
                  <c:v>592</c:v>
                </c:pt>
              </c:numCache>
            </c:numRef>
          </c:val>
          <c:extLst>
            <c:ext xmlns:c16="http://schemas.microsoft.com/office/drawing/2014/chart" uri="{C3380CC4-5D6E-409C-BE32-E72D297353CC}">
              <c16:uniqueId val="{00000000-D500-41E7-98A1-A86044AE8D3C}"/>
            </c:ext>
          </c:extLst>
        </c:ser>
        <c:ser>
          <c:idx val="1"/>
          <c:order val="1"/>
          <c:spPr>
            <a:solidFill>
              <a:srgbClr val="9DB1CF"/>
            </a:solidFill>
            <a:ln>
              <a:noFill/>
            </a:ln>
          </c:spPr>
          <c:invertIfNegative val="0"/>
          <c:val>
            <c:numRef>
              <c:f>Sheet1!$A$2</c:f>
              <c:numCache>
                <c:formatCode>General</c:formatCode>
                <c:ptCount val="1"/>
                <c:pt idx="0">
                  <c:v>399</c:v>
                </c:pt>
              </c:numCache>
            </c:numRef>
          </c:val>
          <c:extLst>
            <c:ext xmlns:c16="http://schemas.microsoft.com/office/drawing/2014/chart" uri="{C3380CC4-5D6E-409C-BE32-E72D297353CC}">
              <c16:uniqueId val="{00000001-D500-41E7-98A1-A86044AE8D3C}"/>
            </c:ext>
          </c:extLst>
        </c:ser>
        <c:ser>
          <c:idx val="2"/>
          <c:order val="2"/>
          <c:spPr>
            <a:solidFill>
              <a:srgbClr val="6F8DB9"/>
            </a:solidFill>
            <a:ln>
              <a:noFill/>
            </a:ln>
          </c:spPr>
          <c:invertIfNegative val="0"/>
          <c:val>
            <c:numRef>
              <c:f>Sheet1!$A$3</c:f>
              <c:numCache>
                <c:formatCode>General</c:formatCode>
                <c:ptCount val="1"/>
                <c:pt idx="0">
                  <c:v>111</c:v>
                </c:pt>
              </c:numCache>
            </c:numRef>
          </c:val>
          <c:extLst>
            <c:ext xmlns:c16="http://schemas.microsoft.com/office/drawing/2014/chart" uri="{C3380CC4-5D6E-409C-BE32-E72D297353CC}">
              <c16:uniqueId val="{00000002-D500-41E7-98A1-A86044AE8D3C}"/>
            </c:ext>
          </c:extLst>
        </c:ser>
        <c:ser>
          <c:idx val="3"/>
          <c:order val="3"/>
          <c:spPr>
            <a:solidFill>
              <a:srgbClr val="657D1A"/>
            </a:solidFill>
            <a:ln>
              <a:noFill/>
            </a:ln>
          </c:spPr>
          <c:invertIfNegative val="0"/>
          <c:val>
            <c:numRef>
              <c:f>Sheet1!$A$4</c:f>
              <c:numCache>
                <c:formatCode>General</c:formatCode>
                <c:ptCount val="1"/>
                <c:pt idx="0">
                  <c:v>134</c:v>
                </c:pt>
              </c:numCache>
            </c:numRef>
          </c:val>
          <c:extLst>
            <c:ext xmlns:c16="http://schemas.microsoft.com/office/drawing/2014/chart" uri="{C3380CC4-5D6E-409C-BE32-E72D297353CC}">
              <c16:uniqueId val="{00000003-D500-41E7-98A1-A86044AE8D3C}"/>
            </c:ext>
          </c:extLst>
        </c:ser>
        <c:dLbls>
          <c:showLegendKey val="0"/>
          <c:showVal val="0"/>
          <c:showCatName val="0"/>
          <c:showSerName val="0"/>
          <c:showPercent val="0"/>
          <c:showBubbleSize val="0"/>
        </c:dLbls>
        <c:gapWidth val="80"/>
        <c:overlap val="100"/>
        <c:axId val="450996864"/>
        <c:axId val="1"/>
      </c:barChart>
      <c:catAx>
        <c:axId val="4509968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450996864"/>
        <c:crosses val="min"/>
        <c:crossBetween val="between"/>
        <c:majorUnit val="100"/>
      </c:valAx>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7855579868709"/>
          <c:y val="2.2787028921998246E-2"/>
          <c:w val="0.7724288840262582"/>
          <c:h val="0.95442594215600352"/>
        </c:manualLayout>
      </c:layout>
      <c:barChart>
        <c:barDir val="col"/>
        <c:grouping val="stacked"/>
        <c:varyColors val="0"/>
        <c:ser>
          <c:idx val="0"/>
          <c:order val="0"/>
          <c:spPr>
            <a:solidFill>
              <a:srgbClr val="A6B727"/>
            </a:solidFill>
            <a:ln>
              <a:noFill/>
            </a:ln>
          </c:spPr>
          <c:invertIfNegative val="0"/>
          <c:val>
            <c:numRef>
              <c:f>Sheet1!$A$1</c:f>
              <c:numCache>
                <c:formatCode>General</c:formatCode>
                <c:ptCount val="1"/>
                <c:pt idx="0">
                  <c:v>592</c:v>
                </c:pt>
              </c:numCache>
            </c:numRef>
          </c:val>
          <c:extLst>
            <c:ext xmlns:c16="http://schemas.microsoft.com/office/drawing/2014/chart" uri="{C3380CC4-5D6E-409C-BE32-E72D297353CC}">
              <c16:uniqueId val="{00000000-2FA8-4E2E-B87F-260E595AF1AB}"/>
            </c:ext>
          </c:extLst>
        </c:ser>
        <c:ser>
          <c:idx val="1"/>
          <c:order val="1"/>
          <c:spPr>
            <a:solidFill>
              <a:srgbClr val="9DB1CF"/>
            </a:solidFill>
            <a:ln>
              <a:noFill/>
            </a:ln>
          </c:spPr>
          <c:invertIfNegative val="0"/>
          <c:val>
            <c:numRef>
              <c:f>Sheet1!$A$2</c:f>
              <c:numCache>
                <c:formatCode>General</c:formatCode>
                <c:ptCount val="1"/>
                <c:pt idx="0">
                  <c:v>399</c:v>
                </c:pt>
              </c:numCache>
            </c:numRef>
          </c:val>
          <c:extLst>
            <c:ext xmlns:c16="http://schemas.microsoft.com/office/drawing/2014/chart" uri="{C3380CC4-5D6E-409C-BE32-E72D297353CC}">
              <c16:uniqueId val="{00000001-2FA8-4E2E-B87F-260E595AF1AB}"/>
            </c:ext>
          </c:extLst>
        </c:ser>
        <c:ser>
          <c:idx val="2"/>
          <c:order val="2"/>
          <c:spPr>
            <a:solidFill>
              <a:srgbClr val="6F8DB9"/>
            </a:solidFill>
            <a:ln>
              <a:noFill/>
            </a:ln>
          </c:spPr>
          <c:invertIfNegative val="0"/>
          <c:val>
            <c:numRef>
              <c:f>Sheet1!$A$3</c:f>
              <c:numCache>
                <c:formatCode>General</c:formatCode>
                <c:ptCount val="1"/>
                <c:pt idx="0">
                  <c:v>111</c:v>
                </c:pt>
              </c:numCache>
            </c:numRef>
          </c:val>
          <c:extLst>
            <c:ext xmlns:c16="http://schemas.microsoft.com/office/drawing/2014/chart" uri="{C3380CC4-5D6E-409C-BE32-E72D297353CC}">
              <c16:uniqueId val="{00000002-2FA8-4E2E-B87F-260E595AF1AB}"/>
            </c:ext>
          </c:extLst>
        </c:ser>
        <c:ser>
          <c:idx val="3"/>
          <c:order val="3"/>
          <c:spPr>
            <a:solidFill>
              <a:srgbClr val="657D1A"/>
            </a:solidFill>
            <a:ln>
              <a:noFill/>
            </a:ln>
          </c:spPr>
          <c:invertIfNegative val="0"/>
          <c:val>
            <c:numRef>
              <c:f>Sheet1!$A$4</c:f>
              <c:numCache>
                <c:formatCode>General</c:formatCode>
                <c:ptCount val="1"/>
                <c:pt idx="0">
                  <c:v>134</c:v>
                </c:pt>
              </c:numCache>
            </c:numRef>
          </c:val>
          <c:extLst>
            <c:ext xmlns:c16="http://schemas.microsoft.com/office/drawing/2014/chart" uri="{C3380CC4-5D6E-409C-BE32-E72D297353CC}">
              <c16:uniqueId val="{00000003-2FA8-4E2E-B87F-260E595AF1AB}"/>
            </c:ext>
          </c:extLst>
        </c:ser>
        <c:dLbls>
          <c:showLegendKey val="0"/>
          <c:showVal val="0"/>
          <c:showCatName val="0"/>
          <c:showSerName val="0"/>
          <c:showPercent val="0"/>
          <c:showBubbleSize val="0"/>
        </c:dLbls>
        <c:gapWidth val="80"/>
        <c:overlap val="100"/>
        <c:axId val="797971456"/>
        <c:axId val="1"/>
      </c:barChart>
      <c:catAx>
        <c:axId val="7979714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797971456"/>
        <c:crosses val="min"/>
        <c:crossBetween val="between"/>
        <c:majorUnit val="100"/>
      </c:valAx>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993464052287582"/>
          <c:y val="6.4276885043263288E-2"/>
          <c:w val="0.66013071895424835"/>
          <c:h val="0.87144622991347342"/>
        </c:manualLayout>
      </c:layout>
      <c:barChart>
        <c:barDir val="col"/>
        <c:grouping val="stacked"/>
        <c:varyColors val="0"/>
        <c:ser>
          <c:idx val="0"/>
          <c:order val="0"/>
          <c:spPr>
            <a:solidFill>
              <a:srgbClr val="C8BD88"/>
            </a:solidFill>
            <a:ln>
              <a:noFill/>
            </a:ln>
          </c:spPr>
          <c:invertIfNegative val="0"/>
          <c:val>
            <c:numRef>
              <c:f>Sheet1!$A$1</c:f>
              <c:numCache>
                <c:formatCode>General</c:formatCode>
                <c:ptCount val="1"/>
                <c:pt idx="0">
                  <c:v>9.5</c:v>
                </c:pt>
              </c:numCache>
            </c:numRef>
          </c:val>
          <c:extLst>
            <c:ext xmlns:c16="http://schemas.microsoft.com/office/drawing/2014/chart" uri="{C3380CC4-5D6E-409C-BE32-E72D297353CC}">
              <c16:uniqueId val="{00000000-19FC-4A32-8492-985B1892CA5B}"/>
            </c:ext>
          </c:extLst>
        </c:ser>
        <c:ser>
          <c:idx val="1"/>
          <c:order val="1"/>
          <c:spPr>
            <a:solidFill>
              <a:srgbClr val="A6964E"/>
            </a:solidFill>
            <a:ln>
              <a:noFill/>
            </a:ln>
          </c:spPr>
          <c:invertIfNegative val="0"/>
          <c:val>
            <c:numRef>
              <c:f>Sheet1!$A$2</c:f>
              <c:numCache>
                <c:formatCode>General</c:formatCode>
                <c:ptCount val="1"/>
                <c:pt idx="0">
                  <c:v>2.5</c:v>
                </c:pt>
              </c:numCache>
            </c:numRef>
          </c:val>
          <c:extLst>
            <c:ext xmlns:c16="http://schemas.microsoft.com/office/drawing/2014/chart" uri="{C3380CC4-5D6E-409C-BE32-E72D297353CC}">
              <c16:uniqueId val="{00000001-19FC-4A32-8492-985B1892CA5B}"/>
            </c:ext>
          </c:extLst>
        </c:ser>
        <c:ser>
          <c:idx val="2"/>
          <c:order val="2"/>
          <c:spPr>
            <a:solidFill>
              <a:schemeClr val="bg1"/>
            </a:solidFill>
            <a:ln>
              <a:noFill/>
            </a:ln>
          </c:spPr>
          <c:invertIfNegative val="0"/>
          <c:val>
            <c:numRef>
              <c:f>Sheet1!$A$3</c:f>
              <c:numCache>
                <c:formatCode>General</c:formatCode>
                <c:ptCount val="1"/>
                <c:pt idx="0">
                  <c:v>6.5</c:v>
                </c:pt>
              </c:numCache>
            </c:numRef>
          </c:val>
          <c:extLst>
            <c:ext xmlns:c16="http://schemas.microsoft.com/office/drawing/2014/chart" uri="{C3380CC4-5D6E-409C-BE32-E72D297353CC}">
              <c16:uniqueId val="{00000002-19FC-4A32-8492-985B1892CA5B}"/>
            </c:ext>
          </c:extLst>
        </c:ser>
        <c:dLbls>
          <c:showLegendKey val="0"/>
          <c:showVal val="0"/>
          <c:showCatName val="0"/>
          <c:showSerName val="0"/>
          <c:showPercent val="0"/>
          <c:showBubbleSize val="0"/>
        </c:dLbls>
        <c:gapWidth val="80"/>
        <c:overlap val="100"/>
        <c:axId val="841986608"/>
        <c:axId val="1"/>
      </c:barChart>
      <c:catAx>
        <c:axId val="8419866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84198660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41922616673316E-2"/>
          <c:y val="2.1594684385382059E-2"/>
          <c:w val="0.95851615476665342"/>
          <c:h val="0.95681063122923593"/>
        </c:manualLayout>
      </c:layout>
      <c:barChart>
        <c:barDir val="bar"/>
        <c:grouping val="stacked"/>
        <c:varyColors val="0"/>
        <c:ser>
          <c:idx val="0"/>
          <c:order val="0"/>
          <c:spPr>
            <a:solidFill>
              <a:schemeClr val="accent3"/>
            </a:solidFill>
            <a:ln>
              <a:noFill/>
            </a:ln>
          </c:spPr>
          <c:invertIfNegative val="0"/>
          <c:val>
            <c:numRef>
              <c:f>Sheet1!$A$1:$J$1</c:f>
              <c:numCache>
                <c:formatCode>General</c:formatCode>
                <c:ptCount val="10"/>
                <c:pt idx="0">
                  <c:v>2.48</c:v>
                </c:pt>
                <c:pt idx="1">
                  <c:v>1.42</c:v>
                </c:pt>
                <c:pt idx="2">
                  <c:v>0.99</c:v>
                </c:pt>
                <c:pt idx="3">
                  <c:v>1.1599999999999999</c:v>
                </c:pt>
                <c:pt idx="4">
                  <c:v>0.86</c:v>
                </c:pt>
                <c:pt idx="5">
                  <c:v>0.77</c:v>
                </c:pt>
                <c:pt idx="6">
                  <c:v>0.47</c:v>
                </c:pt>
                <c:pt idx="7">
                  <c:v>0.65</c:v>
                </c:pt>
                <c:pt idx="8">
                  <c:v>0.43</c:v>
                </c:pt>
                <c:pt idx="9">
                  <c:v>0.54</c:v>
                </c:pt>
              </c:numCache>
            </c:numRef>
          </c:val>
          <c:extLst>
            <c:ext xmlns:c16="http://schemas.microsoft.com/office/drawing/2014/chart" uri="{C3380CC4-5D6E-409C-BE32-E72D297353CC}">
              <c16:uniqueId val="{00000000-2A01-43E7-931D-EE0CB6F85727}"/>
            </c:ext>
          </c:extLst>
        </c:ser>
        <c:ser>
          <c:idx val="1"/>
          <c:order val="1"/>
          <c:spPr>
            <a:solidFill>
              <a:srgbClr val="A6964E"/>
            </a:solidFill>
            <a:ln>
              <a:noFill/>
            </a:ln>
          </c:spPr>
          <c:invertIfNegative val="0"/>
          <c:val>
            <c:numRef>
              <c:f>Sheet1!$A$2:$J$2</c:f>
              <c:numCache>
                <c:formatCode>General</c:formatCode>
                <c:ptCount val="10"/>
                <c:pt idx="0">
                  <c:v>1.8199999999999998</c:v>
                </c:pt>
                <c:pt idx="1">
                  <c:v>2.0699999999999998</c:v>
                </c:pt>
                <c:pt idx="2">
                  <c:v>1.36</c:v>
                </c:pt>
                <c:pt idx="3">
                  <c:v>1.6499999999999997</c:v>
                </c:pt>
                <c:pt idx="4">
                  <c:v>1.58</c:v>
                </c:pt>
                <c:pt idx="5">
                  <c:v>1.88</c:v>
                </c:pt>
                <c:pt idx="6">
                  <c:v>1.78</c:v>
                </c:pt>
                <c:pt idx="7">
                  <c:v>1.73</c:v>
                </c:pt>
                <c:pt idx="8">
                  <c:v>1.2</c:v>
                </c:pt>
                <c:pt idx="9">
                  <c:v>1.33</c:v>
                </c:pt>
              </c:numCache>
            </c:numRef>
          </c:val>
          <c:extLst>
            <c:ext xmlns:c16="http://schemas.microsoft.com/office/drawing/2014/chart" uri="{C3380CC4-5D6E-409C-BE32-E72D297353CC}">
              <c16:uniqueId val="{00000001-2A01-43E7-931D-EE0CB6F85727}"/>
            </c:ext>
          </c:extLst>
        </c:ser>
        <c:ser>
          <c:idx val="2"/>
          <c:order val="2"/>
          <c:spPr>
            <a:solidFill>
              <a:srgbClr val="6F854E"/>
            </a:solidFill>
            <a:ln>
              <a:noFill/>
            </a:ln>
          </c:spPr>
          <c:invertIfNegative val="0"/>
          <c:val>
            <c:numRef>
              <c:f>Sheet1!$A$3:$J$3</c:f>
              <c:numCache>
                <c:formatCode>General</c:formatCode>
                <c:ptCount val="10"/>
                <c:pt idx="0">
                  <c:v>1.8231871059467171</c:v>
                </c:pt>
                <c:pt idx="1">
                  <c:v>1.8407551845696486</c:v>
                </c:pt>
                <c:pt idx="2">
                  <c:v>1.9197613424277633</c:v>
                </c:pt>
                <c:pt idx="3">
                  <c:v>1.1359532310360385</c:v>
                </c:pt>
                <c:pt idx="4">
                  <c:v>1.6368161852516514</c:v>
                </c:pt>
                <c:pt idx="5">
                  <c:v>1.1754205770171269</c:v>
                </c:pt>
                <c:pt idx="6">
                  <c:v>1.4727442249349587</c:v>
                </c:pt>
                <c:pt idx="7">
                  <c:v>1.0550929440966663</c:v>
                </c:pt>
                <c:pt idx="8">
                  <c:v>1.367580819352975</c:v>
                </c:pt>
                <c:pt idx="9">
                  <c:v>1.2320750690904188</c:v>
                </c:pt>
              </c:numCache>
            </c:numRef>
          </c:val>
          <c:extLst>
            <c:ext xmlns:c16="http://schemas.microsoft.com/office/drawing/2014/chart" uri="{C3380CC4-5D6E-409C-BE32-E72D297353CC}">
              <c16:uniqueId val="{00000002-2A01-43E7-931D-EE0CB6F85727}"/>
            </c:ext>
          </c:extLst>
        </c:ser>
        <c:ser>
          <c:idx val="3"/>
          <c:order val="3"/>
          <c:spPr>
            <a:solidFill>
              <a:srgbClr val="4E5F6E"/>
            </a:solidFill>
            <a:ln>
              <a:noFill/>
            </a:ln>
          </c:spPr>
          <c:invertIfNegative val="0"/>
          <c:val>
            <c:numRef>
              <c:f>Sheet1!$A$4:$J$4</c:f>
              <c:numCache>
                <c:formatCode>General</c:formatCode>
                <c:ptCount val="10"/>
                <c:pt idx="0">
                  <c:v>2.13</c:v>
                </c:pt>
                <c:pt idx="1">
                  <c:v>2.3200000000000003</c:v>
                </c:pt>
                <c:pt idx="2">
                  <c:v>2.42</c:v>
                </c:pt>
                <c:pt idx="3">
                  <c:v>2.23</c:v>
                </c:pt>
                <c:pt idx="4">
                  <c:v>2.08</c:v>
                </c:pt>
                <c:pt idx="5">
                  <c:v>2.1899999999999995</c:v>
                </c:pt>
                <c:pt idx="6">
                  <c:v>2.14</c:v>
                </c:pt>
                <c:pt idx="7">
                  <c:v>2.1999999999999997</c:v>
                </c:pt>
                <c:pt idx="8">
                  <c:v>2.04</c:v>
                </c:pt>
                <c:pt idx="9">
                  <c:v>1.88</c:v>
                </c:pt>
              </c:numCache>
            </c:numRef>
          </c:val>
          <c:extLst>
            <c:ext xmlns:c16="http://schemas.microsoft.com/office/drawing/2014/chart" uri="{C3380CC4-5D6E-409C-BE32-E72D297353CC}">
              <c16:uniqueId val="{00000003-2A01-43E7-931D-EE0CB6F85727}"/>
            </c:ext>
          </c:extLst>
        </c:ser>
        <c:dLbls>
          <c:showLegendKey val="0"/>
          <c:showVal val="0"/>
          <c:showCatName val="0"/>
          <c:showSerName val="0"/>
          <c:showPercent val="0"/>
          <c:showBubbleSize val="0"/>
        </c:dLbls>
        <c:gapWidth val="80"/>
        <c:overlap val="100"/>
        <c:axId val="656301567"/>
        <c:axId val="1"/>
      </c:barChart>
      <c:catAx>
        <c:axId val="65630156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656301567"/>
        <c:crosses val="min"/>
        <c:crossBetween val="between"/>
      </c:valAx>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278853601859024E-2"/>
          <c:y val="4.1204437400950873E-2"/>
          <c:w val="0.91944229279628198"/>
          <c:h val="0.91759112519809827"/>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1"/>
            <c:invertIfNegative val="0"/>
            <c:bubble3D val="0"/>
            <c:spPr>
              <a:pattFill prst="ltDnDiag">
                <a:fgClr>
                  <a:srgbClr val="000000"/>
                </a:fgClr>
                <a:bgClr>
                  <a:srgbClr val="FFFFFF"/>
                </a:bgClr>
              </a:pattFill>
              <a:ln w="9525" cmpd="sng" algn="ctr">
                <a:solidFill>
                  <a:schemeClr val="bg1"/>
                </a:solidFill>
                <a:prstDash val="solid"/>
              </a:ln>
            </c:spPr>
            <c:extLst>
              <c:ext xmlns:c16="http://schemas.microsoft.com/office/drawing/2014/chart" uri="{C3380CC4-5D6E-409C-BE32-E72D297353CC}">
                <c16:uniqueId val="{00000000-E29F-4DB9-BF23-14BC668B273C}"/>
              </c:ext>
            </c:extLst>
          </c:dPt>
          <c:val>
            <c:numRef>
              <c:f>Sheet1!$A$1:$B$1</c:f>
              <c:numCache>
                <c:formatCode>General</c:formatCode>
                <c:ptCount val="2"/>
                <c:pt idx="0">
                  <c:v>904</c:v>
                </c:pt>
                <c:pt idx="1">
                  <c:v>1600</c:v>
                </c:pt>
              </c:numCache>
            </c:numRef>
          </c:val>
          <c:extLst>
            <c:ext xmlns:c16="http://schemas.microsoft.com/office/drawing/2014/chart" uri="{C3380CC4-5D6E-409C-BE32-E72D297353CC}">
              <c16:uniqueId val="{00000001-E29F-4DB9-BF23-14BC668B273C}"/>
            </c:ext>
          </c:extLst>
        </c:ser>
        <c:ser>
          <c:idx val="1"/>
          <c:order val="1"/>
          <c:spPr>
            <a:noFill/>
            <a:ln>
              <a:noFill/>
            </a:ln>
          </c:spPr>
          <c:invertIfNegative val="0"/>
          <c:val>
            <c:numRef>
              <c:f>Sheet1!$A$2:$B$2</c:f>
              <c:numCache>
                <c:formatCode>General</c:formatCode>
                <c:ptCount val="2"/>
                <c:pt idx="0">
                  <c:v>1240</c:v>
                </c:pt>
              </c:numCache>
            </c:numRef>
          </c:val>
          <c:extLst>
            <c:ext xmlns:c16="http://schemas.microsoft.com/office/drawing/2014/chart" uri="{C3380CC4-5D6E-409C-BE32-E72D297353CC}">
              <c16:uniqueId val="{00000002-E29F-4DB9-BF23-14BC668B273C}"/>
            </c:ext>
          </c:extLst>
        </c:ser>
        <c:dLbls>
          <c:showLegendKey val="0"/>
          <c:showVal val="0"/>
          <c:showCatName val="0"/>
          <c:showSerName val="0"/>
          <c:showPercent val="0"/>
          <c:showBubbleSize val="0"/>
        </c:dLbls>
        <c:gapWidth val="80"/>
        <c:overlap val="100"/>
        <c:axId val="1861630207"/>
        <c:axId val="1"/>
      </c:barChart>
      <c:lineChart>
        <c:grouping val="standard"/>
        <c:varyColors val="0"/>
        <c:ser>
          <c:idx val="2"/>
          <c:order val="2"/>
          <c:spPr>
            <a:ln>
              <a:noFill/>
            </a:ln>
          </c:spPr>
          <c:marker>
            <c:symbol val="none"/>
          </c:marker>
          <c:dPt>
            <c:idx val="0"/>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3-E29F-4DB9-BF23-14BC668B273C}"/>
              </c:ext>
            </c:extLst>
          </c:dPt>
          <c:val>
            <c:numRef>
              <c:f>Sheet1!$A$3:$B$3</c:f>
              <c:numCache>
                <c:formatCode>General</c:formatCode>
                <c:ptCount val="2"/>
                <c:pt idx="0">
                  <c:v>176.6</c:v>
                </c:pt>
              </c:numCache>
            </c:numRef>
          </c:val>
          <c:smooth val="0"/>
          <c:extLst>
            <c:ext xmlns:c16="http://schemas.microsoft.com/office/drawing/2014/chart" uri="{C3380CC4-5D6E-409C-BE32-E72D297353CC}">
              <c16:uniqueId val="{00000004-E29F-4DB9-BF23-14BC668B273C}"/>
            </c:ext>
          </c:extLst>
        </c:ser>
        <c:dLbls>
          <c:showLegendKey val="0"/>
          <c:showVal val="0"/>
          <c:showCatName val="0"/>
          <c:showSerName val="0"/>
          <c:showPercent val="0"/>
          <c:showBubbleSize val="0"/>
        </c:dLbls>
        <c:marker val="1"/>
        <c:smooth val="0"/>
        <c:axId val="2"/>
        <c:axId val="3"/>
      </c:lineChart>
      <c:catAx>
        <c:axId val="18616302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861630207"/>
        <c:crosses val="min"/>
        <c:crossBetween val="between"/>
        <c:majorUnit val="5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20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2"/>
        <c:crosses val="max"/>
        <c:crossBetween val="between"/>
        <c:majorUnit val="50"/>
      </c:valAx>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918918918918921E-2"/>
          <c:y val="4.0154440154440155E-2"/>
          <c:w val="0.91216216216216217"/>
          <c:h val="0.91969111969111972"/>
        </c:manualLayout>
      </c:layout>
      <c:barChart>
        <c:barDir val="col"/>
        <c:grouping val="stacked"/>
        <c:varyColors val="0"/>
        <c:ser>
          <c:idx val="0"/>
          <c:order val="0"/>
          <c:spPr>
            <a:solidFill>
              <a:srgbClr val="E1C4E1"/>
            </a:solidFill>
            <a:ln w="9525" cmpd="sng" algn="ctr">
              <a:solidFill>
                <a:schemeClr val="bg1"/>
              </a:solidFill>
              <a:prstDash val="solid"/>
            </a:ln>
          </c:spPr>
          <c:invertIfNegative val="0"/>
          <c:dPt>
            <c:idx val="0"/>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5FFE-49E1-ACAB-A885D7A4CFF0}"/>
              </c:ext>
            </c:extLst>
          </c:dPt>
          <c:dPt>
            <c:idx val="3"/>
            <c:invertIfNegative val="0"/>
            <c:bubble3D val="0"/>
            <c:spPr>
              <a:pattFill prst="ltDnDiag">
                <a:fgClr>
                  <a:srgbClr val="000000"/>
                </a:fgClr>
                <a:bgClr>
                  <a:srgbClr val="FFFFFF"/>
                </a:bgClr>
              </a:pattFill>
              <a:ln>
                <a:noFill/>
              </a:ln>
            </c:spPr>
            <c:extLst>
              <c:ext xmlns:c16="http://schemas.microsoft.com/office/drawing/2014/chart" uri="{C3380CC4-5D6E-409C-BE32-E72D297353CC}">
                <c16:uniqueId val="{00000001-5FFE-49E1-ACAB-A885D7A4CFF0}"/>
              </c:ext>
            </c:extLst>
          </c:dPt>
          <c:val>
            <c:numRef>
              <c:f>Sheet1!$A$1:$D$1</c:f>
              <c:numCache>
                <c:formatCode>General</c:formatCode>
                <c:ptCount val="4"/>
                <c:pt idx="0">
                  <c:v>412</c:v>
                </c:pt>
                <c:pt idx="1">
                  <c:v>300</c:v>
                </c:pt>
                <c:pt idx="2">
                  <c:v>300</c:v>
                </c:pt>
                <c:pt idx="3">
                  <c:v>1000</c:v>
                </c:pt>
              </c:numCache>
            </c:numRef>
          </c:val>
          <c:extLst>
            <c:ext xmlns:c16="http://schemas.microsoft.com/office/drawing/2014/chart" uri="{C3380CC4-5D6E-409C-BE32-E72D297353CC}">
              <c16:uniqueId val="{00000002-5FFE-49E1-ACAB-A885D7A4CFF0}"/>
            </c:ext>
          </c:extLst>
        </c:ser>
        <c:ser>
          <c:idx val="1"/>
          <c:order val="1"/>
          <c:spPr>
            <a:noFill/>
            <a:ln>
              <a:noFill/>
            </a:ln>
          </c:spPr>
          <c:invertIfNegative val="0"/>
          <c:val>
            <c:numRef>
              <c:f>Sheet1!$A$2:$D$2</c:f>
              <c:numCache>
                <c:formatCode>General</c:formatCode>
                <c:ptCount val="4"/>
                <c:pt idx="0">
                  <c:v>2888</c:v>
                </c:pt>
              </c:numCache>
            </c:numRef>
          </c:val>
          <c:extLst>
            <c:ext xmlns:c16="http://schemas.microsoft.com/office/drawing/2014/chart" uri="{C3380CC4-5D6E-409C-BE32-E72D297353CC}">
              <c16:uniqueId val="{00000003-5FFE-49E1-ACAB-A885D7A4CFF0}"/>
            </c:ext>
          </c:extLst>
        </c:ser>
        <c:dLbls>
          <c:showLegendKey val="0"/>
          <c:showVal val="0"/>
          <c:showCatName val="0"/>
          <c:showSerName val="0"/>
          <c:showPercent val="0"/>
          <c:showBubbleSize val="0"/>
        </c:dLbls>
        <c:gapWidth val="80"/>
        <c:overlap val="100"/>
        <c:axId val="1447918047"/>
        <c:axId val="1"/>
      </c:barChart>
      <c:lineChart>
        <c:grouping val="standard"/>
        <c:varyColors val="0"/>
        <c:ser>
          <c:idx val="2"/>
          <c:order val="2"/>
          <c:spPr>
            <a:ln>
              <a:noFill/>
            </a:ln>
          </c:spPr>
          <c:marker>
            <c:symbol val="none"/>
          </c:marker>
          <c:dPt>
            <c:idx val="0"/>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4-5FFE-49E1-ACAB-A885D7A4CFF0}"/>
              </c:ext>
            </c:extLst>
          </c:dPt>
          <c:val>
            <c:numRef>
              <c:f>Sheet1!$A$3:$D$3</c:f>
              <c:numCache>
                <c:formatCode>General</c:formatCode>
                <c:ptCount val="4"/>
                <c:pt idx="0">
                  <c:v>49.7</c:v>
                </c:pt>
              </c:numCache>
            </c:numRef>
          </c:val>
          <c:smooth val="0"/>
          <c:extLst>
            <c:ext xmlns:c16="http://schemas.microsoft.com/office/drawing/2014/chart" uri="{C3380CC4-5D6E-409C-BE32-E72D297353CC}">
              <c16:uniqueId val="{00000005-5FFE-49E1-ACAB-A885D7A4CFF0}"/>
            </c:ext>
          </c:extLst>
        </c:ser>
        <c:dLbls>
          <c:showLegendKey val="0"/>
          <c:showVal val="0"/>
          <c:showCatName val="0"/>
          <c:showSerName val="0"/>
          <c:showPercent val="0"/>
          <c:showBubbleSize val="0"/>
        </c:dLbls>
        <c:marker val="1"/>
        <c:smooth val="0"/>
        <c:axId val="2"/>
        <c:axId val="3"/>
      </c:lineChart>
      <c:catAx>
        <c:axId val="14479180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447918047"/>
        <c:crosses val="min"/>
        <c:crossBetween val="between"/>
        <c:majorUnit val="5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5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2"/>
        <c:crosses val="max"/>
        <c:crossBetween val="between"/>
        <c:majorUnit val="10"/>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094938302694535E-2"/>
          <c:y val="7.492795389048991E-2"/>
          <c:w val="0.97381012339461093"/>
          <c:h val="0.85014409221902021"/>
        </c:manualLayout>
      </c:layout>
      <c:barChart>
        <c:barDir val="col"/>
        <c:grouping val="stacked"/>
        <c:varyColors val="0"/>
        <c:ser>
          <c:idx val="0"/>
          <c:order val="0"/>
          <c:spPr>
            <a:solidFill>
              <a:srgbClr val="E1C4E1"/>
            </a:solidFill>
            <a:ln w="9525" cmpd="sng" algn="ctr">
              <a:solidFill>
                <a:schemeClr val="bg1"/>
              </a:solidFill>
              <a:prstDash val="solid"/>
            </a:ln>
          </c:spPr>
          <c:invertIfNegative val="0"/>
          <c:dPt>
            <c:idx val="0"/>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5DCA-4665-8F9F-64867FB8128C}"/>
              </c:ext>
            </c:extLst>
          </c:dPt>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1-5DCA-4665-8F9F-64867FB8128C}"/>
              </c:ext>
            </c:extLst>
          </c:dPt>
          <c:dPt>
            <c:idx val="2"/>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2-5DCA-4665-8F9F-64867FB8128C}"/>
              </c:ext>
            </c:extLst>
          </c:dPt>
          <c:dPt>
            <c:idx val="3"/>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3-5DCA-4665-8F9F-64867FB8128C}"/>
              </c:ext>
            </c:extLst>
          </c:dPt>
          <c:dPt>
            <c:idx val="4"/>
            <c:invertIfNegative val="0"/>
            <c:bubble3D val="0"/>
            <c:spPr>
              <a:solidFill>
                <a:schemeClr val="accent2"/>
              </a:solidFill>
              <a:ln>
                <a:noFill/>
              </a:ln>
            </c:spPr>
            <c:extLst>
              <c:ext xmlns:c16="http://schemas.microsoft.com/office/drawing/2014/chart" uri="{C3380CC4-5D6E-409C-BE32-E72D297353CC}">
                <c16:uniqueId val="{00000004-5DCA-4665-8F9F-64867FB8128C}"/>
              </c:ext>
            </c:extLst>
          </c:dPt>
          <c:dPt>
            <c:idx val="5"/>
            <c:invertIfNegative val="0"/>
            <c:bubble3D val="0"/>
            <c:spPr>
              <a:solidFill>
                <a:schemeClr val="accent2"/>
              </a:solidFill>
              <a:ln>
                <a:noFill/>
              </a:ln>
            </c:spPr>
            <c:extLst>
              <c:ext xmlns:c16="http://schemas.microsoft.com/office/drawing/2014/chart" uri="{C3380CC4-5D6E-409C-BE32-E72D297353CC}">
                <c16:uniqueId val="{00000005-5DCA-4665-8F9F-64867FB8128C}"/>
              </c:ext>
            </c:extLst>
          </c:dPt>
          <c:dPt>
            <c:idx val="6"/>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6-5DCA-4665-8F9F-64867FB8128C}"/>
              </c:ext>
            </c:extLst>
          </c:dPt>
          <c:val>
            <c:numRef>
              <c:f>Sheet1!$A$1:$L$1</c:f>
              <c:numCache>
                <c:formatCode>General</c:formatCode>
                <c:ptCount val="12"/>
                <c:pt idx="0">
                  <c:v>650</c:v>
                </c:pt>
                <c:pt idx="1">
                  <c:v>250</c:v>
                </c:pt>
                <c:pt idx="2">
                  <c:v>250</c:v>
                </c:pt>
                <c:pt idx="3">
                  <c:v>397.2</c:v>
                </c:pt>
                <c:pt idx="4">
                  <c:v>10</c:v>
                </c:pt>
                <c:pt idx="5">
                  <c:v>83.5</c:v>
                </c:pt>
                <c:pt idx="6">
                  <c:v>400</c:v>
                </c:pt>
                <c:pt idx="7">
                  <c:v>850</c:v>
                </c:pt>
                <c:pt idx="8">
                  <c:v>900</c:v>
                </c:pt>
                <c:pt idx="9">
                  <c:v>950</c:v>
                </c:pt>
                <c:pt idx="10">
                  <c:v>1000</c:v>
                </c:pt>
                <c:pt idx="11">
                  <c:v>1050</c:v>
                </c:pt>
              </c:numCache>
            </c:numRef>
          </c:val>
          <c:extLst>
            <c:ext xmlns:c16="http://schemas.microsoft.com/office/drawing/2014/chart" uri="{C3380CC4-5D6E-409C-BE32-E72D297353CC}">
              <c16:uniqueId val="{00000007-5DCA-4665-8F9F-64867FB8128C}"/>
            </c:ext>
          </c:extLst>
        </c:ser>
        <c:ser>
          <c:idx val="1"/>
          <c:order val="1"/>
          <c:spPr>
            <a:noFill/>
            <a:ln>
              <a:noFill/>
            </a:ln>
          </c:spPr>
          <c:invertIfNegative val="0"/>
          <c:val>
            <c:numRef>
              <c:f>Sheet1!$A$2:$L$2</c:f>
              <c:numCache>
                <c:formatCode>General</c:formatCode>
                <c:ptCount val="12"/>
                <c:pt idx="0">
                  <c:v>445</c:v>
                </c:pt>
                <c:pt idx="1">
                  <c:v>259</c:v>
                </c:pt>
                <c:pt idx="2">
                  <c:v>1</c:v>
                </c:pt>
                <c:pt idx="3">
                  <c:v>37.800000000000011</c:v>
                </c:pt>
                <c:pt idx="6">
                  <c:v>380</c:v>
                </c:pt>
              </c:numCache>
            </c:numRef>
          </c:val>
          <c:extLst>
            <c:ext xmlns:c16="http://schemas.microsoft.com/office/drawing/2014/chart" uri="{C3380CC4-5D6E-409C-BE32-E72D297353CC}">
              <c16:uniqueId val="{00000008-5DCA-4665-8F9F-64867FB8128C}"/>
            </c:ext>
          </c:extLst>
        </c:ser>
        <c:dLbls>
          <c:showLegendKey val="0"/>
          <c:showVal val="0"/>
          <c:showCatName val="0"/>
          <c:showSerName val="0"/>
          <c:showPercent val="0"/>
          <c:showBubbleSize val="0"/>
        </c:dLbls>
        <c:gapWidth val="80"/>
        <c:overlap val="100"/>
        <c:axId val="395037215"/>
        <c:axId val="1"/>
      </c:barChart>
      <c:lineChart>
        <c:grouping val="standard"/>
        <c:varyColors val="0"/>
        <c:ser>
          <c:idx val="2"/>
          <c:order val="2"/>
          <c:spPr>
            <a:ln>
              <a:noFill/>
            </a:ln>
          </c:spPr>
          <c:marker>
            <c:symbol val="none"/>
          </c:marker>
          <c:dPt>
            <c:idx val="0"/>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9-5DCA-4665-8F9F-64867FB8128C}"/>
              </c:ext>
            </c:extLst>
          </c:dPt>
          <c:dPt>
            <c:idx val="1"/>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A-5DCA-4665-8F9F-64867FB8128C}"/>
              </c:ext>
            </c:extLst>
          </c:dPt>
          <c:dPt>
            <c:idx val="2"/>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B-5DCA-4665-8F9F-64867FB8128C}"/>
              </c:ext>
            </c:extLst>
          </c:dPt>
          <c:dPt>
            <c:idx val="3"/>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C-5DCA-4665-8F9F-64867FB8128C}"/>
              </c:ext>
            </c:extLst>
          </c:dPt>
          <c:dPt>
            <c:idx val="6"/>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D-5DCA-4665-8F9F-64867FB8128C}"/>
              </c:ext>
            </c:extLst>
          </c:dPt>
          <c:val>
            <c:numRef>
              <c:f>Sheet1!$A$3:$L$3</c:f>
              <c:numCache>
                <c:formatCode>General</c:formatCode>
                <c:ptCount val="12"/>
                <c:pt idx="0">
                  <c:v>45</c:v>
                </c:pt>
                <c:pt idx="1">
                  <c:v>42.9</c:v>
                </c:pt>
                <c:pt idx="2">
                  <c:v>45.5</c:v>
                </c:pt>
                <c:pt idx="3">
                  <c:v>54.2</c:v>
                </c:pt>
                <c:pt idx="6">
                  <c:v>83.3</c:v>
                </c:pt>
              </c:numCache>
            </c:numRef>
          </c:val>
          <c:smooth val="0"/>
          <c:extLst>
            <c:ext xmlns:c16="http://schemas.microsoft.com/office/drawing/2014/chart" uri="{C3380CC4-5D6E-409C-BE32-E72D297353CC}">
              <c16:uniqueId val="{0000000E-5DCA-4665-8F9F-64867FB8128C}"/>
            </c:ext>
          </c:extLst>
        </c:ser>
        <c:dLbls>
          <c:showLegendKey val="0"/>
          <c:showVal val="0"/>
          <c:showCatName val="0"/>
          <c:showSerName val="0"/>
          <c:showPercent val="0"/>
          <c:showBubbleSize val="0"/>
        </c:dLbls>
        <c:marker val="1"/>
        <c:smooth val="0"/>
        <c:axId val="2"/>
        <c:axId val="3"/>
      </c:lineChart>
      <c:catAx>
        <c:axId val="3950372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395037215"/>
        <c:crosses val="min"/>
        <c:crossBetween val="between"/>
        <c:majorUnit val="5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0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2"/>
        <c:crosses val="max"/>
        <c:crossBetween val="between"/>
        <c:majorUnit val="50"/>
      </c:valAx>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42424242424242E-2"/>
          <c:y val="0.13756613756613756"/>
          <c:w val="0.95151515151515154"/>
          <c:h val="0.72486772486772488"/>
        </c:manualLayout>
      </c:layout>
      <c:barChart>
        <c:barDir val="col"/>
        <c:grouping val="stacked"/>
        <c:varyColors val="0"/>
        <c:ser>
          <c:idx val="0"/>
          <c:order val="0"/>
          <c:spPr>
            <a:noFill/>
            <a:ln>
              <a:noFill/>
            </a:ln>
          </c:spPr>
          <c:invertIfNegative val="0"/>
          <c:dPt>
            <c:idx val="4"/>
            <c:invertIfNegative val="0"/>
            <c:bubble3D val="0"/>
            <c:spPr>
              <a:solidFill>
                <a:srgbClr val="E1C4E1"/>
              </a:solidFill>
              <a:ln w="9525" cmpd="sng" algn="ctr">
                <a:solidFill>
                  <a:schemeClr val="bg1"/>
                </a:solidFill>
                <a:prstDash val="solid"/>
              </a:ln>
            </c:spPr>
            <c:extLst>
              <c:ext xmlns:c16="http://schemas.microsoft.com/office/drawing/2014/chart" uri="{C3380CC4-5D6E-409C-BE32-E72D297353CC}">
                <c16:uniqueId val="{00000000-ABF7-4732-9CF0-889F0189ECB1}"/>
              </c:ext>
            </c:extLst>
          </c:dPt>
          <c:dPt>
            <c:idx val="5"/>
            <c:invertIfNegative val="0"/>
            <c:bubble3D val="0"/>
            <c:spPr>
              <a:solidFill>
                <a:srgbClr val="E1C4E1"/>
              </a:solidFill>
              <a:ln w="9525" cmpd="sng" algn="ctr">
                <a:solidFill>
                  <a:schemeClr val="bg1"/>
                </a:solidFill>
                <a:prstDash val="solid"/>
              </a:ln>
            </c:spPr>
            <c:extLst>
              <c:ext xmlns:c16="http://schemas.microsoft.com/office/drawing/2014/chart" uri="{C3380CC4-5D6E-409C-BE32-E72D297353CC}">
                <c16:uniqueId val="{00000001-ABF7-4732-9CF0-889F0189ECB1}"/>
              </c:ext>
            </c:extLst>
          </c:dPt>
          <c:val>
            <c:numRef>
              <c:f>Sheet1!$A$1:$F$1</c:f>
              <c:numCache>
                <c:formatCode>General</c:formatCode>
                <c:ptCount val="6"/>
                <c:pt idx="0">
                  <c:v>20</c:v>
                </c:pt>
                <c:pt idx="1">
                  <c:v>20</c:v>
                </c:pt>
                <c:pt idx="2">
                  <c:v>20</c:v>
                </c:pt>
                <c:pt idx="3">
                  <c:v>20</c:v>
                </c:pt>
                <c:pt idx="4">
                  <c:v>40</c:v>
                </c:pt>
                <c:pt idx="5">
                  <c:v>45</c:v>
                </c:pt>
              </c:numCache>
            </c:numRef>
          </c:val>
          <c:extLst>
            <c:ext xmlns:c16="http://schemas.microsoft.com/office/drawing/2014/chart" uri="{C3380CC4-5D6E-409C-BE32-E72D297353CC}">
              <c16:uniqueId val="{00000002-ABF7-4732-9CF0-889F0189ECB1}"/>
            </c:ext>
          </c:extLst>
        </c:ser>
        <c:ser>
          <c:idx val="1"/>
          <c:order val="1"/>
          <c:spPr>
            <a:pattFill prst="ltDnDiag">
              <a:fgClr>
                <a:srgbClr val="000000"/>
              </a:fgClr>
              <a:bgClr>
                <a:srgbClr val="FFFFFF"/>
              </a:bgClr>
            </a:pattFill>
            <a:ln w="9525" cmpd="sng" algn="ctr">
              <a:solidFill>
                <a:schemeClr val="bg1"/>
              </a:solidFill>
              <a:prstDash val="solid"/>
            </a:ln>
          </c:spPr>
          <c:invertIfNegative val="0"/>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3-ABF7-4732-9CF0-889F0189ECB1}"/>
              </c:ext>
            </c:extLst>
          </c:dPt>
          <c:dPt>
            <c:idx val="3"/>
            <c:invertIfNegative val="0"/>
            <c:bubble3D val="0"/>
            <c:spPr>
              <a:solidFill>
                <a:srgbClr val="E1C4E1"/>
              </a:solidFill>
              <a:ln w="9525" cmpd="sng" algn="ctr">
                <a:solidFill>
                  <a:schemeClr val="bg1"/>
                </a:solidFill>
                <a:prstDash val="solid"/>
              </a:ln>
            </c:spPr>
            <c:extLst>
              <c:ext xmlns:c16="http://schemas.microsoft.com/office/drawing/2014/chart" uri="{C3380CC4-5D6E-409C-BE32-E72D297353CC}">
                <c16:uniqueId val="{00000004-ABF7-4732-9CF0-889F0189ECB1}"/>
              </c:ext>
            </c:extLst>
          </c:dPt>
          <c:val>
            <c:numRef>
              <c:f>Sheet1!$A$2:$F$2</c:f>
              <c:numCache>
                <c:formatCode>General</c:formatCode>
                <c:ptCount val="6"/>
                <c:pt idx="0">
                  <c:v>2</c:v>
                </c:pt>
                <c:pt idx="1">
                  <c:v>21.799999999999997</c:v>
                </c:pt>
                <c:pt idx="2">
                  <c:v>3</c:v>
                </c:pt>
                <c:pt idx="3">
                  <c:v>30</c:v>
                </c:pt>
              </c:numCache>
            </c:numRef>
          </c:val>
          <c:extLst>
            <c:ext xmlns:c16="http://schemas.microsoft.com/office/drawing/2014/chart" uri="{C3380CC4-5D6E-409C-BE32-E72D297353CC}">
              <c16:uniqueId val="{00000005-ABF7-4732-9CF0-889F0189ECB1}"/>
            </c:ext>
          </c:extLst>
        </c:ser>
        <c:ser>
          <c:idx val="2"/>
          <c:order val="2"/>
          <c:spPr>
            <a:solidFill>
              <a:schemeClr val="accent2"/>
            </a:solidFill>
            <a:ln w="9525" cmpd="sng" algn="ctr">
              <a:solidFill>
                <a:schemeClr val="bg1"/>
              </a:solidFill>
              <a:prstDash val="solid"/>
            </a:ln>
          </c:spPr>
          <c:invertIfNegative val="0"/>
          <c:val>
            <c:numRef>
              <c:f>Sheet1!$A$3:$F$3</c:f>
              <c:numCache>
                <c:formatCode>General</c:formatCode>
                <c:ptCount val="6"/>
                <c:pt idx="0">
                  <c:v>12.899999999999999</c:v>
                </c:pt>
                <c:pt idx="2">
                  <c:v>35.1</c:v>
                </c:pt>
              </c:numCache>
            </c:numRef>
          </c:val>
          <c:extLst>
            <c:ext xmlns:c16="http://schemas.microsoft.com/office/drawing/2014/chart" uri="{C3380CC4-5D6E-409C-BE32-E72D297353CC}">
              <c16:uniqueId val="{00000006-ABF7-4732-9CF0-889F0189ECB1}"/>
            </c:ext>
          </c:extLst>
        </c:ser>
        <c:dLbls>
          <c:showLegendKey val="0"/>
          <c:showVal val="0"/>
          <c:showCatName val="0"/>
          <c:showSerName val="0"/>
          <c:showPercent val="0"/>
          <c:showBubbleSize val="0"/>
        </c:dLbls>
        <c:gapWidth val="80"/>
        <c:overlap val="100"/>
        <c:axId val="451069824"/>
        <c:axId val="1"/>
      </c:barChart>
      <c:lineChart>
        <c:grouping val="standard"/>
        <c:varyColors val="0"/>
        <c:ser>
          <c:idx val="3"/>
          <c:order val="3"/>
          <c:spPr>
            <a:ln>
              <a:noFill/>
            </a:ln>
          </c:spPr>
          <c:marker>
            <c:symbol val="none"/>
          </c:marker>
          <c:dPt>
            <c:idx val="0"/>
            <c:marker>
              <c:symbol val="diamond"/>
              <c:size val="7"/>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7-ABF7-4732-9CF0-889F0189ECB1}"/>
              </c:ext>
            </c:extLst>
          </c:dPt>
          <c:dPt>
            <c:idx val="1"/>
            <c:marker>
              <c:symbol val="diamond"/>
              <c:size val="7"/>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8-ABF7-4732-9CF0-889F0189ECB1}"/>
              </c:ext>
            </c:extLst>
          </c:dPt>
          <c:dPt>
            <c:idx val="2"/>
            <c:marker>
              <c:symbol val="diamond"/>
              <c:size val="7"/>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9-ABF7-4732-9CF0-889F0189ECB1}"/>
              </c:ext>
            </c:extLst>
          </c:dPt>
          <c:val>
            <c:numRef>
              <c:f>Sheet1!$A$4:$F$4</c:f>
              <c:numCache>
                <c:formatCode>General</c:formatCode>
                <c:ptCount val="6"/>
                <c:pt idx="0">
                  <c:v>50</c:v>
                </c:pt>
                <c:pt idx="1">
                  <c:v>55</c:v>
                </c:pt>
                <c:pt idx="2">
                  <c:v>30</c:v>
                </c:pt>
              </c:numCache>
            </c:numRef>
          </c:val>
          <c:smooth val="0"/>
          <c:extLst>
            <c:ext xmlns:c16="http://schemas.microsoft.com/office/drawing/2014/chart" uri="{C3380CC4-5D6E-409C-BE32-E72D297353CC}">
              <c16:uniqueId val="{0000000A-ABF7-4732-9CF0-889F0189ECB1}"/>
            </c:ext>
          </c:extLst>
        </c:ser>
        <c:dLbls>
          <c:showLegendKey val="0"/>
          <c:showVal val="0"/>
          <c:showCatName val="0"/>
          <c:showSerName val="0"/>
          <c:showPercent val="0"/>
          <c:showBubbleSize val="0"/>
        </c:dLbls>
        <c:marker val="1"/>
        <c:smooth val="0"/>
        <c:axId val="2"/>
        <c:axId val="3"/>
      </c:lineChart>
      <c:catAx>
        <c:axId val="451069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Lato"/>
                <a:cs typeface="Lato"/>
              </a:defRPr>
            </a:pPr>
            <a:endParaRPr lang="en-US"/>
          </a:p>
        </c:txPr>
        <c:crossAx val="451069824"/>
        <c:crosses val="min"/>
        <c:crossBetween val="between"/>
        <c:majorUnit val="1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55"/>
          <c:min val="0"/>
        </c:scaling>
        <c:delete val="0"/>
        <c:axPos val="r"/>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
        <c:crosses val="max"/>
        <c:crossBetween val="between"/>
      </c:valAx>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986463620981392E-2"/>
          <c:y val="5.1536174430128839E-2"/>
          <c:w val="0.82402707275803722"/>
          <c:h val="0.89692765113974227"/>
        </c:manualLayout>
      </c:layout>
      <c:barChart>
        <c:barDir val="col"/>
        <c:grouping val="stacked"/>
        <c:varyColors val="0"/>
        <c:ser>
          <c:idx val="0"/>
          <c:order val="0"/>
          <c:spPr>
            <a:solidFill>
              <a:srgbClr val="E1C4E1"/>
            </a:solidFill>
            <a:ln w="9525" cmpd="sng" algn="ctr">
              <a:solidFill>
                <a:schemeClr val="bg1"/>
              </a:solidFill>
              <a:prstDash val="solid"/>
            </a:ln>
          </c:spPr>
          <c:invertIfNegative val="0"/>
          <c:val>
            <c:numRef>
              <c:f>Sheet1!$A$1</c:f>
              <c:numCache>
                <c:formatCode>General</c:formatCode>
                <c:ptCount val="1"/>
                <c:pt idx="0">
                  <c:v>240</c:v>
                </c:pt>
              </c:numCache>
            </c:numRef>
          </c:val>
          <c:extLst>
            <c:ext xmlns:c16="http://schemas.microsoft.com/office/drawing/2014/chart" uri="{C3380CC4-5D6E-409C-BE32-E72D297353CC}">
              <c16:uniqueId val="{00000000-B8DA-476D-AC19-F45662410A63}"/>
            </c:ext>
          </c:extLst>
        </c:ser>
        <c:dLbls>
          <c:showLegendKey val="0"/>
          <c:showVal val="0"/>
          <c:showCatName val="0"/>
          <c:showSerName val="0"/>
          <c:showPercent val="0"/>
          <c:showBubbleSize val="0"/>
        </c:dLbls>
        <c:gapWidth val="80"/>
        <c:overlap val="100"/>
        <c:axId val="1354309023"/>
        <c:axId val="1"/>
      </c:barChart>
      <c:lineChart>
        <c:grouping val="standard"/>
        <c:varyColors val="0"/>
        <c:ser>
          <c:idx val="1"/>
          <c:order val="1"/>
          <c:spPr>
            <a:ln>
              <a:noFill/>
            </a:ln>
          </c:spPr>
          <c:marker>
            <c:symbol val="none"/>
          </c:marker>
          <c:val>
            <c:numRef>
              <c:f>Sheet1!$A$2</c:f>
              <c:numCache>
                <c:formatCode>General</c:formatCode>
                <c:ptCount val="1"/>
              </c:numCache>
            </c:numRef>
          </c:val>
          <c:smooth val="0"/>
          <c:extLst>
            <c:ext xmlns:c16="http://schemas.microsoft.com/office/drawing/2014/chart" uri="{C3380CC4-5D6E-409C-BE32-E72D297353CC}">
              <c16:uniqueId val="{00000001-B8DA-476D-AC19-F45662410A63}"/>
            </c:ext>
          </c:extLst>
        </c:ser>
        <c:dLbls>
          <c:showLegendKey val="0"/>
          <c:showVal val="0"/>
          <c:showCatName val="0"/>
          <c:showSerName val="0"/>
          <c:showPercent val="0"/>
          <c:showBubbleSize val="0"/>
        </c:dLbls>
        <c:marker val="1"/>
        <c:smooth val="0"/>
        <c:axId val="1354309023"/>
        <c:axId val="1"/>
      </c:lineChart>
      <c:catAx>
        <c:axId val="1354309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354309023"/>
        <c:crosses val="min"/>
        <c:crossBetween val="between"/>
        <c:majorUnit val="100"/>
      </c:valAx>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067092651757185E-2"/>
          <c:y val="5.1130776794493606E-2"/>
          <c:w val="0.83386581469648557"/>
          <c:h val="0.89773844641101275"/>
        </c:manualLayout>
      </c:layout>
      <c:barChart>
        <c:barDir val="col"/>
        <c:grouping val="stacked"/>
        <c:varyColors val="0"/>
        <c:ser>
          <c:idx val="0"/>
          <c:order val="0"/>
          <c:spPr>
            <a:solidFill>
              <a:srgbClr val="E1C4E1"/>
            </a:solidFill>
            <a:ln w="9525" cmpd="sng" algn="ctr">
              <a:solidFill>
                <a:schemeClr val="bg1"/>
              </a:solidFill>
              <a:prstDash val="solid"/>
            </a:ln>
          </c:spPr>
          <c:invertIfNegative val="0"/>
          <c:val>
            <c:numRef>
              <c:f>Sheet1!$A$1</c:f>
              <c:numCache>
                <c:formatCode>General</c:formatCode>
                <c:ptCount val="1"/>
                <c:pt idx="0">
                  <c:v>350</c:v>
                </c:pt>
              </c:numCache>
            </c:numRef>
          </c:val>
          <c:extLst>
            <c:ext xmlns:c16="http://schemas.microsoft.com/office/drawing/2014/chart" uri="{C3380CC4-5D6E-409C-BE32-E72D297353CC}">
              <c16:uniqueId val="{00000000-A21C-41E6-AE50-13D06A5A12FD}"/>
            </c:ext>
          </c:extLst>
        </c:ser>
        <c:dLbls>
          <c:showLegendKey val="0"/>
          <c:showVal val="0"/>
          <c:showCatName val="0"/>
          <c:showSerName val="0"/>
          <c:showPercent val="0"/>
          <c:showBubbleSize val="0"/>
        </c:dLbls>
        <c:gapWidth val="80"/>
        <c:overlap val="100"/>
        <c:axId val="237472527"/>
        <c:axId val="1"/>
      </c:barChart>
      <c:lineChart>
        <c:grouping val="standard"/>
        <c:varyColors val="0"/>
        <c:ser>
          <c:idx val="1"/>
          <c:order val="1"/>
          <c:spPr>
            <a:ln>
              <a:noFill/>
            </a:ln>
          </c:spPr>
          <c:marker>
            <c:symbol val="none"/>
          </c:marker>
          <c:val>
            <c:numRef>
              <c:f>Sheet1!$A$2</c:f>
              <c:numCache>
                <c:formatCode>General</c:formatCode>
                <c:ptCount val="1"/>
              </c:numCache>
            </c:numRef>
          </c:val>
          <c:smooth val="0"/>
          <c:extLst>
            <c:ext xmlns:c16="http://schemas.microsoft.com/office/drawing/2014/chart" uri="{C3380CC4-5D6E-409C-BE32-E72D297353CC}">
              <c16:uniqueId val="{00000001-A21C-41E6-AE50-13D06A5A12FD}"/>
            </c:ext>
          </c:extLst>
        </c:ser>
        <c:dLbls>
          <c:showLegendKey val="0"/>
          <c:showVal val="0"/>
          <c:showCatName val="0"/>
          <c:showSerName val="0"/>
          <c:showPercent val="0"/>
          <c:showBubbleSize val="0"/>
        </c:dLbls>
        <c:marker val="1"/>
        <c:smooth val="0"/>
        <c:axId val="237472527"/>
        <c:axId val="1"/>
      </c:lineChart>
      <c:catAx>
        <c:axId val="2374725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237472527"/>
        <c:crosses val="min"/>
        <c:crossBetween val="between"/>
        <c:majorUnit val="100"/>
      </c:valAx>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986463620981392E-2"/>
          <c:y val="5.2419354838709679E-2"/>
          <c:w val="0.82402707275803722"/>
          <c:h val="0.89516129032258063"/>
        </c:manualLayout>
      </c:layout>
      <c:barChart>
        <c:barDir val="col"/>
        <c:grouping val="stacked"/>
        <c:varyColors val="0"/>
        <c:ser>
          <c:idx val="0"/>
          <c:order val="0"/>
          <c:spPr>
            <a:solidFill>
              <a:srgbClr val="E1C4E1"/>
            </a:solidFill>
            <a:ln w="9525" cmpd="sng" algn="ctr">
              <a:solidFill>
                <a:schemeClr val="bg1"/>
              </a:solidFill>
              <a:prstDash val="solid"/>
            </a:ln>
          </c:spPr>
          <c:invertIfNegative val="0"/>
          <c:val>
            <c:numRef>
              <c:f>Sheet1!$A$1</c:f>
              <c:numCache>
                <c:formatCode>General</c:formatCode>
                <c:ptCount val="1"/>
                <c:pt idx="0">
                  <c:v>800</c:v>
                </c:pt>
              </c:numCache>
            </c:numRef>
          </c:val>
          <c:extLst>
            <c:ext xmlns:c16="http://schemas.microsoft.com/office/drawing/2014/chart" uri="{C3380CC4-5D6E-409C-BE32-E72D297353CC}">
              <c16:uniqueId val="{00000000-3118-4CC9-B72E-AE78AD6372E4}"/>
            </c:ext>
          </c:extLst>
        </c:ser>
        <c:dLbls>
          <c:showLegendKey val="0"/>
          <c:showVal val="0"/>
          <c:showCatName val="0"/>
          <c:showSerName val="0"/>
          <c:showPercent val="0"/>
          <c:showBubbleSize val="0"/>
        </c:dLbls>
        <c:gapWidth val="80"/>
        <c:overlap val="100"/>
        <c:axId val="1039383023"/>
        <c:axId val="1"/>
      </c:barChart>
      <c:lineChart>
        <c:grouping val="standard"/>
        <c:varyColors val="0"/>
        <c:ser>
          <c:idx val="1"/>
          <c:order val="1"/>
          <c:spPr>
            <a:ln>
              <a:noFill/>
            </a:ln>
          </c:spPr>
          <c:marker>
            <c:symbol val="none"/>
          </c:marker>
          <c:dPt>
            <c:idx val="0"/>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1-3118-4CC9-B72E-AE78AD6372E4}"/>
              </c:ext>
            </c:extLst>
          </c:dPt>
          <c:val>
            <c:numRef>
              <c:f>Sheet1!$A$2</c:f>
              <c:numCache>
                <c:formatCode>General</c:formatCode>
                <c:ptCount val="1"/>
                <c:pt idx="0">
                  <c:v>160</c:v>
                </c:pt>
              </c:numCache>
            </c:numRef>
          </c:val>
          <c:smooth val="0"/>
          <c:extLst>
            <c:ext xmlns:c16="http://schemas.microsoft.com/office/drawing/2014/chart" uri="{C3380CC4-5D6E-409C-BE32-E72D297353CC}">
              <c16:uniqueId val="{00000002-3118-4CC9-B72E-AE78AD6372E4}"/>
            </c:ext>
          </c:extLst>
        </c:ser>
        <c:ser>
          <c:idx val="2"/>
          <c:order val="2"/>
          <c:spPr>
            <a:ln>
              <a:noFill/>
            </a:ln>
          </c:spPr>
          <c:marker>
            <c:symbol val="none"/>
          </c:marker>
          <c:dPt>
            <c:idx val="0"/>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3-3118-4CC9-B72E-AE78AD6372E4}"/>
              </c:ext>
            </c:extLst>
          </c:dPt>
          <c:val>
            <c:numRef>
              <c:f>Sheet1!$A$3</c:f>
              <c:numCache>
                <c:formatCode>General</c:formatCode>
                <c:ptCount val="1"/>
                <c:pt idx="0">
                  <c:v>16</c:v>
                </c:pt>
              </c:numCache>
            </c:numRef>
          </c:val>
          <c:smooth val="0"/>
          <c:extLst>
            <c:ext xmlns:c16="http://schemas.microsoft.com/office/drawing/2014/chart" uri="{C3380CC4-5D6E-409C-BE32-E72D297353CC}">
              <c16:uniqueId val="{00000004-3118-4CC9-B72E-AE78AD6372E4}"/>
            </c:ext>
          </c:extLst>
        </c:ser>
        <c:dLbls>
          <c:showLegendKey val="0"/>
          <c:showVal val="0"/>
          <c:showCatName val="0"/>
          <c:showSerName val="0"/>
          <c:showPercent val="0"/>
          <c:showBubbleSize val="0"/>
        </c:dLbls>
        <c:marker val="1"/>
        <c:smooth val="0"/>
        <c:axId val="2"/>
        <c:axId val="3"/>
      </c:lineChart>
      <c:catAx>
        <c:axId val="1039383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039383023"/>
        <c:crosses val="min"/>
        <c:crossBetween val="between"/>
        <c:majorUnit val="2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200"/>
          <c:min val="0"/>
        </c:scaling>
        <c:delete val="0"/>
        <c:axPos val="r"/>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2"/>
        <c:crosses val="max"/>
        <c:crossBetween val="between"/>
        <c:majorUnit val="50"/>
      </c:valAx>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067092651757185E-2"/>
          <c:y val="5.0096339113680152E-2"/>
          <c:w val="0.83386581469648557"/>
          <c:h val="0.89980732177263967"/>
        </c:manualLayout>
      </c:layout>
      <c:barChart>
        <c:barDir val="col"/>
        <c:grouping val="stacked"/>
        <c:varyColors val="0"/>
        <c:ser>
          <c:idx val="0"/>
          <c:order val="0"/>
          <c:spPr>
            <a:solidFill>
              <a:srgbClr val="E1C4E1"/>
            </a:solidFill>
            <a:ln w="9525" cmpd="sng" algn="ctr">
              <a:solidFill>
                <a:schemeClr val="bg1"/>
              </a:solidFill>
              <a:prstDash val="solid"/>
            </a:ln>
          </c:spPr>
          <c:invertIfNegative val="0"/>
          <c:val>
            <c:numRef>
              <c:f>Sheet1!$A$1</c:f>
              <c:numCache>
                <c:formatCode>General</c:formatCode>
                <c:ptCount val="1"/>
                <c:pt idx="0">
                  <c:v>9000</c:v>
                </c:pt>
              </c:numCache>
            </c:numRef>
          </c:val>
          <c:extLst>
            <c:ext xmlns:c16="http://schemas.microsoft.com/office/drawing/2014/chart" uri="{C3380CC4-5D6E-409C-BE32-E72D297353CC}">
              <c16:uniqueId val="{00000000-E732-4E9C-9D1D-2834FAD4CAE8}"/>
            </c:ext>
          </c:extLst>
        </c:ser>
        <c:dLbls>
          <c:showLegendKey val="0"/>
          <c:showVal val="0"/>
          <c:showCatName val="0"/>
          <c:showSerName val="0"/>
          <c:showPercent val="0"/>
          <c:showBubbleSize val="0"/>
        </c:dLbls>
        <c:gapWidth val="80"/>
        <c:overlap val="100"/>
        <c:axId val="1303180352"/>
        <c:axId val="1"/>
      </c:barChart>
      <c:lineChart>
        <c:grouping val="standard"/>
        <c:varyColors val="0"/>
        <c:ser>
          <c:idx val="1"/>
          <c:order val="1"/>
          <c:spPr>
            <a:ln>
              <a:noFill/>
            </a:ln>
          </c:spPr>
          <c:marker>
            <c:symbol val="none"/>
          </c:marker>
          <c:val>
            <c:numRef>
              <c:f>Sheet1!$A$2</c:f>
              <c:numCache>
                <c:formatCode>General</c:formatCode>
                <c:ptCount val="1"/>
              </c:numCache>
            </c:numRef>
          </c:val>
          <c:smooth val="0"/>
          <c:extLst>
            <c:ext xmlns:c16="http://schemas.microsoft.com/office/drawing/2014/chart" uri="{C3380CC4-5D6E-409C-BE32-E72D297353CC}">
              <c16:uniqueId val="{00000001-E732-4E9C-9D1D-2834FAD4CAE8}"/>
            </c:ext>
          </c:extLst>
        </c:ser>
        <c:dLbls>
          <c:showLegendKey val="0"/>
          <c:showVal val="0"/>
          <c:showCatName val="0"/>
          <c:showSerName val="0"/>
          <c:showPercent val="0"/>
          <c:showBubbleSize val="0"/>
        </c:dLbls>
        <c:marker val="1"/>
        <c:smooth val="0"/>
        <c:axId val="1303180352"/>
        <c:axId val="1"/>
      </c:lineChart>
      <c:catAx>
        <c:axId val="13031803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303180352"/>
        <c:crosses val="min"/>
        <c:crossBetween val="between"/>
        <c:majorUnit val="2000"/>
      </c:valAx>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123456790123455E-2"/>
          <c:y val="0.13231552162849872"/>
          <c:w val="0.91975308641975306"/>
          <c:h val="0.73536895674300251"/>
        </c:manualLayout>
      </c:layout>
      <c:barChart>
        <c:barDir val="col"/>
        <c:grouping val="stacked"/>
        <c:varyColors val="0"/>
        <c:ser>
          <c:idx val="0"/>
          <c:order val="0"/>
          <c:spPr>
            <a:solidFill>
              <a:srgbClr val="E1C4E1"/>
            </a:solidFill>
            <a:ln w="9525" cmpd="sng" algn="ctr">
              <a:solidFill>
                <a:schemeClr val="bg1"/>
              </a:solidFill>
              <a:prstDash val="solid"/>
            </a:ln>
          </c:spPr>
          <c:invertIfNegative val="0"/>
          <c:val>
            <c:numRef>
              <c:f>Sheet1!$A$1</c:f>
              <c:numCache>
                <c:formatCode>General</c:formatCode>
                <c:ptCount val="1"/>
                <c:pt idx="0">
                  <c:v>350</c:v>
                </c:pt>
              </c:numCache>
            </c:numRef>
          </c:val>
          <c:extLst>
            <c:ext xmlns:c16="http://schemas.microsoft.com/office/drawing/2014/chart" uri="{C3380CC4-5D6E-409C-BE32-E72D297353CC}">
              <c16:uniqueId val="{00000000-C80C-406E-B7D7-C467622753E0}"/>
            </c:ext>
          </c:extLst>
        </c:ser>
        <c:dLbls>
          <c:showLegendKey val="0"/>
          <c:showVal val="0"/>
          <c:showCatName val="0"/>
          <c:showSerName val="0"/>
          <c:showPercent val="0"/>
          <c:showBubbleSize val="0"/>
        </c:dLbls>
        <c:gapWidth val="80"/>
        <c:overlap val="100"/>
        <c:axId val="1554658640"/>
        <c:axId val="1"/>
      </c:barChart>
      <c:lineChart>
        <c:grouping val="standard"/>
        <c:varyColors val="0"/>
        <c:ser>
          <c:idx val="1"/>
          <c:order val="1"/>
          <c:spPr>
            <a:ln>
              <a:noFill/>
            </a:ln>
          </c:spPr>
          <c:marker>
            <c:symbol val="none"/>
          </c:marker>
          <c:dPt>
            <c:idx val="0"/>
            <c:marker>
              <c:symbol val="diamond"/>
              <c:size val="6"/>
              <c:spPr>
                <a:solidFill>
                  <a:srgbClr val="DF5327"/>
                </a:solidFill>
                <a:ln w="9525" cmpd="sng" algn="ctr">
                  <a:solidFill>
                    <a:srgbClr val="DF5327"/>
                  </a:solidFill>
                  <a:prstDash val="solid"/>
                </a:ln>
              </c:spPr>
            </c:marker>
            <c:bubble3D val="0"/>
            <c:extLst>
              <c:ext xmlns:c16="http://schemas.microsoft.com/office/drawing/2014/chart" uri="{C3380CC4-5D6E-409C-BE32-E72D297353CC}">
                <c16:uniqueId val="{00000001-C80C-406E-B7D7-C467622753E0}"/>
              </c:ext>
            </c:extLst>
          </c:dPt>
          <c:val>
            <c:numRef>
              <c:f>Sheet1!$A$2</c:f>
              <c:numCache>
                <c:formatCode>General</c:formatCode>
                <c:ptCount val="1"/>
                <c:pt idx="0">
                  <c:v>44</c:v>
                </c:pt>
              </c:numCache>
            </c:numRef>
          </c:val>
          <c:smooth val="0"/>
          <c:extLst>
            <c:ext xmlns:c16="http://schemas.microsoft.com/office/drawing/2014/chart" uri="{C3380CC4-5D6E-409C-BE32-E72D297353CC}">
              <c16:uniqueId val="{00000002-C80C-406E-B7D7-C467622753E0}"/>
            </c:ext>
          </c:extLst>
        </c:ser>
        <c:dLbls>
          <c:showLegendKey val="0"/>
          <c:showVal val="0"/>
          <c:showCatName val="0"/>
          <c:showSerName val="0"/>
          <c:showPercent val="0"/>
          <c:showBubbleSize val="0"/>
        </c:dLbls>
        <c:marker val="1"/>
        <c:smooth val="0"/>
        <c:axId val="1554658640"/>
        <c:axId val="1"/>
      </c:lineChart>
      <c:catAx>
        <c:axId val="15546586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554658640"/>
        <c:crosses val="min"/>
        <c:crossBetween val="between"/>
        <c:majorUnit val="1000"/>
      </c:valAx>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17343818261248E-2"/>
          <c:y val="2.8446389496717725E-2"/>
          <c:w val="0.95456531236347753"/>
          <c:h val="0.94310722100656452"/>
        </c:manualLayout>
      </c:layout>
      <c:barChart>
        <c:barDir val="bar"/>
        <c:grouping val="stacked"/>
        <c:varyColors val="0"/>
        <c:ser>
          <c:idx val="0"/>
          <c:order val="0"/>
          <c:spPr>
            <a:solidFill>
              <a:srgbClr val="99AF79"/>
            </a:solidFill>
            <a:ln>
              <a:noFill/>
            </a:ln>
          </c:spPr>
          <c:invertIfNegative val="0"/>
          <c:val>
            <c:numRef>
              <c:f>Sheet1!$A$1:$J$1</c:f>
              <c:numCache>
                <c:formatCode>General</c:formatCode>
                <c:ptCount val="10"/>
                <c:pt idx="0">
                  <c:v>3.929045369711055</c:v>
                </c:pt>
                <c:pt idx="1">
                  <c:v>3.9550391897532373</c:v>
                </c:pt>
                <c:pt idx="2">
                  <c:v>3.9693385066566851</c:v>
                </c:pt>
                <c:pt idx="3">
                  <c:v>4.8805980743399395</c:v>
                </c:pt>
                <c:pt idx="4">
                  <c:v>3.1551254971200255</c:v>
                </c:pt>
                <c:pt idx="5">
                  <c:v>2.5618571730695088</c:v>
                </c:pt>
                <c:pt idx="6">
                  <c:v>5</c:v>
                </c:pt>
                <c:pt idx="7">
                  <c:v>2.6087176566059433</c:v>
                </c:pt>
                <c:pt idx="8">
                  <c:v>2.2016823080685071</c:v>
                </c:pt>
                <c:pt idx="9">
                  <c:v>4.5473457863436755</c:v>
                </c:pt>
              </c:numCache>
            </c:numRef>
          </c:val>
          <c:extLst>
            <c:ext xmlns:c16="http://schemas.microsoft.com/office/drawing/2014/chart" uri="{C3380CC4-5D6E-409C-BE32-E72D297353CC}">
              <c16:uniqueId val="{00000000-5863-4B3C-8F0F-E0B205D81D75}"/>
            </c:ext>
          </c:extLst>
        </c:ser>
        <c:ser>
          <c:idx val="1"/>
          <c:order val="1"/>
          <c:spPr>
            <a:solidFill>
              <a:srgbClr val="778E54"/>
            </a:solidFill>
            <a:ln>
              <a:noFill/>
            </a:ln>
          </c:spPr>
          <c:invertIfNegative val="0"/>
          <c:val>
            <c:numRef>
              <c:f>Sheet1!$A$2:$J$2</c:f>
              <c:numCache>
                <c:formatCode>General</c:formatCode>
                <c:ptCount val="10"/>
                <c:pt idx="0">
                  <c:v>1.25</c:v>
                </c:pt>
                <c:pt idx="1">
                  <c:v>1.666666666666667</c:v>
                </c:pt>
                <c:pt idx="2">
                  <c:v>1.6666666666666661</c:v>
                </c:pt>
                <c:pt idx="3">
                  <c:v>1.6666666666666661</c:v>
                </c:pt>
                <c:pt idx="4">
                  <c:v>1.6666666666666665</c:v>
                </c:pt>
                <c:pt idx="5">
                  <c:v>1.6666666666666661</c:v>
                </c:pt>
                <c:pt idx="6">
                  <c:v>0</c:v>
                </c:pt>
                <c:pt idx="7">
                  <c:v>1.6666666666666661</c:v>
                </c:pt>
                <c:pt idx="8">
                  <c:v>2.5000000000000004</c:v>
                </c:pt>
                <c:pt idx="9">
                  <c:v>0</c:v>
                </c:pt>
              </c:numCache>
            </c:numRef>
          </c:val>
          <c:extLst>
            <c:ext xmlns:c16="http://schemas.microsoft.com/office/drawing/2014/chart" uri="{C3380CC4-5D6E-409C-BE32-E72D297353CC}">
              <c16:uniqueId val="{00000001-5863-4B3C-8F0F-E0B205D81D75}"/>
            </c:ext>
          </c:extLst>
        </c:ser>
        <c:ser>
          <c:idx val="2"/>
          <c:order val="2"/>
          <c:spPr>
            <a:solidFill>
              <a:srgbClr val="657D1A"/>
            </a:solidFill>
            <a:ln>
              <a:noFill/>
            </a:ln>
          </c:spPr>
          <c:invertIfNegative val="0"/>
          <c:val>
            <c:numRef>
              <c:f>Sheet1!$A$3:$J$3</c:f>
              <c:numCache>
                <c:formatCode>General</c:formatCode>
                <c:ptCount val="10"/>
                <c:pt idx="0">
                  <c:v>2.5</c:v>
                </c:pt>
                <c:pt idx="1">
                  <c:v>1.7413148818586901</c:v>
                </c:pt>
                <c:pt idx="2">
                  <c:v>1.6567432504635171</c:v>
                </c:pt>
                <c:pt idx="3">
                  <c:v>0</c:v>
                </c:pt>
                <c:pt idx="4">
                  <c:v>1.0691847359531428</c:v>
                </c:pt>
                <c:pt idx="5">
                  <c:v>1.2417994376757262</c:v>
                </c:pt>
                <c:pt idx="6">
                  <c:v>0</c:v>
                </c:pt>
                <c:pt idx="7">
                  <c:v>0.65291595308906469</c:v>
                </c:pt>
                <c:pt idx="8">
                  <c:v>0</c:v>
                </c:pt>
                <c:pt idx="9">
                  <c:v>0</c:v>
                </c:pt>
              </c:numCache>
            </c:numRef>
          </c:val>
          <c:extLst>
            <c:ext xmlns:c16="http://schemas.microsoft.com/office/drawing/2014/chart" uri="{C3380CC4-5D6E-409C-BE32-E72D297353CC}">
              <c16:uniqueId val="{00000002-5863-4B3C-8F0F-E0B205D81D75}"/>
            </c:ext>
          </c:extLst>
        </c:ser>
        <c:dLbls>
          <c:showLegendKey val="0"/>
          <c:showVal val="0"/>
          <c:showCatName val="0"/>
          <c:showSerName val="0"/>
          <c:showPercent val="0"/>
          <c:showBubbleSize val="0"/>
        </c:dLbls>
        <c:gapWidth val="80"/>
        <c:overlap val="100"/>
        <c:axId val="835595232"/>
        <c:axId val="1"/>
      </c:barChart>
      <c:catAx>
        <c:axId val="83559523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83559523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648083623693381E-2"/>
          <c:y val="3.2601880877742948E-2"/>
          <c:w val="0.95470383275261328"/>
          <c:h val="0.93479623824451408"/>
        </c:manualLayout>
      </c:layout>
      <c:barChart>
        <c:barDir val="col"/>
        <c:grouping val="stacked"/>
        <c:varyColors val="0"/>
        <c:ser>
          <c:idx val="0"/>
          <c:order val="0"/>
          <c:spPr>
            <a:noFill/>
            <a:ln>
              <a:noFill/>
            </a:ln>
          </c:spPr>
          <c:invertIfNegative val="0"/>
          <c:val>
            <c:numRef>
              <c:f>Sheet1!$A$1:$E$1</c:f>
              <c:numCache>
                <c:formatCode>General</c:formatCode>
                <c:ptCount val="5"/>
                <c:pt idx="0">
                  <c:v>215.2</c:v>
                </c:pt>
                <c:pt idx="1">
                  <c:v>484.19271417620155</c:v>
                </c:pt>
                <c:pt idx="2">
                  <c:v>961.83000158841196</c:v>
                </c:pt>
                <c:pt idx="3">
                  <c:v>1376.5587896186689</c:v>
                </c:pt>
                <c:pt idx="4">
                  <c:v>1728.3750992889686</c:v>
                </c:pt>
              </c:numCache>
            </c:numRef>
          </c:val>
          <c:extLst>
            <c:ext xmlns:c16="http://schemas.microsoft.com/office/drawing/2014/chart" uri="{C3380CC4-5D6E-409C-BE32-E72D297353CC}">
              <c16:uniqueId val="{00000000-697B-4C75-80A9-5664644C7312}"/>
            </c:ext>
          </c:extLst>
        </c:ser>
        <c:ser>
          <c:idx val="1"/>
          <c:order val="1"/>
          <c:spPr>
            <a:noFill/>
            <a:ln>
              <a:noFill/>
            </a:ln>
          </c:spPr>
          <c:invertIfNegative val="0"/>
          <c:val>
            <c:numRef>
              <c:f>Sheet1!$A$2:$E$2</c:f>
              <c:numCache>
                <c:formatCode>General</c:formatCode>
                <c:ptCount val="5"/>
                <c:pt idx="0">
                  <c:v>664.8</c:v>
                </c:pt>
                <c:pt idx="1">
                  <c:v>748.88391089951472</c:v>
                </c:pt>
                <c:pt idx="2">
                  <c:v>751.92206656203939</c:v>
                </c:pt>
                <c:pt idx="3">
                  <c:v>802.31733121703792</c:v>
                </c:pt>
                <c:pt idx="4">
                  <c:v>882.20478865371661</c:v>
                </c:pt>
              </c:numCache>
            </c:numRef>
          </c:val>
          <c:extLst>
            <c:ext xmlns:c16="http://schemas.microsoft.com/office/drawing/2014/chart" uri="{C3380CC4-5D6E-409C-BE32-E72D297353CC}">
              <c16:uniqueId val="{00000001-697B-4C75-80A9-5664644C7312}"/>
            </c:ext>
          </c:extLst>
        </c:ser>
        <c:dLbls>
          <c:showLegendKey val="0"/>
          <c:showVal val="0"/>
          <c:showCatName val="0"/>
          <c:showSerName val="0"/>
          <c:showPercent val="0"/>
          <c:showBubbleSize val="0"/>
        </c:dLbls>
        <c:gapWidth val="50"/>
        <c:overlap val="100"/>
        <c:axId val="740758623"/>
        <c:axId val="1"/>
      </c:barChart>
      <c:catAx>
        <c:axId val="740758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740758623"/>
        <c:crosses val="min"/>
        <c:crossBetween val="between"/>
      </c:valAx>
    </c:plotArea>
    <c:plotVisOnly val="0"/>
    <c:dispBlanksAs val="gap"/>
    <c:showDLblsOverMax val="1"/>
  </c:chart>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0.15709969788519637"/>
          <c:w val="0.9341772151898734"/>
          <c:h val="0.6858006042296072"/>
        </c:manualLayout>
      </c:layout>
      <c:barChart>
        <c:barDir val="bar"/>
        <c:grouping val="stacked"/>
        <c:varyColors val="0"/>
        <c:ser>
          <c:idx val="0"/>
          <c:order val="0"/>
          <c:spPr>
            <a:solidFill>
              <a:srgbClr val="5A5A5A"/>
            </a:solidFill>
            <a:ln>
              <a:noFill/>
            </a:ln>
          </c:spPr>
          <c:invertIfNegative val="0"/>
          <c:val>
            <c:numRef>
              <c:f>Sheet1!$A$1</c:f>
              <c:numCache>
                <c:formatCode>General</c:formatCode>
                <c:ptCount val="1"/>
                <c:pt idx="0">
                  <c:v>32.422050982012408</c:v>
                </c:pt>
              </c:numCache>
            </c:numRef>
          </c:val>
          <c:extLst>
            <c:ext xmlns:c16="http://schemas.microsoft.com/office/drawing/2014/chart" uri="{C3380CC4-5D6E-409C-BE32-E72D297353CC}">
              <c16:uniqueId val="{00000000-DE82-4EBA-811C-98FD800D7D7F}"/>
            </c:ext>
          </c:extLst>
        </c:ser>
        <c:ser>
          <c:idx val="1"/>
          <c:order val="1"/>
          <c:spPr>
            <a:solidFill>
              <a:srgbClr val="A6964E"/>
            </a:solidFill>
            <a:ln>
              <a:noFill/>
            </a:ln>
          </c:spPr>
          <c:invertIfNegative val="0"/>
          <c:val>
            <c:numRef>
              <c:f>Sheet1!$A$2</c:f>
              <c:numCache>
                <c:formatCode>General</c:formatCode>
                <c:ptCount val="1"/>
                <c:pt idx="0">
                  <c:v>41.676098516764128</c:v>
                </c:pt>
              </c:numCache>
            </c:numRef>
          </c:val>
          <c:extLst>
            <c:ext xmlns:c16="http://schemas.microsoft.com/office/drawing/2014/chart" uri="{C3380CC4-5D6E-409C-BE32-E72D297353CC}">
              <c16:uniqueId val="{00000001-DE82-4EBA-811C-98FD800D7D7F}"/>
            </c:ext>
          </c:extLst>
        </c:ser>
        <c:ser>
          <c:idx val="2"/>
          <c:order val="2"/>
          <c:spPr>
            <a:solidFill>
              <a:srgbClr val="A6B727"/>
            </a:solidFill>
            <a:ln>
              <a:noFill/>
            </a:ln>
          </c:spPr>
          <c:invertIfNegative val="0"/>
          <c:val>
            <c:numRef>
              <c:f>Sheet1!$A$3</c:f>
              <c:numCache>
                <c:formatCode>General</c:formatCode>
                <c:ptCount val="1"/>
                <c:pt idx="0">
                  <c:v>25.901850501223464</c:v>
                </c:pt>
              </c:numCache>
            </c:numRef>
          </c:val>
          <c:extLst>
            <c:ext xmlns:c16="http://schemas.microsoft.com/office/drawing/2014/chart" uri="{C3380CC4-5D6E-409C-BE32-E72D297353CC}">
              <c16:uniqueId val="{00000002-DE82-4EBA-811C-98FD800D7D7F}"/>
            </c:ext>
          </c:extLst>
        </c:ser>
        <c:dLbls>
          <c:showLegendKey val="0"/>
          <c:showVal val="0"/>
          <c:showCatName val="0"/>
          <c:showSerName val="0"/>
          <c:showPercent val="0"/>
          <c:showBubbleSize val="0"/>
        </c:dLbls>
        <c:gapWidth val="80"/>
        <c:overlap val="100"/>
        <c:axId val="149245808"/>
        <c:axId val="1"/>
      </c:barChart>
      <c:catAx>
        <c:axId val="14924580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49245808"/>
        <c:crosses val="min"/>
        <c:crossBetween val="between"/>
      </c:valAx>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0.15709969788519637"/>
          <c:w val="0.9341772151898734"/>
          <c:h val="0.6858006042296072"/>
        </c:manualLayout>
      </c:layout>
      <c:barChart>
        <c:barDir val="bar"/>
        <c:grouping val="stacked"/>
        <c:varyColors val="0"/>
        <c:ser>
          <c:idx val="0"/>
          <c:order val="0"/>
          <c:spPr>
            <a:solidFill>
              <a:srgbClr val="5A5A5A"/>
            </a:solidFill>
            <a:ln>
              <a:noFill/>
            </a:ln>
          </c:spPr>
          <c:invertIfNegative val="0"/>
          <c:val>
            <c:numRef>
              <c:f>Sheet1!$A$1</c:f>
              <c:numCache>
                <c:formatCode>General</c:formatCode>
                <c:ptCount val="1"/>
                <c:pt idx="0">
                  <c:v>16.522039952013628</c:v>
                </c:pt>
              </c:numCache>
            </c:numRef>
          </c:val>
          <c:extLst>
            <c:ext xmlns:c16="http://schemas.microsoft.com/office/drawing/2014/chart" uri="{C3380CC4-5D6E-409C-BE32-E72D297353CC}">
              <c16:uniqueId val="{00000000-B1E2-4EC2-A8F1-0E98E4932DFA}"/>
            </c:ext>
          </c:extLst>
        </c:ser>
        <c:ser>
          <c:idx val="1"/>
          <c:order val="1"/>
          <c:spPr>
            <a:solidFill>
              <a:srgbClr val="A6964E"/>
            </a:solidFill>
            <a:ln>
              <a:noFill/>
            </a:ln>
          </c:spPr>
          <c:invertIfNegative val="0"/>
          <c:val>
            <c:numRef>
              <c:f>Sheet1!$A$2</c:f>
              <c:numCache>
                <c:formatCode>General</c:formatCode>
                <c:ptCount val="1"/>
                <c:pt idx="0">
                  <c:v>35.087402183969232</c:v>
                </c:pt>
              </c:numCache>
            </c:numRef>
          </c:val>
          <c:extLst>
            <c:ext xmlns:c16="http://schemas.microsoft.com/office/drawing/2014/chart" uri="{C3380CC4-5D6E-409C-BE32-E72D297353CC}">
              <c16:uniqueId val="{00000001-B1E2-4EC2-A8F1-0E98E4932DFA}"/>
            </c:ext>
          </c:extLst>
        </c:ser>
        <c:ser>
          <c:idx val="2"/>
          <c:order val="2"/>
          <c:spPr>
            <a:solidFill>
              <a:srgbClr val="A6B727"/>
            </a:solidFill>
            <a:ln>
              <a:noFill/>
            </a:ln>
          </c:spPr>
          <c:invertIfNegative val="0"/>
          <c:val>
            <c:numRef>
              <c:f>Sheet1!$A$3</c:f>
              <c:numCache>
                <c:formatCode>General</c:formatCode>
                <c:ptCount val="1"/>
                <c:pt idx="0">
                  <c:v>48.39055786401714</c:v>
                </c:pt>
              </c:numCache>
            </c:numRef>
          </c:val>
          <c:extLst>
            <c:ext xmlns:c16="http://schemas.microsoft.com/office/drawing/2014/chart" uri="{C3380CC4-5D6E-409C-BE32-E72D297353CC}">
              <c16:uniqueId val="{00000002-B1E2-4EC2-A8F1-0E98E4932DFA}"/>
            </c:ext>
          </c:extLst>
        </c:ser>
        <c:dLbls>
          <c:showLegendKey val="0"/>
          <c:showVal val="0"/>
          <c:showCatName val="0"/>
          <c:showSerName val="0"/>
          <c:showPercent val="0"/>
          <c:showBubbleSize val="0"/>
        </c:dLbls>
        <c:gapWidth val="80"/>
        <c:overlap val="100"/>
        <c:axId val="149229488"/>
        <c:axId val="1"/>
      </c:barChart>
      <c:catAx>
        <c:axId val="14922948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49229488"/>
        <c:crosses val="min"/>
        <c:crossBetween val="between"/>
      </c:valAx>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0.15709969788519637"/>
          <c:w val="0.9341772151898734"/>
          <c:h val="0.6858006042296072"/>
        </c:manualLayout>
      </c:layout>
      <c:barChart>
        <c:barDir val="bar"/>
        <c:grouping val="stacked"/>
        <c:varyColors val="0"/>
        <c:ser>
          <c:idx val="0"/>
          <c:order val="0"/>
          <c:spPr>
            <a:solidFill>
              <a:srgbClr val="5A5A5A"/>
            </a:solidFill>
            <a:ln>
              <a:noFill/>
            </a:ln>
          </c:spPr>
          <c:invertIfNegative val="0"/>
          <c:val>
            <c:numRef>
              <c:f>Sheet1!$A$1</c:f>
              <c:numCache>
                <c:formatCode>General</c:formatCode>
                <c:ptCount val="1"/>
                <c:pt idx="0">
                  <c:v>5.9218561065342747</c:v>
                </c:pt>
              </c:numCache>
            </c:numRef>
          </c:val>
          <c:extLst>
            <c:ext xmlns:c16="http://schemas.microsoft.com/office/drawing/2014/chart" uri="{C3380CC4-5D6E-409C-BE32-E72D297353CC}">
              <c16:uniqueId val="{00000000-05FC-4C74-B2C0-6C09A46AB210}"/>
            </c:ext>
          </c:extLst>
        </c:ser>
        <c:ser>
          <c:idx val="1"/>
          <c:order val="1"/>
          <c:spPr>
            <a:solidFill>
              <a:srgbClr val="A6964E"/>
            </a:solidFill>
            <a:ln>
              <a:noFill/>
            </a:ln>
          </c:spPr>
          <c:invertIfNegative val="0"/>
          <c:val>
            <c:numRef>
              <c:f>Sheet1!$A$2</c:f>
              <c:numCache>
                <c:formatCode>General</c:formatCode>
                <c:ptCount val="1"/>
                <c:pt idx="0">
                  <c:v>25.170065434952022</c:v>
                </c:pt>
              </c:numCache>
            </c:numRef>
          </c:val>
          <c:extLst>
            <c:ext xmlns:c16="http://schemas.microsoft.com/office/drawing/2014/chart" uri="{C3380CC4-5D6E-409C-BE32-E72D297353CC}">
              <c16:uniqueId val="{00000001-05FC-4C74-B2C0-6C09A46AB210}"/>
            </c:ext>
          </c:extLst>
        </c:ser>
        <c:ser>
          <c:idx val="2"/>
          <c:order val="2"/>
          <c:spPr>
            <a:solidFill>
              <a:srgbClr val="A6B727"/>
            </a:solidFill>
            <a:ln>
              <a:noFill/>
            </a:ln>
          </c:spPr>
          <c:invertIfNegative val="0"/>
          <c:val>
            <c:numRef>
              <c:f>Sheet1!$A$3</c:f>
              <c:numCache>
                <c:formatCode>General</c:formatCode>
                <c:ptCount val="1"/>
                <c:pt idx="0">
                  <c:v>68.9080784585137</c:v>
                </c:pt>
              </c:numCache>
            </c:numRef>
          </c:val>
          <c:extLst>
            <c:ext xmlns:c16="http://schemas.microsoft.com/office/drawing/2014/chart" uri="{C3380CC4-5D6E-409C-BE32-E72D297353CC}">
              <c16:uniqueId val="{00000002-05FC-4C74-B2C0-6C09A46AB210}"/>
            </c:ext>
          </c:extLst>
        </c:ser>
        <c:dLbls>
          <c:showLegendKey val="0"/>
          <c:showVal val="0"/>
          <c:showCatName val="0"/>
          <c:showSerName val="0"/>
          <c:showPercent val="0"/>
          <c:showBubbleSize val="0"/>
        </c:dLbls>
        <c:gapWidth val="80"/>
        <c:overlap val="100"/>
        <c:axId val="149229968"/>
        <c:axId val="1"/>
      </c:barChart>
      <c:catAx>
        <c:axId val="149229968"/>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49229968"/>
        <c:crosses val="min"/>
        <c:crossBetween val="between"/>
      </c:valAx>
    </c:plotArea>
    <c:plotVisOnly val="0"/>
    <c:dispBlanksAs val="gap"/>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878113709830774E-3"/>
          <c:y val="1.9938650306748466E-2"/>
          <c:w val="0.9802243772580338"/>
          <c:h val="0.96012269938650308"/>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57.680391993038597</c:v>
                </c:pt>
                <c:pt idx="1">
                  <c:v>57.8505229512798</c:v>
                </c:pt>
                <c:pt idx="2">
                  <c:v>81.138596069942906</c:v>
                </c:pt>
                <c:pt idx="3">
                  <c:v>56.351103460895082</c:v>
                </c:pt>
                <c:pt idx="4">
                  <c:v>68.963190589026198</c:v>
                </c:pt>
                <c:pt idx="5">
                  <c:v>90.472516235385996</c:v>
                </c:pt>
                <c:pt idx="6">
                  <c:v>42.542004857437298</c:v>
                </c:pt>
                <c:pt idx="7">
                  <c:v>64.150217894925206</c:v>
                </c:pt>
                <c:pt idx="8">
                  <c:v>52.632010133094603</c:v>
                </c:pt>
                <c:pt idx="9">
                  <c:v>54.304472931131798</c:v>
                </c:pt>
              </c:numCache>
            </c:numRef>
          </c:val>
          <c:extLst>
            <c:ext xmlns:c16="http://schemas.microsoft.com/office/drawing/2014/chart" uri="{C3380CC4-5D6E-409C-BE32-E72D297353CC}">
              <c16:uniqueId val="{00000000-1186-42D3-A00B-1389307EC292}"/>
            </c:ext>
          </c:extLst>
        </c:ser>
        <c:ser>
          <c:idx val="1"/>
          <c:order val="1"/>
          <c:spPr>
            <a:solidFill>
              <a:schemeClr val="accent2"/>
            </a:solidFill>
            <a:ln>
              <a:noFill/>
            </a:ln>
          </c:spPr>
          <c:invertIfNegative val="0"/>
          <c:val>
            <c:numRef>
              <c:f>Sheet1!$A$2:$J$2</c:f>
              <c:numCache>
                <c:formatCode>General</c:formatCode>
                <c:ptCount val="10"/>
                <c:pt idx="0">
                  <c:v>54.167010846534502</c:v>
                </c:pt>
                <c:pt idx="1">
                  <c:v>51.238658311926599</c:v>
                </c:pt>
                <c:pt idx="2">
                  <c:v>53.4973524652384</c:v>
                </c:pt>
                <c:pt idx="3">
                  <c:v>53.171689242632489</c:v>
                </c:pt>
                <c:pt idx="4">
                  <c:v>79.754220560512394</c:v>
                </c:pt>
                <c:pt idx="5">
                  <c:v>79.942309900093306</c:v>
                </c:pt>
                <c:pt idx="6">
                  <c:v>64.326829588604198</c:v>
                </c:pt>
                <c:pt idx="7">
                  <c:v>71.992018982857005</c:v>
                </c:pt>
                <c:pt idx="8">
                  <c:v>66.402646894105004</c:v>
                </c:pt>
                <c:pt idx="9">
                  <c:v>75.538617066243901</c:v>
                </c:pt>
              </c:numCache>
            </c:numRef>
          </c:val>
          <c:extLst>
            <c:ext xmlns:c16="http://schemas.microsoft.com/office/drawing/2014/chart" uri="{C3380CC4-5D6E-409C-BE32-E72D297353CC}">
              <c16:uniqueId val="{00000001-1186-42D3-A00B-1389307EC292}"/>
            </c:ext>
          </c:extLst>
        </c:ser>
        <c:ser>
          <c:idx val="2"/>
          <c:order val="2"/>
          <c:spPr>
            <a:solidFill>
              <a:schemeClr val="accent3"/>
            </a:solidFill>
            <a:ln>
              <a:noFill/>
            </a:ln>
          </c:spPr>
          <c:invertIfNegative val="0"/>
          <c:val>
            <c:numRef>
              <c:f>Sheet1!$A$3:$J$3</c:f>
              <c:numCache>
                <c:formatCode>General</c:formatCode>
                <c:ptCount val="10"/>
                <c:pt idx="0">
                  <c:v>54.435142550519899</c:v>
                </c:pt>
                <c:pt idx="1">
                  <c:v>69.712843973919703</c:v>
                </c:pt>
                <c:pt idx="2">
                  <c:v>57.512287187044102</c:v>
                </c:pt>
                <c:pt idx="3">
                  <c:v>63.547130713689292</c:v>
                </c:pt>
                <c:pt idx="4">
                  <c:v>82.098675438051998</c:v>
                </c:pt>
                <c:pt idx="5">
                  <c:v>80.831795003062098</c:v>
                </c:pt>
                <c:pt idx="6">
                  <c:v>71.049367179833396</c:v>
                </c:pt>
                <c:pt idx="7">
                  <c:v>73.957582012085297</c:v>
                </c:pt>
                <c:pt idx="8">
                  <c:v>78.600575726239995</c:v>
                </c:pt>
                <c:pt idx="9">
                  <c:v>78.376250802619396</c:v>
                </c:pt>
              </c:numCache>
            </c:numRef>
          </c:val>
          <c:extLst>
            <c:ext xmlns:c16="http://schemas.microsoft.com/office/drawing/2014/chart" uri="{C3380CC4-5D6E-409C-BE32-E72D297353CC}">
              <c16:uniqueId val="{00000002-1186-42D3-A00B-1389307EC292}"/>
            </c:ext>
          </c:extLst>
        </c:ser>
        <c:dLbls>
          <c:showLegendKey val="0"/>
          <c:showVal val="0"/>
          <c:showCatName val="0"/>
          <c:showSerName val="0"/>
          <c:showPercent val="0"/>
          <c:showBubbleSize val="0"/>
        </c:dLbls>
        <c:gapWidth val="200"/>
        <c:axId val="1846681919"/>
        <c:axId val="1"/>
      </c:barChart>
      <c:lineChart>
        <c:grouping val="standard"/>
        <c:varyColors val="0"/>
        <c:ser>
          <c:idx val="3"/>
          <c:order val="3"/>
          <c:spPr>
            <a:ln w="28575" cmpd="sng" algn="ctr">
              <a:solidFill>
                <a:schemeClr val="tx1"/>
              </a:solidFill>
              <a:prstDash val="dash"/>
            </a:ln>
          </c:spPr>
          <c:marker>
            <c:symbol val="none"/>
          </c:marker>
          <c:val>
            <c:numRef>
              <c:f>Sheet1!$A$4:$J$4</c:f>
              <c:numCache>
                <c:formatCode>General</c:formatCode>
                <c:ptCount val="10"/>
                <c:pt idx="0">
                  <c:v>57.646835022073702</c:v>
                </c:pt>
                <c:pt idx="1">
                  <c:v>57.646835022073702</c:v>
                </c:pt>
                <c:pt idx="2">
                  <c:v>57.646835022073702</c:v>
                </c:pt>
                <c:pt idx="3">
                  <c:v>57.646835022073702</c:v>
                </c:pt>
                <c:pt idx="4">
                  <c:v>57.646835022073702</c:v>
                </c:pt>
                <c:pt idx="5">
                  <c:v>57.646835022073702</c:v>
                </c:pt>
                <c:pt idx="6">
                  <c:v>57.646835022073702</c:v>
                </c:pt>
                <c:pt idx="7">
                  <c:v>57.646835022073702</c:v>
                </c:pt>
                <c:pt idx="8">
                  <c:v>57.646835022073702</c:v>
                </c:pt>
                <c:pt idx="9">
                  <c:v>57.646835022073702</c:v>
                </c:pt>
              </c:numCache>
            </c:numRef>
          </c:val>
          <c:smooth val="0"/>
          <c:extLst>
            <c:ext xmlns:c16="http://schemas.microsoft.com/office/drawing/2014/chart" uri="{C3380CC4-5D6E-409C-BE32-E72D297353CC}">
              <c16:uniqueId val="{00000003-1186-42D3-A00B-1389307EC292}"/>
            </c:ext>
          </c:extLst>
        </c:ser>
        <c:dLbls>
          <c:showLegendKey val="0"/>
          <c:showVal val="0"/>
          <c:showCatName val="0"/>
          <c:showSerName val="0"/>
          <c:showPercent val="0"/>
          <c:showBubbleSize val="0"/>
        </c:dLbls>
        <c:marker val="1"/>
        <c:smooth val="0"/>
        <c:axId val="1846681919"/>
        <c:axId val="1"/>
      </c:lineChart>
      <c:catAx>
        <c:axId val="1846681919"/>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846681919"/>
        <c:crosses val="min"/>
        <c:crossBetween val="between"/>
      </c:valAx>
    </c:plotArea>
    <c:plotVisOnly val="0"/>
    <c:dispBlanksAs val="gap"/>
    <c:showDLblsOverMax val="1"/>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75566750629723E-2"/>
          <c:y val="1.9938650306748466E-2"/>
          <c:w val="0.97984886649874059"/>
          <c:h val="0.96012269938650308"/>
        </c:manualLayout>
      </c:layout>
      <c:barChart>
        <c:barDir val="col"/>
        <c:grouping val="clustered"/>
        <c:varyColors val="0"/>
        <c:ser>
          <c:idx val="0"/>
          <c:order val="0"/>
          <c:spPr>
            <a:solidFill>
              <a:schemeClr val="accent1"/>
            </a:solidFill>
            <a:ln>
              <a:noFill/>
            </a:ln>
          </c:spPr>
          <c:invertIfNegative val="0"/>
          <c:val>
            <c:numRef>
              <c:f>Sheet1!$A$1:$N$1</c:f>
              <c:numCache>
                <c:formatCode>General</c:formatCode>
                <c:ptCount val="14"/>
                <c:pt idx="0">
                  <c:v>100.073269137938</c:v>
                </c:pt>
                <c:pt idx="1">
                  <c:v>98.398359828353804</c:v>
                </c:pt>
                <c:pt idx="2">
                  <c:v>54.081980307348097</c:v>
                </c:pt>
                <c:pt idx="3">
                  <c:v>78.5790116562045</c:v>
                </c:pt>
                <c:pt idx="4">
                  <c:v>86.511202139056394</c:v>
                </c:pt>
                <c:pt idx="5">
                  <c:v>70.269681815485697</c:v>
                </c:pt>
                <c:pt idx="6">
                  <c:v>60.454650485516702</c:v>
                </c:pt>
                <c:pt idx="7">
                  <c:v>52.275703958385051</c:v>
                </c:pt>
                <c:pt idx="8">
                  <c:v>80.626666514838206</c:v>
                </c:pt>
                <c:pt idx="9">
                  <c:v>19.817127023189936</c:v>
                </c:pt>
                <c:pt idx="10">
                  <c:v>38.504503814714298</c:v>
                </c:pt>
                <c:pt idx="11">
                  <c:v>64.334146655858902</c:v>
                </c:pt>
                <c:pt idx="12">
                  <c:v>65.432826016150798</c:v>
                </c:pt>
                <c:pt idx="13">
                  <c:v>63.823499443496402</c:v>
                </c:pt>
              </c:numCache>
            </c:numRef>
          </c:val>
          <c:extLst>
            <c:ext xmlns:c16="http://schemas.microsoft.com/office/drawing/2014/chart" uri="{C3380CC4-5D6E-409C-BE32-E72D297353CC}">
              <c16:uniqueId val="{00000000-85CA-4E56-815D-1FF69479490C}"/>
            </c:ext>
          </c:extLst>
        </c:ser>
        <c:ser>
          <c:idx val="1"/>
          <c:order val="1"/>
          <c:spPr>
            <a:solidFill>
              <a:schemeClr val="accent2"/>
            </a:solidFill>
            <a:ln>
              <a:noFill/>
            </a:ln>
          </c:spPr>
          <c:invertIfNegative val="0"/>
          <c:val>
            <c:numRef>
              <c:f>Sheet1!$A$2:$N$2</c:f>
              <c:numCache>
                <c:formatCode>General</c:formatCode>
                <c:ptCount val="14"/>
                <c:pt idx="0">
                  <c:v>78.3751992545115</c:v>
                </c:pt>
                <c:pt idx="1">
                  <c:v>81.438235870534399</c:v>
                </c:pt>
                <c:pt idx="2">
                  <c:v>52.814188861116897</c:v>
                </c:pt>
                <c:pt idx="3">
                  <c:v>68.132462029380093</c:v>
                </c:pt>
                <c:pt idx="4">
                  <c:v>69.911002839049402</c:v>
                </c:pt>
                <c:pt idx="5">
                  <c:v>55.160008737234001</c:v>
                </c:pt>
                <c:pt idx="6">
                  <c:v>59.9602154184848</c:v>
                </c:pt>
                <c:pt idx="7">
                  <c:v>50.999964318436803</c:v>
                </c:pt>
                <c:pt idx="8">
                  <c:v>44.5949537274861</c:v>
                </c:pt>
                <c:pt idx="9">
                  <c:v>19.009647465958842</c:v>
                </c:pt>
                <c:pt idx="10">
                  <c:v>26.619216329521151</c:v>
                </c:pt>
                <c:pt idx="11">
                  <c:v>42.088694754689399</c:v>
                </c:pt>
                <c:pt idx="12">
                  <c:v>44.7453016212271</c:v>
                </c:pt>
                <c:pt idx="13">
                  <c:v>42.6175379185418</c:v>
                </c:pt>
              </c:numCache>
            </c:numRef>
          </c:val>
          <c:extLst>
            <c:ext xmlns:c16="http://schemas.microsoft.com/office/drawing/2014/chart" uri="{C3380CC4-5D6E-409C-BE32-E72D297353CC}">
              <c16:uniqueId val="{00000001-85CA-4E56-815D-1FF69479490C}"/>
            </c:ext>
          </c:extLst>
        </c:ser>
        <c:ser>
          <c:idx val="2"/>
          <c:order val="2"/>
          <c:spPr>
            <a:solidFill>
              <a:schemeClr val="accent3"/>
            </a:solidFill>
            <a:ln>
              <a:noFill/>
            </a:ln>
          </c:spPr>
          <c:invertIfNegative val="0"/>
          <c:val>
            <c:numRef>
              <c:f>Sheet1!$A$3:$N$3</c:f>
              <c:numCache>
                <c:formatCode>General</c:formatCode>
                <c:ptCount val="14"/>
                <c:pt idx="0">
                  <c:v>76.890414086564107</c:v>
                </c:pt>
                <c:pt idx="1">
                  <c:v>78.185970834660395</c:v>
                </c:pt>
                <c:pt idx="2">
                  <c:v>52.550968114997602</c:v>
                </c:pt>
                <c:pt idx="3">
                  <c:v>63.039417671998301</c:v>
                </c:pt>
                <c:pt idx="4">
                  <c:v>58.732859529382097</c:v>
                </c:pt>
                <c:pt idx="5">
                  <c:v>47.254229194030898</c:v>
                </c:pt>
                <c:pt idx="6">
                  <c:v>56.6663242697417</c:v>
                </c:pt>
                <c:pt idx="7">
                  <c:v>48.414674729676847</c:v>
                </c:pt>
                <c:pt idx="8">
                  <c:v>39.130470225298602</c:v>
                </c:pt>
                <c:pt idx="9">
                  <c:v>14.927721533891042</c:v>
                </c:pt>
                <c:pt idx="10">
                  <c:v>23.2564108601158</c:v>
                </c:pt>
                <c:pt idx="11">
                  <c:v>36.304610921221197</c:v>
                </c:pt>
                <c:pt idx="12">
                  <c:v>41.067166222246598</c:v>
                </c:pt>
                <c:pt idx="13">
                  <c:v>36.981151748878801</c:v>
                </c:pt>
              </c:numCache>
            </c:numRef>
          </c:val>
          <c:extLst>
            <c:ext xmlns:c16="http://schemas.microsoft.com/office/drawing/2014/chart" uri="{C3380CC4-5D6E-409C-BE32-E72D297353CC}">
              <c16:uniqueId val="{00000002-85CA-4E56-815D-1FF69479490C}"/>
            </c:ext>
          </c:extLst>
        </c:ser>
        <c:dLbls>
          <c:showLegendKey val="0"/>
          <c:showVal val="0"/>
          <c:showCatName val="0"/>
          <c:showSerName val="0"/>
          <c:showPercent val="0"/>
          <c:showBubbleSize val="0"/>
        </c:dLbls>
        <c:gapWidth val="150"/>
        <c:axId val="2055536607"/>
        <c:axId val="1"/>
      </c:barChart>
      <c:lineChart>
        <c:grouping val="standard"/>
        <c:varyColors val="0"/>
        <c:ser>
          <c:idx val="3"/>
          <c:order val="3"/>
          <c:spPr>
            <a:ln w="22225" cmpd="sng" algn="ctr">
              <a:solidFill>
                <a:schemeClr val="tx1"/>
              </a:solidFill>
              <a:prstDash val="dash"/>
            </a:ln>
          </c:spPr>
          <c:marker>
            <c:symbol val="none"/>
          </c:marker>
          <c:val>
            <c:numRef>
              <c:f>Sheet1!$A$4:$N$4</c:f>
              <c:numCache>
                <c:formatCode>General</c:formatCode>
                <c:ptCount val="14"/>
                <c:pt idx="0">
                  <c:v>57.646835022073702</c:v>
                </c:pt>
                <c:pt idx="1">
                  <c:v>57.646835022073702</c:v>
                </c:pt>
                <c:pt idx="2">
                  <c:v>57.646835022073702</c:v>
                </c:pt>
                <c:pt idx="3">
                  <c:v>57.646835022073702</c:v>
                </c:pt>
                <c:pt idx="4">
                  <c:v>57.646835022073702</c:v>
                </c:pt>
                <c:pt idx="5">
                  <c:v>57.646835022073702</c:v>
                </c:pt>
                <c:pt idx="6">
                  <c:v>57.646835022073702</c:v>
                </c:pt>
                <c:pt idx="7">
                  <c:v>57.646835022073702</c:v>
                </c:pt>
                <c:pt idx="8">
                  <c:v>57.646835022073702</c:v>
                </c:pt>
                <c:pt idx="9">
                  <c:v>57.646835022073702</c:v>
                </c:pt>
                <c:pt idx="10">
                  <c:v>57.646835022073702</c:v>
                </c:pt>
                <c:pt idx="11">
                  <c:v>57.646835022073702</c:v>
                </c:pt>
                <c:pt idx="12">
                  <c:v>57.646835022073702</c:v>
                </c:pt>
                <c:pt idx="13">
                  <c:v>57.646835022073702</c:v>
                </c:pt>
              </c:numCache>
            </c:numRef>
          </c:val>
          <c:smooth val="0"/>
          <c:extLst>
            <c:ext xmlns:c16="http://schemas.microsoft.com/office/drawing/2014/chart" uri="{C3380CC4-5D6E-409C-BE32-E72D297353CC}">
              <c16:uniqueId val="{00000003-85CA-4E56-815D-1FF69479490C}"/>
            </c:ext>
          </c:extLst>
        </c:ser>
        <c:dLbls>
          <c:showLegendKey val="0"/>
          <c:showVal val="0"/>
          <c:showCatName val="0"/>
          <c:showSerName val="0"/>
          <c:showPercent val="0"/>
          <c:showBubbleSize val="0"/>
        </c:dLbls>
        <c:marker val="1"/>
        <c:smooth val="0"/>
        <c:axId val="2055536607"/>
        <c:axId val="1"/>
      </c:lineChart>
      <c:catAx>
        <c:axId val="2055536607"/>
        <c:scaling>
          <c:orientation val="minMax"/>
        </c:scaling>
        <c:delete val="0"/>
        <c:axPos val="b"/>
        <c:majorGridlines>
          <c:spPr>
            <a:ln>
              <a:noFill/>
            </a:ln>
          </c:spPr>
        </c:majorGridlines>
        <c:majorTickMark val="none"/>
        <c:minorTickMark val="none"/>
        <c:tickLblPos val="none"/>
        <c:spPr>
          <a:ln w="9525" cmpd="sng" algn="ctr">
            <a:solidFill>
              <a:srgbClr val="969696"/>
            </a:solidFill>
            <a:prstDash val="solid"/>
          </a:ln>
        </c:sp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55536607"/>
        <c:crosses val="min"/>
        <c:crossBetween val="between"/>
      </c:valAx>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3985374771488E-3"/>
          <c:y val="3.8748137108792845E-2"/>
          <c:w val="0.98098720292504571"/>
          <c:h val="0.92250372578241435"/>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dPt>
            <c:idx val="3"/>
            <c:invertIfNegative val="0"/>
            <c:bubble3D val="0"/>
            <c:spPr>
              <a:solidFill>
                <a:srgbClr val="5A5A5A"/>
              </a:solidFill>
              <a:ln w="9525" cmpd="sng" algn="ctr">
                <a:solidFill>
                  <a:schemeClr val="bg1"/>
                </a:solidFill>
                <a:prstDash val="solid"/>
              </a:ln>
            </c:spPr>
            <c:extLst>
              <c:ext xmlns:c16="http://schemas.microsoft.com/office/drawing/2014/chart" uri="{C3380CC4-5D6E-409C-BE32-E72D297353CC}">
                <c16:uniqueId val="{00000000-68E8-46E1-B0C3-056D76DB7B38}"/>
              </c:ext>
            </c:extLst>
          </c:dPt>
          <c:dPt>
            <c:idx val="4"/>
            <c:invertIfNegative val="0"/>
            <c:bubble3D val="0"/>
            <c:spPr>
              <a:solidFill>
                <a:srgbClr val="7E27B5"/>
              </a:solidFill>
              <a:ln w="9525" cmpd="sng" algn="ctr">
                <a:solidFill>
                  <a:schemeClr val="bg1"/>
                </a:solidFill>
                <a:prstDash val="solid"/>
              </a:ln>
            </c:spPr>
            <c:extLst>
              <c:ext xmlns:c16="http://schemas.microsoft.com/office/drawing/2014/chart" uri="{C3380CC4-5D6E-409C-BE32-E72D297353CC}">
                <c16:uniqueId val="{00000001-68E8-46E1-B0C3-056D76DB7B38}"/>
              </c:ext>
            </c:extLst>
          </c:dPt>
          <c:dPt>
            <c:idx val="6"/>
            <c:invertIfNegative val="0"/>
            <c:bubble3D val="0"/>
            <c:spPr>
              <a:solidFill>
                <a:srgbClr val="4C6C9C"/>
              </a:solidFill>
              <a:ln w="9525" cmpd="sng" algn="ctr">
                <a:solidFill>
                  <a:schemeClr val="bg1"/>
                </a:solidFill>
                <a:prstDash val="solid"/>
              </a:ln>
            </c:spPr>
            <c:extLst>
              <c:ext xmlns:c16="http://schemas.microsoft.com/office/drawing/2014/chart" uri="{C3380CC4-5D6E-409C-BE32-E72D297353CC}">
                <c16:uniqueId val="{00000002-68E8-46E1-B0C3-056D76DB7B38}"/>
              </c:ext>
            </c:extLst>
          </c:dPt>
          <c:dPt>
            <c:idx val="7"/>
            <c:invertIfNegative val="0"/>
            <c:bubble3D val="0"/>
            <c:spPr>
              <a:solidFill>
                <a:srgbClr val="4C6C9C"/>
              </a:solidFill>
              <a:ln w="9525" cmpd="sng" algn="ctr">
                <a:solidFill>
                  <a:schemeClr val="bg1"/>
                </a:solidFill>
                <a:prstDash val="solid"/>
              </a:ln>
            </c:spPr>
            <c:extLst>
              <c:ext xmlns:c16="http://schemas.microsoft.com/office/drawing/2014/chart" uri="{C3380CC4-5D6E-409C-BE32-E72D297353CC}">
                <c16:uniqueId val="{00000003-68E8-46E1-B0C3-056D76DB7B38}"/>
              </c:ext>
            </c:extLst>
          </c:dPt>
          <c:dPt>
            <c:idx val="8"/>
            <c:invertIfNegative val="0"/>
            <c:bubble3D val="0"/>
            <c:spPr>
              <a:solidFill>
                <a:srgbClr val="4C6C9C"/>
              </a:solidFill>
              <a:ln w="9525" cmpd="sng" algn="ctr">
                <a:solidFill>
                  <a:schemeClr val="bg1"/>
                </a:solidFill>
                <a:prstDash val="solid"/>
              </a:ln>
            </c:spPr>
            <c:extLst>
              <c:ext xmlns:c16="http://schemas.microsoft.com/office/drawing/2014/chart" uri="{C3380CC4-5D6E-409C-BE32-E72D297353CC}">
                <c16:uniqueId val="{00000004-68E8-46E1-B0C3-056D76DB7B38}"/>
              </c:ext>
            </c:extLst>
          </c:dPt>
          <c:val>
            <c:numRef>
              <c:f>Sheet1!$A$1:$K$1</c:f>
              <c:numCache>
                <c:formatCode>General</c:formatCode>
                <c:ptCount val="11"/>
                <c:pt idx="0">
                  <c:v>77.407282345658174</c:v>
                </c:pt>
                <c:pt idx="1">
                  <c:v>62.006085912547093</c:v>
                </c:pt>
                <c:pt idx="2">
                  <c:v>76.03608409923126</c:v>
                </c:pt>
                <c:pt idx="3">
                  <c:v>68.863965637663185</c:v>
                </c:pt>
                <c:pt idx="4">
                  <c:v>21.344127047322033</c:v>
                </c:pt>
                <c:pt idx="5">
                  <c:v>57.609411634303157</c:v>
                </c:pt>
                <c:pt idx="6">
                  <c:v>66.666666666666657</c:v>
                </c:pt>
                <c:pt idx="7">
                  <c:v>70.257037943696446</c:v>
                </c:pt>
                <c:pt idx="8">
                  <c:v>41.882804995196928</c:v>
                </c:pt>
                <c:pt idx="9">
                  <c:v>86.689507220389984</c:v>
                </c:pt>
                <c:pt idx="10">
                  <c:v>76.3888888888889</c:v>
                </c:pt>
              </c:numCache>
            </c:numRef>
          </c:val>
          <c:extLst>
            <c:ext xmlns:c16="http://schemas.microsoft.com/office/drawing/2014/chart" uri="{C3380CC4-5D6E-409C-BE32-E72D297353CC}">
              <c16:uniqueId val="{00000005-68E8-46E1-B0C3-056D76DB7B38}"/>
            </c:ext>
          </c:extLst>
        </c:ser>
        <c:ser>
          <c:idx val="1"/>
          <c:order val="1"/>
          <c:spPr>
            <a:solidFill>
              <a:schemeClr val="accent1"/>
            </a:solidFill>
            <a:ln w="9525" cmpd="sng" algn="ctr">
              <a:solidFill>
                <a:schemeClr val="bg1"/>
              </a:solidFill>
              <a:prstDash val="solid"/>
            </a:ln>
          </c:spPr>
          <c:invertIfNegative val="0"/>
          <c:dPt>
            <c:idx val="3"/>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6-68E8-46E1-B0C3-056D76DB7B38}"/>
              </c:ext>
            </c:extLst>
          </c:dPt>
          <c:dPt>
            <c:idx val="4"/>
            <c:invertIfNegative val="0"/>
            <c:bubble3D val="0"/>
            <c:spPr>
              <a:solidFill>
                <a:srgbClr val="009EFF"/>
              </a:solidFill>
              <a:ln w="9525" cmpd="sng" algn="ctr">
                <a:solidFill>
                  <a:schemeClr val="bg1"/>
                </a:solidFill>
                <a:prstDash val="solid"/>
              </a:ln>
            </c:spPr>
            <c:extLst>
              <c:ext xmlns:c16="http://schemas.microsoft.com/office/drawing/2014/chart" uri="{C3380CC4-5D6E-409C-BE32-E72D297353CC}">
                <c16:uniqueId val="{00000007-68E8-46E1-B0C3-056D76DB7B38}"/>
              </c:ext>
            </c:extLst>
          </c:dPt>
          <c:dPt>
            <c:idx val="6"/>
            <c:invertIfNegative val="0"/>
            <c:bubble3D val="0"/>
            <c:spPr>
              <a:solidFill>
                <a:srgbClr val="6F8DB9"/>
              </a:solidFill>
              <a:ln w="9525" cmpd="sng" algn="ctr">
                <a:solidFill>
                  <a:schemeClr val="bg1"/>
                </a:solidFill>
                <a:prstDash val="solid"/>
              </a:ln>
            </c:spPr>
            <c:extLst>
              <c:ext xmlns:c16="http://schemas.microsoft.com/office/drawing/2014/chart" uri="{C3380CC4-5D6E-409C-BE32-E72D297353CC}">
                <c16:uniqueId val="{00000008-68E8-46E1-B0C3-056D76DB7B38}"/>
              </c:ext>
            </c:extLst>
          </c:dPt>
          <c:dPt>
            <c:idx val="7"/>
            <c:invertIfNegative val="0"/>
            <c:bubble3D val="0"/>
            <c:spPr>
              <a:solidFill>
                <a:srgbClr val="6F8DB9"/>
              </a:solidFill>
              <a:ln w="9525" cmpd="sng" algn="ctr">
                <a:solidFill>
                  <a:schemeClr val="bg1"/>
                </a:solidFill>
                <a:prstDash val="solid"/>
              </a:ln>
            </c:spPr>
            <c:extLst>
              <c:ext xmlns:c16="http://schemas.microsoft.com/office/drawing/2014/chart" uri="{C3380CC4-5D6E-409C-BE32-E72D297353CC}">
                <c16:uniqueId val="{00000009-68E8-46E1-B0C3-056D76DB7B38}"/>
              </c:ext>
            </c:extLst>
          </c:dPt>
          <c:dPt>
            <c:idx val="8"/>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A-68E8-46E1-B0C3-056D76DB7B38}"/>
              </c:ext>
            </c:extLst>
          </c:dPt>
          <c:val>
            <c:numRef>
              <c:f>Sheet1!$A$2:$K$2</c:f>
              <c:numCache>
                <c:formatCode>General</c:formatCode>
                <c:ptCount val="11"/>
                <c:pt idx="0">
                  <c:v>22.592717654341833</c:v>
                </c:pt>
                <c:pt idx="1">
                  <c:v>37.993914087452907</c:v>
                </c:pt>
                <c:pt idx="2">
                  <c:v>23.963915900768729</c:v>
                </c:pt>
                <c:pt idx="3">
                  <c:v>14.497587625294505</c:v>
                </c:pt>
                <c:pt idx="4">
                  <c:v>20.569987724362164</c:v>
                </c:pt>
                <c:pt idx="5">
                  <c:v>42.390588365696843</c:v>
                </c:pt>
                <c:pt idx="6">
                  <c:v>14.051094890510951</c:v>
                </c:pt>
                <c:pt idx="7">
                  <c:v>14.810281517747859</c:v>
                </c:pt>
                <c:pt idx="8">
                  <c:v>38.42459173871277</c:v>
                </c:pt>
                <c:pt idx="9">
                  <c:v>13.310492779609994</c:v>
                </c:pt>
                <c:pt idx="10">
                  <c:v>23.611111111111104</c:v>
                </c:pt>
              </c:numCache>
            </c:numRef>
          </c:val>
          <c:extLst>
            <c:ext xmlns:c16="http://schemas.microsoft.com/office/drawing/2014/chart" uri="{C3380CC4-5D6E-409C-BE32-E72D297353CC}">
              <c16:uniqueId val="{0000000B-68E8-46E1-B0C3-056D76DB7B38}"/>
            </c:ext>
          </c:extLst>
        </c:ser>
        <c:ser>
          <c:idx val="2"/>
          <c:order val="2"/>
          <c:spPr>
            <a:solidFill>
              <a:schemeClr val="accent2"/>
            </a:solidFill>
            <a:ln w="9525" cmpd="sng" algn="ctr">
              <a:solidFill>
                <a:schemeClr val="bg1"/>
              </a:solidFill>
              <a:prstDash val="solid"/>
            </a:ln>
          </c:spPr>
          <c:invertIfNegative val="0"/>
          <c:dPt>
            <c:idx val="3"/>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C-68E8-46E1-B0C3-056D76DB7B38}"/>
              </c:ext>
            </c:extLst>
          </c:dPt>
          <c:dPt>
            <c:idx val="4"/>
            <c:invertIfNegative val="0"/>
            <c:bubble3D val="0"/>
            <c:spPr>
              <a:solidFill>
                <a:srgbClr val="CDA8F9"/>
              </a:solidFill>
              <a:ln w="9525" cmpd="sng" algn="ctr">
                <a:solidFill>
                  <a:schemeClr val="bg1"/>
                </a:solidFill>
                <a:prstDash val="solid"/>
              </a:ln>
            </c:spPr>
            <c:extLst>
              <c:ext xmlns:c16="http://schemas.microsoft.com/office/drawing/2014/chart" uri="{C3380CC4-5D6E-409C-BE32-E72D297353CC}">
                <c16:uniqueId val="{0000000D-68E8-46E1-B0C3-056D76DB7B38}"/>
              </c:ext>
            </c:extLst>
          </c:dPt>
          <c:dPt>
            <c:idx val="8"/>
            <c:invertIfNegative val="0"/>
            <c:bubble3D val="0"/>
            <c:spPr>
              <a:solidFill>
                <a:srgbClr val="D7DAEA"/>
              </a:solidFill>
              <a:ln w="9525" cmpd="sng" algn="ctr">
                <a:solidFill>
                  <a:schemeClr val="bg1"/>
                </a:solidFill>
                <a:prstDash val="solid"/>
              </a:ln>
            </c:spPr>
            <c:extLst>
              <c:ext xmlns:c16="http://schemas.microsoft.com/office/drawing/2014/chart" uri="{C3380CC4-5D6E-409C-BE32-E72D297353CC}">
                <c16:uniqueId val="{0000000E-68E8-46E1-B0C3-056D76DB7B38}"/>
              </c:ext>
            </c:extLst>
          </c:dPt>
          <c:val>
            <c:numRef>
              <c:f>Sheet1!$A$3:$K$3</c:f>
              <c:numCache>
                <c:formatCode>General</c:formatCode>
                <c:ptCount val="11"/>
                <c:pt idx="3">
                  <c:v>11.918371009488427</c:v>
                </c:pt>
                <c:pt idx="4">
                  <c:v>20.484832398836573</c:v>
                </c:pt>
                <c:pt idx="6">
                  <c:v>13.199513381995132</c:v>
                </c:pt>
                <c:pt idx="7">
                  <c:v>7.5887392900856776</c:v>
                </c:pt>
                <c:pt idx="8">
                  <c:v>11.047070124879921</c:v>
                </c:pt>
              </c:numCache>
            </c:numRef>
          </c:val>
          <c:extLst>
            <c:ext xmlns:c16="http://schemas.microsoft.com/office/drawing/2014/chart" uri="{C3380CC4-5D6E-409C-BE32-E72D297353CC}">
              <c16:uniqueId val="{0000000F-68E8-46E1-B0C3-056D76DB7B38}"/>
            </c:ext>
          </c:extLst>
        </c:ser>
        <c:ser>
          <c:idx val="3"/>
          <c:order val="3"/>
          <c:spPr>
            <a:solidFill>
              <a:srgbClr val="D7DAEA"/>
            </a:solidFill>
            <a:ln w="9525" cmpd="sng" algn="ctr">
              <a:solidFill>
                <a:schemeClr val="bg1"/>
              </a:solidFill>
              <a:prstDash val="solid"/>
            </a:ln>
          </c:spPr>
          <c:invertIfNegative val="0"/>
          <c:dPt>
            <c:idx val="3"/>
            <c:invertIfNegative val="0"/>
            <c:bubble3D val="0"/>
            <c:spPr>
              <a:solidFill>
                <a:srgbClr val="657D1A"/>
              </a:solidFill>
              <a:ln w="9525" cmpd="sng" algn="ctr">
                <a:solidFill>
                  <a:schemeClr val="bg1"/>
                </a:solidFill>
                <a:prstDash val="solid"/>
              </a:ln>
            </c:spPr>
            <c:extLst>
              <c:ext xmlns:c16="http://schemas.microsoft.com/office/drawing/2014/chart" uri="{C3380CC4-5D6E-409C-BE32-E72D297353CC}">
                <c16:uniqueId val="{00000010-68E8-46E1-B0C3-056D76DB7B38}"/>
              </c:ext>
            </c:extLst>
          </c:dPt>
          <c:dPt>
            <c:idx val="4"/>
            <c:invertIfNegative val="0"/>
            <c:bubble3D val="0"/>
            <c:spPr>
              <a:solidFill>
                <a:srgbClr val="D7C0F0"/>
              </a:solidFill>
              <a:ln w="9525" cmpd="sng" algn="ctr">
                <a:solidFill>
                  <a:schemeClr val="bg1"/>
                </a:solidFill>
                <a:prstDash val="solid"/>
              </a:ln>
            </c:spPr>
            <c:extLst>
              <c:ext xmlns:c16="http://schemas.microsoft.com/office/drawing/2014/chart" uri="{C3380CC4-5D6E-409C-BE32-E72D297353CC}">
                <c16:uniqueId val="{00000011-68E8-46E1-B0C3-056D76DB7B38}"/>
              </c:ext>
            </c:extLst>
          </c:dPt>
          <c:dPt>
            <c:idx val="8"/>
            <c:invertIfNegative val="0"/>
            <c:bubble3D val="0"/>
            <c:spPr>
              <a:solidFill>
                <a:srgbClr val="6F8DB9"/>
              </a:solidFill>
              <a:ln w="9525" cmpd="sng" algn="ctr">
                <a:solidFill>
                  <a:schemeClr val="bg1"/>
                </a:solidFill>
                <a:prstDash val="solid"/>
              </a:ln>
            </c:spPr>
            <c:extLst>
              <c:ext xmlns:c16="http://schemas.microsoft.com/office/drawing/2014/chart" uri="{C3380CC4-5D6E-409C-BE32-E72D297353CC}">
                <c16:uniqueId val="{00000012-68E8-46E1-B0C3-056D76DB7B38}"/>
              </c:ext>
            </c:extLst>
          </c:dPt>
          <c:val>
            <c:numRef>
              <c:f>Sheet1!$A$4:$K$4</c:f>
              <c:numCache>
                <c:formatCode>General</c:formatCode>
                <c:ptCount val="11"/>
                <c:pt idx="3">
                  <c:v>4.7200757275538852</c:v>
                </c:pt>
                <c:pt idx="4">
                  <c:v>19.464074405848073</c:v>
                </c:pt>
                <c:pt idx="6">
                  <c:v>6.0827250608272543</c:v>
                </c:pt>
                <c:pt idx="7">
                  <c:v>7.34394124847001</c:v>
                </c:pt>
                <c:pt idx="8">
                  <c:v>8.6455331412103718</c:v>
                </c:pt>
              </c:numCache>
            </c:numRef>
          </c:val>
          <c:extLst>
            <c:ext xmlns:c16="http://schemas.microsoft.com/office/drawing/2014/chart" uri="{C3380CC4-5D6E-409C-BE32-E72D297353CC}">
              <c16:uniqueId val="{00000013-68E8-46E1-B0C3-056D76DB7B38}"/>
            </c:ext>
          </c:extLst>
        </c:ser>
        <c:ser>
          <c:idx val="4"/>
          <c:order val="4"/>
          <c:spPr>
            <a:solidFill>
              <a:srgbClr val="D7DAEA"/>
            </a:solidFill>
            <a:ln w="9525" cmpd="sng" algn="ctr">
              <a:solidFill>
                <a:schemeClr val="bg1"/>
              </a:solidFill>
              <a:prstDash val="solid"/>
            </a:ln>
          </c:spPr>
          <c:invertIfNegative val="0"/>
          <c:val>
            <c:numRef>
              <c:f>Sheet1!$A$5:$K$5</c:f>
              <c:numCache>
                <c:formatCode>General</c:formatCode>
                <c:ptCount val="11"/>
                <c:pt idx="4">
                  <c:v>18.136978423631156</c:v>
                </c:pt>
              </c:numCache>
            </c:numRef>
          </c:val>
          <c:extLst>
            <c:ext xmlns:c16="http://schemas.microsoft.com/office/drawing/2014/chart" uri="{C3380CC4-5D6E-409C-BE32-E72D297353CC}">
              <c16:uniqueId val="{00000014-68E8-46E1-B0C3-056D76DB7B38}"/>
            </c:ext>
          </c:extLst>
        </c:ser>
        <c:dLbls>
          <c:showLegendKey val="0"/>
          <c:showVal val="0"/>
          <c:showCatName val="0"/>
          <c:showSerName val="0"/>
          <c:showPercent val="0"/>
          <c:showBubbleSize val="0"/>
        </c:dLbls>
        <c:gapWidth val="80"/>
        <c:overlap val="100"/>
        <c:axId val="162859488"/>
        <c:axId val="1"/>
      </c:barChart>
      <c:catAx>
        <c:axId val="1628594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62859488"/>
        <c:crosses val="min"/>
        <c:crossBetween val="between"/>
      </c:valAx>
    </c:plotArea>
    <c:plotVisOnly val="0"/>
    <c:dispBlanksAs val="gap"/>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7802197802198E-2"/>
          <c:y val="7.7265973254086184E-2"/>
          <c:w val="0.95604395604395609"/>
          <c:h val="0.84546805349182763"/>
        </c:manualLayout>
      </c:layout>
      <c:barChart>
        <c:barDir val="col"/>
        <c:grouping val="clustered"/>
        <c:varyColors val="0"/>
        <c:ser>
          <c:idx val="0"/>
          <c:order val="0"/>
          <c:spPr>
            <a:solidFill>
              <a:srgbClr val="5A5A5A"/>
            </a:solidFill>
            <a:ln>
              <a:noFill/>
            </a:ln>
          </c:spPr>
          <c:invertIfNegative val="0"/>
          <c:val>
            <c:numRef>
              <c:f>Sheet1!$A$1:$C$1</c:f>
              <c:numCache>
                <c:formatCode>General</c:formatCode>
                <c:ptCount val="3"/>
                <c:pt idx="0">
                  <c:v>9.1</c:v>
                </c:pt>
                <c:pt idx="1">
                  <c:v>9</c:v>
                </c:pt>
                <c:pt idx="2">
                  <c:v>8.9</c:v>
                </c:pt>
              </c:numCache>
            </c:numRef>
          </c:val>
          <c:extLst>
            <c:ext xmlns:c16="http://schemas.microsoft.com/office/drawing/2014/chart" uri="{C3380CC4-5D6E-409C-BE32-E72D297353CC}">
              <c16:uniqueId val="{00000000-59BF-4B33-90AC-DF1D93143719}"/>
            </c:ext>
          </c:extLst>
        </c:ser>
        <c:ser>
          <c:idx val="1"/>
          <c:order val="1"/>
          <c:spPr>
            <a:solidFill>
              <a:srgbClr val="969696"/>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1-59BF-4B33-90AC-DF1D93143719}"/>
              </c:ext>
            </c:extLst>
          </c:dPt>
          <c:val>
            <c:numRef>
              <c:f>Sheet1!$A$2:$C$2</c:f>
              <c:numCache>
                <c:formatCode>General</c:formatCode>
                <c:ptCount val="3"/>
                <c:pt idx="0">
                  <c:v>6.5</c:v>
                </c:pt>
                <c:pt idx="1">
                  <c:v>6.6</c:v>
                </c:pt>
                <c:pt idx="2">
                  <c:v>6.4</c:v>
                </c:pt>
              </c:numCache>
            </c:numRef>
          </c:val>
          <c:extLst>
            <c:ext xmlns:c16="http://schemas.microsoft.com/office/drawing/2014/chart" uri="{C3380CC4-5D6E-409C-BE32-E72D297353CC}">
              <c16:uniqueId val="{00000002-59BF-4B33-90AC-DF1D93143719}"/>
            </c:ext>
          </c:extLst>
        </c:ser>
        <c:ser>
          <c:idx val="2"/>
          <c:order val="2"/>
          <c:spPr>
            <a:solidFill>
              <a:schemeClr val="accent2"/>
            </a:solidFill>
            <a:ln>
              <a:noFill/>
            </a:ln>
          </c:spPr>
          <c:invertIfNegative val="0"/>
          <c:val>
            <c:numRef>
              <c:f>Sheet1!$A$3:$C$3</c:f>
              <c:numCache>
                <c:formatCode>General</c:formatCode>
                <c:ptCount val="3"/>
                <c:pt idx="0">
                  <c:v>6.1</c:v>
                </c:pt>
                <c:pt idx="1">
                  <c:v>6.2</c:v>
                </c:pt>
                <c:pt idx="2">
                  <c:v>6.1</c:v>
                </c:pt>
              </c:numCache>
            </c:numRef>
          </c:val>
          <c:extLst>
            <c:ext xmlns:c16="http://schemas.microsoft.com/office/drawing/2014/chart" uri="{C3380CC4-5D6E-409C-BE32-E72D297353CC}">
              <c16:uniqueId val="{00000003-59BF-4B33-90AC-DF1D93143719}"/>
            </c:ext>
          </c:extLst>
        </c:ser>
        <c:dLbls>
          <c:showLegendKey val="0"/>
          <c:showVal val="0"/>
          <c:showCatName val="0"/>
          <c:showSerName val="0"/>
          <c:showPercent val="0"/>
          <c:showBubbleSize val="0"/>
        </c:dLbls>
        <c:gapWidth val="100"/>
        <c:axId val="1624757071"/>
        <c:axId val="1"/>
      </c:barChart>
      <c:catAx>
        <c:axId val="16247570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mn-ea"/>
                <a:cs typeface="+mn-cs"/>
              </a:defRPr>
            </a:pPr>
            <a:endParaRPr lang="en-US"/>
          </a:p>
        </c:txPr>
        <c:crossAx val="1624757071"/>
        <c:crosses val="min"/>
        <c:crossBetween val="between"/>
        <c:majorUnit val="10"/>
      </c:valAx>
    </c:plotArea>
    <c:plotVisOnly val="0"/>
    <c:dispBlanksAs val="gap"/>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7802197802198E-2"/>
          <c:y val="8.2408874801901746E-2"/>
          <c:w val="0.95604395604395609"/>
          <c:h val="0.83518225039619653"/>
        </c:manualLayout>
      </c:layout>
      <c:barChart>
        <c:barDir val="col"/>
        <c:grouping val="clustered"/>
        <c:varyColors val="0"/>
        <c:ser>
          <c:idx val="0"/>
          <c:order val="0"/>
          <c:spPr>
            <a:solidFill>
              <a:srgbClr val="5A5A5A"/>
            </a:solidFill>
            <a:ln>
              <a:noFill/>
            </a:ln>
          </c:spPr>
          <c:invertIfNegative val="0"/>
          <c:val>
            <c:numRef>
              <c:f>Sheet1!$A$1:$C$1</c:f>
              <c:numCache>
                <c:formatCode>General</c:formatCode>
                <c:ptCount val="3"/>
                <c:pt idx="0">
                  <c:v>22.6</c:v>
                </c:pt>
                <c:pt idx="1">
                  <c:v>13.4</c:v>
                </c:pt>
                <c:pt idx="2">
                  <c:v>22.6</c:v>
                </c:pt>
              </c:numCache>
            </c:numRef>
          </c:val>
          <c:extLst>
            <c:ext xmlns:c16="http://schemas.microsoft.com/office/drawing/2014/chart" uri="{C3380CC4-5D6E-409C-BE32-E72D297353CC}">
              <c16:uniqueId val="{00000000-BFEF-4745-B6D2-232CB84659ED}"/>
            </c:ext>
          </c:extLst>
        </c:ser>
        <c:ser>
          <c:idx val="1"/>
          <c:order val="1"/>
          <c:spPr>
            <a:solidFill>
              <a:schemeClr val="accent5"/>
            </a:solidFill>
            <a:ln>
              <a:noFill/>
            </a:ln>
          </c:spPr>
          <c:invertIfNegative val="0"/>
          <c:val>
            <c:numRef>
              <c:f>Sheet1!$A$2:$C$2</c:f>
              <c:numCache>
                <c:formatCode>General</c:formatCode>
                <c:ptCount val="3"/>
                <c:pt idx="0">
                  <c:v>7.6</c:v>
                </c:pt>
                <c:pt idx="1">
                  <c:v>6.6</c:v>
                </c:pt>
                <c:pt idx="2">
                  <c:v>7.6</c:v>
                </c:pt>
              </c:numCache>
            </c:numRef>
          </c:val>
          <c:extLst>
            <c:ext xmlns:c16="http://schemas.microsoft.com/office/drawing/2014/chart" uri="{C3380CC4-5D6E-409C-BE32-E72D297353CC}">
              <c16:uniqueId val="{00000001-BFEF-4745-B6D2-232CB84659ED}"/>
            </c:ext>
          </c:extLst>
        </c:ser>
        <c:ser>
          <c:idx val="2"/>
          <c:order val="2"/>
          <c:spPr>
            <a:solidFill>
              <a:schemeClr val="accent2"/>
            </a:solidFill>
            <a:ln>
              <a:noFill/>
            </a:ln>
          </c:spPr>
          <c:invertIfNegative val="0"/>
          <c:val>
            <c:numRef>
              <c:f>Sheet1!$A$3:$C$3</c:f>
              <c:numCache>
                <c:formatCode>General</c:formatCode>
                <c:ptCount val="3"/>
                <c:pt idx="0">
                  <c:v>6.9</c:v>
                </c:pt>
                <c:pt idx="1">
                  <c:v>6.8</c:v>
                </c:pt>
                <c:pt idx="2">
                  <c:v>6.9</c:v>
                </c:pt>
              </c:numCache>
            </c:numRef>
          </c:val>
          <c:extLst>
            <c:ext xmlns:c16="http://schemas.microsoft.com/office/drawing/2014/chart" uri="{C3380CC4-5D6E-409C-BE32-E72D297353CC}">
              <c16:uniqueId val="{00000002-BFEF-4745-B6D2-232CB84659ED}"/>
            </c:ext>
          </c:extLst>
        </c:ser>
        <c:dLbls>
          <c:showLegendKey val="0"/>
          <c:showVal val="0"/>
          <c:showCatName val="0"/>
          <c:showSerName val="0"/>
          <c:showPercent val="0"/>
          <c:showBubbleSize val="0"/>
        </c:dLbls>
        <c:gapWidth val="100"/>
        <c:axId val="395011295"/>
        <c:axId val="1"/>
      </c:barChart>
      <c:catAx>
        <c:axId val="3950112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mn-ea"/>
                <a:cs typeface="+mn-cs"/>
              </a:defRPr>
            </a:pPr>
            <a:endParaRPr lang="en-US"/>
          </a:p>
        </c:txPr>
        <c:crossAx val="395011295"/>
        <c:crosses val="min"/>
        <c:crossBetween val="between"/>
        <c:majorUnit val="10"/>
      </c:valAx>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7802197802198E-2"/>
          <c:y val="7.8549848942598186E-2"/>
          <c:w val="0.95604395604395609"/>
          <c:h val="0.8429003021148036"/>
        </c:manualLayout>
      </c:layout>
      <c:barChart>
        <c:barDir val="col"/>
        <c:grouping val="clustered"/>
        <c:varyColors val="0"/>
        <c:ser>
          <c:idx val="0"/>
          <c:order val="0"/>
          <c:spPr>
            <a:solidFill>
              <a:srgbClr val="5A5A5A"/>
            </a:solidFill>
            <a:ln>
              <a:noFill/>
            </a:ln>
          </c:spPr>
          <c:invertIfNegative val="0"/>
          <c:val>
            <c:numRef>
              <c:f>Sheet1!$A$1:$C$1</c:f>
              <c:numCache>
                <c:formatCode>General</c:formatCode>
                <c:ptCount val="3"/>
                <c:pt idx="0">
                  <c:v>44.1</c:v>
                </c:pt>
                <c:pt idx="1">
                  <c:v>26.3</c:v>
                </c:pt>
                <c:pt idx="2">
                  <c:v>44.1</c:v>
                </c:pt>
              </c:numCache>
            </c:numRef>
          </c:val>
          <c:extLst>
            <c:ext xmlns:c16="http://schemas.microsoft.com/office/drawing/2014/chart" uri="{C3380CC4-5D6E-409C-BE32-E72D297353CC}">
              <c16:uniqueId val="{00000000-49E0-4027-9C74-371E301417AE}"/>
            </c:ext>
          </c:extLst>
        </c:ser>
        <c:ser>
          <c:idx val="1"/>
          <c:order val="1"/>
          <c:spPr>
            <a:solidFill>
              <a:schemeClr val="accent5"/>
            </a:solidFill>
            <a:ln>
              <a:noFill/>
            </a:ln>
          </c:spPr>
          <c:invertIfNegative val="0"/>
          <c:val>
            <c:numRef>
              <c:f>Sheet1!$A$2:$C$2</c:f>
              <c:numCache>
                <c:formatCode>General</c:formatCode>
                <c:ptCount val="3"/>
                <c:pt idx="0">
                  <c:v>12</c:v>
                </c:pt>
                <c:pt idx="1">
                  <c:v>11.1</c:v>
                </c:pt>
                <c:pt idx="2">
                  <c:v>12</c:v>
                </c:pt>
              </c:numCache>
            </c:numRef>
          </c:val>
          <c:extLst>
            <c:ext xmlns:c16="http://schemas.microsoft.com/office/drawing/2014/chart" uri="{C3380CC4-5D6E-409C-BE32-E72D297353CC}">
              <c16:uniqueId val="{00000001-49E0-4027-9C74-371E301417AE}"/>
            </c:ext>
          </c:extLst>
        </c:ser>
        <c:ser>
          <c:idx val="2"/>
          <c:order val="2"/>
          <c:spPr>
            <a:solidFill>
              <a:schemeClr val="accent2"/>
            </a:solidFill>
            <a:ln>
              <a:noFill/>
            </a:ln>
          </c:spPr>
          <c:invertIfNegative val="0"/>
          <c:val>
            <c:numRef>
              <c:f>Sheet1!$A$3:$C$3</c:f>
              <c:numCache>
                <c:formatCode>General</c:formatCode>
                <c:ptCount val="3"/>
                <c:pt idx="0">
                  <c:v>10.9</c:v>
                </c:pt>
                <c:pt idx="1">
                  <c:v>11.2</c:v>
                </c:pt>
                <c:pt idx="2">
                  <c:v>10.9</c:v>
                </c:pt>
              </c:numCache>
            </c:numRef>
          </c:val>
          <c:extLst>
            <c:ext xmlns:c16="http://schemas.microsoft.com/office/drawing/2014/chart" uri="{C3380CC4-5D6E-409C-BE32-E72D297353CC}">
              <c16:uniqueId val="{00000002-49E0-4027-9C74-371E301417AE}"/>
            </c:ext>
          </c:extLst>
        </c:ser>
        <c:dLbls>
          <c:showLegendKey val="0"/>
          <c:showVal val="0"/>
          <c:showCatName val="0"/>
          <c:showSerName val="0"/>
          <c:showPercent val="0"/>
          <c:showBubbleSize val="0"/>
        </c:dLbls>
        <c:gapWidth val="100"/>
        <c:axId val="249981855"/>
        <c:axId val="1"/>
      </c:barChart>
      <c:catAx>
        <c:axId val="2499818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mn-ea"/>
                <a:cs typeface="+mn-cs"/>
              </a:defRPr>
            </a:pPr>
            <a:endParaRPr lang="en-US"/>
          </a:p>
        </c:txPr>
        <c:crossAx val="249981855"/>
        <c:crosses val="min"/>
        <c:crossBetween val="between"/>
        <c:majorUnit val="10"/>
      </c:valAx>
    </c:plotArea>
    <c:plotVisOnly val="0"/>
    <c:dispBlanksAs val="gap"/>
    <c:showDLblsOverMax val="1"/>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75544388609715E-2"/>
          <c:y val="5.2472250252270432E-2"/>
          <c:w val="0.95644891122278053"/>
          <c:h val="0.89505549949545915"/>
        </c:manualLayout>
      </c:layout>
      <c:barChart>
        <c:barDir val="col"/>
        <c:grouping val="clustered"/>
        <c:varyColors val="0"/>
        <c:ser>
          <c:idx val="0"/>
          <c:order val="0"/>
          <c:spPr>
            <a:solidFill>
              <a:srgbClr val="5A5A5A"/>
            </a:solidFill>
            <a:ln w="9525" cmpd="sng" algn="ctr">
              <a:solidFill>
                <a:schemeClr val="bg1"/>
              </a:solidFill>
              <a:prstDash val="solid"/>
            </a:ln>
          </c:spPr>
          <c:invertIfNegative val="0"/>
          <c:val>
            <c:numRef>
              <c:f>Sheet1!$A$1:$C$1</c:f>
              <c:numCache>
                <c:formatCode>General</c:formatCode>
                <c:ptCount val="3"/>
                <c:pt idx="0">
                  <c:v>7.7</c:v>
                </c:pt>
                <c:pt idx="1">
                  <c:v>8.1</c:v>
                </c:pt>
                <c:pt idx="2">
                  <c:v>9.9</c:v>
                </c:pt>
              </c:numCache>
            </c:numRef>
          </c:val>
          <c:extLst>
            <c:ext xmlns:c16="http://schemas.microsoft.com/office/drawing/2014/chart" uri="{C3380CC4-5D6E-409C-BE32-E72D297353CC}">
              <c16:uniqueId val="{00000000-5E51-4D89-B564-D823ECAFDD9B}"/>
            </c:ext>
          </c:extLst>
        </c:ser>
        <c:ser>
          <c:idx val="1"/>
          <c:order val="1"/>
          <c:spPr>
            <a:solidFill>
              <a:schemeClr val="accent5"/>
            </a:solidFill>
            <a:ln w="9525" cmpd="sng" algn="ctr">
              <a:solidFill>
                <a:schemeClr val="bg1"/>
              </a:solidFill>
              <a:prstDash val="solid"/>
            </a:ln>
          </c:spPr>
          <c:invertIfNegative val="0"/>
          <c:val>
            <c:numRef>
              <c:f>Sheet1!$A$2:$C$2</c:f>
              <c:numCache>
                <c:formatCode>General</c:formatCode>
                <c:ptCount val="3"/>
                <c:pt idx="0">
                  <c:v>7.2</c:v>
                </c:pt>
                <c:pt idx="1">
                  <c:v>7.5</c:v>
                </c:pt>
                <c:pt idx="2">
                  <c:v>9.1</c:v>
                </c:pt>
              </c:numCache>
            </c:numRef>
          </c:val>
          <c:extLst>
            <c:ext xmlns:c16="http://schemas.microsoft.com/office/drawing/2014/chart" uri="{C3380CC4-5D6E-409C-BE32-E72D297353CC}">
              <c16:uniqueId val="{00000001-5E51-4D89-B564-D823ECAFDD9B}"/>
            </c:ext>
          </c:extLst>
        </c:ser>
        <c:ser>
          <c:idx val="2"/>
          <c:order val="2"/>
          <c:spPr>
            <a:solidFill>
              <a:schemeClr val="accent2"/>
            </a:solidFill>
            <a:ln w="9525" cmpd="sng" algn="ctr">
              <a:solidFill>
                <a:schemeClr val="bg1"/>
              </a:solidFill>
              <a:prstDash val="solid"/>
            </a:ln>
          </c:spPr>
          <c:invertIfNegative val="0"/>
          <c:val>
            <c:numRef>
              <c:f>Sheet1!$A$3:$C$3</c:f>
              <c:numCache>
                <c:formatCode>General</c:formatCode>
                <c:ptCount val="3"/>
                <c:pt idx="0">
                  <c:v>7.5</c:v>
                </c:pt>
                <c:pt idx="1">
                  <c:v>7.8</c:v>
                </c:pt>
                <c:pt idx="2">
                  <c:v>8.9</c:v>
                </c:pt>
              </c:numCache>
            </c:numRef>
          </c:val>
          <c:extLst>
            <c:ext xmlns:c16="http://schemas.microsoft.com/office/drawing/2014/chart" uri="{C3380CC4-5D6E-409C-BE32-E72D297353CC}">
              <c16:uniqueId val="{00000002-5E51-4D89-B564-D823ECAFDD9B}"/>
            </c:ext>
          </c:extLst>
        </c:ser>
        <c:dLbls>
          <c:showLegendKey val="0"/>
          <c:showVal val="0"/>
          <c:showCatName val="0"/>
          <c:showSerName val="0"/>
          <c:showPercent val="0"/>
          <c:showBubbleSize val="0"/>
        </c:dLbls>
        <c:gapWidth val="100"/>
        <c:axId val="1624779151"/>
        <c:axId val="1"/>
      </c:barChart>
      <c:catAx>
        <c:axId val="162477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1624779151"/>
        <c:crosses val="min"/>
        <c:crossBetween val="between"/>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17343818261248E-2"/>
          <c:y val="3.2601880877742948E-2"/>
          <c:w val="0.95456531236347753"/>
          <c:h val="0.93479623824451408"/>
        </c:manualLayout>
      </c:layout>
      <c:barChart>
        <c:barDir val="col"/>
        <c:grouping val="stacked"/>
        <c:varyColors val="0"/>
        <c:ser>
          <c:idx val="0"/>
          <c:order val="0"/>
          <c:spPr>
            <a:solidFill>
              <a:srgbClr val="A6B727"/>
            </a:solidFill>
            <a:ln>
              <a:noFill/>
            </a:ln>
          </c:spPr>
          <c:invertIfNegative val="0"/>
          <c:val>
            <c:numRef>
              <c:f>Sheet1!$A$1:$E$1</c:f>
              <c:numCache>
                <c:formatCode>General</c:formatCode>
                <c:ptCount val="5"/>
                <c:pt idx="0">
                  <c:v>87.7</c:v>
                </c:pt>
                <c:pt idx="1">
                  <c:v>237.34778842388997</c:v>
                </c:pt>
                <c:pt idx="2">
                  <c:v>513.55902655826276</c:v>
                </c:pt>
                <c:pt idx="3">
                  <c:v>745.57495249650742</c:v>
                </c:pt>
                <c:pt idx="4">
                  <c:v>957.0306310766822</c:v>
                </c:pt>
              </c:numCache>
            </c:numRef>
          </c:val>
          <c:extLst>
            <c:ext xmlns:c16="http://schemas.microsoft.com/office/drawing/2014/chart" uri="{C3380CC4-5D6E-409C-BE32-E72D297353CC}">
              <c16:uniqueId val="{00000000-D861-4C4B-86C6-E6636E92003D}"/>
            </c:ext>
          </c:extLst>
        </c:ser>
        <c:ser>
          <c:idx val="1"/>
          <c:order val="1"/>
          <c:spPr>
            <a:solidFill>
              <a:srgbClr val="9DB1CF"/>
            </a:solidFill>
            <a:ln>
              <a:noFill/>
            </a:ln>
          </c:spPr>
          <c:invertIfNegative val="0"/>
          <c:val>
            <c:numRef>
              <c:f>Sheet1!$A$2:$E$2</c:f>
              <c:numCache>
                <c:formatCode>General</c:formatCode>
                <c:ptCount val="5"/>
                <c:pt idx="0">
                  <c:v>117.49999999999999</c:v>
                </c:pt>
                <c:pt idx="1">
                  <c:v>215.36806708531159</c:v>
                </c:pt>
                <c:pt idx="2">
                  <c:v>337.68653899727815</c:v>
                </c:pt>
                <c:pt idx="3">
                  <c:v>411.49797307314407</c:v>
                </c:pt>
                <c:pt idx="4">
                  <c:v>494.2949079293536</c:v>
                </c:pt>
              </c:numCache>
            </c:numRef>
          </c:val>
          <c:extLst>
            <c:ext xmlns:c16="http://schemas.microsoft.com/office/drawing/2014/chart" uri="{C3380CC4-5D6E-409C-BE32-E72D297353CC}">
              <c16:uniqueId val="{00000001-D861-4C4B-86C6-E6636E92003D}"/>
            </c:ext>
          </c:extLst>
        </c:ser>
        <c:ser>
          <c:idx val="2"/>
          <c:order val="2"/>
          <c:spPr>
            <a:solidFill>
              <a:srgbClr val="6F8DB9"/>
            </a:solidFill>
            <a:ln>
              <a:noFill/>
            </a:ln>
          </c:spPr>
          <c:invertIfNegative val="0"/>
          <c:val>
            <c:numRef>
              <c:f>Sheet1!$A$3:$E$3</c:f>
              <c:numCache>
                <c:formatCode>General</c:formatCode>
                <c:ptCount val="5"/>
                <c:pt idx="0">
                  <c:v>10.199999999999989</c:v>
                </c:pt>
                <c:pt idx="1">
                  <c:v>31.476858666999988</c:v>
                </c:pt>
                <c:pt idx="2">
                  <c:v>110.58443603287105</c:v>
                </c:pt>
                <c:pt idx="3">
                  <c:v>219.48586404901744</c:v>
                </c:pt>
                <c:pt idx="4">
                  <c:v>277.04956028293282</c:v>
                </c:pt>
              </c:numCache>
            </c:numRef>
          </c:val>
          <c:extLst>
            <c:ext xmlns:c16="http://schemas.microsoft.com/office/drawing/2014/chart" uri="{C3380CC4-5D6E-409C-BE32-E72D297353CC}">
              <c16:uniqueId val="{00000002-D861-4C4B-86C6-E6636E92003D}"/>
            </c:ext>
          </c:extLst>
        </c:ser>
        <c:dLbls>
          <c:showLegendKey val="0"/>
          <c:showVal val="0"/>
          <c:showCatName val="0"/>
          <c:showSerName val="0"/>
          <c:showPercent val="0"/>
          <c:showBubbleSize val="0"/>
        </c:dLbls>
        <c:gapWidth val="50"/>
        <c:overlap val="100"/>
        <c:axId val="826380640"/>
        <c:axId val="1"/>
      </c:barChart>
      <c:catAx>
        <c:axId val="8263806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826380640"/>
        <c:crosses val="min"/>
        <c:crossBetween val="between"/>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75544388609715E-2"/>
          <c:y val="5.2472250252270432E-2"/>
          <c:w val="0.95644891122278053"/>
          <c:h val="0.89505549949545915"/>
        </c:manualLayout>
      </c:layout>
      <c:barChart>
        <c:barDir val="col"/>
        <c:grouping val="clustered"/>
        <c:varyColors val="0"/>
        <c:ser>
          <c:idx val="0"/>
          <c:order val="0"/>
          <c:spPr>
            <a:solidFill>
              <a:srgbClr val="5A5A5A"/>
            </a:solidFill>
            <a:ln>
              <a:noFill/>
            </a:ln>
          </c:spPr>
          <c:invertIfNegative val="0"/>
          <c:val>
            <c:numRef>
              <c:f>Sheet1!$A$1:$E$1</c:f>
              <c:numCache>
                <c:formatCode>General</c:formatCode>
                <c:ptCount val="5"/>
                <c:pt idx="0">
                  <c:v>4.0999999999999996</c:v>
                </c:pt>
                <c:pt idx="1">
                  <c:v>2.6</c:v>
                </c:pt>
                <c:pt idx="2">
                  <c:v>1.6</c:v>
                </c:pt>
                <c:pt idx="3">
                  <c:v>1.2</c:v>
                </c:pt>
                <c:pt idx="4">
                  <c:v>1.2</c:v>
                </c:pt>
              </c:numCache>
            </c:numRef>
          </c:val>
          <c:extLst>
            <c:ext xmlns:c16="http://schemas.microsoft.com/office/drawing/2014/chart" uri="{C3380CC4-5D6E-409C-BE32-E72D297353CC}">
              <c16:uniqueId val="{00000000-2EAF-47DD-8587-99391A168A3D}"/>
            </c:ext>
          </c:extLst>
        </c:ser>
        <c:ser>
          <c:idx val="1"/>
          <c:order val="1"/>
          <c:spPr>
            <a:solidFill>
              <a:schemeClr val="accent5"/>
            </a:solidFill>
            <a:ln>
              <a:noFill/>
            </a:ln>
          </c:spPr>
          <c:invertIfNegative val="0"/>
          <c:val>
            <c:numRef>
              <c:f>Sheet1!$A$2:$E$2</c:f>
              <c:numCache>
                <c:formatCode>General</c:formatCode>
                <c:ptCount val="5"/>
                <c:pt idx="0">
                  <c:v>6.6</c:v>
                </c:pt>
                <c:pt idx="1">
                  <c:v>3.1</c:v>
                </c:pt>
                <c:pt idx="2">
                  <c:v>2.1</c:v>
                </c:pt>
                <c:pt idx="3">
                  <c:v>3.5</c:v>
                </c:pt>
                <c:pt idx="4">
                  <c:v>2.5</c:v>
                </c:pt>
              </c:numCache>
            </c:numRef>
          </c:val>
          <c:extLst>
            <c:ext xmlns:c16="http://schemas.microsoft.com/office/drawing/2014/chart" uri="{C3380CC4-5D6E-409C-BE32-E72D297353CC}">
              <c16:uniqueId val="{00000001-2EAF-47DD-8587-99391A168A3D}"/>
            </c:ext>
          </c:extLst>
        </c:ser>
        <c:ser>
          <c:idx val="2"/>
          <c:order val="2"/>
          <c:spPr>
            <a:solidFill>
              <a:schemeClr val="accent2"/>
            </a:solidFill>
            <a:ln>
              <a:noFill/>
            </a:ln>
          </c:spPr>
          <c:invertIfNegative val="0"/>
          <c:val>
            <c:numRef>
              <c:f>Sheet1!$A$3:$E$3</c:f>
              <c:numCache>
                <c:formatCode>General</c:formatCode>
                <c:ptCount val="5"/>
                <c:pt idx="0">
                  <c:v>5.7</c:v>
                </c:pt>
                <c:pt idx="1">
                  <c:v>2.8</c:v>
                </c:pt>
                <c:pt idx="2">
                  <c:v>2.2000000000000002</c:v>
                </c:pt>
                <c:pt idx="3">
                  <c:v>3</c:v>
                </c:pt>
                <c:pt idx="4">
                  <c:v>0.6</c:v>
                </c:pt>
              </c:numCache>
            </c:numRef>
          </c:val>
          <c:extLst>
            <c:ext xmlns:c16="http://schemas.microsoft.com/office/drawing/2014/chart" uri="{C3380CC4-5D6E-409C-BE32-E72D297353CC}">
              <c16:uniqueId val="{00000002-2EAF-47DD-8587-99391A168A3D}"/>
            </c:ext>
          </c:extLst>
        </c:ser>
        <c:dLbls>
          <c:showLegendKey val="0"/>
          <c:showVal val="0"/>
          <c:showCatName val="0"/>
          <c:showSerName val="0"/>
          <c:showPercent val="0"/>
          <c:showBubbleSize val="0"/>
        </c:dLbls>
        <c:gapWidth val="100"/>
        <c:axId val="167663136"/>
        <c:axId val="1"/>
      </c:barChart>
      <c:catAx>
        <c:axId val="1676631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167663136"/>
        <c:crosses val="min"/>
        <c:crossBetween val="between"/>
        <c:majorUnit val="3"/>
      </c:valAx>
    </c:plotArea>
    <c:plotVisOnly val="0"/>
    <c:dispBlanksAs val="gap"/>
    <c:showDLblsOverMax val="1"/>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75544388609715E-2"/>
          <c:y val="5.2472250252270432E-2"/>
          <c:w val="0.95644891122278053"/>
          <c:h val="0.89505549949545915"/>
        </c:manualLayout>
      </c:layout>
      <c:barChart>
        <c:barDir val="col"/>
        <c:grouping val="clustered"/>
        <c:varyColors val="0"/>
        <c:ser>
          <c:idx val="0"/>
          <c:order val="0"/>
          <c:spPr>
            <a:solidFill>
              <a:srgbClr val="5A5A5A"/>
            </a:solidFill>
            <a:ln>
              <a:noFill/>
            </a:ln>
          </c:spPr>
          <c:invertIfNegative val="0"/>
          <c:val>
            <c:numRef>
              <c:f>Sheet1!$A$1:$B$1</c:f>
              <c:numCache>
                <c:formatCode>General</c:formatCode>
                <c:ptCount val="2"/>
                <c:pt idx="0">
                  <c:v>12.89</c:v>
                </c:pt>
                <c:pt idx="1">
                  <c:v>10.42</c:v>
                </c:pt>
              </c:numCache>
            </c:numRef>
          </c:val>
          <c:extLst>
            <c:ext xmlns:c16="http://schemas.microsoft.com/office/drawing/2014/chart" uri="{C3380CC4-5D6E-409C-BE32-E72D297353CC}">
              <c16:uniqueId val="{00000000-ED73-4805-9B34-6C7F611054AE}"/>
            </c:ext>
          </c:extLst>
        </c:ser>
        <c:ser>
          <c:idx val="1"/>
          <c:order val="1"/>
          <c:spPr>
            <a:solidFill>
              <a:schemeClr val="accent5"/>
            </a:solidFill>
            <a:ln>
              <a:noFill/>
            </a:ln>
          </c:spPr>
          <c:invertIfNegative val="0"/>
          <c:val>
            <c:numRef>
              <c:f>Sheet1!$A$2:$B$2</c:f>
              <c:numCache>
                <c:formatCode>General</c:formatCode>
                <c:ptCount val="2"/>
                <c:pt idx="0">
                  <c:v>4.88</c:v>
                </c:pt>
                <c:pt idx="1">
                  <c:v>6.3</c:v>
                </c:pt>
              </c:numCache>
            </c:numRef>
          </c:val>
          <c:extLst>
            <c:ext xmlns:c16="http://schemas.microsoft.com/office/drawing/2014/chart" uri="{C3380CC4-5D6E-409C-BE32-E72D297353CC}">
              <c16:uniqueId val="{00000001-ED73-4805-9B34-6C7F611054AE}"/>
            </c:ext>
          </c:extLst>
        </c:ser>
        <c:ser>
          <c:idx val="2"/>
          <c:order val="2"/>
          <c:spPr>
            <a:solidFill>
              <a:schemeClr val="accent2"/>
            </a:solidFill>
            <a:ln>
              <a:noFill/>
            </a:ln>
          </c:spPr>
          <c:invertIfNegative val="0"/>
          <c:val>
            <c:numRef>
              <c:f>Sheet1!$A$3:$B$3</c:f>
              <c:numCache>
                <c:formatCode>General</c:formatCode>
                <c:ptCount val="2"/>
                <c:pt idx="0">
                  <c:v>3.45</c:v>
                </c:pt>
                <c:pt idx="1">
                  <c:v>3.37</c:v>
                </c:pt>
              </c:numCache>
            </c:numRef>
          </c:val>
          <c:extLst>
            <c:ext xmlns:c16="http://schemas.microsoft.com/office/drawing/2014/chart" uri="{C3380CC4-5D6E-409C-BE32-E72D297353CC}">
              <c16:uniqueId val="{00000002-ED73-4805-9B34-6C7F611054AE}"/>
            </c:ext>
          </c:extLst>
        </c:ser>
        <c:dLbls>
          <c:showLegendKey val="0"/>
          <c:showVal val="0"/>
          <c:showCatName val="0"/>
          <c:showSerName val="0"/>
          <c:showPercent val="0"/>
          <c:showBubbleSize val="0"/>
        </c:dLbls>
        <c:gapWidth val="100"/>
        <c:axId val="251653055"/>
        <c:axId val="1"/>
      </c:barChart>
      <c:catAx>
        <c:axId val="2516530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251653055"/>
        <c:crosses val="min"/>
        <c:crossBetween val="between"/>
        <c:majorUnit val="3"/>
      </c:valAx>
    </c:plotArea>
    <c:plotVisOnly val="0"/>
    <c:dispBlanksAs val="gap"/>
    <c:showDLblsOverMax val="1"/>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75544388609715E-2"/>
          <c:y val="5.2472250252270432E-2"/>
          <c:w val="0.95644891122278053"/>
          <c:h val="0.89505549949545915"/>
        </c:manualLayout>
      </c:layout>
      <c:barChart>
        <c:barDir val="col"/>
        <c:grouping val="clustered"/>
        <c:varyColors val="0"/>
        <c:ser>
          <c:idx val="0"/>
          <c:order val="0"/>
          <c:spPr>
            <a:solidFill>
              <a:srgbClr val="5A5A5A"/>
            </a:solidFill>
            <a:ln>
              <a:noFill/>
            </a:ln>
          </c:spPr>
          <c:invertIfNegative val="0"/>
          <c:val>
            <c:numRef>
              <c:f>Sheet1!$A$1:$B$1</c:f>
              <c:numCache>
                <c:formatCode>General</c:formatCode>
                <c:ptCount val="2"/>
                <c:pt idx="0">
                  <c:v>19.912538496507302</c:v>
                </c:pt>
                <c:pt idx="1">
                  <c:v>20.360730681316152</c:v>
                </c:pt>
              </c:numCache>
            </c:numRef>
          </c:val>
          <c:extLst>
            <c:ext xmlns:c16="http://schemas.microsoft.com/office/drawing/2014/chart" uri="{C3380CC4-5D6E-409C-BE32-E72D297353CC}">
              <c16:uniqueId val="{00000000-697F-4A42-A2BD-376028384B11}"/>
            </c:ext>
          </c:extLst>
        </c:ser>
        <c:ser>
          <c:idx val="1"/>
          <c:order val="1"/>
          <c:spPr>
            <a:solidFill>
              <a:schemeClr val="accent5"/>
            </a:solidFill>
            <a:ln>
              <a:noFill/>
            </a:ln>
          </c:spPr>
          <c:invertIfNegative val="0"/>
          <c:val>
            <c:numRef>
              <c:f>Sheet1!$A$2:$B$2</c:f>
              <c:numCache>
                <c:formatCode>General</c:formatCode>
                <c:ptCount val="2"/>
                <c:pt idx="0">
                  <c:v>5.4636761576697426</c:v>
                </c:pt>
                <c:pt idx="1">
                  <c:v>6.082608222405768</c:v>
                </c:pt>
              </c:numCache>
            </c:numRef>
          </c:val>
          <c:extLst>
            <c:ext xmlns:c16="http://schemas.microsoft.com/office/drawing/2014/chart" uri="{C3380CC4-5D6E-409C-BE32-E72D297353CC}">
              <c16:uniqueId val="{00000001-697F-4A42-A2BD-376028384B11}"/>
            </c:ext>
          </c:extLst>
        </c:ser>
        <c:ser>
          <c:idx val="2"/>
          <c:order val="2"/>
          <c:spPr>
            <a:solidFill>
              <a:schemeClr val="accent2"/>
            </a:solidFill>
            <a:ln>
              <a:noFill/>
            </a:ln>
          </c:spPr>
          <c:invertIfNegative val="0"/>
          <c:val>
            <c:numRef>
              <c:f>Sheet1!$A$3:$B$3</c:f>
              <c:numCache>
                <c:formatCode>General</c:formatCode>
                <c:ptCount val="2"/>
                <c:pt idx="0">
                  <c:v>4.5032643330793585</c:v>
                </c:pt>
                <c:pt idx="1">
                  <c:v>5.0154839728608964</c:v>
                </c:pt>
              </c:numCache>
            </c:numRef>
          </c:val>
          <c:extLst>
            <c:ext xmlns:c16="http://schemas.microsoft.com/office/drawing/2014/chart" uri="{C3380CC4-5D6E-409C-BE32-E72D297353CC}">
              <c16:uniqueId val="{00000002-697F-4A42-A2BD-376028384B11}"/>
            </c:ext>
          </c:extLst>
        </c:ser>
        <c:dLbls>
          <c:showLegendKey val="0"/>
          <c:showVal val="0"/>
          <c:showCatName val="0"/>
          <c:showSerName val="0"/>
          <c:showPercent val="0"/>
          <c:showBubbleSize val="0"/>
        </c:dLbls>
        <c:gapWidth val="100"/>
        <c:axId val="362763424"/>
        <c:axId val="1"/>
      </c:barChart>
      <c:catAx>
        <c:axId val="3627634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362763424"/>
        <c:crosses val="min"/>
        <c:crossBetween val="between"/>
        <c:majorUnit val="3"/>
      </c:valAx>
    </c:plotArea>
    <c:plotVisOnly val="0"/>
    <c:dispBlanksAs val="gap"/>
    <c:showDLblsOverMax val="1"/>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02152932442463E-2"/>
          <c:y val="5.2313883299798795E-2"/>
          <c:w val="0.96139569413511505"/>
          <c:h val="0.8953722334004024"/>
        </c:manualLayout>
      </c:layout>
      <c:barChart>
        <c:barDir val="col"/>
        <c:grouping val="clustered"/>
        <c:varyColors val="0"/>
        <c:ser>
          <c:idx val="0"/>
          <c:order val="0"/>
          <c:spPr>
            <a:solidFill>
              <a:srgbClr val="6F8DB9"/>
            </a:solidFill>
            <a:ln>
              <a:noFill/>
            </a:ln>
          </c:spPr>
          <c:invertIfNegative val="0"/>
          <c:val>
            <c:numRef>
              <c:f>Sheet1!$A$1:$B$1</c:f>
              <c:numCache>
                <c:formatCode>General</c:formatCode>
                <c:ptCount val="2"/>
                <c:pt idx="0">
                  <c:v>18.601400000000002</c:v>
                </c:pt>
                <c:pt idx="1">
                  <c:v>18.478300000000001</c:v>
                </c:pt>
              </c:numCache>
            </c:numRef>
          </c:val>
          <c:extLst>
            <c:ext xmlns:c16="http://schemas.microsoft.com/office/drawing/2014/chart" uri="{C3380CC4-5D6E-409C-BE32-E72D297353CC}">
              <c16:uniqueId val="{00000000-7052-4B79-95F1-794B423B32AD}"/>
            </c:ext>
          </c:extLst>
        </c:ser>
        <c:ser>
          <c:idx val="1"/>
          <c:order val="1"/>
          <c:spPr>
            <a:solidFill>
              <a:srgbClr val="5A5A5A"/>
            </a:solidFill>
            <a:ln>
              <a:noFill/>
            </a:ln>
          </c:spPr>
          <c:invertIfNegative val="0"/>
          <c:val>
            <c:numRef>
              <c:f>Sheet1!$A$2:$B$2</c:f>
              <c:numCache>
                <c:formatCode>General</c:formatCode>
                <c:ptCount val="2"/>
                <c:pt idx="0">
                  <c:v>52.5</c:v>
                </c:pt>
                <c:pt idx="1">
                  <c:v>62.1</c:v>
                </c:pt>
              </c:numCache>
            </c:numRef>
          </c:val>
          <c:extLst>
            <c:ext xmlns:c16="http://schemas.microsoft.com/office/drawing/2014/chart" uri="{C3380CC4-5D6E-409C-BE32-E72D297353CC}">
              <c16:uniqueId val="{00000001-7052-4B79-95F1-794B423B32AD}"/>
            </c:ext>
          </c:extLst>
        </c:ser>
        <c:ser>
          <c:idx val="2"/>
          <c:order val="2"/>
          <c:spPr>
            <a:solidFill>
              <a:schemeClr val="accent5"/>
            </a:solidFill>
            <a:ln>
              <a:noFill/>
            </a:ln>
          </c:spPr>
          <c:invertIfNegative val="0"/>
          <c:val>
            <c:numRef>
              <c:f>Sheet1!$A$3:$B$3</c:f>
              <c:numCache>
                <c:formatCode>General</c:formatCode>
                <c:ptCount val="2"/>
                <c:pt idx="0">
                  <c:v>24.2</c:v>
                </c:pt>
                <c:pt idx="1">
                  <c:v>25.9</c:v>
                </c:pt>
              </c:numCache>
            </c:numRef>
          </c:val>
          <c:extLst>
            <c:ext xmlns:c16="http://schemas.microsoft.com/office/drawing/2014/chart" uri="{C3380CC4-5D6E-409C-BE32-E72D297353CC}">
              <c16:uniqueId val="{00000002-7052-4B79-95F1-794B423B32AD}"/>
            </c:ext>
          </c:extLst>
        </c:ser>
        <c:ser>
          <c:idx val="3"/>
          <c:order val="3"/>
          <c:spPr>
            <a:solidFill>
              <a:schemeClr val="accent2"/>
            </a:solidFill>
            <a:ln>
              <a:noFill/>
            </a:ln>
          </c:spPr>
          <c:invertIfNegative val="0"/>
          <c:val>
            <c:numRef>
              <c:f>Sheet1!$A$4:$B$4</c:f>
              <c:numCache>
                <c:formatCode>General</c:formatCode>
                <c:ptCount val="2"/>
                <c:pt idx="0">
                  <c:v>17.7</c:v>
                </c:pt>
                <c:pt idx="1">
                  <c:v>18.5</c:v>
                </c:pt>
              </c:numCache>
            </c:numRef>
          </c:val>
          <c:extLst>
            <c:ext xmlns:c16="http://schemas.microsoft.com/office/drawing/2014/chart" uri="{C3380CC4-5D6E-409C-BE32-E72D297353CC}">
              <c16:uniqueId val="{00000003-7052-4B79-95F1-794B423B32AD}"/>
            </c:ext>
          </c:extLst>
        </c:ser>
        <c:dLbls>
          <c:showLegendKey val="0"/>
          <c:showVal val="0"/>
          <c:showCatName val="0"/>
          <c:showSerName val="0"/>
          <c:showPercent val="0"/>
          <c:showBubbleSize val="0"/>
        </c:dLbls>
        <c:gapWidth val="100"/>
        <c:axId val="332583136"/>
        <c:axId val="1"/>
      </c:barChart>
      <c:catAx>
        <c:axId val="3325831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332583136"/>
        <c:crosses val="min"/>
        <c:crossBetween val="between"/>
        <c:majorUnit val="10"/>
      </c:valAx>
    </c:plotArea>
    <c:plotVisOnly val="0"/>
    <c:dispBlanksAs val="gap"/>
    <c:showDLblsOverMax val="1"/>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02152932442463E-2"/>
          <c:y val="5.2313883299798795E-2"/>
          <c:w val="0.96139569413511505"/>
          <c:h val="0.8953722334004024"/>
        </c:manualLayout>
      </c:layout>
      <c:barChart>
        <c:barDir val="col"/>
        <c:grouping val="clustered"/>
        <c:varyColors val="0"/>
        <c:ser>
          <c:idx val="0"/>
          <c:order val="0"/>
          <c:spPr>
            <a:solidFill>
              <a:srgbClr val="6F8DB9"/>
            </a:solidFill>
            <a:ln>
              <a:noFill/>
            </a:ln>
          </c:spPr>
          <c:invertIfNegative val="0"/>
          <c:val>
            <c:numRef>
              <c:f>Sheet1!$A$1:$B$1</c:f>
              <c:numCache>
                <c:formatCode>General</c:formatCode>
                <c:ptCount val="2"/>
                <c:pt idx="0">
                  <c:v>19.100000000000001</c:v>
                </c:pt>
                <c:pt idx="1">
                  <c:v>18.100000000000001</c:v>
                </c:pt>
              </c:numCache>
            </c:numRef>
          </c:val>
          <c:extLst>
            <c:ext xmlns:c16="http://schemas.microsoft.com/office/drawing/2014/chart" uri="{C3380CC4-5D6E-409C-BE32-E72D297353CC}">
              <c16:uniqueId val="{00000000-B13D-4789-A3E1-AC6B4E291E9E}"/>
            </c:ext>
          </c:extLst>
        </c:ser>
        <c:ser>
          <c:idx val="1"/>
          <c:order val="1"/>
          <c:spPr>
            <a:solidFill>
              <a:srgbClr val="5A5A5A"/>
            </a:solidFill>
            <a:ln>
              <a:noFill/>
            </a:ln>
          </c:spPr>
          <c:invertIfNegative val="0"/>
          <c:val>
            <c:numRef>
              <c:f>Sheet1!$A$2:$B$2</c:f>
              <c:numCache>
                <c:formatCode>General</c:formatCode>
                <c:ptCount val="2"/>
                <c:pt idx="0">
                  <c:v>28.6</c:v>
                </c:pt>
                <c:pt idx="1">
                  <c:v>8</c:v>
                </c:pt>
              </c:numCache>
            </c:numRef>
          </c:val>
          <c:extLst>
            <c:ext xmlns:c16="http://schemas.microsoft.com/office/drawing/2014/chart" uri="{C3380CC4-5D6E-409C-BE32-E72D297353CC}">
              <c16:uniqueId val="{00000001-B13D-4789-A3E1-AC6B4E291E9E}"/>
            </c:ext>
          </c:extLst>
        </c:ser>
        <c:ser>
          <c:idx val="2"/>
          <c:order val="2"/>
          <c:spPr>
            <a:solidFill>
              <a:schemeClr val="accent5"/>
            </a:solidFill>
            <a:ln>
              <a:noFill/>
            </a:ln>
          </c:spPr>
          <c:invertIfNegative val="0"/>
          <c:val>
            <c:numRef>
              <c:f>Sheet1!$A$3:$B$3</c:f>
              <c:numCache>
                <c:formatCode>General</c:formatCode>
                <c:ptCount val="2"/>
                <c:pt idx="0">
                  <c:v>9.9</c:v>
                </c:pt>
                <c:pt idx="1">
                  <c:v>4.8</c:v>
                </c:pt>
              </c:numCache>
            </c:numRef>
          </c:val>
          <c:extLst>
            <c:ext xmlns:c16="http://schemas.microsoft.com/office/drawing/2014/chart" uri="{C3380CC4-5D6E-409C-BE32-E72D297353CC}">
              <c16:uniqueId val="{00000002-B13D-4789-A3E1-AC6B4E291E9E}"/>
            </c:ext>
          </c:extLst>
        </c:ser>
        <c:ser>
          <c:idx val="3"/>
          <c:order val="3"/>
          <c:spPr>
            <a:solidFill>
              <a:schemeClr val="accent2"/>
            </a:solidFill>
            <a:ln>
              <a:noFill/>
            </a:ln>
          </c:spPr>
          <c:invertIfNegative val="0"/>
          <c:val>
            <c:numRef>
              <c:f>Sheet1!$A$4:$B$4</c:f>
              <c:numCache>
                <c:formatCode>General</c:formatCode>
                <c:ptCount val="2"/>
                <c:pt idx="0">
                  <c:v>9.5</c:v>
                </c:pt>
                <c:pt idx="1">
                  <c:v>5.0999999999999996</c:v>
                </c:pt>
              </c:numCache>
            </c:numRef>
          </c:val>
          <c:extLst>
            <c:ext xmlns:c16="http://schemas.microsoft.com/office/drawing/2014/chart" uri="{C3380CC4-5D6E-409C-BE32-E72D297353CC}">
              <c16:uniqueId val="{00000003-B13D-4789-A3E1-AC6B4E291E9E}"/>
            </c:ext>
          </c:extLst>
        </c:ser>
        <c:dLbls>
          <c:showLegendKey val="0"/>
          <c:showVal val="0"/>
          <c:showCatName val="0"/>
          <c:showSerName val="0"/>
          <c:showPercent val="0"/>
          <c:showBubbleSize val="0"/>
        </c:dLbls>
        <c:gapWidth val="100"/>
        <c:axId val="332574016"/>
        <c:axId val="1"/>
      </c:barChart>
      <c:catAx>
        <c:axId val="3325740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332574016"/>
        <c:crosses val="min"/>
        <c:crossBetween val="between"/>
        <c:majorUnit val="10"/>
      </c:valAx>
    </c:plotArea>
    <c:plotVisOnly val="0"/>
    <c:dispBlanksAs val="gap"/>
    <c:showDLblsOverMax val="1"/>
  </c:chart>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08256880733946E-2"/>
          <c:y val="0.11353711790393013"/>
          <c:w val="0.97018348623853212"/>
          <c:h val="0.77292576419213976"/>
        </c:manualLayout>
      </c:layout>
      <c:barChart>
        <c:barDir val="col"/>
        <c:grouping val="stacked"/>
        <c:varyColors val="0"/>
        <c:ser>
          <c:idx val="0"/>
          <c:order val="0"/>
          <c:spPr>
            <a:solidFill>
              <a:srgbClr val="4C6C9C"/>
            </a:solidFill>
            <a:ln w="9525" cmpd="sng" algn="ctr">
              <a:solidFill>
                <a:schemeClr val="bg1"/>
              </a:solidFill>
              <a:prstDash val="solid"/>
            </a:ln>
          </c:spPr>
          <c:invertIfNegative val="0"/>
          <c:dPt>
            <c:idx val="0"/>
            <c:invertIfNegative val="0"/>
            <c:bubble3D val="0"/>
            <c:spPr>
              <a:solidFill>
                <a:srgbClr val="C3CFE1"/>
              </a:solidFill>
              <a:ln w="9525" cmpd="sng" algn="ctr">
                <a:solidFill>
                  <a:schemeClr val="bg1"/>
                </a:solidFill>
                <a:prstDash val="solid"/>
              </a:ln>
            </c:spPr>
            <c:extLst>
              <c:ext xmlns:c16="http://schemas.microsoft.com/office/drawing/2014/chart" uri="{C3380CC4-5D6E-409C-BE32-E72D297353CC}">
                <c16:uniqueId val="{00000000-0F8A-4F31-BEB6-279CEDA8F3D1}"/>
              </c:ext>
            </c:extLst>
          </c:dPt>
          <c:dPt>
            <c:idx val="1"/>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1-0F8A-4F31-BEB6-279CEDA8F3D1}"/>
              </c:ext>
            </c:extLst>
          </c:dPt>
          <c:dPt>
            <c:idx val="2"/>
            <c:invertIfNegative val="0"/>
            <c:bubble3D val="0"/>
            <c:spPr>
              <a:solidFill>
                <a:srgbClr val="6F8DB9"/>
              </a:solidFill>
              <a:ln w="9525" cmpd="sng" algn="ctr">
                <a:solidFill>
                  <a:schemeClr val="bg1"/>
                </a:solidFill>
                <a:prstDash val="solid"/>
              </a:ln>
            </c:spPr>
            <c:extLst>
              <c:ext xmlns:c16="http://schemas.microsoft.com/office/drawing/2014/chart" uri="{C3380CC4-5D6E-409C-BE32-E72D297353CC}">
                <c16:uniqueId val="{00000002-0F8A-4F31-BEB6-279CEDA8F3D1}"/>
              </c:ext>
            </c:extLst>
          </c:dPt>
          <c:val>
            <c:numRef>
              <c:f>Sheet1!$A$1:$E$1</c:f>
              <c:numCache>
                <c:formatCode>General</c:formatCode>
                <c:ptCount val="5"/>
                <c:pt idx="0">
                  <c:v>13437.599898000002</c:v>
                </c:pt>
                <c:pt idx="1">
                  <c:v>452.03414013153099</c:v>
                </c:pt>
                <c:pt idx="2">
                  <c:v>9000</c:v>
                </c:pt>
                <c:pt idx="3">
                  <c:v>4669.6099999999997</c:v>
                </c:pt>
                <c:pt idx="4">
                  <c:v>801.4</c:v>
                </c:pt>
              </c:numCache>
            </c:numRef>
          </c:val>
          <c:extLst>
            <c:ext xmlns:c16="http://schemas.microsoft.com/office/drawing/2014/chart" uri="{C3380CC4-5D6E-409C-BE32-E72D297353CC}">
              <c16:uniqueId val="{00000003-0F8A-4F31-BEB6-279CEDA8F3D1}"/>
            </c:ext>
          </c:extLst>
        </c:ser>
        <c:dLbls>
          <c:showLegendKey val="0"/>
          <c:showVal val="0"/>
          <c:showCatName val="0"/>
          <c:showSerName val="0"/>
          <c:showPercent val="0"/>
          <c:showBubbleSize val="0"/>
        </c:dLbls>
        <c:gapWidth val="80"/>
        <c:overlap val="100"/>
        <c:axId val="561869200"/>
        <c:axId val="1"/>
      </c:barChart>
      <c:catAx>
        <c:axId val="561869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437.599898000002"/>
          <c:min val="0"/>
        </c:scaling>
        <c:delete val="1"/>
        <c:axPos val="l"/>
        <c:numFmt formatCode="General" sourceLinked="1"/>
        <c:majorTickMark val="out"/>
        <c:minorTickMark val="none"/>
        <c:tickLblPos val="nextTo"/>
        <c:crossAx val="561869200"/>
        <c:crosses val="min"/>
        <c:crossBetween val="between"/>
      </c:valAx>
    </c:plotArea>
    <c:plotVisOnly val="0"/>
    <c:dispBlanksAs val="gap"/>
    <c:showDLblsOverMax val="1"/>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08256880733946E-2"/>
          <c:y val="0.11353711790393013"/>
          <c:w val="0.97018348623853212"/>
          <c:h val="0.77292576419213976"/>
        </c:manualLayout>
      </c:layout>
      <c:barChart>
        <c:barDir val="col"/>
        <c:grouping val="stacked"/>
        <c:varyColors val="0"/>
        <c:ser>
          <c:idx val="0"/>
          <c:order val="0"/>
          <c:spPr>
            <a:solidFill>
              <a:srgbClr val="4C6C9C"/>
            </a:solidFill>
            <a:ln w="9525" cmpd="sng" algn="ctr">
              <a:solidFill>
                <a:schemeClr val="bg1"/>
              </a:solidFill>
              <a:prstDash val="solid"/>
            </a:ln>
          </c:spPr>
          <c:invertIfNegative val="0"/>
          <c:dPt>
            <c:idx val="0"/>
            <c:invertIfNegative val="0"/>
            <c:bubble3D val="0"/>
            <c:spPr>
              <a:solidFill>
                <a:srgbClr val="C3CFE1"/>
              </a:solidFill>
              <a:ln w="9525" cmpd="sng" algn="ctr">
                <a:solidFill>
                  <a:srgbClr val="C3CFE1"/>
                </a:solidFill>
                <a:prstDash val="solid"/>
              </a:ln>
            </c:spPr>
            <c:extLst>
              <c:ext xmlns:c16="http://schemas.microsoft.com/office/drawing/2014/chart" uri="{C3380CC4-5D6E-409C-BE32-E72D297353CC}">
                <c16:uniqueId val="{00000000-EB92-45B5-BD19-FED846B86CFF}"/>
              </c:ext>
            </c:extLst>
          </c:dPt>
          <c:dPt>
            <c:idx val="1"/>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1-EB92-45B5-BD19-FED846B86CFF}"/>
              </c:ext>
            </c:extLst>
          </c:dPt>
          <c:dPt>
            <c:idx val="2"/>
            <c:invertIfNegative val="0"/>
            <c:bubble3D val="0"/>
            <c:spPr>
              <a:solidFill>
                <a:srgbClr val="6F8DB9"/>
              </a:solidFill>
              <a:ln w="9525" cmpd="sng" algn="ctr">
                <a:solidFill>
                  <a:schemeClr val="bg1"/>
                </a:solidFill>
                <a:prstDash val="solid"/>
              </a:ln>
            </c:spPr>
            <c:extLst>
              <c:ext xmlns:c16="http://schemas.microsoft.com/office/drawing/2014/chart" uri="{C3380CC4-5D6E-409C-BE32-E72D297353CC}">
                <c16:uniqueId val="{00000002-EB92-45B5-BD19-FED846B86CFF}"/>
              </c:ext>
            </c:extLst>
          </c:dPt>
          <c:val>
            <c:numRef>
              <c:f>Sheet1!$A$1:$E$1</c:f>
              <c:numCache>
                <c:formatCode>General</c:formatCode>
                <c:ptCount val="5"/>
                <c:pt idx="0">
                  <c:v>-13404.508854</c:v>
                </c:pt>
                <c:pt idx="1">
                  <c:v>-372.66160880250902</c:v>
                </c:pt>
                <c:pt idx="2">
                  <c:v>-8000</c:v>
                </c:pt>
                <c:pt idx="3">
                  <c:v>-2870.6899999999996</c:v>
                </c:pt>
                <c:pt idx="4">
                  <c:v>-1621.8</c:v>
                </c:pt>
              </c:numCache>
            </c:numRef>
          </c:val>
          <c:extLst>
            <c:ext xmlns:c16="http://schemas.microsoft.com/office/drawing/2014/chart" uri="{C3380CC4-5D6E-409C-BE32-E72D297353CC}">
              <c16:uniqueId val="{00000003-EB92-45B5-BD19-FED846B86CFF}"/>
            </c:ext>
          </c:extLst>
        </c:ser>
        <c:dLbls>
          <c:showLegendKey val="0"/>
          <c:showVal val="0"/>
          <c:showCatName val="0"/>
          <c:showSerName val="0"/>
          <c:showPercent val="0"/>
          <c:showBubbleSize val="0"/>
        </c:dLbls>
        <c:gapWidth val="80"/>
        <c:overlap val="100"/>
        <c:axId val="249261680"/>
        <c:axId val="1"/>
      </c:barChart>
      <c:catAx>
        <c:axId val="249261680"/>
        <c:scaling>
          <c:orientation val="minMax"/>
        </c:scaling>
        <c:delete val="0"/>
        <c:axPos val="t"/>
        <c:majorGridlines>
          <c:spPr>
            <a:ln>
              <a:noFill/>
            </a:ln>
          </c:spPr>
        </c:majorGridlines>
        <c:majorTickMark val="none"/>
        <c:minorTickMark val="none"/>
        <c:tickLblPos val="none"/>
        <c:spPr>
          <a:ln w="9525" cmpd="sng" algn="ctr">
            <a:solidFill>
              <a:schemeClr val="tx1"/>
            </a:solidFill>
            <a:prstDash val="solid"/>
          </a:ln>
        </c:spPr>
        <c:crossAx val="1"/>
        <c:crosses val="max"/>
        <c:auto val="0"/>
        <c:lblAlgn val="ctr"/>
        <c:lblOffset val="100"/>
        <c:noMultiLvlLbl val="0"/>
      </c:catAx>
      <c:valAx>
        <c:axId val="1"/>
        <c:scaling>
          <c:orientation val="minMax"/>
          <c:max val="0"/>
          <c:min val="-13404.508854"/>
        </c:scaling>
        <c:delete val="1"/>
        <c:axPos val="l"/>
        <c:numFmt formatCode="General" sourceLinked="1"/>
        <c:majorTickMark val="out"/>
        <c:minorTickMark val="none"/>
        <c:tickLblPos val="nextTo"/>
        <c:crossAx val="249261680"/>
        <c:crosses val="min"/>
        <c:crossBetween val="between"/>
      </c:valAx>
    </c:plotArea>
    <c:plotVisOnly val="0"/>
    <c:dispBlanksAs val="gap"/>
    <c:showDLblsOverMax val="1"/>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62583518930958E-2"/>
          <c:y val="2.0186335403726708E-2"/>
          <c:w val="0.95367483296213806"/>
          <c:h val="0.95962732919254656"/>
        </c:manualLayout>
      </c:layout>
      <c:lineChart>
        <c:grouping val="standard"/>
        <c:varyColors val="0"/>
        <c:ser>
          <c:idx val="0"/>
          <c:order val="0"/>
          <c:spPr>
            <a:ln w="19050" cmpd="sng" algn="ctr">
              <a:solidFill>
                <a:schemeClr val="accent1"/>
              </a:solidFill>
              <a:prstDash val="solid"/>
            </a:ln>
          </c:spPr>
          <c:marker>
            <c:symbol val="none"/>
          </c:marker>
          <c:val>
            <c:numRef>
              <c:f>Sheet1!$A$1:$CW$1</c:f>
              <c:numCache>
                <c:formatCode>General</c:formatCode>
                <c:ptCount val="101"/>
                <c:pt idx="0">
                  <c:v>817.44090831894914</c:v>
                </c:pt>
                <c:pt idx="1">
                  <c:v>735.87995178190783</c:v>
                </c:pt>
                <c:pt idx="2">
                  <c:v>629.97999550189616</c:v>
                </c:pt>
                <c:pt idx="3">
                  <c:v>567.34482840262547</c:v>
                </c:pt>
                <c:pt idx="4">
                  <c:v>523.64179674211562</c:v>
                </c:pt>
                <c:pt idx="5">
                  <c:v>483.04741899913489</c:v>
                </c:pt>
                <c:pt idx="6">
                  <c:v>454.34758283292513</c:v>
                </c:pt>
                <c:pt idx="7">
                  <c:v>426.24990543609897</c:v>
                </c:pt>
                <c:pt idx="8">
                  <c:v>400.91205263832495</c:v>
                </c:pt>
                <c:pt idx="9">
                  <c:v>378.00498086832613</c:v>
                </c:pt>
                <c:pt idx="10">
                  <c:v>357.47782744713237</c:v>
                </c:pt>
                <c:pt idx="11">
                  <c:v>338.53696018887342</c:v>
                </c:pt>
                <c:pt idx="12">
                  <c:v>320.12303937031288</c:v>
                </c:pt>
                <c:pt idx="13">
                  <c:v>304.7036087091401</c:v>
                </c:pt>
                <c:pt idx="14">
                  <c:v>290.82306509896256</c:v>
                </c:pt>
                <c:pt idx="15">
                  <c:v>275.04093299747558</c:v>
                </c:pt>
                <c:pt idx="16">
                  <c:v>260.32103998590225</c:v>
                </c:pt>
                <c:pt idx="17">
                  <c:v>247.68350163745691</c:v>
                </c:pt>
                <c:pt idx="18">
                  <c:v>235.6857843833277</c:v>
                </c:pt>
                <c:pt idx="19">
                  <c:v>224.5014065935332</c:v>
                </c:pt>
                <c:pt idx="20">
                  <c:v>213.47619173496639</c:v>
                </c:pt>
                <c:pt idx="21">
                  <c:v>201.9504108113961</c:v>
                </c:pt>
                <c:pt idx="22">
                  <c:v>191.67279486988082</c:v>
                </c:pt>
                <c:pt idx="23">
                  <c:v>180.12975617916749</c:v>
                </c:pt>
                <c:pt idx="24">
                  <c:v>169.65139687910795</c:v>
                </c:pt>
                <c:pt idx="25">
                  <c:v>159.7243029926905</c:v>
                </c:pt>
                <c:pt idx="26">
                  <c:v>149.49959625744233</c:v>
                </c:pt>
                <c:pt idx="27">
                  <c:v>139.9019294105853</c:v>
                </c:pt>
                <c:pt idx="28">
                  <c:v>129.82511167096288</c:v>
                </c:pt>
                <c:pt idx="29">
                  <c:v>120.95368925488553</c:v>
                </c:pt>
                <c:pt idx="30">
                  <c:v>112.95385423792311</c:v>
                </c:pt>
                <c:pt idx="31">
                  <c:v>103.62239300024075</c:v>
                </c:pt>
                <c:pt idx="32">
                  <c:v>94.988972151100342</c:v>
                </c:pt>
                <c:pt idx="33">
                  <c:v>86.867803602419272</c:v>
                </c:pt>
                <c:pt idx="34">
                  <c:v>78.495748944323992</c:v>
                </c:pt>
                <c:pt idx="35">
                  <c:v>70.671815011206434</c:v>
                </c:pt>
                <c:pt idx="36">
                  <c:v>62.659236859077097</c:v>
                </c:pt>
                <c:pt idx="37">
                  <c:v>54.364498768278871</c:v>
                </c:pt>
                <c:pt idx="38">
                  <c:v>46.929177458757202</c:v>
                </c:pt>
                <c:pt idx="39">
                  <c:v>39.202260781334651</c:v>
                </c:pt>
                <c:pt idx="40">
                  <c:v>31.417749129923727</c:v>
                </c:pt>
                <c:pt idx="41">
                  <c:v>23.982639043218029</c:v>
                </c:pt>
                <c:pt idx="42">
                  <c:v>15.497178931097675</c:v>
                </c:pt>
                <c:pt idx="43">
                  <c:v>7.1206528681591363</c:v>
                </c:pt>
                <c:pt idx="44">
                  <c:v>0.38483131839157259</c:v>
                </c:pt>
                <c:pt idx="45">
                  <c:v>-8.3244397700992252</c:v>
                </c:pt>
                <c:pt idx="46">
                  <c:v>-16.973679961072381</c:v>
                </c:pt>
                <c:pt idx="47">
                  <c:v>-23.966731372715767</c:v>
                </c:pt>
                <c:pt idx="48">
                  <c:v>-31.519977410297386</c:v>
                </c:pt>
                <c:pt idx="49">
                  <c:v>-38.304612661801102</c:v>
                </c:pt>
                <c:pt idx="50">
                  <c:v>-45.239982103569048</c:v>
                </c:pt>
                <c:pt idx="51">
                  <c:v>-52.132327661927278</c:v>
                </c:pt>
                <c:pt idx="52">
                  <c:v>-58.821804262187392</c:v>
                </c:pt>
                <c:pt idx="53">
                  <c:v>-65.736230419942444</c:v>
                </c:pt>
                <c:pt idx="54">
                  <c:v>-73.031347199591139</c:v>
                </c:pt>
                <c:pt idx="55">
                  <c:v>-80.817404273612453</c:v>
                </c:pt>
                <c:pt idx="56">
                  <c:v>-88.088597417030556</c:v>
                </c:pt>
                <c:pt idx="57">
                  <c:v>-94.769865918471027</c:v>
                </c:pt>
                <c:pt idx="58">
                  <c:v>-101.42842584126485</c:v>
                </c:pt>
                <c:pt idx="59">
                  <c:v>-108.62634536656275</c:v>
                </c:pt>
                <c:pt idx="60">
                  <c:v>-116.23859032165973</c:v>
                </c:pt>
                <c:pt idx="61">
                  <c:v>-123.83111239543979</c:v>
                </c:pt>
                <c:pt idx="62">
                  <c:v>-131.66071845805098</c:v>
                </c:pt>
                <c:pt idx="63">
                  <c:v>-138.76858837244507</c:v>
                </c:pt>
                <c:pt idx="64">
                  <c:v>-145.05567036095545</c:v>
                </c:pt>
                <c:pt idx="65">
                  <c:v>-153.5038382194779</c:v>
                </c:pt>
                <c:pt idx="66">
                  <c:v>-161.65833153633682</c:v>
                </c:pt>
                <c:pt idx="67">
                  <c:v>-170.91598518944059</c:v>
                </c:pt>
                <c:pt idx="68">
                  <c:v>-178.9230049624345</c:v>
                </c:pt>
                <c:pt idx="69">
                  <c:v>-187.4081054620508</c:v>
                </c:pt>
                <c:pt idx="70">
                  <c:v>-195.98041215424249</c:v>
                </c:pt>
                <c:pt idx="71">
                  <c:v>-204.87740829873462</c:v>
                </c:pt>
                <c:pt idx="72">
                  <c:v>-213.38868037130743</c:v>
                </c:pt>
                <c:pt idx="73">
                  <c:v>-222.63327382061578</c:v>
                </c:pt>
                <c:pt idx="74">
                  <c:v>-231.33277508997313</c:v>
                </c:pt>
                <c:pt idx="75">
                  <c:v>-241.76728582961181</c:v>
                </c:pt>
                <c:pt idx="76">
                  <c:v>-252.31210410562747</c:v>
                </c:pt>
                <c:pt idx="77">
                  <c:v>-262.89063957157737</c:v>
                </c:pt>
                <c:pt idx="78">
                  <c:v>-272.47826031662913</c:v>
                </c:pt>
                <c:pt idx="79">
                  <c:v>-282.62985899406368</c:v>
                </c:pt>
                <c:pt idx="80">
                  <c:v>-292.52167486290841</c:v>
                </c:pt>
                <c:pt idx="81">
                  <c:v>-305.26140371253439</c:v>
                </c:pt>
                <c:pt idx="82">
                  <c:v>-316.38562628807114</c:v>
                </c:pt>
                <c:pt idx="83">
                  <c:v>-329.59031432190102</c:v>
                </c:pt>
                <c:pt idx="84">
                  <c:v>-341.51697714271063</c:v>
                </c:pt>
                <c:pt idx="85">
                  <c:v>-353.47283371075639</c:v>
                </c:pt>
                <c:pt idx="86">
                  <c:v>-368.30813276934072</c:v>
                </c:pt>
                <c:pt idx="87">
                  <c:v>-384.95333615272494</c:v>
                </c:pt>
                <c:pt idx="88">
                  <c:v>-401.47203614055121</c:v>
                </c:pt>
                <c:pt idx="89">
                  <c:v>-417.95002298871907</c:v>
                </c:pt>
                <c:pt idx="90">
                  <c:v>-436.84391135519661</c:v>
                </c:pt>
                <c:pt idx="91">
                  <c:v>-459.56853398720375</c:v>
                </c:pt>
                <c:pt idx="92">
                  <c:v>-486.22573879218066</c:v>
                </c:pt>
                <c:pt idx="93">
                  <c:v>-511.58761959267787</c:v>
                </c:pt>
                <c:pt idx="94">
                  <c:v>-538.29092189939661</c:v>
                </c:pt>
                <c:pt idx="95">
                  <c:v>-570.53777705430696</c:v>
                </c:pt>
                <c:pt idx="96">
                  <c:v>-609.18457926244957</c:v>
                </c:pt>
                <c:pt idx="97">
                  <c:v>-656.1651417073748</c:v>
                </c:pt>
                <c:pt idx="98">
                  <c:v>-723.30975973929321</c:v>
                </c:pt>
                <c:pt idx="99">
                  <c:v>-821.85796500044523</c:v>
                </c:pt>
                <c:pt idx="100">
                  <c:v>-928.26829905765362</c:v>
                </c:pt>
              </c:numCache>
            </c:numRef>
          </c:val>
          <c:smooth val="0"/>
          <c:extLst>
            <c:ext xmlns:c16="http://schemas.microsoft.com/office/drawing/2014/chart" uri="{C3380CC4-5D6E-409C-BE32-E72D297353CC}">
              <c16:uniqueId val="{00000000-1ED5-497C-B05E-18D806AB7904}"/>
            </c:ext>
          </c:extLst>
        </c:ser>
        <c:ser>
          <c:idx val="1"/>
          <c:order val="1"/>
          <c:spPr>
            <a:ln w="19050" cmpd="sng" algn="ctr">
              <a:solidFill>
                <a:schemeClr val="accent2"/>
              </a:solidFill>
              <a:prstDash val="solid"/>
            </a:ln>
          </c:spPr>
          <c:marker>
            <c:symbol val="none"/>
          </c:marker>
          <c:val>
            <c:numRef>
              <c:f>Sheet1!$A$2:$CW$2</c:f>
              <c:numCache>
                <c:formatCode>General</c:formatCode>
                <c:ptCount val="101"/>
                <c:pt idx="0">
                  <c:v>1704.5853575829135</c:v>
                </c:pt>
                <c:pt idx="1">
                  <c:v>1509.716838076592</c:v>
                </c:pt>
                <c:pt idx="2">
                  <c:v>1298.9916196803056</c:v>
                </c:pt>
                <c:pt idx="3">
                  <c:v>1172.71717784114</c:v>
                </c:pt>
                <c:pt idx="4">
                  <c:v>1082.5246811743366</c:v>
                </c:pt>
                <c:pt idx="5">
                  <c:v>1005.811658336242</c:v>
                </c:pt>
                <c:pt idx="6">
                  <c:v>941.69761245981567</c:v>
                </c:pt>
                <c:pt idx="7">
                  <c:v>890.81052423651397</c:v>
                </c:pt>
                <c:pt idx="8">
                  <c:v>842.37194728277962</c:v>
                </c:pt>
                <c:pt idx="9">
                  <c:v>801.36393469832478</c:v>
                </c:pt>
                <c:pt idx="10">
                  <c:v>761.78242126227758</c:v>
                </c:pt>
                <c:pt idx="11">
                  <c:v>720.86273090276279</c:v>
                </c:pt>
                <c:pt idx="12">
                  <c:v>687.73696039636729</c:v>
                </c:pt>
                <c:pt idx="13">
                  <c:v>652.61324671450757</c:v>
                </c:pt>
                <c:pt idx="14">
                  <c:v>620.83514071571528</c:v>
                </c:pt>
                <c:pt idx="15">
                  <c:v>586.97543659065741</c:v>
                </c:pt>
                <c:pt idx="16">
                  <c:v>558.23143409666704</c:v>
                </c:pt>
                <c:pt idx="17">
                  <c:v>532.49410479472328</c:v>
                </c:pt>
                <c:pt idx="18">
                  <c:v>506.70738288633436</c:v>
                </c:pt>
                <c:pt idx="19">
                  <c:v>482.93285825348403</c:v>
                </c:pt>
                <c:pt idx="20">
                  <c:v>458.02334817523376</c:v>
                </c:pt>
                <c:pt idx="21">
                  <c:v>435.6185904718206</c:v>
                </c:pt>
                <c:pt idx="22">
                  <c:v>416.72592525400722</c:v>
                </c:pt>
                <c:pt idx="23">
                  <c:v>397.42110566334719</c:v>
                </c:pt>
                <c:pt idx="24">
                  <c:v>374.18913967849875</c:v>
                </c:pt>
                <c:pt idx="25">
                  <c:v>352.00565220580552</c:v>
                </c:pt>
                <c:pt idx="26">
                  <c:v>331.46788527682003</c:v>
                </c:pt>
                <c:pt idx="27">
                  <c:v>313.49978332016985</c:v>
                </c:pt>
                <c:pt idx="28">
                  <c:v>295.15930631370418</c:v>
                </c:pt>
                <c:pt idx="29">
                  <c:v>274.88723062073893</c:v>
                </c:pt>
                <c:pt idx="30">
                  <c:v>256.71785689441361</c:v>
                </c:pt>
                <c:pt idx="31">
                  <c:v>240.14630767090509</c:v>
                </c:pt>
                <c:pt idx="32">
                  <c:v>221.5041539549691</c:v>
                </c:pt>
                <c:pt idx="33">
                  <c:v>204.73114353985483</c:v>
                </c:pt>
                <c:pt idx="34">
                  <c:v>186.97865119602608</c:v>
                </c:pt>
                <c:pt idx="35">
                  <c:v>169.720198694571</c:v>
                </c:pt>
                <c:pt idx="36">
                  <c:v>153.26447192711973</c:v>
                </c:pt>
                <c:pt idx="37">
                  <c:v>137.9266369560508</c:v>
                </c:pt>
                <c:pt idx="38">
                  <c:v>121.07768479162497</c:v>
                </c:pt>
                <c:pt idx="39">
                  <c:v>103.53481079441995</c:v>
                </c:pt>
                <c:pt idx="40">
                  <c:v>88.45600103915757</c:v>
                </c:pt>
                <c:pt idx="41">
                  <c:v>74.081497784195818</c:v>
                </c:pt>
                <c:pt idx="42">
                  <c:v>57.2172626687247</c:v>
                </c:pt>
                <c:pt idx="43">
                  <c:v>41.068925327404401</c:v>
                </c:pt>
                <c:pt idx="44">
                  <c:v>24.695839597407645</c:v>
                </c:pt>
                <c:pt idx="45">
                  <c:v>10.438688513790158</c:v>
                </c:pt>
                <c:pt idx="46">
                  <c:v>-7.011477321066252</c:v>
                </c:pt>
                <c:pt idx="47">
                  <c:v>-21.293100951366036</c:v>
                </c:pt>
                <c:pt idx="48">
                  <c:v>-37.103430232858088</c:v>
                </c:pt>
                <c:pt idx="49">
                  <c:v>-52.246908861800968</c:v>
                </c:pt>
                <c:pt idx="50">
                  <c:v>-65.524170835439008</c:v>
                </c:pt>
                <c:pt idx="51">
                  <c:v>-79.359706814940509</c:v>
                </c:pt>
                <c:pt idx="52">
                  <c:v>-93.749986145316086</c:v>
                </c:pt>
                <c:pt idx="53">
                  <c:v>-109.08998542425626</c:v>
                </c:pt>
                <c:pt idx="54">
                  <c:v>-123.33597405680182</c:v>
                </c:pt>
                <c:pt idx="55">
                  <c:v>-137.00179418077678</c:v>
                </c:pt>
                <c:pt idx="56">
                  <c:v>-153.09367082737222</c:v>
                </c:pt>
                <c:pt idx="57">
                  <c:v>-168.85384486062605</c:v>
                </c:pt>
                <c:pt idx="58">
                  <c:v>-183.76992289380917</c:v>
                </c:pt>
                <c:pt idx="59">
                  <c:v>-197.74764218208909</c:v>
                </c:pt>
                <c:pt idx="60">
                  <c:v>-212.39982946176283</c:v>
                </c:pt>
                <c:pt idx="61">
                  <c:v>-228.7028592715462</c:v>
                </c:pt>
                <c:pt idx="62">
                  <c:v>-243.2156386403887</c:v>
                </c:pt>
                <c:pt idx="63">
                  <c:v>-259.1021995549624</c:v>
                </c:pt>
                <c:pt idx="64">
                  <c:v>-272.35445888971981</c:v>
                </c:pt>
                <c:pt idx="65">
                  <c:v>-284.60627231568384</c:v>
                </c:pt>
                <c:pt idx="66">
                  <c:v>-298.86121806329442</c:v>
                </c:pt>
                <c:pt idx="67">
                  <c:v>-316.52037900642938</c:v>
                </c:pt>
                <c:pt idx="68">
                  <c:v>-334.77002944980893</c:v>
                </c:pt>
                <c:pt idx="69">
                  <c:v>-352.07009506829075</c:v>
                </c:pt>
                <c:pt idx="70">
                  <c:v>-371.27362691056851</c:v>
                </c:pt>
                <c:pt idx="71">
                  <c:v>-389.38045229601232</c:v>
                </c:pt>
                <c:pt idx="72">
                  <c:v>-404.77413930187294</c:v>
                </c:pt>
                <c:pt idx="73">
                  <c:v>-424.79850439283359</c:v>
                </c:pt>
                <c:pt idx="74">
                  <c:v>-445.71414917711451</c:v>
                </c:pt>
                <c:pt idx="75">
                  <c:v>-466.54860864162453</c:v>
                </c:pt>
                <c:pt idx="76">
                  <c:v>-488.48951540147493</c:v>
                </c:pt>
                <c:pt idx="77">
                  <c:v>-509.40249170565994</c:v>
                </c:pt>
                <c:pt idx="78">
                  <c:v>-531.75419424176494</c:v>
                </c:pt>
                <c:pt idx="79">
                  <c:v>-552.98734134734593</c:v>
                </c:pt>
                <c:pt idx="80">
                  <c:v>-578.37667089758691</c:v>
                </c:pt>
                <c:pt idx="81">
                  <c:v>-601.2194828375724</c:v>
                </c:pt>
                <c:pt idx="82">
                  <c:v>-629.63090652569178</c:v>
                </c:pt>
                <c:pt idx="83">
                  <c:v>-655.33946036423833</c:v>
                </c:pt>
                <c:pt idx="84">
                  <c:v>-682.80247963942975</c:v>
                </c:pt>
                <c:pt idx="85">
                  <c:v>-711.11478683157907</c:v>
                </c:pt>
                <c:pt idx="86">
                  <c:v>-741.82038173984574</c:v>
                </c:pt>
                <c:pt idx="87">
                  <c:v>-770.52636073708834</c:v>
                </c:pt>
                <c:pt idx="88">
                  <c:v>-803.69783902658469</c:v>
                </c:pt>
                <c:pt idx="89">
                  <c:v>-837.27113689823329</c:v>
                </c:pt>
                <c:pt idx="90">
                  <c:v>-874.68024107766666</c:v>
                </c:pt>
                <c:pt idx="91">
                  <c:v>-920.4967660770709</c:v>
                </c:pt>
                <c:pt idx="92">
                  <c:v>-966.69504024844582</c:v>
                </c:pt>
                <c:pt idx="93">
                  <c:v>-1014.6155785824093</c:v>
                </c:pt>
                <c:pt idx="94">
                  <c:v>-1075.0487539971271</c:v>
                </c:pt>
                <c:pt idx="95">
                  <c:v>-1143.0953103579593</c:v>
                </c:pt>
                <c:pt idx="96">
                  <c:v>-1215.1926908403204</c:v>
                </c:pt>
                <c:pt idx="97">
                  <c:v>-1312.8668928518998</c:v>
                </c:pt>
                <c:pt idx="98">
                  <c:v>-1446.0945567936778</c:v>
                </c:pt>
                <c:pt idx="99">
                  <c:v>-1646.411369264209</c:v>
                </c:pt>
                <c:pt idx="100">
                  <c:v>-1871.1464145817474</c:v>
                </c:pt>
              </c:numCache>
            </c:numRef>
          </c:val>
          <c:smooth val="0"/>
          <c:extLst>
            <c:ext xmlns:c16="http://schemas.microsoft.com/office/drawing/2014/chart" uri="{C3380CC4-5D6E-409C-BE32-E72D297353CC}">
              <c16:uniqueId val="{00000001-1ED5-497C-B05E-18D806AB7904}"/>
            </c:ext>
          </c:extLst>
        </c:ser>
        <c:ser>
          <c:idx val="2"/>
          <c:order val="2"/>
          <c:spPr>
            <a:ln w="19050" cmpd="sng" algn="ctr">
              <a:solidFill>
                <a:schemeClr val="accent3"/>
              </a:solidFill>
              <a:prstDash val="solid"/>
            </a:ln>
          </c:spPr>
          <c:marker>
            <c:symbol val="none"/>
          </c:marker>
          <c:val>
            <c:numRef>
              <c:f>Sheet1!$A$3:$CW$3</c:f>
              <c:numCache>
                <c:formatCode>General</c:formatCode>
                <c:ptCount val="101"/>
                <c:pt idx="0">
                  <c:v>2120.8255237059111</c:v>
                </c:pt>
                <c:pt idx="1">
                  <c:v>1887.4223604561323</c:v>
                </c:pt>
                <c:pt idx="2">
                  <c:v>1619.7161598210582</c:v>
                </c:pt>
                <c:pt idx="3">
                  <c:v>1455.4517900501228</c:v>
                </c:pt>
                <c:pt idx="4">
                  <c:v>1334.341809321809</c:v>
                </c:pt>
                <c:pt idx="5">
                  <c:v>1243.331816464844</c:v>
                </c:pt>
                <c:pt idx="6">
                  <c:v>1162.8472042690553</c:v>
                </c:pt>
                <c:pt idx="7">
                  <c:v>1093.2543405678507</c:v>
                </c:pt>
                <c:pt idx="8">
                  <c:v>1027.0663583906969</c:v>
                </c:pt>
                <c:pt idx="9">
                  <c:v>969.36708006251126</c:v>
                </c:pt>
                <c:pt idx="10">
                  <c:v>919.06228279293089</c:v>
                </c:pt>
                <c:pt idx="11">
                  <c:v>874.44870769290026</c:v>
                </c:pt>
                <c:pt idx="12">
                  <c:v>830.09454980016471</c:v>
                </c:pt>
                <c:pt idx="13">
                  <c:v>790.85668087307886</c:v>
                </c:pt>
                <c:pt idx="14">
                  <c:v>757.1878484917404</c:v>
                </c:pt>
                <c:pt idx="15">
                  <c:v>720.89437192650405</c:v>
                </c:pt>
                <c:pt idx="16">
                  <c:v>685.75057916462833</c:v>
                </c:pt>
                <c:pt idx="17">
                  <c:v>655.38422509622148</c:v>
                </c:pt>
                <c:pt idx="18">
                  <c:v>626.97417705243583</c:v>
                </c:pt>
                <c:pt idx="19">
                  <c:v>597.2177609960487</c:v>
                </c:pt>
                <c:pt idx="20">
                  <c:v>568.86604665923289</c:v>
                </c:pt>
                <c:pt idx="21">
                  <c:v>540.98855775483185</c:v>
                </c:pt>
                <c:pt idx="22">
                  <c:v>515.20938215545232</c:v>
                </c:pt>
                <c:pt idx="23">
                  <c:v>489.51193955281127</c:v>
                </c:pt>
                <c:pt idx="24">
                  <c:v>460.96191157431963</c:v>
                </c:pt>
                <c:pt idx="25">
                  <c:v>435.31486469654203</c:v>
                </c:pt>
                <c:pt idx="26">
                  <c:v>411.41825477662218</c:v>
                </c:pt>
                <c:pt idx="27">
                  <c:v>387.24704946974526</c:v>
                </c:pt>
                <c:pt idx="28">
                  <c:v>364.74560376677545</c:v>
                </c:pt>
                <c:pt idx="29">
                  <c:v>339.10754372901602</c:v>
                </c:pt>
                <c:pt idx="30">
                  <c:v>316.93263618804968</c:v>
                </c:pt>
                <c:pt idx="31">
                  <c:v>295.73044668482487</c:v>
                </c:pt>
                <c:pt idx="32">
                  <c:v>274.14221723196812</c:v>
                </c:pt>
                <c:pt idx="33">
                  <c:v>253.79431174011967</c:v>
                </c:pt>
                <c:pt idx="34">
                  <c:v>232.31974548471828</c:v>
                </c:pt>
                <c:pt idx="35">
                  <c:v>210.72762003337229</c:v>
                </c:pt>
                <c:pt idx="36">
                  <c:v>189.54700776164586</c:v>
                </c:pt>
                <c:pt idx="37">
                  <c:v>171.72531584774055</c:v>
                </c:pt>
                <c:pt idx="38">
                  <c:v>152.7409374077686</c:v>
                </c:pt>
                <c:pt idx="39">
                  <c:v>133.87667841263251</c:v>
                </c:pt>
                <c:pt idx="40">
                  <c:v>117.26750098451157</c:v>
                </c:pt>
                <c:pt idx="41">
                  <c:v>98.608675600675554</c:v>
                </c:pt>
                <c:pt idx="42">
                  <c:v>78.765157326634409</c:v>
                </c:pt>
                <c:pt idx="43">
                  <c:v>59.902267679949063</c:v>
                </c:pt>
                <c:pt idx="44">
                  <c:v>40.429027961040838</c:v>
                </c:pt>
                <c:pt idx="45">
                  <c:v>20.848854367817871</c:v>
                </c:pt>
                <c:pt idx="46">
                  <c:v>0.75924255535311946</c:v>
                </c:pt>
                <c:pt idx="47">
                  <c:v>-17.419109937754893</c:v>
                </c:pt>
                <c:pt idx="48">
                  <c:v>-33.313728234597797</c:v>
                </c:pt>
                <c:pt idx="49">
                  <c:v>-53.933182133679516</c:v>
                </c:pt>
                <c:pt idx="50">
                  <c:v>-70.890598054568841</c:v>
                </c:pt>
                <c:pt idx="51">
                  <c:v>-88.945005358129492</c:v>
                </c:pt>
                <c:pt idx="52">
                  <c:v>-105.89549866148084</c:v>
                </c:pt>
                <c:pt idx="53">
                  <c:v>-122.74049112936797</c:v>
                </c:pt>
                <c:pt idx="54">
                  <c:v>-142.25512025346816</c:v>
                </c:pt>
                <c:pt idx="55">
                  <c:v>-160.14848567115962</c:v>
                </c:pt>
                <c:pt idx="56">
                  <c:v>-179.85951069832228</c:v>
                </c:pt>
                <c:pt idx="57">
                  <c:v>-198.36542935564799</c:v>
                </c:pt>
                <c:pt idx="58">
                  <c:v>-215.19691704262559</c:v>
                </c:pt>
                <c:pt idx="59">
                  <c:v>-232.33362890599579</c:v>
                </c:pt>
                <c:pt idx="60">
                  <c:v>-250.85830791841474</c:v>
                </c:pt>
                <c:pt idx="61">
                  <c:v>-272.574904440392</c:v>
                </c:pt>
                <c:pt idx="62">
                  <c:v>-289.89785513474379</c:v>
                </c:pt>
                <c:pt idx="63">
                  <c:v>-310.28840356492009</c:v>
                </c:pt>
                <c:pt idx="64">
                  <c:v>-330.20419460874649</c:v>
                </c:pt>
                <c:pt idx="65">
                  <c:v>-350.3521340336481</c:v>
                </c:pt>
                <c:pt idx="66">
                  <c:v>-373.19287177635994</c:v>
                </c:pt>
                <c:pt idx="67">
                  <c:v>-393.14048644646442</c:v>
                </c:pt>
                <c:pt idx="68">
                  <c:v>-414.13907890255797</c:v>
                </c:pt>
                <c:pt idx="69">
                  <c:v>-435.21367696165663</c:v>
                </c:pt>
                <c:pt idx="70">
                  <c:v>-456.64141410416119</c:v>
                </c:pt>
                <c:pt idx="71">
                  <c:v>-481.37088206140714</c:v>
                </c:pt>
                <c:pt idx="72">
                  <c:v>-504.67194395162801</c:v>
                </c:pt>
                <c:pt idx="73">
                  <c:v>-528.12454816585671</c:v>
                </c:pt>
                <c:pt idx="74">
                  <c:v>-551.43419100434278</c:v>
                </c:pt>
                <c:pt idx="75">
                  <c:v>-572.11848766995649</c:v>
                </c:pt>
                <c:pt idx="76">
                  <c:v>-598.34619292781031</c:v>
                </c:pt>
                <c:pt idx="77">
                  <c:v>-623.48592677800411</c:v>
                </c:pt>
                <c:pt idx="78">
                  <c:v>-649.10206172821279</c:v>
                </c:pt>
                <c:pt idx="79">
                  <c:v>-674.62459787534556</c:v>
                </c:pt>
                <c:pt idx="80">
                  <c:v>-701.49822706241821</c:v>
                </c:pt>
                <c:pt idx="81">
                  <c:v>-730.37772678932356</c:v>
                </c:pt>
                <c:pt idx="82">
                  <c:v>-760.80496254809555</c:v>
                </c:pt>
                <c:pt idx="83">
                  <c:v>-791.72667137069573</c:v>
                </c:pt>
                <c:pt idx="84">
                  <c:v>-826.07518235348709</c:v>
                </c:pt>
                <c:pt idx="85">
                  <c:v>-859.85851965813686</c:v>
                </c:pt>
                <c:pt idx="86">
                  <c:v>-893.95135741746458</c:v>
                </c:pt>
                <c:pt idx="87">
                  <c:v>-929.6437898816248</c:v>
                </c:pt>
                <c:pt idx="88">
                  <c:v>-966.88728092725751</c:v>
                </c:pt>
                <c:pt idx="89">
                  <c:v>-1014.1324415984543</c:v>
                </c:pt>
                <c:pt idx="90">
                  <c:v>-1065.3285818465313</c:v>
                </c:pt>
                <c:pt idx="91">
                  <c:v>-1117.7439860869447</c:v>
                </c:pt>
                <c:pt idx="92">
                  <c:v>-1170.4674078285764</c:v>
                </c:pt>
                <c:pt idx="93">
                  <c:v>-1239.4228342782803</c:v>
                </c:pt>
                <c:pt idx="94">
                  <c:v>-1308.6390657686873</c:v>
                </c:pt>
                <c:pt idx="95">
                  <c:v>-1383.7091775341955</c:v>
                </c:pt>
                <c:pt idx="96">
                  <c:v>-1477.9087636264519</c:v>
                </c:pt>
                <c:pt idx="97">
                  <c:v>-1595.5439366743126</c:v>
                </c:pt>
                <c:pt idx="98">
                  <c:v>-1749.0296709083364</c:v>
                </c:pt>
                <c:pt idx="99">
                  <c:v>-1968.7559401571195</c:v>
                </c:pt>
                <c:pt idx="100">
                  <c:v>-2172.1048187096781</c:v>
                </c:pt>
              </c:numCache>
            </c:numRef>
          </c:val>
          <c:smooth val="0"/>
          <c:extLst>
            <c:ext xmlns:c16="http://schemas.microsoft.com/office/drawing/2014/chart" uri="{C3380CC4-5D6E-409C-BE32-E72D297353CC}">
              <c16:uniqueId val="{00000002-1ED5-497C-B05E-18D806AB7904}"/>
            </c:ext>
          </c:extLst>
        </c:ser>
        <c:ser>
          <c:idx val="3"/>
          <c:order val="3"/>
          <c:spPr>
            <a:ln w="19050" cmpd="sng" algn="ctr">
              <a:solidFill>
                <a:schemeClr val="accent4"/>
              </a:solidFill>
              <a:prstDash val="solid"/>
            </a:ln>
          </c:spPr>
          <c:marker>
            <c:symbol val="none"/>
          </c:marker>
          <c:val>
            <c:numRef>
              <c:f>Sheet1!$A$4:$CW$4</c:f>
              <c:numCache>
                <c:formatCode>General</c:formatCode>
                <c:ptCount val="101"/>
                <c:pt idx="0">
                  <c:v>2281.1960791758947</c:v>
                </c:pt>
                <c:pt idx="1">
                  <c:v>2057.1489090761138</c:v>
                </c:pt>
                <c:pt idx="2">
                  <c:v>1789.543052601213</c:v>
                </c:pt>
                <c:pt idx="3">
                  <c:v>1605.2823843748138</c:v>
                </c:pt>
                <c:pt idx="4">
                  <c:v>1488.491227719589</c:v>
                </c:pt>
                <c:pt idx="5">
                  <c:v>1379.499114673479</c:v>
                </c:pt>
                <c:pt idx="6">
                  <c:v>1295.1018135106124</c:v>
                </c:pt>
                <c:pt idx="7">
                  <c:v>1223.3736710852579</c:v>
                </c:pt>
                <c:pt idx="8">
                  <c:v>1158.8296943107268</c:v>
                </c:pt>
                <c:pt idx="9">
                  <c:v>1103.3692918820714</c:v>
                </c:pt>
                <c:pt idx="10">
                  <c:v>1051.7501994122922</c:v>
                </c:pt>
                <c:pt idx="11">
                  <c:v>1001.5739309458581</c:v>
                </c:pt>
                <c:pt idx="12">
                  <c:v>955.84854890218458</c:v>
                </c:pt>
                <c:pt idx="13">
                  <c:v>908.48679290532186</c:v>
                </c:pt>
                <c:pt idx="14">
                  <c:v>864.74303674252451</c:v>
                </c:pt>
                <c:pt idx="15">
                  <c:v>821.62818766674604</c:v>
                </c:pt>
                <c:pt idx="16">
                  <c:v>779.84789523300378</c:v>
                </c:pt>
                <c:pt idx="17">
                  <c:v>742.83643570754805</c:v>
                </c:pt>
                <c:pt idx="18">
                  <c:v>703.97996957473356</c:v>
                </c:pt>
                <c:pt idx="19">
                  <c:v>670.7953658806357</c:v>
                </c:pt>
                <c:pt idx="20">
                  <c:v>637.93087056118623</c:v>
                </c:pt>
                <c:pt idx="21">
                  <c:v>606.21340914031032</c:v>
                </c:pt>
                <c:pt idx="22">
                  <c:v>578.57152384749281</c:v>
                </c:pt>
                <c:pt idx="23">
                  <c:v>552.38875183937012</c:v>
                </c:pt>
                <c:pt idx="24">
                  <c:v>525.74341310270859</c:v>
                </c:pt>
                <c:pt idx="25">
                  <c:v>499.54345927820475</c:v>
                </c:pt>
                <c:pt idx="26">
                  <c:v>473.34801219029976</c:v>
                </c:pt>
                <c:pt idx="27">
                  <c:v>448.33336837386577</c:v>
                </c:pt>
                <c:pt idx="28">
                  <c:v>419.81053643633493</c:v>
                </c:pt>
                <c:pt idx="29">
                  <c:v>393.19830322236578</c:v>
                </c:pt>
                <c:pt idx="30">
                  <c:v>368.66389450755963</c:v>
                </c:pt>
                <c:pt idx="31">
                  <c:v>341.33654957902837</c:v>
                </c:pt>
                <c:pt idx="32">
                  <c:v>317.13713182982576</c:v>
                </c:pt>
                <c:pt idx="33">
                  <c:v>295.17162612916917</c:v>
                </c:pt>
                <c:pt idx="34">
                  <c:v>272.1484205151375</c:v>
                </c:pt>
                <c:pt idx="35">
                  <c:v>250.74148690274185</c:v>
                </c:pt>
                <c:pt idx="36">
                  <c:v>224.4359056336325</c:v>
                </c:pt>
                <c:pt idx="37">
                  <c:v>201.57884424756725</c:v>
                </c:pt>
                <c:pt idx="38">
                  <c:v>177.60387995381862</c:v>
                </c:pt>
                <c:pt idx="39">
                  <c:v>154.42843498751802</c:v>
                </c:pt>
                <c:pt idx="40">
                  <c:v>130.5129446604941</c:v>
                </c:pt>
                <c:pt idx="41">
                  <c:v>110.8508375148692</c:v>
                </c:pt>
                <c:pt idx="42">
                  <c:v>90.367053095481424</c:v>
                </c:pt>
                <c:pt idx="43">
                  <c:v>65.7001154470328</c:v>
                </c:pt>
                <c:pt idx="44">
                  <c:v>45.658136513655172</c:v>
                </c:pt>
                <c:pt idx="45">
                  <c:v>24.629463281061675</c:v>
                </c:pt>
                <c:pt idx="46">
                  <c:v>5.4412417889402933</c:v>
                </c:pt>
                <c:pt idx="47">
                  <c:v>-14.215185592594411</c:v>
                </c:pt>
                <c:pt idx="48">
                  <c:v>-33.318439358007275</c:v>
                </c:pt>
                <c:pt idx="49">
                  <c:v>-55.027012926110494</c:v>
                </c:pt>
                <c:pt idx="50">
                  <c:v>-76.902420341292398</c:v>
                </c:pt>
                <c:pt idx="51">
                  <c:v>-96.470518368931209</c:v>
                </c:pt>
                <c:pt idx="52">
                  <c:v>-116.41433661745899</c:v>
                </c:pt>
                <c:pt idx="53">
                  <c:v>-137.14033051972879</c:v>
                </c:pt>
                <c:pt idx="54">
                  <c:v>-157.50295166370006</c:v>
                </c:pt>
                <c:pt idx="55">
                  <c:v>-179.33507616862454</c:v>
                </c:pt>
                <c:pt idx="56">
                  <c:v>-200.82151334523121</c:v>
                </c:pt>
                <c:pt idx="57">
                  <c:v>-219.99492681383106</c:v>
                </c:pt>
                <c:pt idx="58">
                  <c:v>-240.48669092265354</c:v>
                </c:pt>
                <c:pt idx="59">
                  <c:v>-262.50049845798338</c:v>
                </c:pt>
                <c:pt idx="60">
                  <c:v>-281.93924561171428</c:v>
                </c:pt>
                <c:pt idx="61">
                  <c:v>-300.55624328069104</c:v>
                </c:pt>
                <c:pt idx="62">
                  <c:v>-322.7029627002521</c:v>
                </c:pt>
                <c:pt idx="63">
                  <c:v>-340.75500072063392</c:v>
                </c:pt>
                <c:pt idx="64">
                  <c:v>-360.30177610771091</c:v>
                </c:pt>
                <c:pt idx="65">
                  <c:v>-381.18567750373995</c:v>
                </c:pt>
                <c:pt idx="66">
                  <c:v>-404.16413269551293</c:v>
                </c:pt>
                <c:pt idx="67">
                  <c:v>-425.10377228994992</c:v>
                </c:pt>
                <c:pt idx="68">
                  <c:v>-448.00300001718864</c:v>
                </c:pt>
                <c:pt idx="69">
                  <c:v>-471.22513917144602</c:v>
                </c:pt>
                <c:pt idx="70">
                  <c:v>-497.76786401434117</c:v>
                </c:pt>
                <c:pt idx="71">
                  <c:v>-521.51067625403346</c:v>
                </c:pt>
                <c:pt idx="72">
                  <c:v>-547.58680958033949</c:v>
                </c:pt>
                <c:pt idx="73">
                  <c:v>-572.17027009171807</c:v>
                </c:pt>
                <c:pt idx="74">
                  <c:v>-600.75803034089711</c:v>
                </c:pt>
                <c:pt idx="75">
                  <c:v>-630.0023639237844</c:v>
                </c:pt>
                <c:pt idx="76">
                  <c:v>-659.33256358857898</c:v>
                </c:pt>
                <c:pt idx="77">
                  <c:v>-686.07868087704901</c:v>
                </c:pt>
                <c:pt idx="78">
                  <c:v>-716.1329881931473</c:v>
                </c:pt>
                <c:pt idx="79">
                  <c:v>-747.0489877416743</c:v>
                </c:pt>
                <c:pt idx="80">
                  <c:v>-780.93056750682342</c:v>
                </c:pt>
                <c:pt idx="81">
                  <c:v>-811.88240492773502</c:v>
                </c:pt>
                <c:pt idx="82">
                  <c:v>-843.95289327024761</c:v>
                </c:pt>
                <c:pt idx="83">
                  <c:v>-877.18719611373831</c:v>
                </c:pt>
                <c:pt idx="84">
                  <c:v>-915.5391725818115</c:v>
                </c:pt>
                <c:pt idx="85">
                  <c:v>-950.33174864111891</c:v>
                </c:pt>
                <c:pt idx="86">
                  <c:v>-992.9351441551994</c:v>
                </c:pt>
                <c:pt idx="87">
                  <c:v>-1036.9549288624371</c:v>
                </c:pt>
                <c:pt idx="88">
                  <c:v>-1077.4934793688619</c:v>
                </c:pt>
                <c:pt idx="89">
                  <c:v>-1133.8400013669275</c:v>
                </c:pt>
                <c:pt idx="90">
                  <c:v>-1184.2519715915271</c:v>
                </c:pt>
                <c:pt idx="91">
                  <c:v>-1244.3436743092068</c:v>
                </c:pt>
                <c:pt idx="92">
                  <c:v>-1305.3635797039285</c:v>
                </c:pt>
                <c:pt idx="93">
                  <c:v>-1377.6512063282551</c:v>
                </c:pt>
                <c:pt idx="94">
                  <c:v>-1454.2596934023948</c:v>
                </c:pt>
                <c:pt idx="95">
                  <c:v>-1545.7001562470173</c:v>
                </c:pt>
                <c:pt idx="96">
                  <c:v>-1635.1438168513887</c:v>
                </c:pt>
                <c:pt idx="97">
                  <c:v>-1771.1411679084977</c:v>
                </c:pt>
                <c:pt idx="98">
                  <c:v>-1946.255121067177</c:v>
                </c:pt>
                <c:pt idx="99">
                  <c:v>-2226.531206420168</c:v>
                </c:pt>
                <c:pt idx="100">
                  <c:v>-2534.6821897418372</c:v>
                </c:pt>
              </c:numCache>
            </c:numRef>
          </c:val>
          <c:smooth val="0"/>
          <c:extLst>
            <c:ext xmlns:c16="http://schemas.microsoft.com/office/drawing/2014/chart" uri="{C3380CC4-5D6E-409C-BE32-E72D297353CC}">
              <c16:uniqueId val="{00000003-1ED5-497C-B05E-18D806AB7904}"/>
            </c:ext>
          </c:extLst>
        </c:ser>
        <c:ser>
          <c:idx val="4"/>
          <c:order val="4"/>
          <c:spPr>
            <a:ln w="19050" cmpd="sng" algn="ctr">
              <a:solidFill>
                <a:schemeClr val="accent5"/>
              </a:solidFill>
              <a:prstDash val="solid"/>
            </a:ln>
          </c:spPr>
          <c:marker>
            <c:symbol val="none"/>
          </c:marker>
          <c:val>
            <c:numRef>
              <c:f>Sheet1!$A$5:$CW$5</c:f>
              <c:numCache>
                <c:formatCode>General</c:formatCode>
                <c:ptCount val="101"/>
                <c:pt idx="0">
                  <c:v>2736.1935516138033</c:v>
                </c:pt>
                <c:pt idx="1">
                  <c:v>2429.8939724238062</c:v>
                </c:pt>
                <c:pt idx="2">
                  <c:v>2063.3901756517753</c:v>
                </c:pt>
                <c:pt idx="3">
                  <c:v>1854.8814671958949</c:v>
                </c:pt>
                <c:pt idx="4">
                  <c:v>1705.2613958230556</c:v>
                </c:pt>
                <c:pt idx="5">
                  <c:v>1578.7923272256126</c:v>
                </c:pt>
                <c:pt idx="6">
                  <c:v>1488.4262957740825</c:v>
                </c:pt>
                <c:pt idx="7">
                  <c:v>1393.1387270533342</c:v>
                </c:pt>
                <c:pt idx="8">
                  <c:v>1321.0162235849596</c:v>
                </c:pt>
                <c:pt idx="9">
                  <c:v>1251.2484900744591</c:v>
                </c:pt>
                <c:pt idx="10">
                  <c:v>1183.6952360207422</c:v>
                </c:pt>
                <c:pt idx="11">
                  <c:v>1125.3300535327419</c:v>
                </c:pt>
                <c:pt idx="12">
                  <c:v>1074.6159299382434</c:v>
                </c:pt>
                <c:pt idx="13">
                  <c:v>1025.348738607674</c:v>
                </c:pt>
                <c:pt idx="14">
                  <c:v>979.74706264415227</c:v>
                </c:pt>
                <c:pt idx="15">
                  <c:v>938.71529214076247</c:v>
                </c:pt>
                <c:pt idx="16">
                  <c:v>895.03964923018191</c:v>
                </c:pt>
                <c:pt idx="17">
                  <c:v>851.37751832481604</c:v>
                </c:pt>
                <c:pt idx="18">
                  <c:v>815.38044217112997</c:v>
                </c:pt>
                <c:pt idx="19">
                  <c:v>780.77830523230898</c:v>
                </c:pt>
                <c:pt idx="20">
                  <c:v>746.04522481807032</c:v>
                </c:pt>
                <c:pt idx="21">
                  <c:v>709.61936102246807</c:v>
                </c:pt>
                <c:pt idx="22">
                  <c:v>677.52302594291916</c:v>
                </c:pt>
                <c:pt idx="23">
                  <c:v>643.61690823507911</c:v>
                </c:pt>
                <c:pt idx="24">
                  <c:v>610.27876170305717</c:v>
                </c:pt>
                <c:pt idx="25">
                  <c:v>576.9386787800978</c:v>
                </c:pt>
                <c:pt idx="26">
                  <c:v>544.38953744601463</c:v>
                </c:pt>
                <c:pt idx="27">
                  <c:v>512.52257056610711</c:v>
                </c:pt>
                <c:pt idx="28">
                  <c:v>481.62042233526512</c:v>
                </c:pt>
                <c:pt idx="29">
                  <c:v>451.44359454678857</c:v>
                </c:pt>
                <c:pt idx="30">
                  <c:v>423.68354765610843</c:v>
                </c:pt>
                <c:pt idx="31">
                  <c:v>395.77492949914927</c:v>
                </c:pt>
                <c:pt idx="32">
                  <c:v>368.25493164310961</c:v>
                </c:pt>
                <c:pt idx="33">
                  <c:v>343.19828715879515</c:v>
                </c:pt>
                <c:pt idx="34">
                  <c:v>317.63187556066561</c:v>
                </c:pt>
                <c:pt idx="35">
                  <c:v>290.87243287446177</c:v>
                </c:pt>
                <c:pt idx="36">
                  <c:v>263.55255932301401</c:v>
                </c:pt>
                <c:pt idx="37">
                  <c:v>239.33729483979306</c:v>
                </c:pt>
                <c:pt idx="38">
                  <c:v>215.14550475931469</c:v>
                </c:pt>
                <c:pt idx="39">
                  <c:v>191.69935513335702</c:v>
                </c:pt>
                <c:pt idx="40">
                  <c:v>166.65519223343534</c:v>
                </c:pt>
                <c:pt idx="41">
                  <c:v>139.90862093873028</c:v>
                </c:pt>
                <c:pt idx="42">
                  <c:v>116.19875474635238</c:v>
                </c:pt>
                <c:pt idx="43">
                  <c:v>93.058359695431648</c:v>
                </c:pt>
                <c:pt idx="44">
                  <c:v>69.804747683735471</c:v>
                </c:pt>
                <c:pt idx="45">
                  <c:v>47.69268344524275</c:v>
                </c:pt>
                <c:pt idx="46">
                  <c:v>23.363049379872514</c:v>
                </c:pt>
                <c:pt idx="47">
                  <c:v>-1.0037763501358508</c:v>
                </c:pt>
                <c:pt idx="48">
                  <c:v>-25.544787102808606</c:v>
                </c:pt>
                <c:pt idx="49">
                  <c:v>-49.244282613100346</c:v>
                </c:pt>
                <c:pt idx="50">
                  <c:v>-74.412487086636048</c:v>
                </c:pt>
                <c:pt idx="51">
                  <c:v>-98.067511613488676</c:v>
                </c:pt>
                <c:pt idx="52">
                  <c:v>-121.25275031733</c:v>
                </c:pt>
                <c:pt idx="53">
                  <c:v>-144.1100303712646</c:v>
                </c:pt>
                <c:pt idx="54">
                  <c:v>-168.57171616960545</c:v>
                </c:pt>
                <c:pt idx="55">
                  <c:v>-192.40516863449318</c:v>
                </c:pt>
                <c:pt idx="56">
                  <c:v>-216.63102146551981</c:v>
                </c:pt>
                <c:pt idx="57">
                  <c:v>-240.36544169664842</c:v>
                </c:pt>
                <c:pt idx="58">
                  <c:v>-260.47495833594678</c:v>
                </c:pt>
                <c:pt idx="59">
                  <c:v>-284.80133978852285</c:v>
                </c:pt>
                <c:pt idx="60">
                  <c:v>-309.56634452500708</c:v>
                </c:pt>
                <c:pt idx="61">
                  <c:v>-335.5609250558569</c:v>
                </c:pt>
                <c:pt idx="62">
                  <c:v>-360.85439245555796</c:v>
                </c:pt>
                <c:pt idx="63">
                  <c:v>-385.9950067334288</c:v>
                </c:pt>
                <c:pt idx="64">
                  <c:v>-409.52220922001567</c:v>
                </c:pt>
                <c:pt idx="65">
                  <c:v>-435.57592484066578</c:v>
                </c:pt>
                <c:pt idx="66">
                  <c:v>-463.76659025754788</c:v>
                </c:pt>
                <c:pt idx="67">
                  <c:v>-492.10553230444543</c:v>
                </c:pt>
                <c:pt idx="68">
                  <c:v>-516.4412877212244</c:v>
                </c:pt>
                <c:pt idx="69">
                  <c:v>-542.93467977397029</c:v>
                </c:pt>
                <c:pt idx="70">
                  <c:v>-572.44784250582018</c:v>
                </c:pt>
                <c:pt idx="71">
                  <c:v>-600.1738268118371</c:v>
                </c:pt>
                <c:pt idx="72">
                  <c:v>-630.82516223660048</c:v>
                </c:pt>
                <c:pt idx="73">
                  <c:v>-660.25712209979417</c:v>
                </c:pt>
                <c:pt idx="74">
                  <c:v>-689.55032772916354</c:v>
                </c:pt>
                <c:pt idx="75">
                  <c:v>-721.36678588338157</c:v>
                </c:pt>
                <c:pt idx="76">
                  <c:v>-755.82748141364732</c:v>
                </c:pt>
                <c:pt idx="77">
                  <c:v>-787.97768410900494</c:v>
                </c:pt>
                <c:pt idx="78">
                  <c:v>-822.12949283740329</c:v>
                </c:pt>
                <c:pt idx="79">
                  <c:v>-862.47990065518979</c:v>
                </c:pt>
                <c:pt idx="80">
                  <c:v>-896.95711794680051</c:v>
                </c:pt>
                <c:pt idx="81">
                  <c:v>-931.74967134690451</c:v>
                </c:pt>
                <c:pt idx="82">
                  <c:v>-969.04685695457874</c:v>
                </c:pt>
                <c:pt idx="83">
                  <c:v>-1006.9725055502821</c:v>
                </c:pt>
                <c:pt idx="84">
                  <c:v>-1045.5193655575042</c:v>
                </c:pt>
                <c:pt idx="85">
                  <c:v>-1089.5872335601118</c:v>
                </c:pt>
                <c:pt idx="86">
                  <c:v>-1131.8899822773246</c:v>
                </c:pt>
                <c:pt idx="87">
                  <c:v>-1181.9073897298319</c:v>
                </c:pt>
                <c:pt idx="88">
                  <c:v>-1237.5477598325649</c:v>
                </c:pt>
                <c:pt idx="89">
                  <c:v>-1292.5658679266371</c:v>
                </c:pt>
                <c:pt idx="90">
                  <c:v>-1345.8927370924375</c:v>
                </c:pt>
                <c:pt idx="91">
                  <c:v>-1414.3329808243072</c:v>
                </c:pt>
                <c:pt idx="92">
                  <c:v>-1477.4493666234212</c:v>
                </c:pt>
                <c:pt idx="93">
                  <c:v>-1564.1048642108508</c:v>
                </c:pt>
                <c:pt idx="94">
                  <c:v>-1662.4371371452939</c:v>
                </c:pt>
                <c:pt idx="95">
                  <c:v>-1763.7362367176881</c:v>
                </c:pt>
                <c:pt idx="96">
                  <c:v>-1873.1844302048462</c:v>
                </c:pt>
                <c:pt idx="97">
                  <c:v>-2033.0561263822033</c:v>
                </c:pt>
                <c:pt idx="98">
                  <c:v>-2185.6186337655649</c:v>
                </c:pt>
                <c:pt idx="99">
                  <c:v>-2462.0016671987305</c:v>
                </c:pt>
                <c:pt idx="100">
                  <c:v>-2715.4993813941419</c:v>
                </c:pt>
              </c:numCache>
            </c:numRef>
          </c:val>
          <c:smooth val="0"/>
          <c:extLst>
            <c:ext xmlns:c16="http://schemas.microsoft.com/office/drawing/2014/chart" uri="{C3380CC4-5D6E-409C-BE32-E72D297353CC}">
              <c16:uniqueId val="{00000004-1ED5-497C-B05E-18D806AB7904}"/>
            </c:ext>
          </c:extLst>
        </c:ser>
        <c:dLbls>
          <c:showLegendKey val="0"/>
          <c:showVal val="0"/>
          <c:showCatName val="0"/>
          <c:showSerName val="0"/>
          <c:showPercent val="0"/>
          <c:showBubbleSize val="0"/>
        </c:dLbls>
        <c:smooth val="0"/>
        <c:axId val="314022015"/>
        <c:axId val="1"/>
      </c:lineChart>
      <c:catAx>
        <c:axId val="3140220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736.1935516138033"/>
          <c:min val="-300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314022015"/>
        <c:crosses val="min"/>
        <c:crossBetween val="midCat"/>
      </c:valAx>
    </c:plotArea>
    <c:plotVisOnly val="0"/>
    <c:dispBlanksAs val="gap"/>
    <c:showDLblsOverMax val="1"/>
  </c:chart>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58403529883673E-2"/>
          <c:y val="4.3297252289758538E-2"/>
          <c:w val="0.95828319294023268"/>
          <c:h val="0.91340549542048288"/>
        </c:manualLayout>
      </c:layout>
      <c:barChart>
        <c:barDir val="col"/>
        <c:grouping val="stacked"/>
        <c:varyColors val="0"/>
        <c:ser>
          <c:idx val="0"/>
          <c:order val="0"/>
          <c:spPr>
            <a:solidFill>
              <a:schemeClr val="accent2"/>
            </a:solidFill>
            <a:ln>
              <a:noFill/>
            </a:ln>
          </c:spPr>
          <c:invertIfNegative val="0"/>
          <c:val>
            <c:numRef>
              <c:f>Sheet1!$A$1:$R$1</c:f>
              <c:numCache>
                <c:formatCode>General</c:formatCode>
                <c:ptCount val="18"/>
                <c:pt idx="0">
                  <c:v>2192860.7800000003</c:v>
                </c:pt>
                <c:pt idx="1">
                  <c:v>2479279.7999999998</c:v>
                </c:pt>
                <c:pt idx="2">
                  <c:v>3145961.42</c:v>
                </c:pt>
                <c:pt idx="3">
                  <c:v>4659477.5200000005</c:v>
                </c:pt>
                <c:pt idx="4">
                  <c:v>4779235.1900000004</c:v>
                </c:pt>
                <c:pt idx="5">
                  <c:v>3168140.9</c:v>
                </c:pt>
                <c:pt idx="6">
                  <c:v>3889492.1900000004</c:v>
                </c:pt>
                <c:pt idx="7">
                  <c:v>3197969.69</c:v>
                </c:pt>
                <c:pt idx="8">
                  <c:v>2582166.3699999996</c:v>
                </c:pt>
                <c:pt idx="9">
                  <c:v>2358677.1800000006</c:v>
                </c:pt>
                <c:pt idx="10">
                  <c:v>2870287.48</c:v>
                </c:pt>
                <c:pt idx="11">
                  <c:v>2642871.21</c:v>
                </c:pt>
                <c:pt idx="12">
                  <c:v>1894292.3952000008</c:v>
                </c:pt>
                <c:pt idx="13">
                  <c:v>1281205.1132000019</c:v>
                </c:pt>
                <c:pt idx="14">
                  <c:v>3318076.97</c:v>
                </c:pt>
                <c:pt idx="15">
                  <c:v>2635073.4310000003</c:v>
                </c:pt>
                <c:pt idx="16">
                  <c:v>1829083.409</c:v>
                </c:pt>
                <c:pt idx="17">
                  <c:v>1712184.7810000002</c:v>
                </c:pt>
              </c:numCache>
            </c:numRef>
          </c:val>
          <c:extLst>
            <c:ext xmlns:c16="http://schemas.microsoft.com/office/drawing/2014/chart" uri="{C3380CC4-5D6E-409C-BE32-E72D297353CC}">
              <c16:uniqueId val="{00000000-62C3-48AF-9770-7BCE7420797D}"/>
            </c:ext>
          </c:extLst>
        </c:ser>
        <c:ser>
          <c:idx val="1"/>
          <c:order val="1"/>
          <c:spPr>
            <a:solidFill>
              <a:schemeClr val="accent5"/>
            </a:solidFill>
            <a:ln>
              <a:noFill/>
            </a:ln>
          </c:spPr>
          <c:invertIfNegative val="0"/>
          <c:val>
            <c:numRef>
              <c:f>Sheet1!$A$2:$R$2</c:f>
              <c:numCache>
                <c:formatCode>General</c:formatCode>
                <c:ptCount val="18"/>
                <c:pt idx="0">
                  <c:v>-1839909.77</c:v>
                </c:pt>
                <c:pt idx="1">
                  <c:v>-2148895.2300000004</c:v>
                </c:pt>
                <c:pt idx="2">
                  <c:v>-3109494.4400000004</c:v>
                </c:pt>
                <c:pt idx="3">
                  <c:v>-3547793.4</c:v>
                </c:pt>
                <c:pt idx="4">
                  <c:v>-2529070.5</c:v>
                </c:pt>
                <c:pt idx="5">
                  <c:v>-2734724.6799999997</c:v>
                </c:pt>
                <c:pt idx="6">
                  <c:v>-3353657.21</c:v>
                </c:pt>
                <c:pt idx="7">
                  <c:v>-2676534.06</c:v>
                </c:pt>
                <c:pt idx="8">
                  <c:v>-1732021.2600000002</c:v>
                </c:pt>
                <c:pt idx="9">
                  <c:v>-1440817.27</c:v>
                </c:pt>
                <c:pt idx="10">
                  <c:v>-3091968.66</c:v>
                </c:pt>
                <c:pt idx="11">
                  <c:v>-2994735.53</c:v>
                </c:pt>
                <c:pt idx="12">
                  <c:v>-2586481.4637999958</c:v>
                </c:pt>
                <c:pt idx="13">
                  <c:v>-2783850.8418999799</c:v>
                </c:pt>
                <c:pt idx="14">
                  <c:v>-3881394.79</c:v>
                </c:pt>
                <c:pt idx="15">
                  <c:v>-2716029.7779999999</c:v>
                </c:pt>
                <c:pt idx="16">
                  <c:v>-2132567.747</c:v>
                </c:pt>
                <c:pt idx="17">
                  <c:v>-1706018.574</c:v>
                </c:pt>
              </c:numCache>
            </c:numRef>
          </c:val>
          <c:extLst>
            <c:ext xmlns:c16="http://schemas.microsoft.com/office/drawing/2014/chart" uri="{C3380CC4-5D6E-409C-BE32-E72D297353CC}">
              <c16:uniqueId val="{00000001-62C3-48AF-9770-7BCE7420797D}"/>
            </c:ext>
          </c:extLst>
        </c:ser>
        <c:dLbls>
          <c:showLegendKey val="0"/>
          <c:showVal val="0"/>
          <c:showCatName val="0"/>
          <c:showSerName val="0"/>
          <c:showPercent val="0"/>
          <c:showBubbleSize val="0"/>
        </c:dLbls>
        <c:gapWidth val="22"/>
        <c:overlap val="100"/>
        <c:axId val="314077695"/>
        <c:axId val="1"/>
      </c:barChart>
      <c:catAx>
        <c:axId val="3140776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6000000"/>
          <c:min val="-600000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mn-ea"/>
                <a:cs typeface="+mn-cs"/>
                <a:sym typeface="+mn-lt"/>
              </a:defRPr>
            </a:pPr>
            <a:endParaRPr lang="en-US"/>
          </a:p>
        </c:txPr>
        <c:crossAx val="314077695"/>
        <c:crosses val="min"/>
        <c:crossBetween val="between"/>
        <c:majorUnit val="3000000"/>
      </c:valAx>
    </c:plotArea>
    <c:plotVisOnly val="0"/>
    <c:dispBlanksAs val="gap"/>
    <c:showDLblsOverMax val="1"/>
  </c:chart>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5792349726776E-2"/>
          <c:y val="4.878048780487805E-2"/>
          <c:w val="0.95628415300546443"/>
          <c:h val="0.90243902439024393"/>
        </c:manualLayout>
      </c:layout>
      <c:lineChart>
        <c:grouping val="standard"/>
        <c:varyColors val="0"/>
        <c:ser>
          <c:idx val="0"/>
          <c:order val="0"/>
          <c:spPr>
            <a:ln w="22225" cmpd="sng" algn="ctr">
              <a:solidFill>
                <a:schemeClr val="accent2"/>
              </a:solidFill>
              <a:prstDash val="solid"/>
            </a:ln>
          </c:spPr>
          <c:marker>
            <c:symbol val="none"/>
          </c:marker>
          <c:val>
            <c:numRef>
              <c:f>Sheet1!$A$1:$CB$1</c:f>
              <c:numCache>
                <c:formatCode>General</c:formatCode>
                <c:ptCount val="80"/>
                <c:pt idx="0">
                  <c:v>84.121607589641513</c:v>
                </c:pt>
                <c:pt idx="1">
                  <c:v>81.472036426332267</c:v>
                </c:pt>
                <c:pt idx="2">
                  <c:v>76.665646576271115</c:v>
                </c:pt>
                <c:pt idx="3">
                  <c:v>67.253364285714341</c:v>
                </c:pt>
                <c:pt idx="4">
                  <c:v>82.414892343470427</c:v>
                </c:pt>
                <c:pt idx="5">
                  <c:v>65.833892347188396</c:v>
                </c:pt>
                <c:pt idx="6">
                  <c:v>65.745465711009459</c:v>
                </c:pt>
                <c:pt idx="7">
                  <c:v>67.231553557483593</c:v>
                </c:pt>
                <c:pt idx="8">
                  <c:v>64.345182694497211</c:v>
                </c:pt>
                <c:pt idx="9">
                  <c:v>68.228985969289937</c:v>
                </c:pt>
                <c:pt idx="10">
                  <c:v>64.877365979729618</c:v>
                </c:pt>
                <c:pt idx="11">
                  <c:v>73.363977911802678</c:v>
                </c:pt>
                <c:pt idx="12">
                  <c:v>70.021777208201925</c:v>
                </c:pt>
                <c:pt idx="13">
                  <c:v>72.611927932960938</c:v>
                </c:pt>
                <c:pt idx="14">
                  <c:v>102.32633539375925</c:v>
                </c:pt>
                <c:pt idx="15">
                  <c:v>73.376296119929478</c:v>
                </c:pt>
                <c:pt idx="16">
                  <c:v>70.381747384341622</c:v>
                </c:pt>
                <c:pt idx="17">
                  <c:v>67.436783010033452</c:v>
                </c:pt>
                <c:pt idx="18">
                  <c:v>73.956051770538238</c:v>
                </c:pt>
                <c:pt idx="19">
                  <c:v>78.717927928802553</c:v>
                </c:pt>
                <c:pt idx="20">
                  <c:v>79.992905999999977</c:v>
                </c:pt>
                <c:pt idx="21">
                  <c:v>84.306688245614041</c:v>
                </c:pt>
                <c:pt idx="22">
                  <c:v>81.824555015015008</c:v>
                </c:pt>
                <c:pt idx="23">
                  <c:v>83.973989750000001</c:v>
                </c:pt>
                <c:pt idx="24">
                  <c:v>85.013205105633801</c:v>
                </c:pt>
                <c:pt idx="25">
                  <c:v>70.234220449678801</c:v>
                </c:pt>
                <c:pt idx="26">
                  <c:v>62.221278173228349</c:v>
                </c:pt>
                <c:pt idx="27">
                  <c:v>57.933252959028799</c:v>
                </c:pt>
                <c:pt idx="28">
                  <c:v>59.229538357963897</c:v>
                </c:pt>
                <c:pt idx="29">
                  <c:v>57.967433069577098</c:v>
                </c:pt>
                <c:pt idx="30">
                  <c:v>58.385487046980003</c:v>
                </c:pt>
                <c:pt idx="31">
                  <c:v>54.602008735294099</c:v>
                </c:pt>
                <c:pt idx="32">
                  <c:v>53.2979436422765</c:v>
                </c:pt>
                <c:pt idx="33">
                  <c:v>53.294500487210698</c:v>
                </c:pt>
                <c:pt idx="34">
                  <c:v>60.362936738305997</c:v>
                </c:pt>
                <c:pt idx="35">
                  <c:v>57.702865216867501</c:v>
                </c:pt>
                <c:pt idx="36">
                  <c:v>52.002959226118499</c:v>
                </c:pt>
                <c:pt idx="37">
                  <c:v>46.102289789964999</c:v>
                </c:pt>
                <c:pt idx="38">
                  <c:v>51.852435258358703</c:v>
                </c:pt>
                <c:pt idx="39">
                  <c:v>37.336293966745899</c:v>
                </c:pt>
                <c:pt idx="40">
                  <c:v>37.590227820359303</c:v>
                </c:pt>
                <c:pt idx="41">
                  <c:v>40.475238425196899</c:v>
                </c:pt>
                <c:pt idx="42">
                  <c:v>40.4079324163569</c:v>
                </c:pt>
                <c:pt idx="43">
                  <c:v>47.412969900111001</c:v>
                </c:pt>
                <c:pt idx="44">
                  <c:v>59.251618222748803</c:v>
                </c:pt>
                <c:pt idx="45">
                  <c:v>62.5861662958281</c:v>
                </c:pt>
                <c:pt idx="46">
                  <c:v>62.198889095816597</c:v>
                </c:pt>
                <c:pt idx="47">
                  <c:v>82.577260608034806</c:v>
                </c:pt>
                <c:pt idx="48">
                  <c:v>110.546781398104</c:v>
                </c:pt>
                <c:pt idx="49">
                  <c:v>76.622347849927806</c:v>
                </c:pt>
                <c:pt idx="50">
                  <c:v>79.8393116836735</c:v>
                </c:pt>
                <c:pt idx="51">
                  <c:v>100.605328777506</c:v>
                </c:pt>
                <c:pt idx="52">
                  <c:v>97.527799088082702</c:v>
                </c:pt>
                <c:pt idx="53">
                  <c:v>103.204993756219</c:v>
                </c:pt>
                <c:pt idx="54">
                  <c:v>119.035345730725</c:v>
                </c:pt>
                <c:pt idx="55">
                  <c:v>135.35615465681099</c:v>
                </c:pt>
                <c:pt idx="56">
                  <c:v>276.914158846737</c:v>
                </c:pt>
                <c:pt idx="57">
                  <c:v>230.94337696801099</c:v>
                </c:pt>
                <c:pt idx="58">
                  <c:v>249.51898244797999</c:v>
                </c:pt>
                <c:pt idx="59">
                  <c:v>301.97227073298399</c:v>
                </c:pt>
                <c:pt idx="60">
                  <c:v>281.81</c:v>
                </c:pt>
                <c:pt idx="61">
                  <c:v>215.52</c:v>
                </c:pt>
                <c:pt idx="62">
                  <c:v>314.54000000000002</c:v>
                </c:pt>
                <c:pt idx="63">
                  <c:v>230.44</c:v>
                </c:pt>
                <c:pt idx="64">
                  <c:v>166.21</c:v>
                </c:pt>
                <c:pt idx="65">
                  <c:v>210.77</c:v>
                </c:pt>
                <c:pt idx="66">
                  <c:v>325.67</c:v>
                </c:pt>
                <c:pt idx="67">
                  <c:v>438.18</c:v>
                </c:pt>
                <c:pt idx="68">
                  <c:v>352.84</c:v>
                </c:pt>
                <c:pt idx="69">
                  <c:v>192.46</c:v>
                </c:pt>
                <c:pt idx="70">
                  <c:v>196.73</c:v>
                </c:pt>
                <c:pt idx="71">
                  <c:v>371.46</c:v>
                </c:pt>
                <c:pt idx="72">
                  <c:v>204.88</c:v>
                </c:pt>
                <c:pt idx="73">
                  <c:v>186.87</c:v>
                </c:pt>
                <c:pt idx="74">
                  <c:v>178.75</c:v>
                </c:pt>
                <c:pt idx="75">
                  <c:v>145.94</c:v>
                </c:pt>
                <c:pt idx="76">
                  <c:v>121.69</c:v>
                </c:pt>
                <c:pt idx="77">
                  <c:v>124.89</c:v>
                </c:pt>
                <c:pt idx="78">
                  <c:v>112.99</c:v>
                </c:pt>
                <c:pt idx="79">
                  <c:v>111.71</c:v>
                </c:pt>
              </c:numCache>
            </c:numRef>
          </c:val>
          <c:smooth val="0"/>
          <c:extLst>
            <c:ext xmlns:c16="http://schemas.microsoft.com/office/drawing/2014/chart" uri="{C3380CC4-5D6E-409C-BE32-E72D297353CC}">
              <c16:uniqueId val="{00000000-3B93-4F44-ACC6-2FD5F710E87A}"/>
            </c:ext>
          </c:extLst>
        </c:ser>
        <c:ser>
          <c:idx val="1"/>
          <c:order val="1"/>
          <c:spPr>
            <a:ln w="22225" cmpd="sng" algn="ctr">
              <a:solidFill>
                <a:schemeClr val="accent5"/>
              </a:solidFill>
              <a:prstDash val="solid"/>
            </a:ln>
          </c:spPr>
          <c:marker>
            <c:symbol val="none"/>
          </c:marker>
          <c:val>
            <c:numRef>
              <c:f>Sheet1!$A$2:$CB$2</c:f>
              <c:numCache>
                <c:formatCode>General</c:formatCode>
                <c:ptCount val="80"/>
                <c:pt idx="0">
                  <c:v>39.095699026369346</c:v>
                </c:pt>
                <c:pt idx="1">
                  <c:v>34.970920419512368</c:v>
                </c:pt>
                <c:pt idx="2">
                  <c:v>29.262702552301409</c:v>
                </c:pt>
                <c:pt idx="3">
                  <c:v>27.184697488458117</c:v>
                </c:pt>
                <c:pt idx="4">
                  <c:v>28.754877997847224</c:v>
                </c:pt>
                <c:pt idx="5">
                  <c:v>22.617039146459906</c:v>
                </c:pt>
                <c:pt idx="6">
                  <c:v>25.292644254510794</c:v>
                </c:pt>
                <c:pt idx="7">
                  <c:v>27.734514605647355</c:v>
                </c:pt>
                <c:pt idx="8">
                  <c:v>30.521091270536719</c:v>
                </c:pt>
                <c:pt idx="9">
                  <c:v>29.223647673215986</c:v>
                </c:pt>
                <c:pt idx="10">
                  <c:v>37.04725063679254</c:v>
                </c:pt>
                <c:pt idx="11">
                  <c:v>38.915189456066884</c:v>
                </c:pt>
                <c:pt idx="12">
                  <c:v>35.963074894613534</c:v>
                </c:pt>
                <c:pt idx="13">
                  <c:v>39.232932403965314</c:v>
                </c:pt>
                <c:pt idx="14">
                  <c:v>40.893759533169479</c:v>
                </c:pt>
                <c:pt idx="15">
                  <c:v>35.51462493699885</c:v>
                </c:pt>
                <c:pt idx="16">
                  <c:v>36.549942159827168</c:v>
                </c:pt>
                <c:pt idx="17">
                  <c:v>40.827968254156744</c:v>
                </c:pt>
                <c:pt idx="18">
                  <c:v>42.292735127877201</c:v>
                </c:pt>
                <c:pt idx="19">
                  <c:v>42.704905103448297</c:v>
                </c:pt>
                <c:pt idx="20">
                  <c:v>47.815207792207808</c:v>
                </c:pt>
                <c:pt idx="21">
                  <c:v>45.537953905472634</c:v>
                </c:pt>
                <c:pt idx="22">
                  <c:v>45.809639883720934</c:v>
                </c:pt>
                <c:pt idx="23">
                  <c:v>45.4131105518018</c:v>
                </c:pt>
                <c:pt idx="24">
                  <c:v>44.504462872687704</c:v>
                </c:pt>
                <c:pt idx="25">
                  <c:v>36.987394732041047</c:v>
                </c:pt>
                <c:pt idx="26">
                  <c:v>28.901304061032864</c:v>
                </c:pt>
                <c:pt idx="27">
                  <c:v>29.787888104993598</c:v>
                </c:pt>
                <c:pt idx="28">
                  <c:v>25.760205665529</c:v>
                </c:pt>
                <c:pt idx="29">
                  <c:v>24.663228387553101</c:v>
                </c:pt>
                <c:pt idx="30">
                  <c:v>27.798675134529098</c:v>
                </c:pt>
                <c:pt idx="31">
                  <c:v>22.1894267945544</c:v>
                </c:pt>
                <c:pt idx="32">
                  <c:v>16.418847539394001</c:v>
                </c:pt>
                <c:pt idx="33">
                  <c:v>17.23504988006</c:v>
                </c:pt>
                <c:pt idx="34">
                  <c:v>24.344017164869001</c:v>
                </c:pt>
                <c:pt idx="35">
                  <c:v>14.2373229635258</c:v>
                </c:pt>
                <c:pt idx="36">
                  <c:v>14.1956363691377</c:v>
                </c:pt>
                <c:pt idx="37">
                  <c:v>10.661342355140199</c:v>
                </c:pt>
                <c:pt idx="38">
                  <c:v>11.271288371532</c:v>
                </c:pt>
                <c:pt idx="39">
                  <c:v>5.1197384280936404</c:v>
                </c:pt>
                <c:pt idx="40">
                  <c:v>6.6174545329249597</c:v>
                </c:pt>
                <c:pt idx="41">
                  <c:v>10.445922684365801</c:v>
                </c:pt>
                <c:pt idx="42">
                  <c:v>13.0556474155653</c:v>
                </c:pt>
                <c:pt idx="43">
                  <c:v>17.7630771890971</c:v>
                </c:pt>
                <c:pt idx="44">
                  <c:v>20.587903036912699</c:v>
                </c:pt>
                <c:pt idx="45">
                  <c:v>20.934393515064599</c:v>
                </c:pt>
                <c:pt idx="46">
                  <c:v>16.3769111158798</c:v>
                </c:pt>
                <c:pt idx="47">
                  <c:v>21.2768617107584</c:v>
                </c:pt>
                <c:pt idx="48">
                  <c:v>34.687156149068301</c:v>
                </c:pt>
                <c:pt idx="49">
                  <c:v>26.7931215668203</c:v>
                </c:pt>
                <c:pt idx="50">
                  <c:v>26.740226946022698</c:v>
                </c:pt>
                <c:pt idx="51">
                  <c:v>33.975225916398699</c:v>
                </c:pt>
                <c:pt idx="52">
                  <c:v>36.968477265774403</c:v>
                </c:pt>
                <c:pt idx="53">
                  <c:v>42.816289874213801</c:v>
                </c:pt>
                <c:pt idx="54">
                  <c:v>61.427002940226203</c:v>
                </c:pt>
                <c:pt idx="55">
                  <c:v>58.731827449168101</c:v>
                </c:pt>
                <c:pt idx="56">
                  <c:v>93.909516466069107</c:v>
                </c:pt>
                <c:pt idx="57">
                  <c:v>90.676399869960903</c:v>
                </c:pt>
                <c:pt idx="58">
                  <c:v>103.12869664526499</c:v>
                </c:pt>
                <c:pt idx="59">
                  <c:v>135.559992226833</c:v>
                </c:pt>
                <c:pt idx="60">
                  <c:v>106.31</c:v>
                </c:pt>
                <c:pt idx="61">
                  <c:v>93.4</c:v>
                </c:pt>
                <c:pt idx="62">
                  <c:v>161.02000000000001</c:v>
                </c:pt>
                <c:pt idx="63">
                  <c:v>111.02</c:v>
                </c:pt>
                <c:pt idx="64">
                  <c:v>70.12</c:v>
                </c:pt>
                <c:pt idx="65">
                  <c:v>81.290000000000006</c:v>
                </c:pt>
                <c:pt idx="66">
                  <c:v>146.06</c:v>
                </c:pt>
                <c:pt idx="67">
                  <c:v>237.02</c:v>
                </c:pt>
                <c:pt idx="68">
                  <c:v>160.07</c:v>
                </c:pt>
                <c:pt idx="69">
                  <c:v>50.94</c:v>
                </c:pt>
                <c:pt idx="70">
                  <c:v>61.47</c:v>
                </c:pt>
                <c:pt idx="71">
                  <c:v>119.47</c:v>
                </c:pt>
                <c:pt idx="72">
                  <c:v>64.209999999999994</c:v>
                </c:pt>
                <c:pt idx="73">
                  <c:v>80.41</c:v>
                </c:pt>
                <c:pt idx="74">
                  <c:v>70.819999999999993</c:v>
                </c:pt>
                <c:pt idx="75">
                  <c:v>59.65</c:v>
                </c:pt>
                <c:pt idx="76">
                  <c:v>49.14</c:v>
                </c:pt>
                <c:pt idx="77">
                  <c:v>53.75</c:v>
                </c:pt>
                <c:pt idx="78">
                  <c:v>30.75</c:v>
                </c:pt>
                <c:pt idx="79">
                  <c:v>49.47</c:v>
                </c:pt>
              </c:numCache>
            </c:numRef>
          </c:val>
          <c:smooth val="0"/>
          <c:extLst>
            <c:ext xmlns:c16="http://schemas.microsoft.com/office/drawing/2014/chart" uri="{C3380CC4-5D6E-409C-BE32-E72D297353CC}">
              <c16:uniqueId val="{00000001-3B93-4F44-ACC6-2FD5F710E87A}"/>
            </c:ext>
          </c:extLst>
        </c:ser>
        <c:dLbls>
          <c:showLegendKey val="0"/>
          <c:showVal val="0"/>
          <c:showCatName val="0"/>
          <c:showSerName val="0"/>
          <c:showPercent val="0"/>
          <c:showBubbleSize val="0"/>
        </c:dLbls>
        <c:smooth val="0"/>
        <c:axId val="1919883711"/>
        <c:axId val="1"/>
      </c:lineChart>
      <c:catAx>
        <c:axId val="19198837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mn-ea"/>
                <a:cs typeface="+mn-cs"/>
                <a:sym typeface="+mn-lt"/>
              </a:defRPr>
            </a:pPr>
            <a:endParaRPr lang="en-US"/>
          </a:p>
        </c:txPr>
        <c:crossAx val="1919883711"/>
        <c:crosses val="min"/>
        <c:crossBetween val="midCat"/>
        <c:majorUnit val="3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110017371163866E-2"/>
          <c:y val="1.8558172733761598E-2"/>
          <c:w val="0.93977996525767227"/>
          <c:h val="0.96288365453247682"/>
        </c:manualLayout>
      </c:layout>
      <c:barChart>
        <c:barDir val="bar"/>
        <c:grouping val="stacked"/>
        <c:varyColors val="0"/>
        <c:ser>
          <c:idx val="0"/>
          <c:order val="0"/>
          <c:spPr>
            <a:solidFill>
              <a:srgbClr val="CFDE63"/>
            </a:solidFill>
            <a:ln w="9525" cmpd="sng" algn="ctr">
              <a:solidFill>
                <a:schemeClr val="bg1"/>
              </a:solidFill>
              <a:prstDash val="solid"/>
            </a:ln>
          </c:spPr>
          <c:invertIfNegative val="0"/>
          <c:val>
            <c:numRef>
              <c:f>Sheet1!$A$1:$X$1</c:f>
              <c:numCache>
                <c:formatCode>General</c:formatCode>
                <c:ptCount val="24"/>
                <c:pt idx="0">
                  <c:v>57.442158475647233</c:v>
                </c:pt>
                <c:pt idx="1">
                  <c:v>58.763026557665029</c:v>
                </c:pt>
                <c:pt idx="2">
                  <c:v>72.691237198159754</c:v>
                </c:pt>
                <c:pt idx="3">
                  <c:v>30.370667877702967</c:v>
                </c:pt>
                <c:pt idx="4">
                  <c:v>45.517317105862148</c:v>
                </c:pt>
                <c:pt idx="5">
                  <c:v>55.149736339467125</c:v>
                </c:pt>
                <c:pt idx="6">
                  <c:v>61.281796196270918</c:v>
                </c:pt>
                <c:pt idx="7">
                  <c:v>16.629030819659896</c:v>
                </c:pt>
                <c:pt idx="8">
                  <c:v>41.462220905680091</c:v>
                </c:pt>
                <c:pt idx="9">
                  <c:v>62.157773350025217</c:v>
                </c:pt>
                <c:pt idx="10">
                  <c:v>49.799036120454602</c:v>
                </c:pt>
                <c:pt idx="11">
                  <c:v>45.847658689774924</c:v>
                </c:pt>
                <c:pt idx="12">
                  <c:v>22.075891633158232</c:v>
                </c:pt>
                <c:pt idx="13">
                  <c:v>43.427024879605945</c:v>
                </c:pt>
                <c:pt idx="14">
                  <c:v>10.749373046106475</c:v>
                </c:pt>
                <c:pt idx="15">
                  <c:v>88.076228296166306</c:v>
                </c:pt>
                <c:pt idx="16">
                  <c:v>8.4894160473871221</c:v>
                </c:pt>
                <c:pt idx="17">
                  <c:v>79.843887026146362</c:v>
                </c:pt>
                <c:pt idx="18">
                  <c:v>43.78332715305546</c:v>
                </c:pt>
                <c:pt idx="19">
                  <c:v>31.925913093159036</c:v>
                </c:pt>
                <c:pt idx="20">
                  <c:v>49.964553156705811</c:v>
                </c:pt>
                <c:pt idx="21">
                  <c:v>46.170004966691423</c:v>
                </c:pt>
                <c:pt idx="22">
                  <c:v>63.199819341685426</c:v>
                </c:pt>
                <c:pt idx="23">
                  <c:v>81.463125957136441</c:v>
                </c:pt>
              </c:numCache>
            </c:numRef>
          </c:val>
          <c:extLst>
            <c:ext xmlns:c16="http://schemas.microsoft.com/office/drawing/2014/chart" uri="{C3380CC4-5D6E-409C-BE32-E72D297353CC}">
              <c16:uniqueId val="{00000000-0164-4115-9E27-8535BD407C95}"/>
            </c:ext>
          </c:extLst>
        </c:ser>
        <c:ser>
          <c:idx val="1"/>
          <c:order val="1"/>
          <c:spPr>
            <a:solidFill>
              <a:srgbClr val="6F8DB9"/>
            </a:solidFill>
            <a:ln w="9525" cmpd="sng" algn="ctr">
              <a:solidFill>
                <a:schemeClr val="bg1"/>
              </a:solidFill>
              <a:prstDash val="solid"/>
            </a:ln>
          </c:spPr>
          <c:invertIfNegative val="0"/>
          <c:dPt>
            <c:idx val="15"/>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1-0164-4115-9E27-8535BD407C95}"/>
              </c:ext>
            </c:extLst>
          </c:dPt>
          <c:dPt>
            <c:idx val="19"/>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2-0164-4115-9E27-8535BD407C95}"/>
              </c:ext>
            </c:extLst>
          </c:dPt>
          <c:dPt>
            <c:idx val="20"/>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3-0164-4115-9E27-8535BD407C95}"/>
              </c:ext>
            </c:extLst>
          </c:dPt>
          <c:dPt>
            <c:idx val="23"/>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4-0164-4115-9E27-8535BD407C95}"/>
              </c:ext>
            </c:extLst>
          </c:dPt>
          <c:val>
            <c:numRef>
              <c:f>Sheet1!$A$2:$X$2</c:f>
              <c:numCache>
                <c:formatCode>General</c:formatCode>
                <c:ptCount val="24"/>
                <c:pt idx="0">
                  <c:v>9.2615153191644932</c:v>
                </c:pt>
                <c:pt idx="1">
                  <c:v>0.95348097796260634</c:v>
                </c:pt>
                <c:pt idx="2">
                  <c:v>2.0891133698337394</c:v>
                </c:pt>
                <c:pt idx="3">
                  <c:v>42.884011367401492</c:v>
                </c:pt>
                <c:pt idx="4">
                  <c:v>7.8391342557382506</c:v>
                </c:pt>
                <c:pt idx="5">
                  <c:v>12.12039619205102</c:v>
                </c:pt>
                <c:pt idx="6">
                  <c:v>22.448971491237902</c:v>
                </c:pt>
                <c:pt idx="7">
                  <c:v>6.2927826441478736</c:v>
                </c:pt>
                <c:pt idx="8">
                  <c:v>31.64017968024142</c:v>
                </c:pt>
                <c:pt idx="9">
                  <c:v>7.2915925560664396</c:v>
                </c:pt>
                <c:pt idx="10">
                  <c:v>28.884369034869927</c:v>
                </c:pt>
                <c:pt idx="11">
                  <c:v>6.3077845161567394</c:v>
                </c:pt>
                <c:pt idx="12">
                  <c:v>27.536192777667033</c:v>
                </c:pt>
                <c:pt idx="13">
                  <c:v>1.5377418054579595E-2</c:v>
                </c:pt>
                <c:pt idx="14">
                  <c:v>5.9925235085950543</c:v>
                </c:pt>
                <c:pt idx="15">
                  <c:v>11.923771703833697</c:v>
                </c:pt>
                <c:pt idx="16">
                  <c:v>30.08807536854049</c:v>
                </c:pt>
                <c:pt idx="17">
                  <c:v>2.4538487458658498E-2</c:v>
                </c:pt>
                <c:pt idx="18">
                  <c:v>10.076148730847029</c:v>
                </c:pt>
                <c:pt idx="19">
                  <c:v>68.074086906840961</c:v>
                </c:pt>
                <c:pt idx="20">
                  <c:v>50.035446843294196</c:v>
                </c:pt>
                <c:pt idx="21">
                  <c:v>20.146628660018077</c:v>
                </c:pt>
                <c:pt idx="22">
                  <c:v>9.9058359780124228E-2</c:v>
                </c:pt>
                <c:pt idx="23">
                  <c:v>18.536874042863559</c:v>
                </c:pt>
              </c:numCache>
            </c:numRef>
          </c:val>
          <c:extLst>
            <c:ext xmlns:c16="http://schemas.microsoft.com/office/drawing/2014/chart" uri="{C3380CC4-5D6E-409C-BE32-E72D297353CC}">
              <c16:uniqueId val="{00000005-0164-4115-9E27-8535BD407C95}"/>
            </c:ext>
          </c:extLst>
        </c:ser>
        <c:ser>
          <c:idx val="2"/>
          <c:order val="2"/>
          <c:spPr>
            <a:solidFill>
              <a:srgbClr val="9DB1CF"/>
            </a:solidFill>
            <a:ln w="9525" cmpd="sng" algn="ctr">
              <a:solidFill>
                <a:schemeClr val="bg1"/>
              </a:solidFill>
              <a:prstDash val="solid"/>
            </a:ln>
          </c:spPr>
          <c:invertIfNegative val="0"/>
          <c:val>
            <c:numRef>
              <c:f>Sheet1!$A$3:$X$3</c:f>
              <c:numCache>
                <c:formatCode>General</c:formatCode>
                <c:ptCount val="24"/>
                <c:pt idx="0">
                  <c:v>33.296326205188279</c:v>
                </c:pt>
                <c:pt idx="1">
                  <c:v>40.283492464372358</c:v>
                </c:pt>
                <c:pt idx="2">
                  <c:v>25.219649432006509</c:v>
                </c:pt>
                <c:pt idx="3">
                  <c:v>26.745320754895541</c:v>
                </c:pt>
                <c:pt idx="4">
                  <c:v>46.643548638399601</c:v>
                </c:pt>
                <c:pt idx="5">
                  <c:v>32.729867468481842</c:v>
                </c:pt>
                <c:pt idx="6">
                  <c:v>16.269232312491177</c:v>
                </c:pt>
                <c:pt idx="7">
                  <c:v>77.078186536192248</c:v>
                </c:pt>
                <c:pt idx="8">
                  <c:v>26.897599414078488</c:v>
                </c:pt>
                <c:pt idx="9">
                  <c:v>30.550634093908347</c:v>
                </c:pt>
                <c:pt idx="10">
                  <c:v>21.316594844675475</c:v>
                </c:pt>
                <c:pt idx="11">
                  <c:v>47.844556794068339</c:v>
                </c:pt>
                <c:pt idx="12">
                  <c:v>50.387915589174739</c:v>
                </c:pt>
                <c:pt idx="13">
                  <c:v>56.557597702339478</c:v>
                </c:pt>
                <c:pt idx="14">
                  <c:v>83.258103445298474</c:v>
                </c:pt>
                <c:pt idx="16">
                  <c:v>61.422508584072389</c:v>
                </c:pt>
                <c:pt idx="17">
                  <c:v>20.131574486394975</c:v>
                </c:pt>
                <c:pt idx="18">
                  <c:v>46.140524116097517</c:v>
                </c:pt>
                <c:pt idx="21">
                  <c:v>33.683366373290504</c:v>
                </c:pt>
                <c:pt idx="22">
                  <c:v>36.70112229853445</c:v>
                </c:pt>
              </c:numCache>
            </c:numRef>
          </c:val>
          <c:extLst>
            <c:ext xmlns:c16="http://schemas.microsoft.com/office/drawing/2014/chart" uri="{C3380CC4-5D6E-409C-BE32-E72D297353CC}">
              <c16:uniqueId val="{00000006-0164-4115-9E27-8535BD407C95}"/>
            </c:ext>
          </c:extLst>
        </c:ser>
        <c:dLbls>
          <c:showLegendKey val="0"/>
          <c:showVal val="0"/>
          <c:showCatName val="0"/>
          <c:showSerName val="0"/>
          <c:showPercent val="0"/>
          <c:showBubbleSize val="0"/>
        </c:dLbls>
        <c:gapWidth val="80"/>
        <c:overlap val="100"/>
        <c:axId val="1665042399"/>
        <c:axId val="1"/>
      </c:barChart>
      <c:catAx>
        <c:axId val="166504239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t"/>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665042399"/>
        <c:crosses val="min"/>
        <c:crossBetween val="between"/>
        <c:majorUnit val="20"/>
      </c:valAx>
    </c:plotArea>
    <c:plotVisOnly val="0"/>
    <c:dispBlanksAs val="gap"/>
    <c:showDLblsOverMax val="1"/>
  </c:chart>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370786516853932E-2"/>
          <c:y val="4.4750430292598967E-2"/>
          <c:w val="0.95325842696629215"/>
          <c:h val="0.91049913941480209"/>
        </c:manualLayout>
      </c:layout>
      <c:barChart>
        <c:barDir val="col"/>
        <c:grouping val="clustered"/>
        <c:varyColors val="0"/>
        <c:ser>
          <c:idx val="0"/>
          <c:order val="0"/>
          <c:spPr>
            <a:solidFill>
              <a:srgbClr val="5A5A5A"/>
            </a:solidFill>
            <a:ln>
              <a:noFill/>
            </a:ln>
          </c:spPr>
          <c:invertIfNegative val="0"/>
          <c:val>
            <c:numRef>
              <c:f>Sheet1!$A$1</c:f>
              <c:numCache>
                <c:formatCode>General</c:formatCode>
                <c:ptCount val="1"/>
                <c:pt idx="0">
                  <c:v>132.9</c:v>
                </c:pt>
              </c:numCache>
            </c:numRef>
          </c:val>
          <c:extLst>
            <c:ext xmlns:c16="http://schemas.microsoft.com/office/drawing/2014/chart" uri="{C3380CC4-5D6E-409C-BE32-E72D297353CC}">
              <c16:uniqueId val="{00000000-2711-42BB-923E-D10477CF95A4}"/>
            </c:ext>
          </c:extLst>
        </c:ser>
        <c:ser>
          <c:idx val="1"/>
          <c:order val="1"/>
          <c:spPr>
            <a:solidFill>
              <a:schemeClr val="accent5"/>
            </a:solidFill>
            <a:ln>
              <a:noFill/>
            </a:ln>
          </c:spPr>
          <c:invertIfNegative val="0"/>
          <c:val>
            <c:numRef>
              <c:f>Sheet1!$A$2</c:f>
              <c:numCache>
                <c:formatCode>General</c:formatCode>
                <c:ptCount val="1"/>
                <c:pt idx="0">
                  <c:v>105.3</c:v>
                </c:pt>
              </c:numCache>
            </c:numRef>
          </c:val>
          <c:extLst>
            <c:ext xmlns:c16="http://schemas.microsoft.com/office/drawing/2014/chart" uri="{C3380CC4-5D6E-409C-BE32-E72D297353CC}">
              <c16:uniqueId val="{00000001-2711-42BB-923E-D10477CF95A4}"/>
            </c:ext>
          </c:extLst>
        </c:ser>
        <c:ser>
          <c:idx val="2"/>
          <c:order val="2"/>
          <c:spPr>
            <a:solidFill>
              <a:schemeClr val="accent2"/>
            </a:solidFill>
            <a:ln>
              <a:noFill/>
            </a:ln>
          </c:spPr>
          <c:invertIfNegative val="0"/>
          <c:val>
            <c:numRef>
              <c:f>Sheet1!$A$3</c:f>
              <c:numCache>
                <c:formatCode>General</c:formatCode>
                <c:ptCount val="1"/>
                <c:pt idx="0">
                  <c:v>106.5</c:v>
                </c:pt>
              </c:numCache>
            </c:numRef>
          </c:val>
          <c:extLst>
            <c:ext xmlns:c16="http://schemas.microsoft.com/office/drawing/2014/chart" uri="{C3380CC4-5D6E-409C-BE32-E72D297353CC}">
              <c16:uniqueId val="{00000002-2711-42BB-923E-D10477CF95A4}"/>
            </c:ext>
          </c:extLst>
        </c:ser>
        <c:dLbls>
          <c:showLegendKey val="0"/>
          <c:showVal val="0"/>
          <c:showCatName val="0"/>
          <c:showSerName val="0"/>
          <c:showPercent val="0"/>
          <c:showBubbleSize val="0"/>
        </c:dLbls>
        <c:gapWidth val="100"/>
        <c:axId val="1223310416"/>
        <c:axId val="1"/>
      </c:barChart>
      <c:catAx>
        <c:axId val="12233104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223310416"/>
        <c:crosses val="min"/>
        <c:crossBetween val="between"/>
      </c:valAx>
    </c:plotArea>
    <c:plotVisOnly val="0"/>
    <c:dispBlanksAs val="gap"/>
    <c:showDLblsOverMax val="1"/>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370786516853932E-2"/>
          <c:y val="4.6511627906976744E-2"/>
          <c:w val="0.95325842696629215"/>
          <c:h val="0.90697674418604646"/>
        </c:manualLayout>
      </c:layout>
      <c:barChart>
        <c:barDir val="col"/>
        <c:grouping val="clustered"/>
        <c:varyColors val="0"/>
        <c:ser>
          <c:idx val="0"/>
          <c:order val="0"/>
          <c:spPr>
            <a:solidFill>
              <a:srgbClr val="5A5A5A"/>
            </a:solidFill>
            <a:ln>
              <a:noFill/>
            </a:ln>
          </c:spPr>
          <c:invertIfNegative val="0"/>
          <c:val>
            <c:numRef>
              <c:f>Sheet1!$A$1</c:f>
              <c:numCache>
                <c:formatCode>General</c:formatCode>
                <c:ptCount val="1"/>
                <c:pt idx="0">
                  <c:v>188</c:v>
                </c:pt>
              </c:numCache>
            </c:numRef>
          </c:val>
          <c:extLst>
            <c:ext xmlns:c16="http://schemas.microsoft.com/office/drawing/2014/chart" uri="{C3380CC4-5D6E-409C-BE32-E72D297353CC}">
              <c16:uniqueId val="{00000000-9ABE-4DA2-A5A4-12F97A575614}"/>
            </c:ext>
          </c:extLst>
        </c:ser>
        <c:ser>
          <c:idx val="1"/>
          <c:order val="1"/>
          <c:spPr>
            <a:solidFill>
              <a:schemeClr val="accent5"/>
            </a:solidFill>
            <a:ln>
              <a:noFill/>
            </a:ln>
          </c:spPr>
          <c:invertIfNegative val="0"/>
          <c:val>
            <c:numRef>
              <c:f>Sheet1!$A$2</c:f>
              <c:numCache>
                <c:formatCode>General</c:formatCode>
                <c:ptCount val="1"/>
                <c:pt idx="0">
                  <c:v>131.69999999999999</c:v>
                </c:pt>
              </c:numCache>
            </c:numRef>
          </c:val>
          <c:extLst>
            <c:ext xmlns:c16="http://schemas.microsoft.com/office/drawing/2014/chart" uri="{C3380CC4-5D6E-409C-BE32-E72D297353CC}">
              <c16:uniqueId val="{00000001-9ABE-4DA2-A5A4-12F97A575614}"/>
            </c:ext>
          </c:extLst>
        </c:ser>
        <c:ser>
          <c:idx val="2"/>
          <c:order val="2"/>
          <c:spPr>
            <a:solidFill>
              <a:schemeClr val="accent2"/>
            </a:solidFill>
            <a:ln>
              <a:noFill/>
            </a:ln>
          </c:spPr>
          <c:invertIfNegative val="0"/>
          <c:val>
            <c:numRef>
              <c:f>Sheet1!$A$3</c:f>
              <c:numCache>
                <c:formatCode>General</c:formatCode>
                <c:ptCount val="1"/>
                <c:pt idx="0">
                  <c:v>143.30000000000001</c:v>
                </c:pt>
              </c:numCache>
            </c:numRef>
          </c:val>
          <c:extLst>
            <c:ext xmlns:c16="http://schemas.microsoft.com/office/drawing/2014/chart" uri="{C3380CC4-5D6E-409C-BE32-E72D297353CC}">
              <c16:uniqueId val="{00000002-9ABE-4DA2-A5A4-12F97A575614}"/>
            </c:ext>
          </c:extLst>
        </c:ser>
        <c:dLbls>
          <c:showLegendKey val="0"/>
          <c:showVal val="0"/>
          <c:showCatName val="0"/>
          <c:showSerName val="0"/>
          <c:showPercent val="0"/>
          <c:showBubbleSize val="0"/>
        </c:dLbls>
        <c:gapWidth val="100"/>
        <c:axId val="1819598447"/>
        <c:axId val="1"/>
      </c:barChart>
      <c:catAx>
        <c:axId val="18195984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819598447"/>
        <c:crosses val="min"/>
        <c:crossBetween val="between"/>
      </c:valAx>
    </c:plotArea>
    <c:plotVisOnly val="0"/>
    <c:dispBlanksAs val="gap"/>
    <c:showDLblsOverMax val="1"/>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679417122040074E-2"/>
          <c:y val="5.9496567505720827E-2"/>
          <c:w val="0.95264116575591984"/>
          <c:h val="0.8810068649885584"/>
        </c:manualLayout>
      </c:layout>
      <c:barChart>
        <c:barDir val="col"/>
        <c:grouping val="clustered"/>
        <c:varyColors val="0"/>
        <c:ser>
          <c:idx val="0"/>
          <c:order val="0"/>
          <c:spPr>
            <a:solidFill>
              <a:srgbClr val="6F8DB9"/>
            </a:solidFill>
            <a:ln>
              <a:noFill/>
            </a:ln>
          </c:spPr>
          <c:invertIfNegative val="0"/>
          <c:val>
            <c:numRef>
              <c:f>Sheet1!$A$1</c:f>
              <c:numCache>
                <c:formatCode>General</c:formatCode>
                <c:ptCount val="1"/>
                <c:pt idx="0">
                  <c:v>140</c:v>
                </c:pt>
              </c:numCache>
            </c:numRef>
          </c:val>
          <c:extLst>
            <c:ext xmlns:c16="http://schemas.microsoft.com/office/drawing/2014/chart" uri="{C3380CC4-5D6E-409C-BE32-E72D297353CC}">
              <c16:uniqueId val="{00000000-6DB9-4B64-AFD9-D839ABDBC610}"/>
            </c:ext>
          </c:extLst>
        </c:ser>
        <c:ser>
          <c:idx val="1"/>
          <c:order val="1"/>
          <c:spPr>
            <a:solidFill>
              <a:srgbClr val="5A5A5A"/>
            </a:solidFill>
            <a:ln>
              <a:noFill/>
            </a:ln>
          </c:spPr>
          <c:invertIfNegative val="0"/>
          <c:val>
            <c:numRef>
              <c:f>Sheet1!$A$2</c:f>
              <c:numCache>
                <c:formatCode>General</c:formatCode>
                <c:ptCount val="1"/>
                <c:pt idx="0">
                  <c:v>179.5</c:v>
                </c:pt>
              </c:numCache>
            </c:numRef>
          </c:val>
          <c:extLst>
            <c:ext xmlns:c16="http://schemas.microsoft.com/office/drawing/2014/chart" uri="{C3380CC4-5D6E-409C-BE32-E72D297353CC}">
              <c16:uniqueId val="{00000001-6DB9-4B64-AFD9-D839ABDBC610}"/>
            </c:ext>
          </c:extLst>
        </c:ser>
        <c:ser>
          <c:idx val="2"/>
          <c:order val="2"/>
          <c:spPr>
            <a:solidFill>
              <a:schemeClr val="accent5"/>
            </a:solidFill>
            <a:ln>
              <a:noFill/>
            </a:ln>
          </c:spPr>
          <c:invertIfNegative val="0"/>
          <c:val>
            <c:numRef>
              <c:f>Sheet1!$A$3</c:f>
              <c:numCache>
                <c:formatCode>General</c:formatCode>
                <c:ptCount val="1"/>
                <c:pt idx="0">
                  <c:v>141.80000000000001</c:v>
                </c:pt>
              </c:numCache>
            </c:numRef>
          </c:val>
          <c:extLst>
            <c:ext xmlns:c16="http://schemas.microsoft.com/office/drawing/2014/chart" uri="{C3380CC4-5D6E-409C-BE32-E72D297353CC}">
              <c16:uniqueId val="{00000002-6DB9-4B64-AFD9-D839ABDBC610}"/>
            </c:ext>
          </c:extLst>
        </c:ser>
        <c:ser>
          <c:idx val="3"/>
          <c:order val="3"/>
          <c:spPr>
            <a:solidFill>
              <a:schemeClr val="accent2"/>
            </a:solidFill>
            <a:ln>
              <a:noFill/>
            </a:ln>
          </c:spPr>
          <c:invertIfNegative val="0"/>
          <c:val>
            <c:numRef>
              <c:f>Sheet1!$A$4</c:f>
              <c:numCache>
                <c:formatCode>General</c:formatCode>
                <c:ptCount val="1"/>
                <c:pt idx="0">
                  <c:v>134.9</c:v>
                </c:pt>
              </c:numCache>
            </c:numRef>
          </c:val>
          <c:extLst>
            <c:ext xmlns:c16="http://schemas.microsoft.com/office/drawing/2014/chart" uri="{C3380CC4-5D6E-409C-BE32-E72D297353CC}">
              <c16:uniqueId val="{00000003-6DB9-4B64-AFD9-D839ABDBC610}"/>
            </c:ext>
          </c:extLst>
        </c:ser>
        <c:dLbls>
          <c:showLegendKey val="0"/>
          <c:showVal val="0"/>
          <c:showCatName val="0"/>
          <c:showSerName val="0"/>
          <c:showPercent val="0"/>
          <c:showBubbleSize val="0"/>
        </c:dLbls>
        <c:gapWidth val="100"/>
        <c:axId val="1627165679"/>
        <c:axId val="1"/>
      </c:barChart>
      <c:catAx>
        <c:axId val="16271656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1627165679"/>
        <c:crosses val="min"/>
        <c:crossBetween val="between"/>
        <c:majorUnit val="100"/>
      </c:valAx>
    </c:plotArea>
    <c:plotVisOnly val="0"/>
    <c:dispBlanksAs val="gap"/>
    <c:showDLblsOverMax val="1"/>
  </c:chart>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679417122040074E-2"/>
          <c:y val="5.5974165769644778E-2"/>
          <c:w val="0.95264116575591984"/>
          <c:h val="0.88805166846071049"/>
        </c:manualLayout>
      </c:layout>
      <c:barChart>
        <c:barDir val="col"/>
        <c:grouping val="clustered"/>
        <c:varyColors val="0"/>
        <c:ser>
          <c:idx val="0"/>
          <c:order val="0"/>
          <c:spPr>
            <a:solidFill>
              <a:srgbClr val="6F8DB9"/>
            </a:solidFill>
            <a:ln>
              <a:noFill/>
            </a:ln>
          </c:spPr>
          <c:invertIfNegative val="0"/>
          <c:val>
            <c:numRef>
              <c:f>Sheet1!$A$1</c:f>
              <c:numCache>
                <c:formatCode>General</c:formatCode>
                <c:ptCount val="1"/>
                <c:pt idx="0">
                  <c:v>59</c:v>
                </c:pt>
              </c:numCache>
            </c:numRef>
          </c:val>
          <c:extLst>
            <c:ext xmlns:c16="http://schemas.microsoft.com/office/drawing/2014/chart" uri="{C3380CC4-5D6E-409C-BE32-E72D297353CC}">
              <c16:uniqueId val="{00000000-6FAF-4BCC-A365-548B407007BE}"/>
            </c:ext>
          </c:extLst>
        </c:ser>
        <c:ser>
          <c:idx val="1"/>
          <c:order val="1"/>
          <c:spPr>
            <a:solidFill>
              <a:srgbClr val="5A5A5A"/>
            </a:solidFill>
            <a:ln>
              <a:noFill/>
            </a:ln>
          </c:spPr>
          <c:invertIfNegative val="0"/>
          <c:val>
            <c:numRef>
              <c:f>Sheet1!$A$2</c:f>
              <c:numCache>
                <c:formatCode>General</c:formatCode>
                <c:ptCount val="1"/>
                <c:pt idx="0">
                  <c:v>128</c:v>
                </c:pt>
              </c:numCache>
            </c:numRef>
          </c:val>
          <c:extLst>
            <c:ext xmlns:c16="http://schemas.microsoft.com/office/drawing/2014/chart" uri="{C3380CC4-5D6E-409C-BE32-E72D297353CC}">
              <c16:uniqueId val="{00000001-6FAF-4BCC-A365-548B407007BE}"/>
            </c:ext>
          </c:extLst>
        </c:ser>
        <c:ser>
          <c:idx val="2"/>
          <c:order val="2"/>
          <c:spPr>
            <a:solidFill>
              <a:schemeClr val="accent5"/>
            </a:solidFill>
            <a:ln>
              <a:noFill/>
            </a:ln>
          </c:spPr>
          <c:invertIfNegative val="0"/>
          <c:val>
            <c:numRef>
              <c:f>Sheet1!$A$3</c:f>
              <c:numCache>
                <c:formatCode>General</c:formatCode>
                <c:ptCount val="1"/>
                <c:pt idx="0">
                  <c:v>87.9</c:v>
                </c:pt>
              </c:numCache>
            </c:numRef>
          </c:val>
          <c:extLst>
            <c:ext xmlns:c16="http://schemas.microsoft.com/office/drawing/2014/chart" uri="{C3380CC4-5D6E-409C-BE32-E72D297353CC}">
              <c16:uniqueId val="{00000002-6FAF-4BCC-A365-548B407007BE}"/>
            </c:ext>
          </c:extLst>
        </c:ser>
        <c:ser>
          <c:idx val="3"/>
          <c:order val="3"/>
          <c:spPr>
            <a:solidFill>
              <a:schemeClr val="accent2"/>
            </a:solidFill>
            <a:ln>
              <a:noFill/>
            </a:ln>
          </c:spPr>
          <c:invertIfNegative val="0"/>
          <c:val>
            <c:numRef>
              <c:f>Sheet1!$A$4</c:f>
              <c:numCache>
                <c:formatCode>General</c:formatCode>
                <c:ptCount val="1"/>
                <c:pt idx="0">
                  <c:v>92.5</c:v>
                </c:pt>
              </c:numCache>
            </c:numRef>
          </c:val>
          <c:extLst>
            <c:ext xmlns:c16="http://schemas.microsoft.com/office/drawing/2014/chart" uri="{C3380CC4-5D6E-409C-BE32-E72D297353CC}">
              <c16:uniqueId val="{00000003-6FAF-4BCC-A365-548B407007BE}"/>
            </c:ext>
          </c:extLst>
        </c:ser>
        <c:dLbls>
          <c:showLegendKey val="0"/>
          <c:showVal val="0"/>
          <c:showCatName val="0"/>
          <c:showSerName val="0"/>
          <c:showPercent val="0"/>
          <c:showBubbleSize val="0"/>
        </c:dLbls>
        <c:gapWidth val="100"/>
        <c:axId val="517354528"/>
        <c:axId val="1"/>
      </c:barChart>
      <c:catAx>
        <c:axId val="5173545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517354528"/>
        <c:crosses val="min"/>
        <c:crossBetween val="between"/>
        <c:majorUnit val="50"/>
      </c:valAx>
    </c:plotArea>
    <c:plotVisOnly val="0"/>
    <c:dispBlanksAs val="gap"/>
    <c:showDLblsOverMax val="1"/>
  </c:chart>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55421340235836E-2"/>
          <c:y val="0.10810810810810811"/>
          <c:w val="0.97008915731952838"/>
          <c:h val="0.78378378378378377"/>
        </c:manualLayout>
      </c:layout>
      <c:barChart>
        <c:barDir val="col"/>
        <c:grouping val="stacked"/>
        <c:varyColors val="0"/>
        <c:ser>
          <c:idx val="0"/>
          <c:order val="0"/>
          <c:spPr>
            <a:noFill/>
            <a:ln>
              <a:noFill/>
            </a:ln>
          </c:spPr>
          <c:invertIfNegative val="0"/>
          <c:dPt>
            <c:idx val="0"/>
            <c:invertIfNegative val="0"/>
            <c:bubble3D val="0"/>
            <c:spPr>
              <a:solidFill>
                <a:srgbClr val="4D4524"/>
              </a:solidFill>
              <a:ln w="9525" algn="ctr">
                <a:solidFill>
                  <a:schemeClr val="bg1"/>
                </a:solidFill>
                <a:prstDash val="solid"/>
              </a:ln>
            </c:spPr>
            <c:extLst>
              <c:ext xmlns:c16="http://schemas.microsoft.com/office/drawing/2014/chart" uri="{C3380CC4-5D6E-409C-BE32-E72D297353CC}">
                <c16:uniqueId val="{00000000-0255-41B7-A86E-A2279B7B5765}"/>
              </c:ext>
            </c:extLst>
          </c:dPt>
          <c:val>
            <c:numRef>
              <c:f>Sheet1!$A$1:$C$1</c:f>
              <c:numCache>
                <c:formatCode>General</c:formatCode>
                <c:ptCount val="3"/>
                <c:pt idx="0">
                  <c:v>-550</c:v>
                </c:pt>
                <c:pt idx="1">
                  <c:v>-248.23935630457174</c:v>
                </c:pt>
                <c:pt idx="2">
                  <c:v>-248.23935630457174</c:v>
                </c:pt>
              </c:numCache>
            </c:numRef>
          </c:val>
          <c:extLst>
            <c:ext xmlns:c16="http://schemas.microsoft.com/office/drawing/2014/chart" uri="{C3380CC4-5D6E-409C-BE32-E72D297353CC}">
              <c16:uniqueId val="{00000001-0255-41B7-A86E-A2279B7B5765}"/>
            </c:ext>
          </c:extLst>
        </c:ser>
        <c:ser>
          <c:idx val="1"/>
          <c:order val="1"/>
          <c:spPr>
            <a:solidFill>
              <a:srgbClr val="5A5A5A"/>
            </a:solidFill>
            <a:ln w="9525" algn="ctr">
              <a:solidFill>
                <a:schemeClr val="bg1"/>
              </a:solidFill>
              <a:prstDash val="solid"/>
            </a:ln>
          </c:spPr>
          <c:invertIfNegative val="0"/>
          <c:dPt>
            <c:idx val="1"/>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2-0255-41B7-A86E-A2279B7B5765}"/>
              </c:ext>
            </c:extLst>
          </c:dPt>
          <c:val>
            <c:numRef>
              <c:f>Sheet1!$A$2:$C$2</c:f>
              <c:numCache>
                <c:formatCode>General</c:formatCode>
                <c:ptCount val="3"/>
                <c:pt idx="0">
                  <c:v>-275.29999999999995</c:v>
                </c:pt>
                <c:pt idx="1">
                  <c:v>-397.22259977568251</c:v>
                </c:pt>
              </c:numCache>
            </c:numRef>
          </c:val>
          <c:extLst>
            <c:ext xmlns:c16="http://schemas.microsoft.com/office/drawing/2014/chart" uri="{C3380CC4-5D6E-409C-BE32-E72D297353CC}">
              <c16:uniqueId val="{00000003-0255-41B7-A86E-A2279B7B5765}"/>
            </c:ext>
          </c:extLst>
        </c:ser>
        <c:ser>
          <c:idx val="2"/>
          <c:order val="2"/>
          <c:spPr>
            <a:solidFill>
              <a:srgbClr val="4E5F6E"/>
            </a:solidFill>
            <a:ln w="9525" algn="ctr">
              <a:solidFill>
                <a:schemeClr val="bg1"/>
              </a:solidFill>
              <a:prstDash val="solid"/>
            </a:ln>
          </c:spPr>
          <c:invertIfNegative val="0"/>
          <c:dPt>
            <c:idx val="1"/>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4-0255-41B7-A86E-A2279B7B5765}"/>
              </c:ext>
            </c:extLst>
          </c:dPt>
          <c:val>
            <c:numRef>
              <c:f>Sheet1!$A$3:$C$3</c:f>
              <c:numCache>
                <c:formatCode>General</c:formatCode>
                <c:ptCount val="3"/>
                <c:pt idx="0">
                  <c:v>-25.809999999999945</c:v>
                </c:pt>
                <c:pt idx="1">
                  <c:v>-205.64804391974565</c:v>
                </c:pt>
              </c:numCache>
            </c:numRef>
          </c:val>
          <c:extLst>
            <c:ext xmlns:c16="http://schemas.microsoft.com/office/drawing/2014/chart" uri="{C3380CC4-5D6E-409C-BE32-E72D297353CC}">
              <c16:uniqueId val="{00000005-0255-41B7-A86E-A2279B7B5765}"/>
            </c:ext>
          </c:extLst>
        </c:ser>
        <c:dLbls>
          <c:showLegendKey val="0"/>
          <c:showVal val="0"/>
          <c:showCatName val="0"/>
          <c:showSerName val="0"/>
          <c:showPercent val="0"/>
          <c:showBubbleSize val="0"/>
        </c:dLbls>
        <c:gapWidth val="80"/>
        <c:overlap val="100"/>
        <c:axId val="216030336"/>
        <c:axId val="1"/>
      </c:barChart>
      <c:catAx>
        <c:axId val="216030336"/>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851.1099999999999"/>
        </c:scaling>
        <c:delete val="1"/>
        <c:axPos val="l"/>
        <c:numFmt formatCode="General" sourceLinked="1"/>
        <c:majorTickMark val="out"/>
        <c:minorTickMark val="none"/>
        <c:tickLblPos val="nextTo"/>
        <c:crossAx val="216030336"/>
        <c:crosses val="min"/>
        <c:crossBetween val="between"/>
      </c:valAx>
    </c:plotArea>
    <c:plotVisOnly val="0"/>
    <c:dispBlanksAs val="gap"/>
    <c:showDLblsOverMax val="1"/>
  </c:chart>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63331299572909E-2"/>
          <c:y val="7.1625344352617082E-2"/>
          <c:w val="0.96827333740085419"/>
          <c:h val="0.85674931129476584"/>
        </c:manualLayout>
      </c:layout>
      <c:scatterChart>
        <c:scatterStyle val="lineMarker"/>
        <c:varyColors val="0"/>
        <c:ser>
          <c:idx val="0"/>
          <c:order val="0"/>
          <c:spPr>
            <a:ln w="28575" cmpd="sng" algn="ctr">
              <a:solidFill>
                <a:schemeClr val="accent1"/>
              </a:solidFill>
              <a:prstDash val="solid"/>
            </a:ln>
          </c:spPr>
          <c:marker>
            <c:symbol val="none"/>
          </c:marker>
          <c:xVal>
            <c:numRef>
              <c:f>Sheet1!$A$1:$AC$1</c:f>
              <c:numCache>
                <c:formatCode>General</c:formatCode>
                <c:ptCount val="29"/>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numCache>
            </c:numRef>
          </c:xVal>
          <c:yVal>
            <c:numRef>
              <c:f>Sheet1!$A$2:$AC$2</c:f>
              <c:numCache>
                <c:formatCode>General</c:formatCode>
                <c:ptCount val="29"/>
                <c:pt idx="0">
                  <c:v>0</c:v>
                </c:pt>
                <c:pt idx="1">
                  <c:v>0</c:v>
                </c:pt>
                <c:pt idx="2">
                  <c:v>0</c:v>
                </c:pt>
                <c:pt idx="3">
                  <c:v>0</c:v>
                </c:pt>
                <c:pt idx="4">
                  <c:v>0</c:v>
                </c:pt>
                <c:pt idx="5">
                  <c:v>0</c:v>
                </c:pt>
                <c:pt idx="6">
                  <c:v>0</c:v>
                </c:pt>
                <c:pt idx="7">
                  <c:v>0</c:v>
                </c:pt>
                <c:pt idx="8">
                  <c:v>24</c:v>
                </c:pt>
                <c:pt idx="9">
                  <c:v>24</c:v>
                </c:pt>
                <c:pt idx="10">
                  <c:v>24</c:v>
                </c:pt>
                <c:pt idx="11">
                  <c:v>24</c:v>
                </c:pt>
                <c:pt idx="12">
                  <c:v>24</c:v>
                </c:pt>
                <c:pt idx="13">
                  <c:v>0</c:v>
                </c:pt>
                <c:pt idx="14">
                  <c:v>0</c:v>
                </c:pt>
                <c:pt idx="15">
                  <c:v>0</c:v>
                </c:pt>
                <c:pt idx="16">
                  <c:v>0</c:v>
                </c:pt>
                <c:pt idx="17">
                  <c:v>23</c:v>
                </c:pt>
                <c:pt idx="18">
                  <c:v>20</c:v>
                </c:pt>
                <c:pt idx="19">
                  <c:v>23</c:v>
                </c:pt>
                <c:pt idx="20">
                  <c:v>24</c:v>
                </c:pt>
                <c:pt idx="21">
                  <c:v>24</c:v>
                </c:pt>
                <c:pt idx="22">
                  <c:v>37</c:v>
                </c:pt>
                <c:pt idx="23">
                  <c:v>37</c:v>
                </c:pt>
                <c:pt idx="24">
                  <c:v>41</c:v>
                </c:pt>
                <c:pt idx="25">
                  <c:v>63</c:v>
                </c:pt>
                <c:pt idx="26">
                  <c:v>83</c:v>
                </c:pt>
                <c:pt idx="27">
                  <c:v>88</c:v>
                </c:pt>
                <c:pt idx="28">
                  <c:v>91</c:v>
                </c:pt>
              </c:numCache>
            </c:numRef>
          </c:yVal>
          <c:smooth val="0"/>
          <c:extLst>
            <c:ext xmlns:c16="http://schemas.microsoft.com/office/drawing/2014/chart" uri="{C3380CC4-5D6E-409C-BE32-E72D297353CC}">
              <c16:uniqueId val="{00000000-7FFD-49F4-BC71-FEC4FE396E91}"/>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4"/>
        <c:crosses val="min"/>
        <c:crossBetween val="midCat"/>
        <c:majorUnit val="50"/>
      </c:valAx>
    </c:plotArea>
    <c:plotVisOnly val="0"/>
    <c:dispBlanksAs val="gap"/>
    <c:showDLblsOverMax val="1"/>
  </c:chart>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78397711015737E-2"/>
          <c:y val="2.30803373280071E-2"/>
          <c:w val="0.97024320457796853"/>
          <c:h val="0.95383932534398574"/>
        </c:manualLayout>
      </c:layout>
      <c:scatterChart>
        <c:scatterStyle val="lineMarker"/>
        <c:varyColors val="0"/>
        <c:ser>
          <c:idx val="0"/>
          <c:order val="0"/>
          <c:smooth val="0"/>
          <c:extLst>
            <c:ext xmlns:c16="http://schemas.microsoft.com/office/drawing/2014/chart" uri="{C3380CC4-5D6E-409C-BE32-E72D297353CC}">
              <c16:uniqueId val="{00000000-128C-41B3-963D-84DDBD5A15C8}"/>
            </c:ext>
          </c:extLst>
        </c:ser>
        <c:dLbls>
          <c:showLegendKey val="0"/>
          <c:showVal val="0"/>
          <c:showCatName val="0"/>
          <c:showSerName val="0"/>
          <c:showPercent val="0"/>
          <c:showBubbleSize val="0"/>
        </c:dLbls>
        <c:axId val="4"/>
        <c:axId val="5"/>
      </c:scatterChart>
      <c:valAx>
        <c:axId val="4"/>
        <c:scaling>
          <c:orientation val="minMax"/>
          <c:max val="7"/>
          <c:min val="0"/>
        </c:scaling>
        <c:delete val="0"/>
        <c:axPos val="b"/>
        <c:majorGridlines>
          <c:spPr>
            <a:ln>
              <a:noFill/>
            </a:ln>
          </c:spPr>
        </c:majorGridlines>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80"/>
          <c:min val="0"/>
        </c:scaling>
        <c:delete val="0"/>
        <c:axPos val="l"/>
        <c:majorGridlines>
          <c:spPr>
            <a:ln>
              <a:noFill/>
            </a:ln>
          </c:spPr>
        </c:majorGridlines>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61080885019949E-2"/>
          <c:y val="3.4597471723220224E-2"/>
          <c:w val="0.96227783822996005"/>
          <c:h val="0.9308050565535595"/>
        </c:manualLayout>
      </c:layout>
      <c:barChart>
        <c:barDir val="col"/>
        <c:grouping val="stacked"/>
        <c:varyColors val="0"/>
        <c:ser>
          <c:idx val="0"/>
          <c:order val="0"/>
          <c:spPr>
            <a:solidFill>
              <a:schemeClr val="accent5"/>
            </a:solidFill>
            <a:ln>
              <a:noFill/>
            </a:ln>
          </c:spPr>
          <c:invertIfNegative val="0"/>
          <c:dPt>
            <c:idx val="6"/>
            <c:invertIfNegative val="0"/>
            <c:bubble3D val="0"/>
            <c:spPr>
              <a:solidFill>
                <a:srgbClr val="DF5327"/>
              </a:solidFill>
              <a:ln>
                <a:noFill/>
              </a:ln>
            </c:spPr>
            <c:extLst>
              <c:ext xmlns:c16="http://schemas.microsoft.com/office/drawing/2014/chart" uri="{C3380CC4-5D6E-409C-BE32-E72D297353CC}">
                <c16:uniqueId val="{00000000-4C2A-414B-A6BF-D7C95F2FC632}"/>
              </c:ext>
            </c:extLst>
          </c:dPt>
          <c:val>
            <c:numRef>
              <c:f>Sheet1!$A$1:$G$1</c:f>
              <c:numCache>
                <c:formatCode>General</c:formatCode>
                <c:ptCount val="7"/>
                <c:pt idx="0">
                  <c:v>521</c:v>
                </c:pt>
                <c:pt idx="1">
                  <c:v>408</c:v>
                </c:pt>
                <c:pt idx="2">
                  <c:v>125</c:v>
                </c:pt>
                <c:pt idx="3">
                  <c:v>2609.6087555710637</c:v>
                </c:pt>
                <c:pt idx="4">
                  <c:v>573</c:v>
                </c:pt>
                <c:pt idx="5">
                  <c:v>3342</c:v>
                </c:pt>
                <c:pt idx="6">
                  <c:v>160.78800000000001</c:v>
                </c:pt>
              </c:numCache>
            </c:numRef>
          </c:val>
          <c:extLst>
            <c:ext xmlns:c16="http://schemas.microsoft.com/office/drawing/2014/chart" uri="{C3380CC4-5D6E-409C-BE32-E72D297353CC}">
              <c16:uniqueId val="{00000001-4C2A-414B-A6BF-D7C95F2FC632}"/>
            </c:ext>
          </c:extLst>
        </c:ser>
        <c:ser>
          <c:idx val="1"/>
          <c:order val="1"/>
          <c:spPr>
            <a:solidFill>
              <a:schemeClr val="accent6"/>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2-4C2A-414B-A6BF-D7C95F2FC632}"/>
              </c:ext>
            </c:extLst>
          </c:dPt>
          <c:dPt>
            <c:idx val="6"/>
            <c:invertIfNegative val="0"/>
            <c:bubble3D val="0"/>
            <c:spPr>
              <a:solidFill>
                <a:schemeClr val="accent5"/>
              </a:solidFill>
              <a:ln>
                <a:noFill/>
              </a:ln>
            </c:spPr>
            <c:extLst>
              <c:ext xmlns:c16="http://schemas.microsoft.com/office/drawing/2014/chart" uri="{C3380CC4-5D6E-409C-BE32-E72D297353CC}">
                <c16:uniqueId val="{00000003-4C2A-414B-A6BF-D7C95F2FC632}"/>
              </c:ext>
            </c:extLst>
          </c:dPt>
          <c:val>
            <c:numRef>
              <c:f>Sheet1!$A$2:$G$2</c:f>
              <c:numCache>
                <c:formatCode>General</c:formatCode>
                <c:ptCount val="7"/>
                <c:pt idx="0">
                  <c:v>93</c:v>
                </c:pt>
                <c:pt idx="1">
                  <c:v>100</c:v>
                </c:pt>
                <c:pt idx="2">
                  <c:v>200</c:v>
                </c:pt>
                <c:pt idx="3">
                  <c:v>50</c:v>
                </c:pt>
                <c:pt idx="4">
                  <c:v>0</c:v>
                </c:pt>
                <c:pt idx="5">
                  <c:v>250</c:v>
                </c:pt>
                <c:pt idx="6">
                  <c:v>5035.0114522943059</c:v>
                </c:pt>
              </c:numCache>
            </c:numRef>
          </c:val>
          <c:extLst>
            <c:ext xmlns:c16="http://schemas.microsoft.com/office/drawing/2014/chart" uri="{C3380CC4-5D6E-409C-BE32-E72D297353CC}">
              <c16:uniqueId val="{00000004-4C2A-414B-A6BF-D7C95F2FC632}"/>
            </c:ext>
          </c:extLst>
        </c:ser>
        <c:ser>
          <c:idx val="2"/>
          <c:order val="2"/>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5-4C2A-414B-A6BF-D7C95F2FC632}"/>
              </c:ext>
            </c:extLst>
          </c:dPt>
          <c:dPt>
            <c:idx val="2"/>
            <c:invertIfNegative val="0"/>
            <c:bubble3D val="0"/>
            <c:spPr>
              <a:solidFill>
                <a:schemeClr val="accent2"/>
              </a:solidFill>
              <a:ln>
                <a:noFill/>
              </a:ln>
            </c:spPr>
            <c:extLst>
              <c:ext xmlns:c16="http://schemas.microsoft.com/office/drawing/2014/chart" uri="{C3380CC4-5D6E-409C-BE32-E72D297353CC}">
                <c16:uniqueId val="{00000006-4C2A-414B-A6BF-D7C95F2FC632}"/>
              </c:ext>
            </c:extLst>
          </c:dPt>
          <c:dPt>
            <c:idx val="3"/>
            <c:invertIfNegative val="0"/>
            <c:bubble3D val="0"/>
            <c:spPr>
              <a:solidFill>
                <a:schemeClr val="accent2"/>
              </a:solidFill>
              <a:ln>
                <a:noFill/>
              </a:ln>
            </c:spPr>
            <c:extLst>
              <c:ext xmlns:c16="http://schemas.microsoft.com/office/drawing/2014/chart" uri="{C3380CC4-5D6E-409C-BE32-E72D297353CC}">
                <c16:uniqueId val="{00000007-4C2A-414B-A6BF-D7C95F2FC632}"/>
              </c:ext>
            </c:extLst>
          </c:dPt>
          <c:val>
            <c:numRef>
              <c:f>Sheet1!$A$3:$G$3</c:f>
              <c:numCache>
                <c:formatCode>General</c:formatCode>
                <c:ptCount val="7"/>
                <c:pt idx="1">
                  <c:v>159.70000000000005</c:v>
                </c:pt>
                <c:pt idx="2">
                  <c:v>96</c:v>
                </c:pt>
                <c:pt idx="3">
                  <c:v>1121</c:v>
                </c:pt>
                <c:pt idx="4">
                  <c:v>90</c:v>
                </c:pt>
                <c:pt idx="6">
                  <c:v>563</c:v>
                </c:pt>
              </c:numCache>
            </c:numRef>
          </c:val>
          <c:extLst>
            <c:ext xmlns:c16="http://schemas.microsoft.com/office/drawing/2014/chart" uri="{C3380CC4-5D6E-409C-BE32-E72D297353CC}">
              <c16:uniqueId val="{00000008-4C2A-414B-A6BF-D7C95F2FC632}"/>
            </c:ext>
          </c:extLst>
        </c:ser>
        <c:dLbls>
          <c:showLegendKey val="0"/>
          <c:showVal val="0"/>
          <c:showCatName val="0"/>
          <c:showSerName val="0"/>
          <c:showPercent val="0"/>
          <c:showBubbleSize val="0"/>
        </c:dLbls>
        <c:gapWidth val="50"/>
        <c:overlap val="100"/>
        <c:axId val="1223313296"/>
        <c:axId val="1"/>
      </c:barChart>
      <c:catAx>
        <c:axId val="12233132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758.7994522943063"/>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223313296"/>
        <c:crosses val="min"/>
        <c:crossBetween val="between"/>
      </c:valAx>
    </c:plotArea>
    <c:plotVisOnly val="0"/>
    <c:dispBlanksAs val="gap"/>
    <c:showDLblsOverMax val="1"/>
  </c:chart>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97461928934011E-2"/>
          <c:y val="3.3898305084745763E-2"/>
          <c:w val="0.96700507614213194"/>
          <c:h val="0.93220338983050843"/>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val>
            <c:numRef>
              <c:f>Sheet1!$A$1:$F$1</c:f>
              <c:numCache>
                <c:formatCode>General</c:formatCode>
                <c:ptCount val="6"/>
                <c:pt idx="0">
                  <c:v>4.7551034912261994</c:v>
                </c:pt>
                <c:pt idx="1">
                  <c:v>10.568385896655057</c:v>
                </c:pt>
                <c:pt idx="2">
                  <c:v>20.579745922029584</c:v>
                </c:pt>
                <c:pt idx="3">
                  <c:v>15.497168538165008</c:v>
                </c:pt>
                <c:pt idx="4">
                  <c:v>0</c:v>
                </c:pt>
                <c:pt idx="5">
                  <c:v>9.5253282156805046</c:v>
                </c:pt>
              </c:numCache>
            </c:numRef>
          </c:val>
          <c:extLst>
            <c:ext xmlns:c16="http://schemas.microsoft.com/office/drawing/2014/chart" uri="{C3380CC4-5D6E-409C-BE32-E72D297353CC}">
              <c16:uniqueId val="{00000000-B891-4545-A7FF-AAB626E72362}"/>
            </c:ext>
          </c:extLst>
        </c:ser>
        <c:ser>
          <c:idx val="1"/>
          <c:order val="1"/>
          <c:spPr>
            <a:solidFill>
              <a:srgbClr val="DF5327"/>
            </a:solidFill>
            <a:ln w="9525" cmpd="sng" algn="ctr">
              <a:solidFill>
                <a:schemeClr val="bg1"/>
              </a:solidFill>
              <a:prstDash val="solid"/>
            </a:ln>
          </c:spPr>
          <c:invertIfNegative val="0"/>
          <c:val>
            <c:numRef>
              <c:f>Sheet1!$A$2:$F$2</c:f>
              <c:numCache>
                <c:formatCode>General</c:formatCode>
                <c:ptCount val="6"/>
                <c:pt idx="0">
                  <c:v>9.4549150813916292</c:v>
                </c:pt>
                <c:pt idx="1">
                  <c:v>17.984797052202467</c:v>
                </c:pt>
                <c:pt idx="2">
                  <c:v>22.032433869466967</c:v>
                </c:pt>
                <c:pt idx="3">
                  <c:v>28.411475653302514</c:v>
                </c:pt>
                <c:pt idx="4">
                  <c:v>0</c:v>
                </c:pt>
                <c:pt idx="5">
                  <c:v>19.070480215368669</c:v>
                </c:pt>
              </c:numCache>
            </c:numRef>
          </c:val>
          <c:extLst>
            <c:ext xmlns:c16="http://schemas.microsoft.com/office/drawing/2014/chart" uri="{C3380CC4-5D6E-409C-BE32-E72D297353CC}">
              <c16:uniqueId val="{00000001-B891-4545-A7FF-AAB626E72362}"/>
            </c:ext>
          </c:extLst>
        </c:ser>
        <c:ser>
          <c:idx val="2"/>
          <c:order val="2"/>
          <c:spPr>
            <a:solidFill>
              <a:srgbClr val="6F8DB9"/>
            </a:solidFill>
            <a:ln w="9525" cmpd="sng" algn="ctr">
              <a:solidFill>
                <a:schemeClr val="bg1"/>
              </a:solidFill>
              <a:prstDash val="solid"/>
            </a:ln>
          </c:spPr>
          <c:invertIfNegative val="0"/>
          <c:val>
            <c:numRef>
              <c:f>Sheet1!$A$3:$F$3</c:f>
              <c:numCache>
                <c:formatCode>General</c:formatCode>
                <c:ptCount val="6"/>
                <c:pt idx="0">
                  <c:v>18.909830162783258</c:v>
                </c:pt>
                <c:pt idx="1">
                  <c:v>27.255310996636723</c:v>
                </c:pt>
                <c:pt idx="2">
                  <c:v>23.000892501091887</c:v>
                </c:pt>
                <c:pt idx="3">
                  <c:v>43.262928835710646</c:v>
                </c:pt>
                <c:pt idx="4">
                  <c:v>0</c:v>
                </c:pt>
                <c:pt idx="5">
                  <c:v>38.101312862722018</c:v>
                </c:pt>
              </c:numCache>
            </c:numRef>
          </c:val>
          <c:extLst>
            <c:ext xmlns:c16="http://schemas.microsoft.com/office/drawing/2014/chart" uri="{C3380CC4-5D6E-409C-BE32-E72D297353CC}">
              <c16:uniqueId val="{00000002-B891-4545-A7FF-AAB626E72362}"/>
            </c:ext>
          </c:extLst>
        </c:ser>
        <c:ser>
          <c:idx val="3"/>
          <c:order val="3"/>
          <c:spPr>
            <a:noFill/>
            <a:ln w="9525" cmpd="sng" algn="ctr">
              <a:solidFill>
                <a:schemeClr val="tx1"/>
              </a:solidFill>
              <a:prstDash val="solid"/>
            </a:ln>
          </c:spPr>
          <c:invertIfNegative val="0"/>
          <c:val>
            <c:numRef>
              <c:f>Sheet1!$A$4:$F$4</c:f>
              <c:numCache>
                <c:formatCode>General</c:formatCode>
                <c:ptCount val="6"/>
                <c:pt idx="0">
                  <c:v>61.435445623077513</c:v>
                </c:pt>
                <c:pt idx="1">
                  <c:v>92.705139444342606</c:v>
                </c:pt>
                <c:pt idx="2">
                  <c:v>24.211465790623041</c:v>
                </c:pt>
                <c:pt idx="3">
                  <c:v>64.571535575687534</c:v>
                </c:pt>
                <c:pt idx="4">
                  <c:v>46.048476012653779</c:v>
                </c:pt>
                <c:pt idx="5">
                  <c:v>39.647568015319479</c:v>
                </c:pt>
              </c:numCache>
            </c:numRef>
          </c:val>
          <c:extLst>
            <c:ext xmlns:c16="http://schemas.microsoft.com/office/drawing/2014/chart" uri="{C3380CC4-5D6E-409C-BE32-E72D297353CC}">
              <c16:uniqueId val="{00000003-B891-4545-A7FF-AAB626E72362}"/>
            </c:ext>
          </c:extLst>
        </c:ser>
        <c:dLbls>
          <c:showLegendKey val="0"/>
          <c:showVal val="0"/>
          <c:showCatName val="0"/>
          <c:showSerName val="0"/>
          <c:showPercent val="0"/>
          <c:showBubbleSize val="0"/>
        </c:dLbls>
        <c:gapWidth val="80"/>
        <c:axId val="1223311376"/>
        <c:axId val="1"/>
      </c:barChart>
      <c:catAx>
        <c:axId val="122331137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5"/>
          <c:min val="0"/>
        </c:scaling>
        <c:delete val="0"/>
        <c:axPos val="t"/>
        <c:majorGridlines>
          <c:spPr>
            <a:ln>
              <a:noFill/>
            </a:ln>
          </c:spPr>
        </c:majorGridlines>
        <c:numFmt formatCode="General" sourceLinked="1"/>
        <c:majorTickMark val="out"/>
        <c:minorTickMark val="none"/>
        <c:tickLblPos val="none"/>
        <c:spPr>
          <a:ln w="9525" cmpd="sng" algn="ctr">
            <a:solidFill>
              <a:schemeClr val="bg1"/>
            </a:solidFill>
            <a:prstDash val="solid"/>
          </a:ln>
        </c:spPr>
        <c:txPr>
          <a:bodyPr wrap="none"/>
          <a:lstStyle/>
          <a:p>
            <a:pPr>
              <a:defRPr sz="1200" kern="1200">
                <a:latin typeface="+mn-lt"/>
                <a:ea typeface="Lato"/>
                <a:cs typeface="Lato"/>
              </a:defRPr>
            </a:pPr>
            <a:endParaRPr lang="en-US"/>
          </a:p>
        </c:txPr>
        <c:crossAx val="1223311376"/>
        <c:crosses val="min"/>
        <c:crossBetween val="between"/>
        <c:majorUnit val="5"/>
      </c:valAx>
    </c:plotArea>
    <c:plotVisOnly val="0"/>
    <c:dispBlanksAs val="gap"/>
    <c:showDLblsOverMax val="1"/>
  </c:chart>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274924471299093E-2"/>
          <c:y val="7.2022160664819951E-2"/>
          <c:w val="0.9214501510574018"/>
          <c:h val="0.85595567867036015"/>
        </c:manualLayout>
      </c:layout>
      <c:barChart>
        <c:barDir val="col"/>
        <c:grouping val="clustered"/>
        <c:varyColors val="0"/>
        <c:ser>
          <c:idx val="0"/>
          <c:order val="0"/>
          <c:spPr>
            <a:solidFill>
              <a:srgbClr val="5A5A5A"/>
            </a:solidFill>
            <a:ln>
              <a:noFill/>
            </a:ln>
          </c:spPr>
          <c:invertIfNegative val="0"/>
          <c:val>
            <c:numRef>
              <c:f>Sheet1!$A$1</c:f>
              <c:numCache>
                <c:formatCode>General</c:formatCode>
                <c:ptCount val="1"/>
                <c:pt idx="0">
                  <c:v>38.299999999999997</c:v>
                </c:pt>
              </c:numCache>
            </c:numRef>
          </c:val>
          <c:extLst>
            <c:ext xmlns:c16="http://schemas.microsoft.com/office/drawing/2014/chart" uri="{C3380CC4-5D6E-409C-BE32-E72D297353CC}">
              <c16:uniqueId val="{00000000-828A-42A4-96C5-B1DBF17C434F}"/>
            </c:ext>
          </c:extLst>
        </c:ser>
        <c:ser>
          <c:idx val="1"/>
          <c:order val="1"/>
          <c:spPr>
            <a:solidFill>
              <a:schemeClr val="accent5"/>
            </a:solidFill>
            <a:ln>
              <a:noFill/>
            </a:ln>
          </c:spPr>
          <c:invertIfNegative val="0"/>
          <c:val>
            <c:numRef>
              <c:f>Sheet1!$A$2</c:f>
              <c:numCache>
                <c:formatCode>General</c:formatCode>
                <c:ptCount val="1"/>
                <c:pt idx="0">
                  <c:v>6.25</c:v>
                </c:pt>
              </c:numCache>
            </c:numRef>
          </c:val>
          <c:extLst>
            <c:ext xmlns:c16="http://schemas.microsoft.com/office/drawing/2014/chart" uri="{C3380CC4-5D6E-409C-BE32-E72D297353CC}">
              <c16:uniqueId val="{00000001-828A-42A4-96C5-B1DBF17C434F}"/>
            </c:ext>
          </c:extLst>
        </c:ser>
        <c:ser>
          <c:idx val="2"/>
          <c:order val="2"/>
          <c:spPr>
            <a:solidFill>
              <a:schemeClr val="accent2"/>
            </a:solidFill>
            <a:ln>
              <a:noFill/>
            </a:ln>
          </c:spPr>
          <c:invertIfNegative val="0"/>
          <c:val>
            <c:numRef>
              <c:f>Sheet1!$A$3</c:f>
              <c:numCache>
                <c:formatCode>General</c:formatCode>
                <c:ptCount val="1"/>
                <c:pt idx="0">
                  <c:v>42.11</c:v>
                </c:pt>
              </c:numCache>
            </c:numRef>
          </c:val>
          <c:extLst>
            <c:ext xmlns:c16="http://schemas.microsoft.com/office/drawing/2014/chart" uri="{C3380CC4-5D6E-409C-BE32-E72D297353CC}">
              <c16:uniqueId val="{00000002-828A-42A4-96C5-B1DBF17C434F}"/>
            </c:ext>
          </c:extLst>
        </c:ser>
        <c:dLbls>
          <c:showLegendKey val="0"/>
          <c:showVal val="0"/>
          <c:showCatName val="0"/>
          <c:showSerName val="0"/>
          <c:showPercent val="0"/>
          <c:showBubbleSize val="0"/>
        </c:dLbls>
        <c:gapWidth val="100"/>
        <c:axId val="575998928"/>
        <c:axId val="1"/>
      </c:barChart>
      <c:catAx>
        <c:axId val="5759989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w="9525" cmpd="sng" algn="ctr">
            <a:solidFill>
              <a:schemeClr val="bg1"/>
            </a:solidFill>
            <a:prstDash val="solid"/>
          </a:ln>
        </c:spPr>
        <c:crossAx val="575998928"/>
        <c:crosses val="min"/>
        <c:crossBetween val="between"/>
        <c:majorUnit val="20"/>
      </c:valAx>
    </c:plotArea>
    <c:plotVisOnly val="0"/>
    <c:dispBlanksAs val="gap"/>
    <c:showDLblsOverMax val="1"/>
  </c:chart>
  <c:externalData r:id="rId1">
    <c:autoUpdate val="0"/>
  </c:externalData>
</c:chartSpace>
</file>

<file path=ppt/comments/modernComment_7FF64A25_891D721B.xml><?xml version="1.0" encoding="utf-8"?>
<p188:cmLst xmlns:a="http://schemas.openxmlformats.org/drawingml/2006/main" xmlns:r="http://schemas.openxmlformats.org/officeDocument/2006/relationships" xmlns:p188="http://schemas.microsoft.com/office/powerpoint/2018/8/main">
  <p188:cm id="{1145C2FE-5D28-4C8E-8D09-A7E23F2675F8}" authorId="{28BADE64-4209-ED23-DD7B-1CE963226DFA}" status="resolved" created="2024-02-09T17:28:46.997" complete="100000">
    <pc:sldMkLst xmlns:pc="http://schemas.microsoft.com/office/powerpoint/2013/main/command">
      <pc:docMk/>
      <pc:sldMk cId="2300408347" sldId="2146847269"/>
    </pc:sldMkLst>
    <p188:txBody>
      <a:bodyPr/>
      <a:lstStyle/>
      <a:p>
        <a:r>
          <a:rPr lang="en-GB"/>
          <a:t>Remove/obscure  all the text in grey boxes</a:t>
        </a:r>
      </a:p>
    </p188:txBody>
  </p188:cm>
</p188:cmLst>
</file>

<file path=ppt/comments/modernComment_7FF65005_500228CB.xml><?xml version="1.0" encoding="utf-8"?>
<p188:cmLst xmlns:a="http://schemas.openxmlformats.org/drawingml/2006/main" xmlns:r="http://schemas.openxmlformats.org/officeDocument/2006/relationships" xmlns:p188="http://schemas.microsoft.com/office/powerpoint/2018/8/main">
  <p188:cm id="{D52474F3-26C4-4253-9A64-6940241A4A44}" authorId="{5DB4E575-19F8-7C35-76B5-48C108749587}" status="resolved" created="2023-12-04T13:36:38.528">
    <ac:txMkLst xmlns:ac="http://schemas.microsoft.com/office/drawing/2013/main/command">
      <pc:docMk xmlns:pc="http://schemas.microsoft.com/office/powerpoint/2013/main/command"/>
      <pc:sldMk xmlns:pc="http://schemas.microsoft.com/office/powerpoint/2013/main/command" cId="1342318795" sldId="2146848773"/>
      <ac:spMk id="45" creationId="{C297C64A-7903-293B-B557-D7A2786923B4}"/>
      <ac:txMk cp="0" len="10">
        <ac:context len="1" hash="13"/>
      </ac:txMk>
    </ac:txMkLst>
    <p188:replyLst>
      <p188:reply id="{5FE12FFE-80CE-46B3-BED2-19DE884F911B}" authorId="{78B95937-BE41-4673-78EF-4629F164818F}" created="2024-01-24T18:27:04.523">
        <p188:txBody>
          <a:bodyPr/>
          <a:lstStyle/>
          <a:p>
            <a:r>
              <a:rPr lang="en-GB"/>
              <a:t>That is something I noticed as well that was done in the previous battery report, mainly I think to show the effect of commodity prices, but since we don't have the reliable data for all countries, I agree.</a:t>
            </a:r>
          </a:p>
        </p188:txBody>
      </p188:reply>
      <p188:reply id="{469A8369-EAB5-4879-8493-28CC57375A43}" authorId="{291972F9-38DC-5BD2-95C2-879DD0D987AA}" created="2024-01-29T11:46:28.360">
        <p188:txBody>
          <a:bodyPr/>
          <a:lstStyle/>
          <a:p>
            <a:r>
              <a:rPr lang="en-GB"/>
              <a:t>20240129 Removed all historical values in this section unless we do stated something about it.</a:t>
            </a:r>
          </a:p>
        </p188:txBody>
      </p188:reply>
    </p188:replyLst>
    <p188:txBody>
      <a:bodyPr/>
      <a:lstStyle/>
      <a:p>
        <a:r>
          <a:rPr lang="en-GB"/>
          <a:t>If we show a historical comparison, we should do it for all countries
</a:t>
        </a:r>
      </a:p>
    </p188:txBody>
  </p188:cm>
  <p188:cm id="{DDFED1DA-6811-4136-A31D-C6FB1FC276D4}" authorId="{5DB4E575-19F8-7C35-76B5-48C108749587}" status="resolved" created="2024-01-16T08:15:50.902">
    <ac:txMkLst xmlns:ac="http://schemas.microsoft.com/office/drawing/2013/main/command">
      <pc:docMk xmlns:pc="http://schemas.microsoft.com/office/powerpoint/2013/main/command"/>
      <pc:sldMk xmlns:pc="http://schemas.microsoft.com/office/powerpoint/2013/main/command" cId="1342318795" sldId="2146848773"/>
      <ac:graphicFrameMk id="6" creationId="{1949E43D-A36C-453D-EF49-DE47A6D29C97}"/>
      <ac:tblMk/>
      <ac:tcMk rowId="10001" colId="20002"/>
      <ac:txMk cp="150">
        <ac:context len="547" hash="2270119633"/>
      </ac:txMk>
    </ac:txMkLst>
    <p188:pos x="10768412" y="1064216"/>
    <p188:replyLst>
      <p188:reply id="{A0B2D911-795D-4FC0-B957-AE6E7AB87414}" authorId="{291972F9-38DC-5BD2-95C2-879DD0D987AA}" created="2024-01-24T22:23:55.315">
        <p188:txBody>
          <a:bodyPr/>
          <a:lstStyle/>
          <a:p>
            <a:r>
              <a:rPr lang="en-GB"/>
              <a:t>20240124 We decided only to show upward prices for IBE. The old comment for downward is deleted.</a:t>
            </a:r>
          </a:p>
        </p188:txBody>
      </p188:reply>
      <p188:reply id="{A98E582D-5E26-4F0E-9BFD-C024B442F02F}" authorId="{291972F9-38DC-5BD2-95C2-879DD0D987AA}" created="2024-01-24T23:13:52.659">
        <p188:txBody>
          <a:bodyPr/>
          <a:lstStyle/>
          <a:p>
            <a:r>
              <a:rPr lang="en-GB"/>
              <a:t>20240124 Other parts can be updated based on country team's suggestion later</a:t>
            </a:r>
          </a:p>
        </p188:txBody>
      </p188:reply>
      <p188:reply id="{A51D0EEE-C0E1-4A0A-904B-97619BEFEA80}" authorId="{291972F9-38DC-5BD2-95C2-879DD0D987AA}" created="2024-01-25T09:43:11.305">
        <p188:txBody>
          <a:bodyPr/>
          <a:lstStyle/>
          <a:p>
            <a:r>
              <a:rPr lang="en-GB"/>
              <a:t>20240125 added one more point</a:t>
            </a:r>
          </a:p>
        </p188:txBody>
      </p188:reply>
    </p188:replyLst>
    <p188:txBody>
      <a:bodyPr/>
      <a:lstStyle/>
      <a:p>
        <a:r>
          <a:rPr lang="en-GB"/>
          <a:t>Are we showing upwards and downwards prices here? Where?</a:t>
        </a:r>
      </a:p>
    </p188:txBody>
  </p188:cm>
  <p188:cm id="{80F58916-BFC5-46D5-8564-430E79496E65}" authorId="{5DB4E575-19F8-7C35-76B5-48C108749587}" status="resolved" created="2024-01-16T08:16:21.258">
    <ac:txMkLst xmlns:ac="http://schemas.microsoft.com/office/drawing/2013/main/command">
      <pc:docMk xmlns:pc="http://schemas.microsoft.com/office/powerpoint/2013/main/command"/>
      <pc:sldMk xmlns:pc="http://schemas.microsoft.com/office/powerpoint/2013/main/command" cId="1342318795" sldId="2146848773"/>
      <ac:graphicFrameMk id="6" creationId="{1949E43D-A36C-453D-EF49-DE47A6D29C97}"/>
      <ac:tblMk/>
      <ac:tcMk rowId="10001" colId="20002"/>
      <ac:txMk cp="0">
        <ac:context len="1" hash="13"/>
      </ac:txMk>
    </ac:txMkLst>
    <p188:pos x="11222068" y="1503695"/>
    <p188:replyLst>
      <p188:reply id="{AD31693A-AB31-4307-8D7E-4A77980D7FAF}" authorId="{291972F9-38DC-5BD2-95C2-879DD0D987AA}" created="2024-01-25T15:29:11.700">
        <p188:txBody>
          <a:bodyPr/>
          <a:lstStyle/>
          <a:p>
            <a:r>
              <a:rPr lang="en-GB"/>
              <a:t>Hi Eva, can you give a future explain on this questions? I got this comment from Dec 23 Flex report.
Thank you!</a:t>
            </a:r>
          </a:p>
        </p188:txBody>
      </p188:reply>
      <p188:reply id="{7774FA62-4906-4839-9FDE-6D6A6943A312}" authorId="{963FF6EE-8E48-A613-7B81-E49160EEC7D0}" created="2024-01-30T17:52:50.174">
        <p188:txBody>
          <a:bodyPr/>
          <a:lstStyle/>
          <a:p>
            <a:r>
              <a:rPr lang="en-GB"/>
              <a:t>With the removal of the "downwards band", now it makes sense. Fine to keep it</a:t>
            </a:r>
          </a:p>
        </p188:txBody>
      </p188:reply>
    </p188:replyLst>
    <p188:txBody>
      <a:bodyPr/>
      <a:lstStyle/>
      <a:p>
        <a:r>
          <a:rPr lang="en-GB"/>
          <a:t>Wording does not match the graph at all </a:t>
        </a:r>
      </a:p>
    </p188:txBody>
  </p188:cm>
  <p188:cm id="{74FCE20E-43EE-4F41-9904-38DE7A28A9AA}" authorId="{5DB4E575-19F8-7C35-76B5-48C108749587}" status="resolved" created="2024-01-16T08:16:57.889">
    <ac:txMkLst xmlns:ac="http://schemas.microsoft.com/office/drawing/2013/main/command">
      <pc:docMk xmlns:pc="http://schemas.microsoft.com/office/powerpoint/2013/main/command"/>
      <pc:sldMk xmlns:pc="http://schemas.microsoft.com/office/powerpoint/2013/main/command" cId="1342318795" sldId="2146848773"/>
      <ac:graphicFrameMk id="6" creationId="{1949E43D-A36C-453D-EF49-DE47A6D29C97}"/>
      <ac:tblMk/>
      <ac:tcMk rowId="10001" colId="20002"/>
      <ac:txMk cp="0">
        <ac:context len="1" hash="13"/>
      </ac:txMk>
    </ac:txMkLst>
    <p188:pos x="11122831" y="624737"/>
    <p188:replyLst>
      <p188:reply id="{1EB1523B-9F00-462E-9E32-37517447E595}" authorId="{291972F9-38DC-5BD2-95C2-879DD0D987AA}" created="2024-01-24T23:17:08.735">
        <p188:txBody>
          <a:bodyPr/>
          <a:lstStyle/>
          <a:p>
            <a:r>
              <a:rPr lang="en-GB"/>
              <a:t>1</a:t>
            </a:r>
          </a:p>
        </p188:txBody>
      </p188:reply>
    </p188:replyLst>
    <p188:txBody>
      <a:bodyPr/>
      <a:lstStyle/>
      <a:p>
        <a:r>
          <a:rPr lang="en-GB"/>
          <a:t>This is a good example on how to start these comments </a:t>
        </a:r>
      </a:p>
    </p188:txBody>
  </p188:cm>
  <p188:cm id="{524A7B43-5260-442D-B7D0-99BCC8E6800A}" authorId="{5DB4E575-19F8-7C35-76B5-48C108749587}" status="resolved" created="2024-01-16T08:21:53.271">
    <ac:txMkLst xmlns:ac="http://schemas.microsoft.com/office/drawing/2013/main/command">
      <pc:docMk xmlns:pc="http://schemas.microsoft.com/office/powerpoint/2013/main/command"/>
      <pc:sldMk xmlns:pc="http://schemas.microsoft.com/office/powerpoint/2013/main/command" cId="1342318795" sldId="2146848773"/>
      <ac:graphicFrameMk id="6" creationId="{1949E43D-A36C-453D-EF49-DE47A6D29C97}"/>
      <ac:tblMk/>
      <ac:tcMk rowId="3889094740" colId="20002"/>
      <ac:txMk cp="575">
        <ac:context len="721" hash="2931399561"/>
      </ac:txMk>
    </ac:txMkLst>
    <p188:pos x="11328394" y="3729444"/>
    <p188:replyLst>
      <p188:reply id="{ABFD4655-BCCE-42DC-9978-B770E289B8C6}" authorId="{291972F9-38DC-5BD2-95C2-879DD0D987AA}" created="2024-01-30T10:57:19.038">
        <p188:txBody>
          <a:bodyPr/>
          <a:lstStyle/>
          <a:p>
            <a:r>
              <a:rPr lang="en-GB"/>
              <a:t>20240139 added a comment to the top. </a:t>
            </a:r>
          </a:p>
        </p188:txBody>
      </p188:reply>
    </p188:replyLst>
    <p188:txBody>
      <a:bodyPr/>
      <a:lstStyle/>
      <a:p>
        <a:r>
          <a:rPr lang="en-GB"/>
          <a:t>I think it is good to refer to the French mess with opening the aFRR  etc to explain the high short term aFRR prices. However, this is a bit detailed, try to start where the readers of the report are. Most of them dont have any clue about France. What they see is: aFRR is high short term. Then they wonder why. Then you explain that this is because the French aFRR markets wasn't liberalised until recently and now it is open and prices jumped up due to a lack of competition. </a:t>
        </a:r>
      </a:p>
    </p188:txBody>
  </p188:cm>
</p188:cmLst>
</file>

<file path=ppt/comments/modernComment_7FF65012_2139C9E3.xml><?xml version="1.0" encoding="utf-8"?>
<p188:cmLst xmlns:a="http://schemas.openxmlformats.org/drawingml/2006/main" xmlns:r="http://schemas.openxmlformats.org/officeDocument/2006/relationships" xmlns:p188="http://schemas.microsoft.com/office/powerpoint/2018/8/main">
  <p188:cm id="{C99A2B38-BCBC-4EBC-9DAD-42AFE24B8493}" authorId="{5DB4E575-19F8-7C35-76B5-48C108749587}" status="resolved" created="2024-02-07T09:46:48.983" complete="100000">
    <pc:sldMkLst xmlns:pc="http://schemas.microsoft.com/office/powerpoint/2013/main/command">
      <pc:docMk/>
      <pc:sldMk cId="557435363" sldId="2146848786"/>
    </pc:sldMkLst>
    <p188:txBody>
      <a:bodyPr/>
      <a:lstStyle/>
      <a:p>
        <a:r>
          <a:rPr lang="en-GB"/>
          <a:t>Indicate on the left that one bar is one country</a:t>
        </a:r>
      </a:p>
    </p188:txBody>
  </p188:cm>
</p188:cmLst>
</file>

<file path=ppt/comments/modernComment_7FF65013_EBD82E30.xml><?xml version="1.0" encoding="utf-8"?>
<p188:cmLst xmlns:a="http://schemas.openxmlformats.org/drawingml/2006/main" xmlns:r="http://schemas.openxmlformats.org/officeDocument/2006/relationships" xmlns:p188="http://schemas.microsoft.com/office/powerpoint/2018/8/main">
  <p188:cm id="{DE91F29F-71F8-439B-B273-E23FBC4E86A8}" authorId="{5DB4E575-19F8-7C35-76B5-48C108749587}" status="resolved" created="2024-02-07T09:47:11.654" complete="100000">
    <pc:sldMkLst xmlns:pc="http://schemas.microsoft.com/office/powerpoint/2013/main/command">
      <pc:docMk/>
      <pc:sldMk cId="3956813360" sldId="2146848787"/>
    </pc:sldMkLst>
    <p188:txBody>
      <a:bodyPr/>
      <a:lstStyle/>
      <a:p>
        <a:r>
          <a:rPr lang="en-GB"/>
          <a:t>Delete y axis numbers and grid lines</a:t>
        </a:r>
      </a:p>
    </p188:txBody>
  </p188:cm>
</p188:cmLst>
</file>

<file path=ppt/comments/modernComment_7FF65014_652D2412.xml><?xml version="1.0" encoding="utf-8"?>
<p188:cmLst xmlns:a="http://schemas.openxmlformats.org/drawingml/2006/main" xmlns:r="http://schemas.openxmlformats.org/officeDocument/2006/relationships" xmlns:p188="http://schemas.microsoft.com/office/powerpoint/2018/8/main">
  <p188:cm id="{6F8FD413-33B8-48B9-BF1D-D2BD638E8A38}" authorId="{5DB4E575-19F8-7C35-76B5-48C108749587}" status="resolved" created="2024-02-07T09:47:28.826" complete="100000">
    <pc:sldMkLst xmlns:pc="http://schemas.microsoft.com/office/powerpoint/2013/main/command">
      <pc:docMk/>
      <pc:sldMk cId="1697457170" sldId="2146848788"/>
    </pc:sldMkLst>
    <p188:txBody>
      <a:bodyPr/>
      <a:lstStyle/>
      <a:p>
        <a:r>
          <a:rPr lang="en-GB"/>
          <a:t>Delete y axis numbers and grid lines</a:t>
        </a:r>
      </a:p>
    </p188:txBody>
  </p188:cm>
</p188:cmLst>
</file>

<file path=ppt/comments/modernComment_7FF65016_465D831A.xml><?xml version="1.0" encoding="utf-8"?>
<p188:cmLst xmlns:a="http://schemas.openxmlformats.org/drawingml/2006/main" xmlns:r="http://schemas.openxmlformats.org/officeDocument/2006/relationships" xmlns:p188="http://schemas.microsoft.com/office/powerpoint/2018/8/main">
  <p188:cm id="{F5829580-6818-4BAA-8A07-A229E406FCEF}" authorId="{963FF6EE-8E48-A613-7B81-E49160EEC7D0}" status="resolved" created="2023-12-04T11:53:52.371">
    <pc:sldMkLst xmlns:pc="http://schemas.microsoft.com/office/powerpoint/2013/main/command">
      <pc:docMk/>
      <pc:sldMk cId="1180533530" sldId="2146848790"/>
    </pc:sldMkLst>
    <p188:replyLst>
      <p188:reply id="{0CF92E9F-4B9F-469A-9833-AA0DD16DE5A4}" authorId="{291972F9-38DC-5BD2-95C2-879DD0D987AA}" created="2024-01-30T10:43:48.614">
        <p188:txBody>
          <a:bodyPr/>
          <a:lstStyle/>
          <a:p>
            <a:r>
              <a:rPr lang="en-GB"/>
              <a:t>20240129 We hided all historical values so won't create more confusion</a:t>
            </a:r>
          </a:p>
        </p188:txBody>
      </p188:reply>
    </p188:replyLst>
    <p188:txBody>
      <a:bodyPr/>
      <a:lstStyle/>
      <a:p>
        <a:r>
          <a:rPr lang="en-GB"/>
          <a:t>Question for GRC, the downward trend is the same, but the short term value changed drastically from last report to this one. Do we want to address that? Was the reason commodity prices?</a:t>
        </a:r>
      </a:p>
    </p188:txBody>
    <p188:extLst>
      <p:ext xmlns:p="http://schemas.openxmlformats.org/presentationml/2006/main" uri="{57CB4572-C831-44C2-8A1C-0ADB6CCDFE69}">
        <p223:reactions xmlns:p223="http://schemas.microsoft.com/office/powerpoint/2022/03/main">
          <p223:rxn type="👍">
            <p223:instance time="2023-12-08T11:47:27.395" authorId="{291972F9-38DC-5BD2-95C2-879DD0D987AA}"/>
          </p223:rxn>
        </p223:reactions>
      </p:ext>
    </p188:extLst>
  </p188:cm>
  <p188:cm id="{A7076F69-3736-43DC-9FE4-9F373C4CD174}" authorId="{5DB4E575-19F8-7C35-76B5-48C108749587}" status="resolved" created="2024-01-16T08:06:55.222">
    <ac:txMkLst xmlns:ac="http://schemas.microsoft.com/office/drawing/2013/main/command">
      <pc:docMk xmlns:pc="http://schemas.microsoft.com/office/powerpoint/2013/main/command"/>
      <pc:sldMk xmlns:pc="http://schemas.microsoft.com/office/powerpoint/2013/main/command" cId="1180533530" sldId="2146848790"/>
      <ac:graphicFrameMk id="6" creationId="{1949E43D-A36C-453D-EF49-DE47A6D29C97}"/>
      <ac:tblMk/>
      <ac:tcMk rowId="10002" colId="20002"/>
      <ac:txMk cp="382">
        <ac:context len="513" hash="4158674630"/>
      </ac:txMk>
    </ac:txMkLst>
    <p188:pos x="8039386" y="4310520"/>
    <p188:replyLst>
      <p188:reply id="{40057C4D-9102-4834-9718-9D7B74A5D750}" authorId="{291972F9-38DC-5BD2-95C2-879DD0D987AA}" created="2024-01-24T10:06:51.367">
        <p188:txBody>
          <a:bodyPr/>
          <a:lstStyle/>
          <a:p>
            <a:r>
              <a:rPr lang="en-GB"/>
              <a:t>20240124 updated to EUR</a:t>
            </a:r>
          </a:p>
        </p188:txBody>
      </p188:reply>
    </p188:replyLst>
    <p188:txBody>
      <a:bodyPr/>
      <a:lstStyle/>
      <a:p>
        <a:r>
          <a:rPr lang="en-GB"/>
          <a:t>Lets only use one currency per country, either stay with EUR or do it like in the GB slide</a:t>
        </a:r>
      </a:p>
    </p188:txBody>
  </p188:cm>
  <p188:cm id="{51E5D628-E217-4633-9B38-90B08E4A01DC}" authorId="{5DB4E575-19F8-7C35-76B5-48C108749587}" status="resolved" created="2024-01-16T08:12:23.266">
    <ac:txMkLst xmlns:ac="http://schemas.microsoft.com/office/drawing/2013/main/command">
      <pc:docMk xmlns:pc="http://schemas.microsoft.com/office/powerpoint/2013/main/command"/>
      <pc:sldMk xmlns:pc="http://schemas.microsoft.com/office/powerpoint/2013/main/command" cId="1180533530" sldId="2146848790"/>
      <ac:graphicFrameMk id="6" creationId="{1949E43D-A36C-453D-EF49-DE47A6D29C97}"/>
      <ac:tblMk/>
      <ac:tcMk rowId="10001" colId="20002"/>
      <ac:txMk cp="0">
        <ac:context len="1" hash="13"/>
      </ac:txMk>
    </ac:txMkLst>
    <p188:pos x="11328391" y="1234167"/>
    <p188:replyLst>
      <p188:reply id="{E62A9688-0820-4055-8D51-51B2B5A19098}" authorId="{291972F9-38DC-5BD2-95C2-879DD0D987AA}" created="2024-01-30T10:58:22.714">
        <p188:txBody>
          <a:bodyPr/>
          <a:lstStyle/>
          <a:p>
            <a:r>
              <a:rPr lang="en-GB"/>
              <a:t>20240130 checked with Ioanna and waiting for response</a:t>
            </a:r>
          </a:p>
        </p188:txBody>
      </p188:reply>
      <p188:reply id="{AF8CE654-5569-4992-BF03-72EA6C4D8FDB}" authorId="{291972F9-38DC-5BD2-95C2-879DD0D987AA}" created="2024-01-31T13:35:33.047">
        <p188:txBody>
          <a:bodyPr/>
          <a:lstStyle/>
          <a:p>
            <a:r>
              <a:rPr lang="en-GB"/>
              <a:t>20240131 from Stavros, 
"
The 2024 forecast is based on historical prices (2023). This is why in the short run,  the FCR price is lower than the FRR price. Then in the long term, prices for both FRR and FCR converge towards 3 EUR/kW/year. This is why the % delta in prices is higher for FRR compared to FCR 
"</a:t>
            </a:r>
          </a:p>
        </p188:txBody>
      </p188:reply>
    </p188:replyLst>
    <p188:txBody>
      <a:bodyPr/>
      <a:lstStyle/>
      <a:p>
        <a:r>
          <a:rPr lang="en-GB"/>
          <a:t>Why do FCR prices only decrease gradually, unlike aFRR in Greece?</a:t>
        </a:r>
      </a:p>
    </p188:txBody>
  </p188:cm>
  <p188:cm id="{8B84AF13-927E-4759-B72D-BE701753EAAF}" authorId="{5DB4E575-19F8-7C35-76B5-48C108749587}" status="resolved" created="2024-01-16T08:13:39.866">
    <ac:txMkLst xmlns:ac="http://schemas.microsoft.com/office/drawing/2013/main/command">
      <pc:docMk xmlns:pc="http://schemas.microsoft.com/office/powerpoint/2013/main/command"/>
      <pc:sldMk xmlns:pc="http://schemas.microsoft.com/office/powerpoint/2013/main/command" cId="1180533530" sldId="2146848790"/>
      <ac:graphicFrameMk id="6" creationId="{1949E43D-A36C-453D-EF49-DE47A6D29C97}"/>
      <ac:tblMk/>
      <ac:tcMk rowId="10001" colId="20002"/>
      <ac:txMk cp="596">
        <ac:context len="711" hash="3190124618"/>
      </ac:txMk>
    </ac:txMkLst>
    <p188:pos x="9648447" y="2481720"/>
    <p188:replyLst>
      <p188:reply id="{EAD7A43C-2CC3-4780-AFB4-492940C2D4EF}" authorId="{291972F9-38DC-5BD2-95C2-879DD0D987AA}" created="2024-01-24T08:35:20.758">
        <p188:txBody>
          <a:bodyPr/>
          <a:lstStyle/>
          <a:p>
            <a:r>
              <a:rPr lang="en-GB"/>
              <a:t>20240124 updated based on GR's new content in the country interview page</a:t>
            </a:r>
          </a:p>
        </p188:txBody>
      </p188:reply>
    </p188:replyLst>
    <p188:txBody>
      <a:bodyPr/>
      <a:lstStyle/>
      <a:p>
        <a:r>
          <a:rPr lang="en-GB"/>
          <a:t>I dont get what RES penetration has to do with it. Because thermal is phasing out?</a:t>
        </a:r>
      </a:p>
    </p188:txBody>
  </p188:cm>
  <p188:cm id="{D571D0BF-0B81-40C1-9A87-4BF68453FA13}" authorId="{5DB4E575-19F8-7C35-76B5-48C108749587}" status="resolved" created="2024-01-16T08:14:37.065">
    <ac:txMkLst xmlns:ac="http://schemas.microsoft.com/office/drawing/2013/main/command">
      <pc:docMk xmlns:pc="http://schemas.microsoft.com/office/powerpoint/2013/main/command"/>
      <pc:sldMk xmlns:pc="http://schemas.microsoft.com/office/powerpoint/2013/main/command" cId="1180533530" sldId="2146848790"/>
      <ac:graphicFrameMk id="6" creationId="{1949E43D-A36C-453D-EF49-DE47A6D29C97}"/>
      <ac:tblMk/>
      <ac:tcMk rowId="10002" colId="20002"/>
      <ac:txMk cp="0">
        <ac:context len="1" hash="13"/>
      </ac:txMk>
    </ac:txMkLst>
    <p188:pos x="7968502" y="4572790"/>
    <p188:replyLst>
      <p188:reply id="{7EAC7E15-8859-4562-8C90-999FB7DA6AD3}" authorId="{291972F9-38DC-5BD2-95C2-879DD0D987AA}" created="2024-01-25T09:06:38.185">
        <p188:txBody>
          <a:bodyPr/>
          <a:lstStyle/>
          <a:p>
            <a:r>
              <a:rPr lang="en-GB"/>
              <a:t>20240125 Deleted one paragraph about energy prices. Added more comments about aFRR capacity prices.</a:t>
            </a:r>
          </a:p>
        </p188:txBody>
      </p188:reply>
    </p188:replyLst>
    <p188:txBody>
      <a:bodyPr/>
      <a:lstStyle/>
      <a:p>
        <a:r>
          <a:rPr lang="en-GB"/>
          <a:t>We don't even show aFRR energy prices here, just capacity. Would delete it. </a:t>
        </a:r>
      </a:p>
    </p188:txBody>
  </p188:cm>
</p188:cmLst>
</file>

<file path=ppt/comments/modernComment_7FF65017_5CFBEDF2.xml><?xml version="1.0" encoding="utf-8"?>
<p188:cmLst xmlns:a="http://schemas.openxmlformats.org/drawingml/2006/main" xmlns:r="http://schemas.openxmlformats.org/officeDocument/2006/relationships" xmlns:p188="http://schemas.microsoft.com/office/powerpoint/2018/8/main">
  <p188:cm id="{B9D0C946-D654-4DCE-92C9-2A347B9309A3}" authorId="{5DB4E575-19F8-7C35-76B5-48C108749587}" status="resolved" created="2024-02-07T09:49:30.405" complete="100000">
    <pc:sldMkLst xmlns:pc="http://schemas.microsoft.com/office/powerpoint/2013/main/command">
      <pc:docMk/>
      <pc:sldMk cId="1560014322" sldId="2146848791"/>
    </pc:sldMkLst>
    <p188:txBody>
      <a:bodyPr/>
      <a:lstStyle/>
      <a:p>
        <a:r>
          <a:rPr lang="en-GB"/>
          <a:t>From 88 to 91 I would only keep one slide. I would suggest this one bcause trends are so different </a:t>
        </a:r>
      </a:p>
    </p188:txBody>
  </p188:cm>
</p188:cmLst>
</file>

<file path=ppt/comments/modernComment_7FF65018_B760AAA5.xml><?xml version="1.0" encoding="utf-8"?>
<p188:cmLst xmlns:a="http://schemas.openxmlformats.org/drawingml/2006/main" xmlns:r="http://schemas.openxmlformats.org/officeDocument/2006/relationships" xmlns:p188="http://schemas.microsoft.com/office/powerpoint/2018/8/main">
  <p188:cm id="{DBB7A043-DA26-4321-8FD1-9EF2FB7441AB}" authorId="{5DB4E575-19F8-7C35-76B5-48C108749587}" status="resolved" created="2024-02-07T09:51:27.724" complete="100000">
    <ac:deMkLst xmlns:ac="http://schemas.microsoft.com/office/drawing/2013/main/command">
      <pc:docMk xmlns:pc="http://schemas.microsoft.com/office/powerpoint/2013/main/command"/>
      <pc:sldMk xmlns:pc="http://schemas.microsoft.com/office/powerpoint/2013/main/command" cId="3076565669" sldId="2146848792"/>
      <ac:graphicFrameMk id="6" creationId="{1949E43D-A36C-453D-EF49-DE47A6D29C97}"/>
    </ac:deMkLst>
    <p188:txBody>
      <a:bodyPr/>
      <a:lstStyle/>
      <a:p>
        <a:r>
          <a:rPr lang="en-GB"/>
          <a:t>Indicate that we are showing countries here</a:t>
        </a:r>
      </a:p>
    </p188:txBody>
  </p188:cm>
</p188:cmLst>
</file>

<file path=ppt/comments/modernComment_7FF65019_D597E138.xml><?xml version="1.0" encoding="utf-8"?>
<p188:cmLst xmlns:a="http://schemas.openxmlformats.org/drawingml/2006/main" xmlns:r="http://schemas.openxmlformats.org/officeDocument/2006/relationships" xmlns:p188="http://schemas.microsoft.com/office/powerpoint/2018/8/main">
  <p188:cm id="{E7F3A619-E6EA-48F0-B92E-7AB58A29F406}" authorId="{5DB4E575-19F8-7C35-76B5-48C108749587}" status="resolved" created="2024-02-07T09:53:22.447" complete="100000">
    <ac:deMkLst xmlns:ac="http://schemas.microsoft.com/office/drawing/2013/main/command">
      <pc:docMk xmlns:pc="http://schemas.microsoft.com/office/powerpoint/2013/main/command"/>
      <pc:sldMk xmlns:pc="http://schemas.microsoft.com/office/powerpoint/2013/main/command" cId="3583500600" sldId="2146848793"/>
      <ac:graphicFrameMk id="8" creationId="{8AC2AF06-2446-7915-5D29-522068FAE682}"/>
    </ac:deMkLst>
    <p188:txBody>
      <a:bodyPr/>
      <a:lstStyle/>
      <a:p>
        <a:r>
          <a:rPr lang="en-GB"/>
          <a:t>Indicate that this is different countries</a:t>
        </a:r>
      </a:p>
    </p188:txBody>
  </p188:cm>
</p188:cmLst>
</file>

<file path=ppt/comments/modernComment_7FF6501A_C3306628.xml><?xml version="1.0" encoding="utf-8"?>
<p188:cmLst xmlns:a="http://schemas.openxmlformats.org/drawingml/2006/main" xmlns:r="http://schemas.openxmlformats.org/officeDocument/2006/relationships" xmlns:p188="http://schemas.microsoft.com/office/powerpoint/2018/8/main">
  <p188:cm id="{2DF06CF1-09E4-4575-A140-B1468F442C5E}" authorId="{5DB4E575-19F8-7C35-76B5-48C108749587}" status="resolved" created="2024-02-07T09:48:00.404" complete="100000">
    <pc:sldMkLst xmlns:pc="http://schemas.microsoft.com/office/powerpoint/2013/main/command">
      <pc:docMk/>
      <pc:sldMk cId="3274729000" sldId="2146848794"/>
    </pc:sldMkLst>
    <p188:txBody>
      <a:bodyPr/>
      <a:lstStyle/>
      <a:p>
        <a:r>
          <a:rPr lang="en-GB"/>
          <a:t>Indicate that different bars are different countries</a:t>
        </a:r>
      </a:p>
    </p188:txBody>
  </p188:cm>
</p188:cmLst>
</file>

<file path=ppt/comments/modernComment_7FF6501E_FEC3EF10.xml><?xml version="1.0" encoding="utf-8"?>
<p188:cmLst xmlns:a="http://schemas.openxmlformats.org/drawingml/2006/main" xmlns:r="http://schemas.openxmlformats.org/officeDocument/2006/relationships" xmlns:p188="http://schemas.microsoft.com/office/powerpoint/2018/8/main">
  <p188:cm id="{F95C8C2D-98DC-41EC-BD91-F3D89A291ED4}" authorId="{5DB4E575-19F8-7C35-76B5-48C108749587}" status="resolved" created="2024-02-07T09:48:36.371" complete="100000">
    <ac:deMkLst xmlns:ac="http://schemas.microsoft.com/office/drawing/2013/main/command">
      <pc:docMk xmlns:pc="http://schemas.microsoft.com/office/powerpoint/2013/main/command"/>
      <pc:sldMk xmlns:pc="http://schemas.microsoft.com/office/powerpoint/2013/main/command" cId="4274253584" sldId="2146848798"/>
      <ac:graphicFrameMk id="49" creationId="{C5BA8C7A-BCB1-D80F-4BC4-0A133090BFD0}"/>
    </ac:deMkLst>
    <p188:txBody>
      <a:bodyPr/>
      <a:lstStyle/>
      <a:p>
        <a:r>
          <a:rPr lang="en-GB"/>
          <a:t>Indicate that we are showingt this for different countries</a:t>
        </a:r>
      </a:p>
    </p188:txBody>
  </p188:cm>
</p188:cmLst>
</file>

<file path=ppt/comments/modernComment_7FF65030_5DB519AE.xml><?xml version="1.0" encoding="utf-8"?>
<p188:cmLst xmlns:a="http://schemas.openxmlformats.org/drawingml/2006/main" xmlns:r="http://schemas.openxmlformats.org/officeDocument/2006/relationships" xmlns:p188="http://schemas.microsoft.com/office/powerpoint/2018/8/main">
  <p188:cm id="{15F73A5C-19EC-44DC-99CD-B175E38B3D84}" authorId="{963FF6EE-8E48-A613-7B81-E49160EEC7D0}" status="resolved" created="2023-11-15T12:58:29.771">
    <pc:sldMkLst xmlns:pc="http://schemas.microsoft.com/office/powerpoint/2013/main/command">
      <pc:docMk/>
      <pc:sldMk cId="3363208199" sldId="2146847506"/>
    </pc:sldMkLst>
    <p188:replyLst>
      <p188:reply id="{6235997E-2997-43D9-A5A0-DB024CEB7CD1}" authorId="{28BADE64-4209-ED23-DD7B-1CE963226DFA}" created="2023-11-16T11:39:01.231">
        <p188:txBody>
          <a:bodyPr/>
          <a:lstStyle/>
          <a:p>
            <a:r>
              <a:rPr lang="en-GB"/>
              <a:t>I think its from the Iberian flex add on - they have a slide showing the market depth for e.g. 2022</a:t>
            </a:r>
          </a:p>
        </p188:txBody>
      </p188:reply>
      <p188:reply id="{B70A362E-08A4-4DCC-9D03-6894CDA90C30}" authorId="{291972F9-38DC-5BD2-95C2-879DD0D987AA}" created="2024-01-24T15:41:00.778">
        <p188:txBody>
          <a:bodyPr/>
          <a:lstStyle/>
          <a:p>
            <a:r>
              <a:rPr lang="en-GB"/>
              <a:t>1</a:t>
            </a:r>
          </a:p>
        </p188:txBody>
      </p188:reply>
    </p188:replyLst>
    <p188:txBody>
      <a:bodyPr/>
      <a:lstStyle/>
      <a:p>
        <a:r>
          <a:rPr lang="en-GB"/>
          <a:t>[@Ryan Alexander] you know from where is this information coming from? We couldn't find the source from the previous update.</a:t>
        </a:r>
      </a:p>
    </p188:txBody>
  </p188:cm>
  <p188:cm id="{F8153E62-BC39-4653-807F-56D8A5CA319D}" authorId="{963FF6EE-8E48-A613-7B81-E49160EEC7D0}" status="resolved" created="2023-11-16T15:38:49.658">
    <pc:sldMkLst xmlns:pc="http://schemas.microsoft.com/office/powerpoint/2013/main/command">
      <pc:docMk/>
      <pc:sldMk cId="3363208199" sldId="2146847506"/>
    </pc:sldMkLst>
    <p188:replyLst>
      <p188:reply id="{4983E858-653A-43D7-9289-F5CA8379C4FF}" authorId="{291972F9-38DC-5BD2-95C2-879DD0D987AA}" created="2024-01-24T15:41:27.545">
        <p188:txBody>
          <a:bodyPr/>
          <a:lstStyle/>
          <a:p>
            <a:r>
              <a:rPr lang="en-GB"/>
              <a:t>20231116 removed</a:t>
            </a:r>
          </a:p>
        </p188:txBody>
      </p188:reply>
    </p188:replyLst>
    <p188:txBody>
      <a:bodyPr/>
      <a:lstStyle/>
      <a:p>
        <a:r>
          <a:rPr lang="en-GB"/>
          <a:t>Remove italy and spain from slide 92, and keep it here. Remove graph below</a:t>
        </a:r>
      </a:p>
    </p188:txBody>
  </p188:cm>
  <p188:cm id="{85076D78-CECA-41E6-9770-44042CD250C2}" authorId="{963FF6EE-8E48-A613-7B81-E49160EEC7D0}" status="resolved" created="2023-11-16T15:59:18.910">
    <pc:sldMkLst xmlns:pc="http://schemas.microsoft.com/office/powerpoint/2013/main/command">
      <pc:docMk/>
      <pc:sldMk cId="3363208199" sldId="2146847506"/>
    </pc:sldMkLst>
    <p188:replyLst>
      <p188:reply id="{990748BF-F8CD-4225-9EF4-D1CCB52ED8C9}" authorId="{291972F9-38DC-5BD2-95C2-879DD0D987AA}" created="2024-01-24T15:41:49.603">
        <p188:txBody>
          <a:bodyPr/>
          <a:lstStyle/>
          <a:p>
            <a:r>
              <a:rPr lang="en-GB"/>
              <a:t>20240124 new idea now</a:t>
            </a:r>
          </a:p>
        </p188:txBody>
      </p188:reply>
    </p188:replyLst>
    <p188:txBody>
      <a:bodyPr/>
      <a:lstStyle/>
      <a:p>
        <a:r>
          <a:rPr lang="en-GB"/>
          <a:t>Do energy GWh (afrr, mfrr, etc.) vs installed battery capacity. That could replace this slide</a:t>
        </a:r>
      </a:p>
    </p188:txBody>
  </p188:cm>
  <p188:cm id="{3AA62FFD-6FE0-45C9-8107-F926BFA15E15}" authorId="{5DB4E575-19F8-7C35-76B5-48C108749587}" status="resolved" created="2024-01-15T20:08:43.592">
    <ac:deMkLst xmlns:ac="http://schemas.microsoft.com/office/drawing/2013/main/command">
      <pc:docMk xmlns:pc="http://schemas.microsoft.com/office/powerpoint/2013/main/command"/>
      <pc:sldMk xmlns:pc="http://schemas.microsoft.com/office/powerpoint/2013/main/command" cId="1572149678" sldId="2146848816"/>
      <ac:spMk id="11" creationId="{1ECE23AE-3D99-E255-2DBA-570DE3DCA58B}"/>
    </ac:deMkLst>
    <p188:replyLst>
      <p188:reply id="{5C2F712A-CA09-4AC8-9659-6E71865D4973}" authorId="{28BADE64-4209-ED23-DD7B-1CE963226DFA}" created="2024-01-16T12:31:04.144">
        <p188:txBody>
          <a:bodyPr/>
          <a:lstStyle/>
          <a:p>
            <a:r>
              <a:rPr lang="en-GB"/>
              <a:t>For example, you should show the size of the balancing market in twh on a bar graph with the size relative to wholesale market as bubbles underneath/next to. </a:t>
            </a:r>
          </a:p>
        </p188:txBody>
      </p188:reply>
      <p188:reply id="{4D55F1AF-F152-4C32-A5C8-483D1579D2C0}" authorId="{291972F9-38DC-5BD2-95C2-879DD0D987AA}" created="2024-01-24T15:42:55.295">
        <p188:txBody>
          <a:bodyPr/>
          <a:lstStyle/>
          <a:p>
            <a:r>
              <a:rPr lang="en-GB"/>
              <a:t>20240124 We are showing BM itself as the %'s are mainly &lt;5%. </a:t>
            </a:r>
          </a:p>
        </p188:txBody>
      </p188:reply>
    </p188:replyLst>
    <p188:txBody>
      <a:bodyPr/>
      <a:lstStyle/>
      <a:p>
        <a:r>
          <a:rPr lang="en-GB"/>
          <a:t>Great, can we also make it a bit more graphic? Maybe add flags or barcharts, right now the slide is not designed super well.</a:t>
        </a:r>
      </a:p>
    </p188:txBody>
  </p188:cm>
  <p188:cm id="{F8F7BBC1-BF9C-496A-8A10-C25D5855DE93}" authorId="{F2F67F15-CF12-0562-1034-3027D7D5E7F9}" created="2024-02-01T11:48:56.246">
    <pc:sldMkLst xmlns:pc="http://schemas.microsoft.com/office/powerpoint/2013/main/command">
      <pc:docMk/>
      <pc:sldMk cId="1572149678" sldId="2146848816"/>
    </pc:sldMkLst>
    <p188:replyLst>
      <p188:reply id="{310A3947-D955-42F5-8025-0053A9B61CC2}" authorId="{28BADE64-4209-ED23-DD7B-1CE963226DFA}" created="2024-02-09T15:37:16.188">
        <p188:txBody>
          <a:bodyPr/>
          <a:lstStyle/>
          <a:p>
            <a:r>
              <a:rPr lang="en-GB"/>
              <a:t>We calculated it based on the sum of up and down balancing services and arrived at 9%</a:t>
            </a:r>
          </a:p>
        </p188:txBody>
      </p188:reply>
    </p188:replyLst>
    <p188:txBody>
      <a:bodyPr/>
      <a:lstStyle/>
      <a:p>
        <a:r>
          <a:rPr lang="en-GB"/>
          <a:t>Not sure if this is correct for the BM in GB. Isnt it about 9TWhs p.a. - in which case is ~3% of the WM</a:t>
        </a:r>
      </a:p>
    </p188:txBody>
  </p188:cm>
</p188:cmLst>
</file>

<file path=ppt/comments/modernComment_7FF65031_2996504A.xml><?xml version="1.0" encoding="utf-8"?>
<p188:cmLst xmlns:a="http://schemas.openxmlformats.org/drawingml/2006/main" xmlns:r="http://schemas.openxmlformats.org/officeDocument/2006/relationships" xmlns:p188="http://schemas.microsoft.com/office/powerpoint/2018/8/main">
  <p188:cm id="{8A08ED0A-EA5E-4C72-8A0C-7100552C78F1}" authorId="{5DB4E575-19F8-7C35-76B5-48C108749587}" status="resolved" created="2024-02-07T09:52:29.905" complete="100000">
    <ac:txMkLst xmlns:ac="http://schemas.microsoft.com/office/drawing/2013/main/command">
      <pc:docMk xmlns:pc="http://schemas.microsoft.com/office/powerpoint/2013/main/command"/>
      <pc:sldMk xmlns:pc="http://schemas.microsoft.com/office/powerpoint/2013/main/command" cId="697716810" sldId="2146848817"/>
      <ac:spMk id="135" creationId="{305EEF01-989D-DB23-C063-6491B96D9E26}"/>
      <ac:txMk cp="80">
        <ac:context len="87" hash="2232369287"/>
      </ac:txMk>
    </ac:txMkLst>
    <p188:pos x="4644308" y="169891"/>
    <p188:txBody>
      <a:bodyPr/>
      <a:lstStyle/>
      <a:p>
        <a:r>
          <a:rPr lang="en-GB"/>
          <a:t>Change to "example country"</a:t>
        </a:r>
      </a:p>
    </p188:txBody>
  </p188:cm>
</p188:cmLst>
</file>

<file path=ppt/comments/modernComment_7FF65032_2E252D0A.xml><?xml version="1.0" encoding="utf-8"?>
<p188:cmLst xmlns:a="http://schemas.openxmlformats.org/drawingml/2006/main" xmlns:r="http://schemas.openxmlformats.org/officeDocument/2006/relationships" xmlns:p188="http://schemas.microsoft.com/office/powerpoint/2018/8/main">
  <p188:cm id="{B0D6205A-2210-45A6-93C3-E0E3116897FD}" authorId="{5DB4E575-19F8-7C35-76B5-48C108749587}" status="resolved" created="2024-02-07T09:51:04.077" complete="100000">
    <pc:sldMkLst xmlns:pc="http://schemas.microsoft.com/office/powerpoint/2013/main/command">
      <pc:docMk/>
      <pc:sldMk cId="774188298" sldId="2146848818"/>
    </pc:sldMkLst>
    <p188:txBody>
      <a:bodyPr/>
      <a:lstStyle/>
      <a:p>
        <a:r>
          <a:rPr lang="en-GB"/>
          <a:t>Delete grid lines</a:t>
        </a:r>
      </a:p>
    </p188:txBody>
  </p188:cm>
</p188:cmLst>
</file>

<file path=ppt/comments/modernComment_7FFFF473_99DE832A.xml><?xml version="1.0" encoding="utf-8"?>
<p188:cmLst xmlns:a="http://schemas.openxmlformats.org/drawingml/2006/main" xmlns:r="http://schemas.openxmlformats.org/officeDocument/2006/relationships" xmlns:p188="http://schemas.microsoft.com/office/powerpoint/2018/8/main">
  <p188:cm id="{54926630-C509-46F1-B0D3-8E3F3AD3B22A}" authorId="{5DB4E575-19F8-7C35-76B5-48C108749587}" status="resolved" created="2024-02-06T13:32:46.899" complete="100000">
    <ac:deMkLst xmlns:ac="http://schemas.microsoft.com/office/drawing/2013/main/command">
      <pc:docMk xmlns:pc="http://schemas.microsoft.com/office/powerpoint/2013/main/command"/>
      <pc:sldMk xmlns:pc="http://schemas.microsoft.com/office/powerpoint/2013/main/command" cId="2581496618" sldId="2147480691"/>
      <ac:spMk id="494" creationId="{E5788CBF-5C82-71FE-E3BA-AAA56945F2D1}"/>
    </ac:deMkLst>
    <p188:txBody>
      <a:bodyPr/>
      <a:lstStyle/>
      <a:p>
        <a:r>
          <a:rPr lang="en-GB"/>
          <a:t>Just delete the bubbles, looks odd</a:t>
        </a:r>
      </a:p>
    </p188:txBody>
  </p188:cm>
  <p188:cm id="{D5B6A283-661E-4775-A697-906F1234C712}" authorId="{5DB4E575-19F8-7C35-76B5-48C108749587}" status="resolved" created="2024-02-06T13:33:14.961" complete="100000">
    <pc:sldMkLst xmlns:pc="http://schemas.microsoft.com/office/powerpoint/2013/main/command">
      <pc:docMk/>
      <pc:sldMk cId="2581496618" sldId="2147480691"/>
    </pc:sldMkLst>
    <p188:txBody>
      <a:bodyPr/>
      <a:lstStyle/>
      <a:p>
        <a:r>
          <a:rPr lang="en-GB"/>
          <a:t>Can we put the header on the right back in so we foreshadow a bit?</a:t>
        </a:r>
      </a:p>
    </p188:txBody>
  </p188:cm>
  <p188:cm id="{8A7BFE64-30AA-471D-A8A0-336A9A49652D}" authorId="{28BADE64-4209-ED23-DD7B-1CE963226DFA}" status="resolved" created="2024-02-09T17:29:07.209" complete="100000">
    <pc:sldMkLst xmlns:pc="http://schemas.microsoft.com/office/powerpoint/2013/main/command">
      <pc:docMk/>
      <pc:sldMk cId="2581496618" sldId="2147480691"/>
    </pc:sldMkLst>
    <p188:txBody>
      <a:bodyPr/>
      <a:lstStyle/>
      <a:p>
        <a:r>
          <a:rPr lang="en-GB"/>
          <a:t>Remove/obscure the graph on lhs</a:t>
        </a:r>
      </a:p>
    </p188:txBody>
  </p188:cm>
</p188:cmLst>
</file>

<file path=ppt/comments/modernComment_7FFFF47D_407F13F2.xml><?xml version="1.0" encoding="utf-8"?>
<p188:cmLst xmlns:a="http://schemas.openxmlformats.org/drawingml/2006/main" xmlns:r="http://schemas.openxmlformats.org/officeDocument/2006/relationships" xmlns:p188="http://schemas.microsoft.com/office/powerpoint/2018/8/main">
  <p188:cm id="{50313747-6796-45D9-869F-36B511FF50CF}" authorId="{5DB4E575-19F8-7C35-76B5-48C108749587}" status="resolved" created="2024-02-07T08:49:12.525" complete="100000">
    <pc:sldMkLst xmlns:pc="http://schemas.microsoft.com/office/powerpoint/2013/main/command">
      <pc:docMk/>
      <pc:sldMk cId="1082070002" sldId="2147480701"/>
    </pc:sldMkLst>
    <p188:txBody>
      <a:bodyPr/>
      <a:lstStyle/>
      <a:p>
        <a:r>
          <a:rPr lang="en-GB"/>
          <a:t>Please delete all the grid lines and the lines on the x axis indicating the percentage. This gives away a lot of data </a:t>
        </a:r>
      </a:p>
    </p188:txBody>
  </p188:cm>
  <p188:cm id="{32531B64-8859-4626-80A6-E3FB495AFE65}" authorId="{28BADE64-4209-ED23-DD7B-1CE963226DFA}" status="resolved" created="2024-02-09T17:49:37.584" complete="100000">
    <pc:sldMkLst xmlns:pc="http://schemas.microsoft.com/office/powerpoint/2013/main/command">
      <pc:docMk/>
      <pc:sldMk cId="1082070002" sldId="2147480701"/>
    </pc:sldMkLst>
    <p188:txBody>
      <a:bodyPr/>
      <a:lstStyle/>
      <a:p>
        <a:r>
          <a:rPr lang="en-GB"/>
          <a:t>Would obscure the graph , leave the title and legend</a:t>
        </a:r>
      </a:p>
    </p188:txBody>
  </p188:cm>
</p188:cmLst>
</file>

<file path=ppt/comments/modernComment_7FFFF47E_CC4FD94F.xml><?xml version="1.0" encoding="utf-8"?>
<p188:cmLst xmlns:a="http://schemas.openxmlformats.org/drawingml/2006/main" xmlns:r="http://schemas.openxmlformats.org/officeDocument/2006/relationships" xmlns:p188="http://schemas.microsoft.com/office/powerpoint/2018/8/main">
  <p188:cm id="{AF0BB3AB-70A9-4E3F-A98D-F532577CC30D}" authorId="{28BADE64-4209-ED23-DD7B-1CE963226DFA}" status="resolved" created="2024-02-09T17:30:48.335" complete="100000">
    <pc:sldMkLst xmlns:pc="http://schemas.microsoft.com/office/powerpoint/2013/main/command">
      <pc:docMk/>
      <pc:sldMk cId="3427785039" sldId="2147480702"/>
    </pc:sldMkLst>
    <p188:txBody>
      <a:bodyPr/>
      <a:lstStyle/>
      <a:p>
        <a:r>
          <a:rPr lang="de-DE"/>
          <a:t>Obscure all of the slide except the heading</a:t>
        </a:r>
      </a:p>
    </p188:txBody>
  </p188:cm>
</p188:cmLst>
</file>

<file path=ppt/comments/modernComment_7FFFF481_FAB6806A.xml><?xml version="1.0" encoding="utf-8"?>
<p188:cmLst xmlns:a="http://schemas.openxmlformats.org/drawingml/2006/main" xmlns:r="http://schemas.openxmlformats.org/officeDocument/2006/relationships" xmlns:p188="http://schemas.microsoft.com/office/powerpoint/2018/8/main">
  <p188:cm id="{F2463F24-0994-440C-898E-7B3CF2B5EDBD}" authorId="{28BADE64-4209-ED23-DD7B-1CE963226DFA}" status="resolved" created="2024-02-09T17:32:36.345" complete="100000">
    <pc:sldMkLst xmlns:pc="http://schemas.microsoft.com/office/powerpoint/2013/main/command">
      <pc:docMk/>
      <pc:sldMk cId="4206264426" sldId="2147480705"/>
    </pc:sldMkLst>
    <p188:txBody>
      <a:bodyPr/>
      <a:lstStyle/>
      <a:p>
        <a:r>
          <a:rPr lang="en-GB"/>
          <a:t>Remove/obscure the table</a:t>
        </a:r>
      </a:p>
    </p188:txBody>
  </p188:cm>
</p188:cmLst>
</file>

<file path=ppt/comments/modernComment_7FFFF48C_33DE4A51.xml><?xml version="1.0" encoding="utf-8"?>
<p188:cmLst xmlns:a="http://schemas.openxmlformats.org/drawingml/2006/main" xmlns:r="http://schemas.openxmlformats.org/officeDocument/2006/relationships" xmlns:p188="http://schemas.microsoft.com/office/powerpoint/2018/8/main">
  <p188:cm id="{716CD61E-2D89-4BC2-9B3F-21B57C50E073}" authorId="{28BADE64-4209-ED23-DD7B-1CE963226DFA}" created="2024-02-09T17:28:34.276">
    <pc:sldMkLst xmlns:pc="http://schemas.microsoft.com/office/powerpoint/2013/main/command">
      <pc:docMk/>
      <pc:sldMk cId="870206033" sldId="2147480716"/>
    </pc:sldMkLst>
    <p188:txBody>
      <a:bodyPr/>
      <a:lstStyle/>
      <a:p>
        <a:r>
          <a:rPr lang="en-GB"/>
          <a:t>Remove/obscure  all the text </a:t>
        </a:r>
      </a:p>
    </p188:txBody>
  </p188:cm>
</p188:cmLst>
</file>

<file path=ppt/comments/modernComment_7FFFF4B3_E8E48C67.xml><?xml version="1.0" encoding="utf-8"?>
<p188:cmLst xmlns:a="http://schemas.openxmlformats.org/drawingml/2006/main" xmlns:r="http://schemas.openxmlformats.org/officeDocument/2006/relationships" xmlns:p188="http://schemas.microsoft.com/office/powerpoint/2018/8/main">
  <p188:cm id="{88C0CEB7-061C-481C-995B-E4F929BD386D}" authorId="{28BADE64-4209-ED23-DD7B-1CE963226DFA}" status="resolved" created="2024-02-09T17:50:15.261" complete="100000">
    <pc:sldMkLst xmlns:pc="http://schemas.microsoft.com/office/powerpoint/2013/main/command">
      <pc:docMk/>
      <pc:sldMk cId="3907292263" sldId="2147480755"/>
    </pc:sldMkLst>
    <p188:txBody>
      <a:bodyPr/>
      <a:lstStyle/>
      <a:p>
        <a:r>
          <a:rPr lang="en-GB"/>
          <a:t>Obscure the graph and commentary</a:t>
        </a:r>
      </a:p>
    </p188:txBody>
  </p188:cm>
</p188:cmLst>
</file>

<file path=ppt/comments/modernComment_7FFFF4C2_9069F386.xml><?xml version="1.0" encoding="utf-8"?>
<p188:cmLst xmlns:a="http://schemas.openxmlformats.org/drawingml/2006/main" xmlns:r="http://schemas.openxmlformats.org/officeDocument/2006/relationships" xmlns:p188="http://schemas.microsoft.com/office/powerpoint/2018/8/main">
  <p188:cm id="{7CA1BD7A-8C17-40B1-ABFC-47CC7FA958DC}" authorId="{5DB4E575-19F8-7C35-76B5-48C108749587}" status="resolved" created="2024-02-07T09:07:48.205" complete="100000">
    <pc:sldMkLst xmlns:pc="http://schemas.microsoft.com/office/powerpoint/2013/main/command">
      <pc:docMk/>
      <pc:sldMk cId="2422862726" sldId="2147480770"/>
    </pc:sldMkLst>
    <p188:txBody>
      <a:bodyPr/>
      <a:lstStyle/>
      <a:p>
        <a:r>
          <a:rPr lang="en-GB"/>
          <a:t>A lot of orphaned footnotes</a:t>
        </a:r>
      </a:p>
    </p188:txBody>
  </p188:cm>
  <p188:cm id="{E21214C2-F9A6-4886-A9FD-12A4A55D40B4}" authorId="{5DB4E575-19F8-7C35-76B5-48C108749587}" status="resolved" created="2024-02-07T09:08:35.184" complete="100000">
    <pc:sldMkLst xmlns:pc="http://schemas.microsoft.com/office/powerpoint/2013/main/command">
      <pc:docMk/>
      <pc:sldMk cId="2422862726" sldId="2147480770"/>
    </pc:sldMkLst>
    <p188:txBody>
      <a:bodyPr/>
      <a:lstStyle/>
      <a:p>
        <a:r>
          <a:rPr lang="en-GB"/>
          <a:t>Can we indicate here that the different bars are representing different countries?</a:t>
        </a:r>
      </a:p>
    </p188:txBody>
  </p188:cm>
</p188:cmLst>
</file>

<file path=ppt/comments/modernComment_7FFFF4C8_91F1C206.xml><?xml version="1.0" encoding="utf-8"?>
<p188:cmLst xmlns:a="http://schemas.openxmlformats.org/drawingml/2006/main" xmlns:r="http://schemas.openxmlformats.org/officeDocument/2006/relationships" xmlns:p188="http://schemas.microsoft.com/office/powerpoint/2018/8/main">
  <p188:cm id="{5519766A-7BA8-41C7-9F6E-6329397A2548}" authorId="{5DB4E575-19F8-7C35-76B5-48C108749587}" status="resolved" created="2024-02-07T09:11:46.483" complete="100000">
    <ac:deMkLst xmlns:ac="http://schemas.microsoft.com/office/drawing/2013/main/command">
      <pc:docMk xmlns:pc="http://schemas.microsoft.com/office/powerpoint/2013/main/command"/>
      <pc:sldMk xmlns:pc="http://schemas.microsoft.com/office/powerpoint/2013/main/command" cId="2448540166" sldId="2147480776"/>
      <ac:spMk id="4" creationId="{F0F753D7-DAB4-60B1-BB12-7A24AACFD52D}"/>
    </ac:deMkLst>
    <p188:txBody>
      <a:bodyPr/>
      <a:lstStyle/>
      <a:p>
        <a:r>
          <a:rPr lang="en-GB"/>
          <a:t>A lot of orphaned footnotes</a:t>
        </a:r>
      </a:p>
    </p188:txBody>
  </p188:cm>
</p188:cmLst>
</file>

<file path=ppt/comments/modernComment_7FFFF4D2_74610D2.xml><?xml version="1.0" encoding="utf-8"?>
<p188:cmLst xmlns:a="http://schemas.openxmlformats.org/drawingml/2006/main" xmlns:r="http://schemas.openxmlformats.org/officeDocument/2006/relationships" xmlns:p188="http://schemas.microsoft.com/office/powerpoint/2018/8/main">
  <p188:cm id="{27589441-4D40-441E-BD1A-0048B94D68B8}" authorId="{5DB4E575-19F8-7C35-76B5-48C108749587}" status="resolved" created="2024-02-07T08:57:12.189" complete="100000">
    <pc:sldMkLst xmlns:pc="http://schemas.microsoft.com/office/powerpoint/2013/main/command">
      <pc:docMk/>
      <pc:sldMk cId="122032338" sldId="2147480786"/>
    </pc:sldMkLst>
    <p188:txBody>
      <a:bodyPr/>
      <a:lstStyle/>
      <a:p>
        <a:r>
          <a:rPr lang="en-GB"/>
          <a:t>Can we  add a title to the x axis that says something like "developer/investor". If you dont know what is in the original version this is rather confusing</a:t>
        </a:r>
      </a:p>
    </p188:txBody>
  </p188:cm>
</p188:cmLst>
</file>

<file path=ppt/comments/modernComment_7FFFF4D4_F9D22838.xml><?xml version="1.0" encoding="utf-8"?>
<p188:cmLst xmlns:a="http://schemas.openxmlformats.org/drawingml/2006/main" xmlns:r="http://schemas.openxmlformats.org/officeDocument/2006/relationships" xmlns:p188="http://schemas.microsoft.com/office/powerpoint/2018/8/main">
  <p188:cm id="{CA6CA825-401E-4398-A46F-36EA0A599855}" authorId="{5DB4E575-19F8-7C35-76B5-48C108749587}" created="2024-02-07T09:09:56.831">
    <pc:sldMkLst xmlns:pc="http://schemas.microsoft.com/office/powerpoint/2013/main/command">
      <pc:docMk/>
      <pc:sldMk cId="4191299640" sldId="2147480788"/>
    </pc:sldMkLst>
    <p188:replyLst>
      <p188:reply id="{C9D2F753-15BB-4D44-822C-E55A6609B513}" authorId="{F2D96743-B8FD-3016-DEAF-231239DD4A68}" created="2024-02-07T11:41:50.912">
        <p188:txBody>
          <a:bodyPr/>
          <a:lstStyle/>
          <a:p>
            <a:r>
              <a:rPr lang="en-GB"/>
              <a:t>Have added a 'generic' energy storage target chart on the left as a representative</a:t>
            </a:r>
          </a:p>
        </p188:txBody>
      </p188:reply>
    </p188:replyLst>
    <p188:txBody>
      <a:bodyPr/>
      <a:lstStyle/>
      <a:p>
        <a:r>
          <a:rPr lang="en-GB"/>
          <a:t>Can be deletes, doesnt make sense in this version</a:t>
        </a:r>
      </a:p>
    </p188:txBody>
  </p188:cm>
  <p188:cm id="{DBF482AD-E8C1-4B7C-8E5E-0D4CD9C25CAE}" authorId="{5DB4E575-19F8-7C35-76B5-48C108749587}" status="resolved" created="2024-02-07T09:11:17.015" complete="100000">
    <ac:deMkLst xmlns:ac="http://schemas.microsoft.com/office/drawing/2013/main/command">
      <pc:docMk xmlns:pc="http://schemas.microsoft.com/office/powerpoint/2013/main/command"/>
      <pc:sldMk xmlns:pc="http://schemas.microsoft.com/office/powerpoint/2013/main/command" cId="4191299640" sldId="2147480788"/>
      <ac:graphicFrameMk id="20" creationId="{7AC00230-9FB9-7020-CDFF-8EFCFA1CC37C}"/>
    </ac:deMkLst>
    <p188:replyLst>
      <p188:reply id="{82D7341A-A2EA-4AE6-B508-8BE3EE3D9F28}" authorId="{5DB4E575-19F8-7C35-76B5-48C108749587}" created="2024-02-07T09:40:54.654">
        <p188:txBody>
          <a:bodyPr/>
          <a:lstStyle/>
          <a:p>
            <a:r>
              <a:rPr lang="en-GB"/>
              <a:t>Or just add a similar slide as in p. 66</a:t>
            </a:r>
          </a:p>
        </p188:txBody>
      </p188:reply>
    </p188:replyLst>
    <p188:txBody>
      <a:bodyPr/>
      <a:lstStyle/>
      <a:p>
        <a:r>
          <a:rPr lang="en-GB"/>
          <a:t>Can we use this space to add a short description of what we are doing when ranking the countries and maybe explain that the map on the left will be color coded? Can be two sentences, this way I just wouldnt know what to expect</a:t>
        </a:r>
      </a:p>
    </p188:txBody>
  </p188:cm>
</p188:cmLst>
</file>

<file path=ppt/comments/modernComment_7FFFF4D8_3EEE2585.xml><?xml version="1.0" encoding="utf-8"?>
<p188:cmLst xmlns:a="http://schemas.openxmlformats.org/drawingml/2006/main" xmlns:r="http://schemas.openxmlformats.org/officeDocument/2006/relationships" xmlns:p188="http://schemas.microsoft.com/office/powerpoint/2018/8/main">
  <p188:cm id="{7F732C34-C5EF-40FA-AB9D-3BDB3546F9B1}" authorId="{28BADE64-4209-ED23-DD7B-1CE963226DFA}" status="resolved" created="2024-02-09T17:28:18.664" complete="100000">
    <pc:sldMkLst xmlns:pc="http://schemas.microsoft.com/office/powerpoint/2013/main/command">
      <pc:docMk/>
      <pc:sldMk cId="1055794565" sldId="2147480792"/>
    </pc:sldMkLst>
    <p188:txBody>
      <a:bodyPr/>
      <a:lstStyle/>
      <a:p>
        <a:r>
          <a:rPr lang="en-GB"/>
          <a:t>Remove/obscure  all the text </a:t>
        </a:r>
      </a:p>
    </p188:txBody>
  </p188:cm>
</p188:cmLst>
</file>

<file path=ppt/comments/modernComment_7FFFF4DE_AFD94CB4.xml><?xml version="1.0" encoding="utf-8"?>
<p188:cmLst xmlns:a="http://schemas.openxmlformats.org/drawingml/2006/main" xmlns:r="http://schemas.openxmlformats.org/officeDocument/2006/relationships" xmlns:p188="http://schemas.microsoft.com/office/powerpoint/2018/8/main">
  <p188:cm id="{D137067D-BA1E-4972-82C8-73197816AF1C}" authorId="{5DB4E575-19F8-7C35-76B5-48C108749587}" status="resolved" created="2024-02-07T08:57:43.764" complete="100000">
    <pc:sldMkLst xmlns:pc="http://schemas.microsoft.com/office/powerpoint/2013/main/command">
      <pc:docMk/>
      <pc:sldMk cId="2950253748" sldId="2147480798"/>
    </pc:sldMkLst>
    <p188:txBody>
      <a:bodyPr/>
      <a:lstStyle/>
      <a:p>
        <a:r>
          <a:rPr lang="en-GB"/>
          <a:t>Please indicate that different colors mean different countries </a:t>
        </a:r>
      </a:p>
    </p188:txBody>
  </p188:cm>
</p188:cmLst>
</file>

<file path=ppt/comments/modernComment_7FFFF4DF_B2A920E0.xml><?xml version="1.0" encoding="utf-8"?>
<p188:cmLst xmlns:a="http://schemas.openxmlformats.org/drawingml/2006/main" xmlns:r="http://schemas.openxmlformats.org/officeDocument/2006/relationships" xmlns:p188="http://schemas.microsoft.com/office/powerpoint/2018/8/main">
  <p188:cm id="{56892A4B-74E1-4EFC-B8FC-6ABD8CB4E638}" authorId="{28BADE64-4209-ED23-DD7B-1CE963226DFA}" status="resolved" created="2024-02-09T17:30:19.255" complete="100000">
    <pc:sldMkLst xmlns:pc="http://schemas.microsoft.com/office/powerpoint/2013/main/command">
      <pc:docMk/>
      <pc:sldMk cId="2997428448" sldId="2147480799"/>
    </pc:sldMkLst>
    <p188:txBody>
      <a:bodyPr/>
      <a:lstStyle/>
      <a:p>
        <a:r>
          <a:rPr lang="en-GB"/>
          <a:t>Remove/obscure the tables, keep the headings</a:t>
        </a:r>
      </a:p>
    </p188:txBody>
  </p188:cm>
</p188:cmLst>
</file>

<file path=ppt/comments/modernComment_7FFFF4E0_3EC8F708.xml><?xml version="1.0" encoding="utf-8"?>
<p188:cmLst xmlns:a="http://schemas.openxmlformats.org/drawingml/2006/main" xmlns:r="http://schemas.openxmlformats.org/officeDocument/2006/relationships" xmlns:p188="http://schemas.microsoft.com/office/powerpoint/2018/8/main">
  <p188:cm id="{B0E34257-43EF-425A-8A32-E3C0FC3E8158}" authorId="{5DB4E575-19F8-7C35-76B5-48C108749587}" status="resolved" created="2024-02-07T08:59:52.603" complete="100000">
    <pc:sldMkLst xmlns:pc="http://schemas.microsoft.com/office/powerpoint/2013/main/command">
      <pc:docMk/>
      <pc:sldMk cId="1053357832" sldId="2147480800"/>
    </pc:sldMkLst>
    <p188:txBody>
      <a:bodyPr/>
      <a:lstStyle/>
      <a:p>
        <a:r>
          <a:rPr lang="en-GB"/>
          <a:t>Can we delete the numbers on the y axis and the gridlines?</a:t>
        </a:r>
      </a:p>
    </p188:txBody>
  </p188:cm>
</p188:cmLst>
</file>

<file path=ppt/comments/modernComment_7FFFF4EC_8F84B32C.xml><?xml version="1.0" encoding="utf-8"?>
<p188:cmLst xmlns:a="http://schemas.openxmlformats.org/drawingml/2006/main" xmlns:r="http://schemas.openxmlformats.org/officeDocument/2006/relationships" xmlns:p188="http://schemas.microsoft.com/office/powerpoint/2018/8/main">
  <p188:cm id="{39C92FA6-CF6C-4C02-AB0E-70D4AB35A522}" authorId="{28BADE64-4209-ED23-DD7B-1CE963226DFA}" status="resolved" created="2024-02-09T17:27:10.256" complete="100000">
    <pc:sldMkLst xmlns:pc="http://schemas.microsoft.com/office/powerpoint/2013/main/command">
      <pc:docMk/>
      <pc:sldMk cId="2407838508" sldId="2147480812"/>
    </pc:sldMkLst>
    <p188:txBody>
      <a:bodyPr/>
      <a:lstStyle/>
      <a:p>
        <a:r>
          <a:rPr lang="en-GB"/>
          <a:t>Remove/obscure  all the text </a:t>
        </a:r>
      </a:p>
    </p188:txBody>
  </p188:cm>
</p188:cmLst>
</file>

<file path=ppt/comments/modernComment_7FFFF4ED_9F10E7EF.xml><?xml version="1.0" encoding="utf-8"?>
<p188:cmLst xmlns:a="http://schemas.openxmlformats.org/drawingml/2006/main" xmlns:r="http://schemas.openxmlformats.org/officeDocument/2006/relationships" xmlns:p188="http://schemas.microsoft.com/office/powerpoint/2018/8/main">
  <p188:cm id="{4609043A-EC70-4725-A488-FE60CDB2F9B7}" authorId="{5DB4E575-19F8-7C35-76B5-48C108749587}" status="resolved" created="2024-02-06T13:22:21.860" complete="100000">
    <ac:deMkLst xmlns:ac="http://schemas.microsoft.com/office/drawing/2013/main/command">
      <pc:docMk xmlns:pc="http://schemas.microsoft.com/office/powerpoint/2013/main/command"/>
      <pc:sldMk xmlns:pc="http://schemas.microsoft.com/office/powerpoint/2013/main/command" cId="2668685295" sldId="2147480813"/>
      <ac:spMk id="3" creationId="{ADF1A9D9-BC99-CED3-F3A0-D73E4AF9BF39}"/>
    </ac:deMkLst>
    <p188:replyLst>
      <p188:reply id="{5D948BAC-2179-4D54-83C3-E18F2751D246}" authorId="{F2D96743-B8FD-3016-DEAF-231239DD4A68}" created="2024-02-06T18:14:41.289">
        <p188:txBody>
          <a:bodyPr/>
          <a:lstStyle/>
          <a:p>
            <a:r>
              <a:rPr lang="en-GB"/>
              <a:t>Have done this now - in the previous BATMAR this text was all greyed out</a:t>
            </a:r>
          </a:p>
        </p188:txBody>
      </p188:reply>
    </p188:replyLst>
    <p188:txBody>
      <a:bodyPr/>
      <a:lstStyle/>
      <a:p>
        <a:r>
          <a:rPr lang="en-GB"/>
          <a:t>Instead of just a blank box, can we foreshadow what we would show here?</a:t>
        </a:r>
      </a:p>
    </p188:txBody>
  </p188:cm>
  <p188:cm id="{6F46AEE7-28C2-4EF9-9E04-CA2B27EC1B41}" authorId="{28BADE64-4209-ED23-DD7B-1CE963226DFA}" status="resolved" created="2024-02-09T17:27:22.319" complete="100000">
    <pc:sldMkLst xmlns:pc="http://schemas.microsoft.com/office/powerpoint/2013/main/command">
      <pc:docMk/>
      <pc:sldMk cId="2668685295" sldId="2147480813"/>
    </pc:sldMkLst>
    <p188:txBody>
      <a:bodyPr/>
      <a:lstStyle/>
      <a:p>
        <a:r>
          <a:rPr lang="en-GB"/>
          <a:t>Remove/obscure  all the text on rhs</a:t>
        </a:r>
      </a:p>
    </p188:txBody>
  </p188:cm>
</p188:cmLst>
</file>

<file path=ppt/comments/modernComment_7FFFF4EE_7006D1B5.xml><?xml version="1.0" encoding="utf-8"?>
<p188:cmLst xmlns:a="http://schemas.openxmlformats.org/drawingml/2006/main" xmlns:r="http://schemas.openxmlformats.org/officeDocument/2006/relationships" xmlns:p188="http://schemas.microsoft.com/office/powerpoint/2018/8/main">
  <p188:cm id="{AAC3DBCF-CA0F-4DDD-888A-7ECDD55B0D1D}" authorId="{5DB4E575-19F8-7C35-76B5-48C108749587}" status="resolved" created="2024-02-06T13:25:32.914" complete="100000">
    <ac:deMkLst xmlns:ac="http://schemas.microsoft.com/office/drawing/2013/main/command">
      <pc:docMk xmlns:pc="http://schemas.microsoft.com/office/powerpoint/2013/main/command"/>
      <pc:sldMk xmlns:pc="http://schemas.microsoft.com/office/powerpoint/2013/main/command" cId="1879495093" sldId="2147480814"/>
      <ac:spMk id="5" creationId="{04233EBE-E3B2-67EB-06F2-DA3AEE966701}"/>
    </ac:deMkLst>
    <p188:txBody>
      <a:bodyPr/>
      <a:lstStyle/>
      <a:p>
        <a:r>
          <a:rPr lang="en-GB"/>
          <a:t>I think everyone in the field will get that we talk about UK, but I guess it's also no secret so fine</a:t>
        </a:r>
      </a:p>
    </p188:txBody>
  </p188:cm>
  <p188:cm id="{66CD844D-498A-4D3F-B8EC-7AF1A4D5FD66}" authorId="{5DB4E575-19F8-7C35-76B5-48C108749587}" created="2024-02-06T13:25:57.404">
    <ac:deMkLst xmlns:ac="http://schemas.microsoft.com/office/drawing/2013/main/command">
      <pc:docMk xmlns:pc="http://schemas.microsoft.com/office/powerpoint/2013/main/command"/>
      <pc:sldMk xmlns:pc="http://schemas.microsoft.com/office/powerpoint/2013/main/command" cId="1879495093" sldId="2147480814"/>
      <ac:spMk id="18" creationId="{BC8FDD12-FCA7-CC85-4EDD-4425EDA49D7A}"/>
    </ac:deMkLst>
    <p188:replyLst>
      <p188:reply id="{A1040357-CD28-47FD-A8C1-3835F465BBB0}" authorId="{F2D96743-B8FD-3016-DEAF-231239DD4A68}" created="2024-02-06T18:16:04.954">
        <p188:txBody>
          <a:bodyPr/>
          <a:lstStyle/>
          <a:p>
            <a:r>
              <a:rPr lang="en-GB"/>
              <a:t>Have blanked out solar PV growth</a:t>
            </a:r>
          </a:p>
        </p188:txBody>
      </p188:reply>
    </p188:replyLst>
    <p188:txBody>
      <a:bodyPr/>
      <a:lstStyle/>
      <a:p>
        <a:r>
          <a:rPr lang="en-GB"/>
          <a:t>However, here we might give away that this is Italy</a:t>
        </a:r>
      </a:p>
    </p188:txBody>
  </p188:cm>
</p188:cmLst>
</file>

<file path=ppt/comments/modernComment_7FFFF4EF_5C61F937.xml><?xml version="1.0" encoding="utf-8"?>
<p188:cmLst xmlns:a="http://schemas.openxmlformats.org/drawingml/2006/main" xmlns:r="http://schemas.openxmlformats.org/officeDocument/2006/relationships" xmlns:p188="http://schemas.microsoft.com/office/powerpoint/2018/8/main">
  <p188:cm id="{4D8C63DE-6A89-4091-AC2D-FB6B6C72AABD}" authorId="{28BADE64-4209-ED23-DD7B-1CE963226DFA}" status="resolved" created="2024-02-09T17:28:07.166" complete="100000">
    <pc:sldMkLst xmlns:pc="http://schemas.microsoft.com/office/powerpoint/2013/main/command">
      <pc:docMk/>
      <pc:sldMk cId="1549924663" sldId="2147480815"/>
    </pc:sldMkLst>
    <p188:txBody>
      <a:bodyPr/>
      <a:lstStyle/>
      <a:p>
        <a:r>
          <a:rPr lang="en-GB"/>
          <a:t>Remove/obscure  all the text </a:t>
        </a:r>
      </a:p>
    </p188:txBody>
  </p188:cm>
</p188:cmLst>
</file>

<file path=ppt/comments/modernComment_7FFFF4F0_707B021.xml><?xml version="1.0" encoding="utf-8"?>
<p188:cmLst xmlns:a="http://schemas.openxmlformats.org/drawingml/2006/main" xmlns:r="http://schemas.openxmlformats.org/officeDocument/2006/relationships" xmlns:p188="http://schemas.microsoft.com/office/powerpoint/2018/8/main">
  <p188:cm id="{4095684E-967A-4048-AB0A-FBFB8DE9C278}" authorId="{5DB4E575-19F8-7C35-76B5-48C108749587}" created="2024-02-06T13:28:56.220">
    <ac:deMkLst xmlns:ac="http://schemas.microsoft.com/office/drawing/2013/main/command">
      <pc:docMk xmlns:pc="http://schemas.microsoft.com/office/powerpoint/2013/main/command"/>
      <pc:sldMk xmlns:pc="http://schemas.microsoft.com/office/powerpoint/2013/main/command" cId="117944353" sldId="2147480816"/>
      <ac:graphicFrameMk id="16" creationId="{5B94777B-2F77-3FC9-C713-EECC1F6D910E}"/>
    </ac:deMkLst>
    <p188:replyLst>
      <p188:reply id="{02282D35-E5DC-4FAC-9905-4FE31C475F66}" authorId="{F2D96743-B8FD-3016-DEAF-231239DD4A68}" created="2024-02-06T18:20:47.522">
        <p188:txBody>
          <a:bodyPr/>
          <a:lstStyle/>
          <a:p>
            <a:r>
              <a:rPr lang="en-GB"/>
              <a:t>Done this - given we publicized our top 5 in news articles in the 2nd BATMAR, should we remove the arrows since that might give our rankings away? Eg country in row 5 must have dropped from the top 5 we had previously</a:t>
            </a:r>
          </a:p>
        </p188:txBody>
      </p188:reply>
      <p188:reply id="{0DDDE0DC-C081-4AE6-98E8-9F0F385A2733}" authorId="{D2D9F0FB-419A-B37D-3C26-2A28F6E6268B}" created="2024-02-07T12:10:29.773">
        <p188:txBody>
          <a:bodyPr/>
          <a:lstStyle/>
          <a:p>
            <a:r>
              <a:rPr lang="en-US"/>
              <a:t>I think this time we are giving away the top 3. And looking at the top 3, if you had the previous report, then you know who dropped ranks. So I don't think it is an issue leaving this</a:t>
            </a:r>
          </a:p>
        </p188:txBody>
      </p188:reply>
    </p188:replyLst>
    <p188:txBody>
      <a:bodyPr/>
      <a:lstStyle/>
      <a:p>
        <a:r>
          <a:rPr lang="en-GB"/>
          <a:t>Change header so the arrows are easier to understand</a:t>
        </a:r>
      </a:p>
    </p188:txBody>
  </p188:cm>
</p188:cmLst>
</file>

<file path=ppt/comments/modernComment_7FFFF4F1_9F79F2CD.xml><?xml version="1.0" encoding="utf-8"?>
<p188:cmLst xmlns:a="http://schemas.openxmlformats.org/drawingml/2006/main" xmlns:r="http://schemas.openxmlformats.org/officeDocument/2006/relationships" xmlns:p188="http://schemas.microsoft.com/office/powerpoint/2018/8/main">
  <p188:cm id="{5A843028-5741-49E7-B9F6-96097735BEF1}" authorId="{5DB4E575-19F8-7C35-76B5-48C108749587}" created="2024-02-07T09:43:19.490">
    <pc:sldMkLst xmlns:pc="http://schemas.microsoft.com/office/powerpoint/2013/main/command">
      <pc:docMk/>
      <pc:sldMk cId="2675569357" sldId="2147480817"/>
    </pc:sldMkLst>
    <p188:replyLst>
      <p188:reply id="{FF5F5F78-B815-425B-8A2A-FE142F866718}" authorId="{F2D96743-B8FD-3016-DEAF-231239DD4A68}" created="2024-02-07T11:46:39.816">
        <p188:txBody>
          <a:bodyPr/>
          <a:lstStyle/>
          <a:p>
            <a:r>
              <a:rPr lang="en-GB"/>
              <a:t>Have added back the features </a:t>
            </a:r>
          </a:p>
        </p188:txBody>
      </p188:reply>
      <p188:reply id="{90E48B0D-EFE1-4922-A938-23E036DD67E4}" authorId="{D2D9F0FB-419A-B37D-3C26-2A28F6E6268B}" created="2024-02-07T12:16:48.910">
        <p188:txBody>
          <a:bodyPr/>
          <a:lstStyle/>
          <a:p>
            <a:r>
              <a:rPr lang="en-US"/>
              <a:t>I would delete it actually. I think we may give away too much like this, even without the explanations. </a:t>
            </a:r>
          </a:p>
        </p188:txBody>
      </p188:reply>
    </p188:replyLst>
    <p188:txBody>
      <a:bodyPr/>
      <a:lstStyle/>
      <a:p>
        <a:r>
          <a:rPr lang="en-GB"/>
          <a:t>Either we add more info or delete it, doesnt tell you anything</a:t>
        </a:r>
      </a:p>
    </p188:txBody>
  </p188:cm>
</p188:cmLst>
</file>

<file path=ppt/comments/modernComment_7FFFF4F2_BD10C353.xml><?xml version="1.0" encoding="utf-8"?>
<p188:cmLst xmlns:a="http://schemas.openxmlformats.org/drawingml/2006/main" xmlns:r="http://schemas.openxmlformats.org/officeDocument/2006/relationships" xmlns:p188="http://schemas.microsoft.com/office/powerpoint/2018/8/main">
  <p188:cm id="{1AFA69C8-31D8-4B21-A88E-F42F3E74703E}" authorId="{5DB4E575-19F8-7C35-76B5-48C108749587}" created="2024-02-07T08:53:12.296">
    <pc:sldMkLst xmlns:pc="http://schemas.microsoft.com/office/powerpoint/2013/main/command">
      <pc:docMk/>
      <pc:sldMk cId="3171992403" sldId="2147480818"/>
    </pc:sldMkLst>
    <p188:replyLst>
      <p188:reply id="{9AFE19ED-4AFB-474A-BEBB-1AA67AE3608F}" authorId="{F2D96743-B8FD-3016-DEAF-231239DD4A68}" created="2024-02-07T11:19:56.016">
        <p188:txBody>
          <a:bodyPr/>
          <a:lstStyle/>
          <a:p>
            <a:r>
              <a:rPr lang="en-GB"/>
              <a:t>We don't show the cost breakdown for historical costs as our sources don't have that/cost categories can't be fully transposed to our categories. The historical costs is also greyed out in the final report</a:t>
            </a:r>
          </a:p>
        </p188:txBody>
      </p188:reply>
      <p188:reply id="{F68754F1-E17E-4830-A380-B748BC085301}" authorId="{D2D9F0FB-419A-B37D-3C26-2A28F6E6268B}" created="2024-02-07T12:13:17.794">
        <p188:txBody>
          <a:bodyPr/>
          <a:lstStyle/>
          <a:p>
            <a:r>
              <a:rPr lang="en-US"/>
              <a:t>yes, we only have total historical capex and not the breakdown. Alternatively, if we want to show less, we could delete the comments and legends, or delete the comment on the right and the legends </a:t>
            </a:r>
          </a:p>
        </p188:txBody>
      </p188:reply>
    </p188:replyLst>
    <p188:txBody>
      <a:bodyPr/>
      <a:lstStyle/>
      <a:p>
        <a:r>
          <a:rPr lang="en-GB"/>
          <a:t>Given that we also show on the right that the major dirver of change is the battery system itself, probably everyone can guess what distribution of costs by components we are hiding here. Would either
- show the full thing.
- only show cost projection from 2025 onwards </a:t>
        </a:r>
      </a:p>
    </p188:txBody>
  </p188:cm>
</p188:cmLst>
</file>

<file path=ppt/comments/modernComment_7FFFF4F7_44FE2FDA.xml><?xml version="1.0" encoding="utf-8"?>
<p188:cmLst xmlns:a="http://schemas.openxmlformats.org/drawingml/2006/main" xmlns:r="http://schemas.openxmlformats.org/officeDocument/2006/relationships" xmlns:p188="http://schemas.microsoft.com/office/powerpoint/2018/8/main">
  <p188:cm id="{D419D598-DDF8-44D1-8B2F-D0FFAC0FA277}" authorId="{5DB4E575-19F8-7C35-76B5-48C108749587}" created="2024-02-07T08:40:45.795">
    <pc:sldMkLst xmlns:pc="http://schemas.microsoft.com/office/powerpoint/2013/main/command">
      <pc:docMk/>
      <pc:sldMk cId="1157509082" sldId="2147480823"/>
    </pc:sldMkLst>
    <p188:replyLst>
      <p188:reply id="{CC533A9A-1AC8-4D70-99C5-73FFD9DE097C}" authorId="{F2D96743-B8FD-3016-DEAF-231239DD4A68}" created="2024-02-07T11:15:48.130">
        <p188:txBody>
          <a:bodyPr/>
          <a:lstStyle/>
          <a:p>
            <a:r>
              <a:rPr lang="en-GB"/>
              <a:t>Comments were qualitative explanation of the drivers - not sure if we should add? have added 'Comments' to indicate for now</a:t>
            </a:r>
          </a:p>
        </p188:txBody>
      </p188:reply>
    </p188:replyLst>
    <p188:txBody>
      <a:bodyPr/>
      <a:lstStyle/>
      <a:p>
        <a:r>
          <a:rPr lang="en-GB"/>
          <a:t>Can we put the header back on the grey part? (if it sounds interesting)</a:t>
        </a:r>
      </a:p>
    </p188:txBody>
  </p188:cm>
  <p188:cm id="{E213AF28-D10C-4052-87EE-DB47F24279C3}" authorId="{28BADE64-4209-ED23-DD7B-1CE963226DFA}" status="resolved" created="2024-02-09T17:30:01.259" complete="100000">
    <pc:sldMkLst xmlns:pc="http://schemas.microsoft.com/office/powerpoint/2013/main/command">
      <pc:docMk/>
      <pc:sldMk cId="1157509082" sldId="2147480823"/>
    </pc:sldMkLst>
    <p188:txBody>
      <a:bodyPr/>
      <a:lstStyle/>
      <a:p>
        <a:r>
          <a:rPr lang="en-GB"/>
          <a:t>Remove/obscure the graph (leave header and legend)</a:t>
        </a:r>
      </a:p>
    </p188:txBody>
  </p188:cm>
</p188:cmLst>
</file>

<file path=ppt/comments/modernComment_7FFFF4FF_A91B2345.xml><?xml version="1.0" encoding="utf-8"?>
<p188:cmLst xmlns:a="http://schemas.openxmlformats.org/drawingml/2006/main" xmlns:r="http://schemas.openxmlformats.org/officeDocument/2006/relationships" xmlns:p188="http://schemas.microsoft.com/office/powerpoint/2018/8/main">
  <p188:cm id="{F2469B59-3A4D-4280-8E48-8FE72DE5BCE8}" authorId="{5DB4E575-19F8-7C35-76B5-48C108749587}" status="resolved" created="2024-02-07T08:47:16.480" complete="100000">
    <pc:sldMkLst xmlns:pc="http://schemas.microsoft.com/office/powerpoint/2013/main/command">
      <pc:docMk/>
      <pc:sldMk cId="2837128005" sldId="2147480831"/>
    </pc:sldMkLst>
    <p188:txBody>
      <a:bodyPr/>
      <a:lstStyle/>
      <a:p>
        <a:r>
          <a:rPr lang="en-GB"/>
          <a:t>Please delere the grid lines, makes it easier to trace back everthing. Power demand in Europe 2015 is no secret.</a:t>
        </a:r>
      </a:p>
    </p188:txBody>
  </p188:cm>
  <p188:cm id="{0E553AAD-6DBE-41FE-AF39-B6E6CF70667D}" authorId="{5DB4E575-19F8-7C35-76B5-48C108749587}" status="resolved" created="2024-02-07T08:47:35.062" complete="100000">
    <ac:txMkLst xmlns:ac="http://schemas.microsoft.com/office/drawing/2013/main/command">
      <pc:docMk xmlns:pc="http://schemas.microsoft.com/office/powerpoint/2013/main/command"/>
      <pc:sldMk xmlns:pc="http://schemas.microsoft.com/office/powerpoint/2013/main/command" cId="2837128005" sldId="2147480831"/>
      <ac:spMk id="3" creationId="{FD0EC9C9-C636-46A9-AF20-02E13AE18A78}"/>
      <ac:txMk cp="50" len="4">
        <ac:context len="115" hash="3140193119"/>
      </ac:txMk>
    </ac:txMkLst>
    <p188:pos x="7444801" y="171344"/>
    <p188:txBody>
      <a:bodyPr/>
      <a:lstStyle/>
      <a:p>
        <a:r>
          <a:rPr lang="en-GB"/>
          <a:t>Replace with "more than 50"</a:t>
        </a:r>
      </a:p>
    </p188:txBody>
  </p188:cm>
  <p188:cm id="{C946BFCA-7737-4B7A-8DEF-638F5DC6FF7E}" authorId="{28BADE64-4209-ED23-DD7B-1CE963226DFA}" status="resolved" created="2024-02-09T17:31:32.491" complete="100000">
    <pc:sldMkLst xmlns:pc="http://schemas.microsoft.com/office/powerpoint/2013/main/command">
      <pc:docMk/>
      <pc:sldMk cId="2837128005" sldId="2147480831"/>
    </pc:sldMkLst>
    <p188:txBody>
      <a:bodyPr/>
      <a:lstStyle/>
      <a:p>
        <a:r>
          <a:rPr lang="en-GB"/>
          <a:t>Remove/obscure graph, leave title and legend</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endParaRPr lang="en-GB"/>
          </a:p>
        </p:txBody>
      </p:sp>
      <p:sp>
        <p:nvSpPr>
          <p:cNvPr id="3" name="Date Placeholder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fld id="{53A88C83-822A-4290-9A55-EBA34843E9A2}" type="datetimeFigureOut">
              <a:rPr lang="en-GB" smtClean="0"/>
              <a:pPr/>
              <a:t>12/02/2024</a:t>
            </a:fld>
            <a:endParaRPr lang="en-GB"/>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endParaRPr lang="en-GB"/>
          </a:p>
        </p:txBody>
      </p:sp>
      <p:sp>
        <p:nvSpPr>
          <p:cNvPr id="7" name="Slide Number Placeholder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fld id="{B94B4125-20DE-4407-A3BD-C398E90474C3}" type="slidenum">
              <a:rPr lang="en-GB" smtClean="0"/>
              <a:pPr/>
              <a:t>‹#›</a:t>
            </a:fld>
            <a:endParaRPr lang="en-GB"/>
          </a:p>
        </p:txBody>
      </p:sp>
    </p:spTree>
    <p:extLst>
      <p:ext uri="{BB962C8B-B14F-4D97-AF65-F5344CB8AC3E}">
        <p14:creationId xmlns:p14="http://schemas.microsoft.com/office/powerpoint/2010/main" val="945180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4572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9144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13716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8288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3</a:t>
            </a:fld>
            <a:endParaRPr lang="en-GB"/>
          </a:p>
        </p:txBody>
      </p:sp>
    </p:spTree>
    <p:extLst>
      <p:ext uri="{BB962C8B-B14F-4D97-AF65-F5344CB8AC3E}">
        <p14:creationId xmlns:p14="http://schemas.microsoft.com/office/powerpoint/2010/main" val="300040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04043265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06</a:t>
            </a:fld>
            <a:endParaRPr lang="en-GB"/>
          </a:p>
        </p:txBody>
      </p:sp>
    </p:spTree>
    <p:extLst>
      <p:ext uri="{BB962C8B-B14F-4D97-AF65-F5344CB8AC3E}">
        <p14:creationId xmlns:p14="http://schemas.microsoft.com/office/powerpoint/2010/main" val="131325659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GB" b="1"/>
          </a:p>
        </p:txBody>
      </p:sp>
      <p:sp>
        <p:nvSpPr>
          <p:cNvPr id="4" name="Slide Number Placeholder 3"/>
          <p:cNvSpPr>
            <a:spLocks noGrp="1"/>
          </p:cNvSpPr>
          <p:nvPr>
            <p:ph type="sldNum" sz="quarter" idx="5"/>
          </p:nvPr>
        </p:nvSpPr>
        <p:spPr/>
        <p:txBody>
          <a:bodyPr/>
          <a:lstStyle/>
          <a:p>
            <a:fld id="{B94B4125-20DE-4407-A3BD-C398E90474C3}" type="slidenum">
              <a:rPr lang="en-GB" smtClean="0"/>
              <a:pPr/>
              <a:t>107</a:t>
            </a:fld>
            <a:endParaRPr lang="en-GB"/>
          </a:p>
        </p:txBody>
      </p:sp>
    </p:spTree>
    <p:extLst>
      <p:ext uri="{BB962C8B-B14F-4D97-AF65-F5344CB8AC3E}">
        <p14:creationId xmlns:p14="http://schemas.microsoft.com/office/powerpoint/2010/main" val="35098025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08</a:t>
            </a:fld>
            <a:endParaRPr lang="en-GB"/>
          </a:p>
        </p:txBody>
      </p:sp>
    </p:spTree>
    <p:extLst>
      <p:ext uri="{BB962C8B-B14F-4D97-AF65-F5344CB8AC3E}">
        <p14:creationId xmlns:p14="http://schemas.microsoft.com/office/powerpoint/2010/main" val="168819578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09</a:t>
            </a:fld>
            <a:endParaRPr lang="en-GB"/>
          </a:p>
        </p:txBody>
      </p:sp>
    </p:spTree>
    <p:extLst>
      <p:ext uri="{BB962C8B-B14F-4D97-AF65-F5344CB8AC3E}">
        <p14:creationId xmlns:p14="http://schemas.microsoft.com/office/powerpoint/2010/main" val="8392893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10</a:t>
            </a:fld>
            <a:endParaRPr lang="en-GB"/>
          </a:p>
        </p:txBody>
      </p:sp>
    </p:spTree>
    <p:extLst>
      <p:ext uri="{BB962C8B-B14F-4D97-AF65-F5344CB8AC3E}">
        <p14:creationId xmlns:p14="http://schemas.microsoft.com/office/powerpoint/2010/main" val="213408072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00756860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1hr make more $ from ancillary services </a:t>
            </a:r>
          </a:p>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12</a:t>
            </a:fld>
            <a:endParaRPr lang="en-GB"/>
          </a:p>
        </p:txBody>
      </p:sp>
    </p:spTree>
    <p:extLst>
      <p:ext uri="{BB962C8B-B14F-4D97-AF65-F5344CB8AC3E}">
        <p14:creationId xmlns:p14="http://schemas.microsoft.com/office/powerpoint/2010/main" val="253700759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alk about the diff about durations in the comments. At least one point about duration related differences</a:t>
            </a:r>
          </a:p>
        </p:txBody>
      </p:sp>
      <p:sp>
        <p:nvSpPr>
          <p:cNvPr id="4" name="Slide Number Placeholder 3"/>
          <p:cNvSpPr>
            <a:spLocks noGrp="1"/>
          </p:cNvSpPr>
          <p:nvPr>
            <p:ph type="sldNum" sz="quarter" idx="5"/>
          </p:nvPr>
        </p:nvSpPr>
        <p:spPr/>
        <p:txBody>
          <a:bodyPr/>
          <a:lstStyle/>
          <a:p>
            <a:fld id="{B94B4125-20DE-4407-A3BD-C398E90474C3}" type="slidenum">
              <a:rPr lang="en-GB" smtClean="0"/>
              <a:pPr/>
              <a:t>113</a:t>
            </a:fld>
            <a:endParaRPr lang="en-GB"/>
          </a:p>
        </p:txBody>
      </p:sp>
    </p:spTree>
    <p:extLst>
      <p:ext uri="{BB962C8B-B14F-4D97-AF65-F5344CB8AC3E}">
        <p14:creationId xmlns:p14="http://schemas.microsoft.com/office/powerpoint/2010/main" val="241363519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t profitable / not interested in the missing cases – footnote</a:t>
            </a:r>
          </a:p>
          <a:p>
            <a:r>
              <a:rPr lang="en-GB"/>
              <a:t>GRC support scheme</a:t>
            </a:r>
          </a:p>
          <a:p>
            <a:r>
              <a:rPr lang="en-GB"/>
              <a:t>Different reasons for missing cas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42304576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ata is updated</a:t>
            </a:r>
          </a:p>
        </p:txBody>
      </p:sp>
      <p:sp>
        <p:nvSpPr>
          <p:cNvPr id="4" name="Slide Number Placeholder 3"/>
          <p:cNvSpPr>
            <a:spLocks noGrp="1"/>
          </p:cNvSpPr>
          <p:nvPr>
            <p:ph type="sldNum" sz="quarter" idx="5"/>
          </p:nvPr>
        </p:nvSpPr>
        <p:spPr/>
        <p:txBody>
          <a:bodyPr/>
          <a:lstStyle/>
          <a:p>
            <a:fld id="{B94B4125-20DE-4407-A3BD-C398E90474C3}" type="slidenum">
              <a:rPr lang="en-GB" smtClean="0"/>
              <a:pPr/>
              <a:t>115</a:t>
            </a:fld>
            <a:endParaRPr lang="en-GB"/>
          </a:p>
        </p:txBody>
      </p:sp>
    </p:spTree>
    <p:extLst>
      <p:ext uri="{BB962C8B-B14F-4D97-AF65-F5344CB8AC3E}">
        <p14:creationId xmlns:p14="http://schemas.microsoft.com/office/powerpoint/2010/main" val="3751179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3C9AB-C9E8-4F04-B910-9C2679A74961}"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58586528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79077085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17</a:t>
            </a:fld>
            <a:endParaRPr lang="en-GB"/>
          </a:p>
        </p:txBody>
      </p:sp>
    </p:spTree>
    <p:extLst>
      <p:ext uri="{BB962C8B-B14F-4D97-AF65-F5344CB8AC3E}">
        <p14:creationId xmlns:p14="http://schemas.microsoft.com/office/powerpoint/2010/main" val="28705838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Add some note on deep dive on next page</a:t>
            </a:r>
          </a:p>
        </p:txBody>
      </p:sp>
      <p:sp>
        <p:nvSpPr>
          <p:cNvPr id="4" name="Slide Number Placeholder 3"/>
          <p:cNvSpPr>
            <a:spLocks noGrp="1"/>
          </p:cNvSpPr>
          <p:nvPr>
            <p:ph type="sldNum" sz="quarter" idx="5"/>
          </p:nvPr>
        </p:nvSpPr>
        <p:spPr/>
        <p:txBody>
          <a:bodyPr/>
          <a:lstStyle/>
          <a:p>
            <a:fld id="{B94B4125-20DE-4407-A3BD-C398E90474C3}" type="slidenum">
              <a:rPr lang="en-GB" smtClean="0"/>
              <a:pPr/>
              <a:t>118</a:t>
            </a:fld>
            <a:endParaRPr lang="en-GB"/>
          </a:p>
        </p:txBody>
      </p:sp>
    </p:spTree>
    <p:extLst>
      <p:ext uri="{BB962C8B-B14F-4D97-AF65-F5344CB8AC3E}">
        <p14:creationId xmlns:p14="http://schemas.microsoft.com/office/powerpoint/2010/main" val="326230975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19</a:t>
            </a:fld>
            <a:endParaRPr lang="en-GB"/>
          </a:p>
        </p:txBody>
      </p:sp>
    </p:spTree>
    <p:extLst>
      <p:ext uri="{BB962C8B-B14F-4D97-AF65-F5344CB8AC3E}">
        <p14:creationId xmlns:p14="http://schemas.microsoft.com/office/powerpoint/2010/main" val="175043856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lang="en-GB" sz="1200">
              <a:solidFill>
                <a:schemeClr val="tx1"/>
              </a:solidFill>
              <a:sym typeface="Wingdings" panose="05000000000000000000" pitchFamily="2" charset="2"/>
            </a:endParaRPr>
          </a:p>
        </p:txBody>
      </p:sp>
      <p:sp>
        <p:nvSpPr>
          <p:cNvPr id="4" name="Slide Number Placeholder 3"/>
          <p:cNvSpPr>
            <a:spLocks noGrp="1"/>
          </p:cNvSpPr>
          <p:nvPr>
            <p:ph type="sldNum" sz="quarter" idx="5"/>
          </p:nvPr>
        </p:nvSpPr>
        <p:spPr/>
        <p:txBody>
          <a:bodyPr/>
          <a:lstStyle/>
          <a:p>
            <a:fld id="{B94B4125-20DE-4407-A3BD-C398E90474C3}" type="slidenum">
              <a:rPr lang="en-GB" smtClean="0"/>
              <a:pPr/>
              <a:t>120</a:t>
            </a:fld>
            <a:endParaRPr lang="en-GB"/>
          </a:p>
        </p:txBody>
      </p:sp>
    </p:spTree>
    <p:extLst>
      <p:ext uri="{BB962C8B-B14F-4D97-AF65-F5344CB8AC3E}">
        <p14:creationId xmlns:p14="http://schemas.microsoft.com/office/powerpoint/2010/main" val="178772160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21</a:t>
            </a:fld>
            <a:endParaRPr lang="en-GB"/>
          </a:p>
        </p:txBody>
      </p:sp>
    </p:spTree>
    <p:extLst>
      <p:ext uri="{BB962C8B-B14F-4D97-AF65-F5344CB8AC3E}">
        <p14:creationId xmlns:p14="http://schemas.microsoft.com/office/powerpoint/2010/main" val="184416951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22</a:t>
            </a:fld>
            <a:endParaRPr lang="en-GB"/>
          </a:p>
        </p:txBody>
      </p:sp>
    </p:spTree>
    <p:extLst>
      <p:ext uri="{BB962C8B-B14F-4D97-AF65-F5344CB8AC3E}">
        <p14:creationId xmlns:p14="http://schemas.microsoft.com/office/powerpoint/2010/main" val="356337115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23</a:t>
            </a:fld>
            <a:endParaRPr lang="en-GB"/>
          </a:p>
        </p:txBody>
      </p:sp>
    </p:spTree>
    <p:extLst>
      <p:ext uri="{BB962C8B-B14F-4D97-AF65-F5344CB8AC3E}">
        <p14:creationId xmlns:p14="http://schemas.microsoft.com/office/powerpoint/2010/main" val="53866462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92814674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293665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15</a:t>
            </a:fld>
            <a:endParaRPr lang="en-GB"/>
          </a:p>
        </p:txBody>
      </p:sp>
    </p:spTree>
    <p:extLst>
      <p:ext uri="{BB962C8B-B14F-4D97-AF65-F5344CB8AC3E}">
        <p14:creationId xmlns:p14="http://schemas.microsoft.com/office/powerpoint/2010/main" val="6673972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801659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7</a:t>
            </a:fld>
            <a:endParaRPr lang="en-GB"/>
          </a:p>
        </p:txBody>
      </p:sp>
    </p:spTree>
    <p:extLst>
      <p:ext uri="{BB962C8B-B14F-4D97-AF65-F5344CB8AC3E}">
        <p14:creationId xmlns:p14="http://schemas.microsoft.com/office/powerpoint/2010/main" val="697743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18</a:t>
            </a:fld>
            <a:endParaRPr lang="en-GB"/>
          </a:p>
        </p:txBody>
      </p:sp>
    </p:spTree>
    <p:extLst>
      <p:ext uri="{BB962C8B-B14F-4D97-AF65-F5344CB8AC3E}">
        <p14:creationId xmlns:p14="http://schemas.microsoft.com/office/powerpoint/2010/main" val="1900507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9</a:t>
            </a:fld>
            <a:endParaRPr lang="en-GB"/>
          </a:p>
        </p:txBody>
      </p:sp>
    </p:spTree>
    <p:extLst>
      <p:ext uri="{BB962C8B-B14F-4D97-AF65-F5344CB8AC3E}">
        <p14:creationId xmlns:p14="http://schemas.microsoft.com/office/powerpoint/2010/main" val="2018328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061429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7843857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989048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4</a:t>
            </a:fld>
            <a:endParaRPr lang="en-GB"/>
          </a:p>
        </p:txBody>
      </p:sp>
    </p:spTree>
    <p:extLst>
      <p:ext uri="{BB962C8B-B14F-4D97-AF65-F5344CB8AC3E}">
        <p14:creationId xmlns:p14="http://schemas.microsoft.com/office/powerpoint/2010/main" val="37732111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5010821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9347551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844150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9382772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27</a:t>
            </a:fld>
            <a:endParaRPr lang="en-GB"/>
          </a:p>
        </p:txBody>
      </p:sp>
    </p:spTree>
    <p:extLst>
      <p:ext uri="{BB962C8B-B14F-4D97-AF65-F5344CB8AC3E}">
        <p14:creationId xmlns:p14="http://schemas.microsoft.com/office/powerpoint/2010/main" val="29749703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198204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496094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5613440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7134866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770102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6</a:t>
            </a:fld>
            <a:endParaRPr lang="en-GB"/>
          </a:p>
        </p:txBody>
      </p:sp>
    </p:spTree>
    <p:extLst>
      <p:ext uri="{BB962C8B-B14F-4D97-AF65-F5344CB8AC3E}">
        <p14:creationId xmlns:p14="http://schemas.microsoft.com/office/powerpoint/2010/main" val="18216670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5E7415-13C0-4742-9DD6-1B2F1724CA8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sym typeface="Lato" panose="020F0502020204030203" pitchFamily="34" charset="0"/>
            </a:endParaRPr>
          </a:p>
        </p:txBody>
      </p:sp>
    </p:spTree>
    <p:extLst>
      <p:ext uri="{BB962C8B-B14F-4D97-AF65-F5344CB8AC3E}">
        <p14:creationId xmlns:p14="http://schemas.microsoft.com/office/powerpoint/2010/main" val="42359291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42054140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9442959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8525962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37</a:t>
            </a:fld>
            <a:endParaRPr lang="en-GB"/>
          </a:p>
        </p:txBody>
      </p:sp>
    </p:spTree>
    <p:extLst>
      <p:ext uri="{BB962C8B-B14F-4D97-AF65-F5344CB8AC3E}">
        <p14:creationId xmlns:p14="http://schemas.microsoft.com/office/powerpoint/2010/main" val="403268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4062688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39</a:t>
            </a:fld>
            <a:endParaRPr lang="en-GB"/>
          </a:p>
        </p:txBody>
      </p:sp>
    </p:spTree>
    <p:extLst>
      <p:ext uri="{BB962C8B-B14F-4D97-AF65-F5344CB8AC3E}">
        <p14:creationId xmlns:p14="http://schemas.microsoft.com/office/powerpoint/2010/main" val="13544243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40</a:t>
            </a:fld>
            <a:endParaRPr lang="en-GB"/>
          </a:p>
        </p:txBody>
      </p:sp>
    </p:spTree>
    <p:extLst>
      <p:ext uri="{BB962C8B-B14F-4D97-AF65-F5344CB8AC3E}">
        <p14:creationId xmlns:p14="http://schemas.microsoft.com/office/powerpoint/2010/main" val="3617485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7852435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413584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a:t>
            </a:fld>
            <a:endParaRPr lang="en-GB"/>
          </a:p>
        </p:txBody>
      </p:sp>
    </p:spTree>
    <p:extLst>
      <p:ext uri="{BB962C8B-B14F-4D97-AF65-F5344CB8AC3E}">
        <p14:creationId xmlns:p14="http://schemas.microsoft.com/office/powerpoint/2010/main" val="20970560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7531609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945519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45</a:t>
            </a:fld>
            <a:endParaRPr lang="en-GB"/>
          </a:p>
        </p:txBody>
      </p:sp>
    </p:spTree>
    <p:extLst>
      <p:ext uri="{BB962C8B-B14F-4D97-AF65-F5344CB8AC3E}">
        <p14:creationId xmlns:p14="http://schemas.microsoft.com/office/powerpoint/2010/main" val="24179817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46</a:t>
            </a:fld>
            <a:endParaRPr lang="en-GB"/>
          </a:p>
        </p:txBody>
      </p:sp>
    </p:spTree>
    <p:extLst>
      <p:ext uri="{BB962C8B-B14F-4D97-AF65-F5344CB8AC3E}">
        <p14:creationId xmlns:p14="http://schemas.microsoft.com/office/powerpoint/2010/main" val="32768132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7474843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48</a:t>
            </a:fld>
            <a:endParaRPr lang="en-GB"/>
          </a:p>
        </p:txBody>
      </p:sp>
    </p:spTree>
    <p:extLst>
      <p:ext uri="{BB962C8B-B14F-4D97-AF65-F5344CB8AC3E}">
        <p14:creationId xmlns:p14="http://schemas.microsoft.com/office/powerpoint/2010/main" val="11051787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5979852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V storage increases on RHS graphs are due to new additions of Serbia, Croatia, Lithuania, Slovenia, Estonia, and Latvia</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34767390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51</a:t>
            </a:fld>
            <a:endParaRPr lang="en-GB"/>
          </a:p>
        </p:txBody>
      </p:sp>
    </p:spTree>
    <p:extLst>
      <p:ext uri="{BB962C8B-B14F-4D97-AF65-F5344CB8AC3E}">
        <p14:creationId xmlns:p14="http://schemas.microsoft.com/office/powerpoint/2010/main" val="30854875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552507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8</a:t>
            </a:fld>
            <a:endParaRPr lang="en-GB"/>
          </a:p>
        </p:txBody>
      </p:sp>
    </p:spTree>
    <p:extLst>
      <p:ext uri="{BB962C8B-B14F-4D97-AF65-F5344CB8AC3E}">
        <p14:creationId xmlns:p14="http://schemas.microsoft.com/office/powerpoint/2010/main" val="25552691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53</a:t>
            </a:fld>
            <a:endParaRPr lang="en-GB"/>
          </a:p>
        </p:txBody>
      </p:sp>
    </p:spTree>
    <p:extLst>
      <p:ext uri="{BB962C8B-B14F-4D97-AF65-F5344CB8AC3E}">
        <p14:creationId xmlns:p14="http://schemas.microsoft.com/office/powerpoint/2010/main" val="40959366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54</a:t>
            </a:fld>
            <a:endParaRPr lang="en-GB"/>
          </a:p>
        </p:txBody>
      </p:sp>
    </p:spTree>
    <p:extLst>
      <p:ext uri="{BB962C8B-B14F-4D97-AF65-F5344CB8AC3E}">
        <p14:creationId xmlns:p14="http://schemas.microsoft.com/office/powerpoint/2010/main" val="4527704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55</a:t>
            </a:fld>
            <a:endParaRPr lang="en-GB"/>
          </a:p>
        </p:txBody>
      </p:sp>
    </p:spTree>
    <p:extLst>
      <p:ext uri="{BB962C8B-B14F-4D97-AF65-F5344CB8AC3E}">
        <p14:creationId xmlns:p14="http://schemas.microsoft.com/office/powerpoint/2010/main" val="65865659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9364919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881939">
              <a:defRPr/>
            </a:pPr>
            <a:fld id="{A2DE31E8-800C-4291-960B-443A5E892749}" type="slidenum">
              <a:rPr lang="en-GB">
                <a:solidFill>
                  <a:prstClr val="black"/>
                </a:solidFill>
                <a:latin typeface="Calibri" panose="020F0502020204030204"/>
                <a:ea typeface="+mn-ea"/>
                <a:cs typeface="+mn-cs"/>
              </a:rPr>
              <a:pPr defTabSz="881939">
                <a:defRPr/>
              </a:pPr>
              <a:t>57</a:t>
            </a:fld>
            <a:endParaRPr lang="en-GB">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18435113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58</a:t>
            </a:fld>
            <a:endParaRPr lang="en-GB"/>
          </a:p>
        </p:txBody>
      </p:sp>
    </p:spTree>
    <p:extLst>
      <p:ext uri="{BB962C8B-B14F-4D97-AF65-F5344CB8AC3E}">
        <p14:creationId xmlns:p14="http://schemas.microsoft.com/office/powerpoint/2010/main" val="39615456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BD558E-8979-429E-BF60-651570507751}"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41878255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61</a:t>
            </a:fld>
            <a:endParaRPr lang="en-GB"/>
          </a:p>
        </p:txBody>
      </p:sp>
    </p:spTree>
    <p:extLst>
      <p:ext uri="{BB962C8B-B14F-4D97-AF65-F5344CB8AC3E}">
        <p14:creationId xmlns:p14="http://schemas.microsoft.com/office/powerpoint/2010/main" val="40356531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62</a:t>
            </a:fld>
            <a:endParaRPr lang="en-GB"/>
          </a:p>
        </p:txBody>
      </p:sp>
    </p:spTree>
    <p:extLst>
      <p:ext uri="{BB962C8B-B14F-4D97-AF65-F5344CB8AC3E}">
        <p14:creationId xmlns:p14="http://schemas.microsoft.com/office/powerpoint/2010/main" val="144360180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
        <p:nvSpPr>
          <p:cNvPr id="5" name="Footer Placeholder 4">
            <a:extLst>
              <a:ext uri="{FF2B5EF4-FFF2-40B4-BE49-F238E27FC236}">
                <a16:creationId xmlns:a16="http://schemas.microsoft.com/office/drawing/2014/main" id="{BBEA9DD5-6E29-93E0-ACF3-B6152E2625A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6247334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a:t>
            </a:fld>
            <a:endParaRPr lang="en-GB"/>
          </a:p>
        </p:txBody>
      </p:sp>
    </p:spTree>
    <p:extLst>
      <p:ext uri="{BB962C8B-B14F-4D97-AF65-F5344CB8AC3E}">
        <p14:creationId xmlns:p14="http://schemas.microsoft.com/office/powerpoint/2010/main" val="21622283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
        <p:nvSpPr>
          <p:cNvPr id="5" name="Footer Placeholder 4">
            <a:extLst>
              <a:ext uri="{FF2B5EF4-FFF2-40B4-BE49-F238E27FC236}">
                <a16:creationId xmlns:a16="http://schemas.microsoft.com/office/drawing/2014/main" id="{8063D66E-1C98-9FCD-B3D6-503E7299ED9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09331612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66</a:t>
            </a:fld>
            <a:endParaRPr lang="en-GB"/>
          </a:p>
        </p:txBody>
      </p:sp>
    </p:spTree>
    <p:extLst>
      <p:ext uri="{BB962C8B-B14F-4D97-AF65-F5344CB8AC3E}">
        <p14:creationId xmlns:p14="http://schemas.microsoft.com/office/powerpoint/2010/main" val="376615403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67</a:t>
            </a:fld>
            <a:endParaRPr lang="en-GB"/>
          </a:p>
        </p:txBody>
      </p:sp>
    </p:spTree>
    <p:extLst>
      <p:ext uri="{BB962C8B-B14F-4D97-AF65-F5344CB8AC3E}">
        <p14:creationId xmlns:p14="http://schemas.microsoft.com/office/powerpoint/2010/main" val="356337115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68</a:t>
            </a:fld>
            <a:endParaRPr lang="en-GB"/>
          </a:p>
        </p:txBody>
      </p:sp>
    </p:spTree>
    <p:extLst>
      <p:ext uri="{BB962C8B-B14F-4D97-AF65-F5344CB8AC3E}">
        <p14:creationId xmlns:p14="http://schemas.microsoft.com/office/powerpoint/2010/main" val="427810575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69</a:t>
            </a:fld>
            <a:endParaRPr lang="en-GB"/>
          </a:p>
        </p:txBody>
      </p:sp>
    </p:spTree>
    <p:extLst>
      <p:ext uri="{BB962C8B-B14F-4D97-AF65-F5344CB8AC3E}">
        <p14:creationId xmlns:p14="http://schemas.microsoft.com/office/powerpoint/2010/main" val="9275635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0</a:t>
            </a:fld>
            <a:endParaRPr lang="en-GB"/>
          </a:p>
        </p:txBody>
      </p:sp>
    </p:spTree>
    <p:extLst>
      <p:ext uri="{BB962C8B-B14F-4D97-AF65-F5344CB8AC3E}">
        <p14:creationId xmlns:p14="http://schemas.microsoft.com/office/powerpoint/2010/main" val="253502421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1</a:t>
            </a:fld>
            <a:endParaRPr lang="en-GB"/>
          </a:p>
        </p:txBody>
      </p:sp>
    </p:spTree>
    <p:extLst>
      <p:ext uri="{BB962C8B-B14F-4D97-AF65-F5344CB8AC3E}">
        <p14:creationId xmlns:p14="http://schemas.microsoft.com/office/powerpoint/2010/main" val="166134298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2</a:t>
            </a:fld>
            <a:endParaRPr lang="en-GB"/>
          </a:p>
        </p:txBody>
      </p:sp>
    </p:spTree>
    <p:extLst>
      <p:ext uri="{BB962C8B-B14F-4D97-AF65-F5344CB8AC3E}">
        <p14:creationId xmlns:p14="http://schemas.microsoft.com/office/powerpoint/2010/main" val="313884254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3</a:t>
            </a:fld>
            <a:endParaRPr lang="en-GB"/>
          </a:p>
        </p:txBody>
      </p:sp>
    </p:spTree>
    <p:extLst>
      <p:ext uri="{BB962C8B-B14F-4D97-AF65-F5344CB8AC3E}">
        <p14:creationId xmlns:p14="http://schemas.microsoft.com/office/powerpoint/2010/main" val="18762533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27900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9289750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6</a:t>
            </a:fld>
            <a:endParaRPr lang="en-GB"/>
          </a:p>
        </p:txBody>
      </p:sp>
    </p:spTree>
    <p:extLst>
      <p:ext uri="{BB962C8B-B14F-4D97-AF65-F5344CB8AC3E}">
        <p14:creationId xmlns:p14="http://schemas.microsoft.com/office/powerpoint/2010/main" val="12293122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61457539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78</a:t>
            </a:fld>
            <a:endParaRPr lang="en-GB"/>
          </a:p>
        </p:txBody>
      </p:sp>
    </p:spTree>
    <p:extLst>
      <p:ext uri="{BB962C8B-B14F-4D97-AF65-F5344CB8AC3E}">
        <p14:creationId xmlns:p14="http://schemas.microsoft.com/office/powerpoint/2010/main" val="35624082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9</a:t>
            </a:fld>
            <a:endParaRPr lang="en-GB"/>
          </a:p>
        </p:txBody>
      </p:sp>
    </p:spTree>
    <p:extLst>
      <p:ext uri="{BB962C8B-B14F-4D97-AF65-F5344CB8AC3E}">
        <p14:creationId xmlns:p14="http://schemas.microsoft.com/office/powerpoint/2010/main" val="20754603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80</a:t>
            </a:fld>
            <a:endParaRPr lang="en-GB"/>
          </a:p>
        </p:txBody>
      </p:sp>
    </p:spTree>
    <p:extLst>
      <p:ext uri="{BB962C8B-B14F-4D97-AF65-F5344CB8AC3E}">
        <p14:creationId xmlns:p14="http://schemas.microsoft.com/office/powerpoint/2010/main" val="23887987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81</a:t>
            </a:fld>
            <a:endParaRPr lang="en-GB"/>
          </a:p>
        </p:txBody>
      </p:sp>
    </p:spTree>
    <p:extLst>
      <p:ext uri="{BB962C8B-B14F-4D97-AF65-F5344CB8AC3E}">
        <p14:creationId xmlns:p14="http://schemas.microsoft.com/office/powerpoint/2010/main" val="34153132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82</a:t>
            </a:fld>
            <a:endParaRPr lang="en-GB"/>
          </a:p>
        </p:txBody>
      </p:sp>
    </p:spTree>
    <p:extLst>
      <p:ext uri="{BB962C8B-B14F-4D97-AF65-F5344CB8AC3E}">
        <p14:creationId xmlns:p14="http://schemas.microsoft.com/office/powerpoint/2010/main" val="255646306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83</a:t>
            </a:fld>
            <a:endParaRPr lang="en-GB"/>
          </a:p>
        </p:txBody>
      </p:sp>
    </p:spTree>
    <p:extLst>
      <p:ext uri="{BB962C8B-B14F-4D97-AF65-F5344CB8AC3E}">
        <p14:creationId xmlns:p14="http://schemas.microsoft.com/office/powerpoint/2010/main" val="83083631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84</a:t>
            </a:fld>
            <a:endParaRPr lang="en-GB"/>
          </a:p>
        </p:txBody>
      </p:sp>
    </p:spTree>
    <p:extLst>
      <p:ext uri="{BB962C8B-B14F-4D97-AF65-F5344CB8AC3E}">
        <p14:creationId xmlns:p14="http://schemas.microsoft.com/office/powerpoint/2010/main" val="267739172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85</a:t>
            </a:fld>
            <a:endParaRPr lang="en-GB"/>
          </a:p>
        </p:txBody>
      </p:sp>
    </p:spTree>
    <p:extLst>
      <p:ext uri="{BB962C8B-B14F-4D97-AF65-F5344CB8AC3E}">
        <p14:creationId xmlns:p14="http://schemas.microsoft.com/office/powerpoint/2010/main" val="1620099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1</a:t>
            </a:fld>
            <a:endParaRPr lang="en-GB"/>
          </a:p>
        </p:txBody>
      </p:sp>
    </p:spTree>
    <p:extLst>
      <p:ext uri="{BB962C8B-B14F-4D97-AF65-F5344CB8AC3E}">
        <p14:creationId xmlns:p14="http://schemas.microsoft.com/office/powerpoint/2010/main" val="292657500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86</a:t>
            </a:fld>
            <a:endParaRPr lang="en-GB"/>
          </a:p>
        </p:txBody>
      </p:sp>
    </p:spTree>
    <p:extLst>
      <p:ext uri="{BB962C8B-B14F-4D97-AF65-F5344CB8AC3E}">
        <p14:creationId xmlns:p14="http://schemas.microsoft.com/office/powerpoint/2010/main" val="19987216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87</a:t>
            </a:fld>
            <a:endParaRPr lang="en-GB"/>
          </a:p>
        </p:txBody>
      </p:sp>
    </p:spTree>
    <p:extLst>
      <p:ext uri="{BB962C8B-B14F-4D97-AF65-F5344CB8AC3E}">
        <p14:creationId xmlns:p14="http://schemas.microsoft.com/office/powerpoint/2010/main" val="352610110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4B4125-20DE-4407-A3BD-C398E90474C3}" type="slidenum">
              <a:rPr lang="en-US" smtClean="0"/>
              <a:pPr/>
              <a:t>88</a:t>
            </a:fld>
            <a:endParaRPr lang="en-US"/>
          </a:p>
        </p:txBody>
      </p:sp>
    </p:spTree>
    <p:extLst>
      <p:ext uri="{BB962C8B-B14F-4D97-AF65-F5344CB8AC3E}">
        <p14:creationId xmlns:p14="http://schemas.microsoft.com/office/powerpoint/2010/main" val="34787316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4B4125-20DE-4407-A3BD-C398E90474C3}" type="slidenum">
              <a:rPr lang="en-US" smtClean="0"/>
              <a:pPr/>
              <a:t>89</a:t>
            </a:fld>
            <a:endParaRPr lang="en-US"/>
          </a:p>
        </p:txBody>
      </p:sp>
    </p:spTree>
    <p:extLst>
      <p:ext uri="{BB962C8B-B14F-4D97-AF65-F5344CB8AC3E}">
        <p14:creationId xmlns:p14="http://schemas.microsoft.com/office/powerpoint/2010/main" val="2868726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0</a:t>
            </a:fld>
            <a:endParaRPr lang="en-GB"/>
          </a:p>
        </p:txBody>
      </p:sp>
    </p:spTree>
    <p:extLst>
      <p:ext uri="{BB962C8B-B14F-4D97-AF65-F5344CB8AC3E}">
        <p14:creationId xmlns:p14="http://schemas.microsoft.com/office/powerpoint/2010/main" val="77485101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1</a:t>
            </a:fld>
            <a:endParaRPr lang="en-GB"/>
          </a:p>
        </p:txBody>
      </p:sp>
    </p:spTree>
    <p:extLst>
      <p:ext uri="{BB962C8B-B14F-4D97-AF65-F5344CB8AC3E}">
        <p14:creationId xmlns:p14="http://schemas.microsoft.com/office/powerpoint/2010/main" val="299259435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upply is amount of capacity that can fulfil a service</a:t>
            </a:r>
          </a:p>
          <a:p>
            <a:r>
              <a:rPr lang="en-GB"/>
              <a:t>Demand is based on the single largest infeed (large wind farm being built increases required capacity of ds3 services)</a:t>
            </a:r>
          </a:p>
          <a:p>
            <a:endParaRPr lang="en-GB"/>
          </a:p>
          <a:p>
            <a:r>
              <a:rPr lang="en-GB"/>
              <a:t>Ffr is fulfilled by any fast acting technology (mainly batteries which increases in capacity build out over time)</a:t>
            </a:r>
          </a:p>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2</a:t>
            </a:fld>
            <a:endParaRPr lang="en-GB"/>
          </a:p>
        </p:txBody>
      </p:sp>
    </p:spTree>
    <p:extLst>
      <p:ext uri="{BB962C8B-B14F-4D97-AF65-F5344CB8AC3E}">
        <p14:creationId xmlns:p14="http://schemas.microsoft.com/office/powerpoint/2010/main" val="37232326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upply is amount of capacity that can fulfil a service</a:t>
            </a:r>
          </a:p>
          <a:p>
            <a:r>
              <a:rPr lang="en-GB"/>
              <a:t>Demand is based on the single largest infeed (large wind farm being built increases required capacity of ds3 services)</a:t>
            </a:r>
          </a:p>
          <a:p>
            <a:endParaRPr lang="en-GB"/>
          </a:p>
          <a:p>
            <a:r>
              <a:rPr lang="en-GB" err="1"/>
              <a:t>Ffr</a:t>
            </a:r>
            <a:r>
              <a:rPr lang="en-GB"/>
              <a:t> is fulfilled by any fast acting technology (mainly batteries which increases in capacity build out over time)</a:t>
            </a:r>
          </a:p>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3</a:t>
            </a:fld>
            <a:endParaRPr lang="en-GB"/>
          </a:p>
        </p:txBody>
      </p:sp>
    </p:spTree>
    <p:extLst>
      <p:ext uri="{BB962C8B-B14F-4D97-AF65-F5344CB8AC3E}">
        <p14:creationId xmlns:p14="http://schemas.microsoft.com/office/powerpoint/2010/main" val="317439626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94</a:t>
            </a:fld>
            <a:endParaRPr lang="en-GB"/>
          </a:p>
        </p:txBody>
      </p:sp>
    </p:spTree>
    <p:extLst>
      <p:ext uri="{BB962C8B-B14F-4D97-AF65-F5344CB8AC3E}">
        <p14:creationId xmlns:p14="http://schemas.microsoft.com/office/powerpoint/2010/main" val="360990286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en-GB" sz="1100">
              <a:effectLst/>
              <a:latin typeface="Calibri" panose="020F0502020204030204" pitchFamily="34" charset="0"/>
              <a:ea typeface="Calibri" panose="020F0502020204030204" pitchFamily="34" charset="0"/>
            </a:endParaRPr>
          </a:p>
        </p:txBody>
      </p:sp>
      <p:sp>
        <p:nvSpPr>
          <p:cNvPr id="4" name="Foliennummernplatzhalter 3"/>
          <p:cNvSpPr>
            <a:spLocks noGrp="1"/>
          </p:cNvSpPr>
          <p:nvPr>
            <p:ph type="sldNum" sz="quarter" idx="5"/>
          </p:nvPr>
        </p:nvSpPr>
        <p:spPr/>
        <p:txBody>
          <a:bodyPr/>
          <a:lstStyle/>
          <a:p>
            <a:fld id="{94EDC995-7150-47DA-89D5-2852C5C9C6DB}" type="slidenum">
              <a:rPr lang="en-GB" smtClean="0"/>
              <a:pPr/>
              <a:t>95</a:t>
            </a:fld>
            <a:endParaRPr lang="en-GB"/>
          </a:p>
        </p:txBody>
      </p:sp>
    </p:spTree>
    <p:extLst>
      <p:ext uri="{BB962C8B-B14F-4D97-AF65-F5344CB8AC3E}">
        <p14:creationId xmlns:p14="http://schemas.microsoft.com/office/powerpoint/2010/main" val="19795023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52405846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6</a:t>
            </a:fld>
            <a:endParaRPr lang="en-GB"/>
          </a:p>
        </p:txBody>
      </p:sp>
    </p:spTree>
    <p:extLst>
      <p:ext uri="{BB962C8B-B14F-4D97-AF65-F5344CB8AC3E}">
        <p14:creationId xmlns:p14="http://schemas.microsoft.com/office/powerpoint/2010/main" val="224438577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7</a:t>
            </a:fld>
            <a:endParaRPr lang="en-GB"/>
          </a:p>
        </p:txBody>
      </p:sp>
    </p:spTree>
    <p:extLst>
      <p:ext uri="{BB962C8B-B14F-4D97-AF65-F5344CB8AC3E}">
        <p14:creationId xmlns:p14="http://schemas.microsoft.com/office/powerpoint/2010/main" val="142946705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rst 3 battery projects got capacity contracts in Dec 2022. Flex markets will be regulated sometime this year, and after this happens then batteries will be able to participate. No specific regulation release or ETA. </a:t>
            </a:r>
          </a:p>
          <a:p>
            <a:endParaRPr lang="en-GB"/>
          </a:p>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8</a:t>
            </a:fld>
            <a:endParaRPr lang="en-GB"/>
          </a:p>
        </p:txBody>
      </p:sp>
    </p:spTree>
    <p:extLst>
      <p:ext uri="{BB962C8B-B14F-4D97-AF65-F5344CB8AC3E}">
        <p14:creationId xmlns:p14="http://schemas.microsoft.com/office/powerpoint/2010/main" val="60340344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99</a:t>
            </a:fld>
            <a:endParaRPr lang="en-GB"/>
          </a:p>
        </p:txBody>
      </p:sp>
    </p:spTree>
    <p:extLst>
      <p:ext uri="{BB962C8B-B14F-4D97-AF65-F5344CB8AC3E}">
        <p14:creationId xmlns:p14="http://schemas.microsoft.com/office/powerpoint/2010/main" val="172519109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100</a:t>
            </a:fld>
            <a:endParaRPr lang="en-GB"/>
          </a:p>
        </p:txBody>
      </p:sp>
    </p:spTree>
    <p:extLst>
      <p:ext uri="{BB962C8B-B14F-4D97-AF65-F5344CB8AC3E}">
        <p14:creationId xmlns:p14="http://schemas.microsoft.com/office/powerpoint/2010/main" val="351786296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01</a:t>
            </a:fld>
            <a:endParaRPr lang="en-GB"/>
          </a:p>
        </p:txBody>
      </p:sp>
    </p:spTree>
    <p:extLst>
      <p:ext uri="{BB962C8B-B14F-4D97-AF65-F5344CB8AC3E}">
        <p14:creationId xmlns:p14="http://schemas.microsoft.com/office/powerpoint/2010/main" val="333799918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02</a:t>
            </a:fld>
            <a:endParaRPr lang="en-GB"/>
          </a:p>
        </p:txBody>
      </p:sp>
    </p:spTree>
    <p:extLst>
      <p:ext uri="{BB962C8B-B14F-4D97-AF65-F5344CB8AC3E}">
        <p14:creationId xmlns:p14="http://schemas.microsoft.com/office/powerpoint/2010/main" val="251389459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03</a:t>
            </a:fld>
            <a:endParaRPr lang="en-GB"/>
          </a:p>
        </p:txBody>
      </p:sp>
    </p:spTree>
    <p:extLst>
      <p:ext uri="{BB962C8B-B14F-4D97-AF65-F5344CB8AC3E}">
        <p14:creationId xmlns:p14="http://schemas.microsoft.com/office/powerpoint/2010/main" val="36276787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104</a:t>
            </a:fld>
            <a:endParaRPr lang="en-GB"/>
          </a:p>
        </p:txBody>
      </p:sp>
    </p:spTree>
    <p:extLst>
      <p:ext uri="{BB962C8B-B14F-4D97-AF65-F5344CB8AC3E}">
        <p14:creationId xmlns:p14="http://schemas.microsoft.com/office/powerpoint/2010/main" val="273803965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105</a:t>
            </a:fld>
            <a:endParaRPr lang="en-GB"/>
          </a:p>
        </p:txBody>
      </p:sp>
    </p:spTree>
    <p:extLst>
      <p:ext uri="{BB962C8B-B14F-4D97-AF65-F5344CB8AC3E}">
        <p14:creationId xmlns:p14="http://schemas.microsoft.com/office/powerpoint/2010/main" val="19298010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11.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image" Target="../media/image10.jpe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image" Target="../media/image4.jpeg"/><Relationship Id="rId9" Type="http://schemas.openxmlformats.org/officeDocument/2006/relationships/image" Target="../media/image6.svg"/></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17.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18.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19.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21.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2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23.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24.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25.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3.xml"/><Relationship Id="rId1" Type="http://schemas.openxmlformats.org/officeDocument/2006/relationships/tags" Target="../tags/tag126.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3.xml"/><Relationship Id="rId1" Type="http://schemas.openxmlformats.org/officeDocument/2006/relationships/tags" Target="../tags/tag127.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xml"/><Relationship Id="rId1" Type="http://schemas.openxmlformats.org/officeDocument/2006/relationships/tags" Target="../tags/tag128.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29.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30.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3.xml"/><Relationship Id="rId1" Type="http://schemas.openxmlformats.org/officeDocument/2006/relationships/tags" Target="../tags/tag131.xml"/><Relationship Id="rId4" Type="http://schemas.openxmlformats.org/officeDocument/2006/relationships/image" Target="../media/image7.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3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xml"/><Relationship Id="rId1" Type="http://schemas.openxmlformats.org/officeDocument/2006/relationships/tags" Target="../tags/tag13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xml"/><Relationship Id="rId1" Type="http://schemas.openxmlformats.org/officeDocument/2006/relationships/tags" Target="../tags/tag13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xml"/><Relationship Id="rId1" Type="http://schemas.openxmlformats.org/officeDocument/2006/relationships/tags" Target="../tags/tag13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3.xml"/><Relationship Id="rId1" Type="http://schemas.openxmlformats.org/officeDocument/2006/relationships/tags" Target="../tags/tag13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xml"/><Relationship Id="rId1" Type="http://schemas.openxmlformats.org/officeDocument/2006/relationships/tags" Target="../tags/tag13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3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xml"/><Relationship Id="rId1" Type="http://schemas.openxmlformats.org/officeDocument/2006/relationships/tags" Target="../tags/tag140.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3.xml"/><Relationship Id="rId1" Type="http://schemas.openxmlformats.org/officeDocument/2006/relationships/tags" Target="../tags/tag14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3.xml"/><Relationship Id="rId1" Type="http://schemas.openxmlformats.org/officeDocument/2006/relationships/tags" Target="../tags/tag143.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xml"/><Relationship Id="rId1" Type="http://schemas.openxmlformats.org/officeDocument/2006/relationships/tags" Target="../tags/tag144.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3.xml"/><Relationship Id="rId1" Type="http://schemas.openxmlformats.org/officeDocument/2006/relationships/tags" Target="../tags/tag145.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3.xml"/><Relationship Id="rId1" Type="http://schemas.openxmlformats.org/officeDocument/2006/relationships/tags" Target="../tags/tag146.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147.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148.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3.xml"/><Relationship Id="rId1" Type="http://schemas.openxmlformats.org/officeDocument/2006/relationships/tags" Target="../tags/tag149.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150.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51.xml"/><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15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3.xml"/><Relationship Id="rId1" Type="http://schemas.openxmlformats.org/officeDocument/2006/relationships/tags" Target="../tags/tag153.xml"/><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154.xml"/><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155.xml"/><Relationship Id="rId4"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156.xml"/><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157.xml"/><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3.xml"/><Relationship Id="rId1" Type="http://schemas.openxmlformats.org/officeDocument/2006/relationships/tags" Target="../tags/tag158.xml"/><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3.xml"/><Relationship Id="rId1" Type="http://schemas.openxmlformats.org/officeDocument/2006/relationships/tags" Target="../tags/tag159.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3.xml"/><Relationship Id="rId1" Type="http://schemas.openxmlformats.org/officeDocument/2006/relationships/tags" Target="../tags/tag160.xml"/><Relationship Id="rId4" Type="http://schemas.openxmlformats.org/officeDocument/2006/relationships/image" Target="../media/image7.emf"/></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emf"/><Relationship Id="rId5" Type="http://schemas.openxmlformats.org/officeDocument/2006/relationships/oleObject" Target="../embeddings/oleObject152.bin"/><Relationship Id="rId4" Type="http://schemas.openxmlformats.org/officeDocument/2006/relationships/image" Target="../media/image4.jpeg"/></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4.xml"/><Relationship Id="rId1" Type="http://schemas.openxmlformats.org/officeDocument/2006/relationships/tags" Target="../tags/tag16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4.xml"/><Relationship Id="rId1" Type="http://schemas.openxmlformats.org/officeDocument/2006/relationships/tags" Target="../tags/tag166.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4.xml"/><Relationship Id="rId1" Type="http://schemas.openxmlformats.org/officeDocument/2006/relationships/tags" Target="../tags/tag167.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4.xml"/><Relationship Id="rId1" Type="http://schemas.openxmlformats.org/officeDocument/2006/relationships/tags" Target="../tags/tag168.xml"/><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4.xml"/><Relationship Id="rId1" Type="http://schemas.openxmlformats.org/officeDocument/2006/relationships/tags" Target="../tags/tag169.xml"/><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4.xml"/><Relationship Id="rId1" Type="http://schemas.openxmlformats.org/officeDocument/2006/relationships/tags" Target="../tags/tag170.xml"/><Relationship Id="rId4"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4.xml"/><Relationship Id="rId1" Type="http://schemas.openxmlformats.org/officeDocument/2006/relationships/tags" Target="../tags/tag171.xml"/><Relationship Id="rId4"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4.xml"/><Relationship Id="rId1" Type="http://schemas.openxmlformats.org/officeDocument/2006/relationships/tags" Target="../tags/tag172.xml"/><Relationship Id="rId4"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4.xml"/><Relationship Id="rId1" Type="http://schemas.openxmlformats.org/officeDocument/2006/relationships/tags" Target="../tags/tag173.xml"/><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4.xml"/><Relationship Id="rId1" Type="http://schemas.openxmlformats.org/officeDocument/2006/relationships/tags" Target="../tags/tag174.xml"/><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4.xml"/><Relationship Id="rId1" Type="http://schemas.openxmlformats.org/officeDocument/2006/relationships/tags" Target="../tags/tag17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4.xml"/><Relationship Id="rId1" Type="http://schemas.openxmlformats.org/officeDocument/2006/relationships/tags" Target="../tags/tag176.xml"/><Relationship Id="rId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177.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4.xml"/><Relationship Id="rId1" Type="http://schemas.openxmlformats.org/officeDocument/2006/relationships/tags" Target="../tags/tag178.xml"/><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4.xml"/><Relationship Id="rId1" Type="http://schemas.openxmlformats.org/officeDocument/2006/relationships/tags" Target="../tags/tag179.xml"/><Relationship Id="rId4" Type="http://schemas.openxmlformats.org/officeDocument/2006/relationships/image" Target="../media/image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4.xml"/><Relationship Id="rId1" Type="http://schemas.openxmlformats.org/officeDocument/2006/relationships/tags" Target="../tags/tag180.xml"/><Relationship Id="rId4" Type="http://schemas.openxmlformats.org/officeDocument/2006/relationships/image" Target="../media/image7.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4.xml"/><Relationship Id="rId1" Type="http://schemas.openxmlformats.org/officeDocument/2006/relationships/tags" Target="../tags/tag181.xml"/><Relationship Id="rId4" Type="http://schemas.openxmlformats.org/officeDocument/2006/relationships/image" Target="../media/image1.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4.xml"/><Relationship Id="rId1" Type="http://schemas.openxmlformats.org/officeDocument/2006/relationships/tags" Target="../tags/tag18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4.xml"/><Relationship Id="rId1" Type="http://schemas.openxmlformats.org/officeDocument/2006/relationships/tags" Target="../tags/tag18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4.xml"/><Relationship Id="rId1" Type="http://schemas.openxmlformats.org/officeDocument/2006/relationships/tags" Target="../tags/tag18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4.xml"/><Relationship Id="rId1" Type="http://schemas.openxmlformats.org/officeDocument/2006/relationships/tags" Target="../tags/tag18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4.xml"/><Relationship Id="rId1" Type="http://schemas.openxmlformats.org/officeDocument/2006/relationships/tags" Target="../tags/tag18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4.xml"/><Relationship Id="rId1" Type="http://schemas.openxmlformats.org/officeDocument/2006/relationships/tags" Target="../tags/tag18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4.xml"/><Relationship Id="rId1" Type="http://schemas.openxmlformats.org/officeDocument/2006/relationships/tags" Target="../tags/tag188.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4.xml"/><Relationship Id="rId1" Type="http://schemas.openxmlformats.org/officeDocument/2006/relationships/tags" Target="../tags/tag191.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4.xml"/><Relationship Id="rId1" Type="http://schemas.openxmlformats.org/officeDocument/2006/relationships/tags" Target="../tags/tag192.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4.xml"/><Relationship Id="rId1" Type="http://schemas.openxmlformats.org/officeDocument/2006/relationships/tags" Target="../tags/tag193.xml"/><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4.xml"/><Relationship Id="rId1" Type="http://schemas.openxmlformats.org/officeDocument/2006/relationships/tags" Target="../tags/tag194.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4.xml"/><Relationship Id="rId1" Type="http://schemas.openxmlformats.org/officeDocument/2006/relationships/tags" Target="../tags/tag195.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4.xml"/><Relationship Id="rId1" Type="http://schemas.openxmlformats.org/officeDocument/2006/relationships/tags" Target="../tags/tag196.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4.xml"/><Relationship Id="rId1" Type="http://schemas.openxmlformats.org/officeDocument/2006/relationships/tags" Target="../tags/tag197.xml"/><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4.xml"/><Relationship Id="rId1" Type="http://schemas.openxmlformats.org/officeDocument/2006/relationships/tags" Target="../tags/tag198.xml"/><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4.xml"/><Relationship Id="rId1" Type="http://schemas.openxmlformats.org/officeDocument/2006/relationships/tags" Target="../tags/tag199.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4.xml"/><Relationship Id="rId1" Type="http://schemas.openxmlformats.org/officeDocument/2006/relationships/tags" Target="../tags/tag200.xml"/><Relationship Id="rId4"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4.xml"/><Relationship Id="rId1" Type="http://schemas.openxmlformats.org/officeDocument/2006/relationships/tags" Target="../tags/tag201.xml"/><Relationship Id="rId4"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4.xml"/><Relationship Id="rId1" Type="http://schemas.openxmlformats.org/officeDocument/2006/relationships/tags" Target="../tags/tag202.xml"/><Relationship Id="rId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4.xml"/><Relationship Id="rId1" Type="http://schemas.openxmlformats.org/officeDocument/2006/relationships/tags" Target="../tags/tag203.xml"/><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4.xml"/><Relationship Id="rId1" Type="http://schemas.openxmlformats.org/officeDocument/2006/relationships/tags" Target="../tags/tag204.xml"/><Relationship Id="rId4" Type="http://schemas.openxmlformats.org/officeDocument/2006/relationships/image" Target="../media/image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4.xml"/><Relationship Id="rId1" Type="http://schemas.openxmlformats.org/officeDocument/2006/relationships/tags" Target="../tags/tag205.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4.xml"/><Relationship Id="rId1" Type="http://schemas.openxmlformats.org/officeDocument/2006/relationships/tags" Target="../tags/tag206.xml"/><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4.xml"/><Relationship Id="rId1" Type="http://schemas.openxmlformats.org/officeDocument/2006/relationships/tags" Target="../tags/tag207.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4.xml"/><Relationship Id="rId1" Type="http://schemas.openxmlformats.org/officeDocument/2006/relationships/tags" Target="../tags/tag20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4.xml"/><Relationship Id="rId1" Type="http://schemas.openxmlformats.org/officeDocument/2006/relationships/tags" Target="../tags/tag209.xml"/><Relationship Id="rId4" Type="http://schemas.openxmlformats.org/officeDocument/2006/relationships/image" Target="../media/image7.emf"/></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1.xml"/><Relationship Id="rId1" Type="http://schemas.openxmlformats.org/officeDocument/2006/relationships/tags" Target="../tags/tag210.x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4.xml"/><Relationship Id="rId1" Type="http://schemas.openxmlformats.org/officeDocument/2006/relationships/tags" Target="../tags/tag214.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1.emf"/><Relationship Id="rId5" Type="http://schemas.openxmlformats.org/officeDocument/2006/relationships/oleObject" Target="../embeddings/oleObject203.bin"/><Relationship Id="rId4" Type="http://schemas.openxmlformats.org/officeDocument/2006/relationships/image" Target="../media/image4.jpeg"/></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1.emf"/><Relationship Id="rId5" Type="http://schemas.openxmlformats.org/officeDocument/2006/relationships/oleObject" Target="../embeddings/oleObject204.bin"/><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5.xml"/><Relationship Id="rId1" Type="http://schemas.openxmlformats.org/officeDocument/2006/relationships/tags" Target="../tags/tag222.xml"/><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5.xml"/><Relationship Id="rId1" Type="http://schemas.openxmlformats.org/officeDocument/2006/relationships/tags" Target="../tags/tag223.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5.xml"/><Relationship Id="rId1" Type="http://schemas.openxmlformats.org/officeDocument/2006/relationships/tags" Target="../tags/tag224.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5.xml"/><Relationship Id="rId1" Type="http://schemas.openxmlformats.org/officeDocument/2006/relationships/tags" Target="../tags/tag225.xml"/><Relationship Id="rId4"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5.xml"/><Relationship Id="rId1" Type="http://schemas.openxmlformats.org/officeDocument/2006/relationships/tags" Target="../tags/tag226.xml"/><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5.xml"/><Relationship Id="rId1" Type="http://schemas.openxmlformats.org/officeDocument/2006/relationships/tags" Target="../tags/tag227.xml"/><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5.xml"/><Relationship Id="rId1" Type="http://schemas.openxmlformats.org/officeDocument/2006/relationships/tags" Target="../tags/tag228.xml"/><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5.xml"/><Relationship Id="rId1" Type="http://schemas.openxmlformats.org/officeDocument/2006/relationships/tags" Target="../tags/tag229.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5.xml"/><Relationship Id="rId1" Type="http://schemas.openxmlformats.org/officeDocument/2006/relationships/tags" Target="../tags/tag230.xml"/><Relationship Id="rId4" Type="http://schemas.openxmlformats.org/officeDocument/2006/relationships/image" Target="../media/image1.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5.xml"/><Relationship Id="rId1" Type="http://schemas.openxmlformats.org/officeDocument/2006/relationships/tags" Target="../tags/tag23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5.xml"/><Relationship Id="rId1" Type="http://schemas.openxmlformats.org/officeDocument/2006/relationships/tags" Target="../tags/tag232.xml"/><Relationship Id="rId4"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5.xml"/><Relationship Id="rId1" Type="http://schemas.openxmlformats.org/officeDocument/2006/relationships/tags" Target="../tags/tag233.xml"/><Relationship Id="rId4"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5.xml"/><Relationship Id="rId1" Type="http://schemas.openxmlformats.org/officeDocument/2006/relationships/tags" Target="../tags/tag234.xml"/><Relationship Id="rId4" Type="http://schemas.openxmlformats.org/officeDocument/2006/relationships/image" Target="../media/image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5.xml"/><Relationship Id="rId1" Type="http://schemas.openxmlformats.org/officeDocument/2006/relationships/tags" Target="../tags/tag235.xml"/><Relationship Id="rId4" Type="http://schemas.openxmlformats.org/officeDocument/2006/relationships/image" Target="../media/image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5.xml"/><Relationship Id="rId1" Type="http://schemas.openxmlformats.org/officeDocument/2006/relationships/tags" Target="../tags/tag236.xml"/><Relationship Id="rId4" Type="http://schemas.openxmlformats.org/officeDocument/2006/relationships/image" Target="../media/image7.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Master" Target="../slideMasters/slideMaster5.xml"/><Relationship Id="rId1" Type="http://schemas.openxmlformats.org/officeDocument/2006/relationships/tags" Target="../tags/tag237.xml"/><Relationship Id="rId4" Type="http://schemas.openxmlformats.org/officeDocument/2006/relationships/image" Target="../media/image1.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5.xml"/><Relationship Id="rId1" Type="http://schemas.openxmlformats.org/officeDocument/2006/relationships/tags" Target="../tags/tag23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5.xml"/><Relationship Id="rId1" Type="http://schemas.openxmlformats.org/officeDocument/2006/relationships/tags" Target="../tags/tag23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5.xml"/><Relationship Id="rId1" Type="http://schemas.openxmlformats.org/officeDocument/2006/relationships/tags" Target="../tags/tag24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5.xml"/><Relationship Id="rId1" Type="http://schemas.openxmlformats.org/officeDocument/2006/relationships/tags" Target="../tags/tag24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5.xml"/><Relationship Id="rId1" Type="http://schemas.openxmlformats.org/officeDocument/2006/relationships/tags" Target="../tags/tag24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5.xml"/><Relationship Id="rId1" Type="http://schemas.openxmlformats.org/officeDocument/2006/relationships/tags" Target="../tags/tag24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5.xml"/><Relationship Id="rId1" Type="http://schemas.openxmlformats.org/officeDocument/2006/relationships/tags" Target="../tags/tag244.xml"/><Relationship Id="rId4" Type="http://schemas.openxmlformats.org/officeDocument/2006/relationships/image" Target="../media/image1.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5.xml"/><Relationship Id="rId1" Type="http://schemas.openxmlformats.org/officeDocument/2006/relationships/tags" Target="../tags/tag245.xml"/><Relationship Id="rId4" Type="http://schemas.openxmlformats.org/officeDocument/2006/relationships/image" Target="../media/image1.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29.bin"/><Relationship Id="rId2" Type="http://schemas.openxmlformats.org/officeDocument/2006/relationships/slideMaster" Target="../slideMasters/slideMaster5.xml"/><Relationship Id="rId1" Type="http://schemas.openxmlformats.org/officeDocument/2006/relationships/tags" Target="../tags/tag246.xml"/><Relationship Id="rId4" Type="http://schemas.openxmlformats.org/officeDocument/2006/relationships/image" Target="../media/image1.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5.xml"/><Relationship Id="rId1" Type="http://schemas.openxmlformats.org/officeDocument/2006/relationships/tags" Target="../tags/tag247.xml"/><Relationship Id="rId4" Type="http://schemas.openxmlformats.org/officeDocument/2006/relationships/image" Target="../media/image1.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5.xml"/><Relationship Id="rId1" Type="http://schemas.openxmlformats.org/officeDocument/2006/relationships/tags" Target="../tags/tag248.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5.xml"/><Relationship Id="rId1" Type="http://schemas.openxmlformats.org/officeDocument/2006/relationships/tags" Target="../tags/tag249.xml"/><Relationship Id="rId4" Type="http://schemas.openxmlformats.org/officeDocument/2006/relationships/image" Target="../media/image1.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5.xml"/><Relationship Id="rId1" Type="http://schemas.openxmlformats.org/officeDocument/2006/relationships/tags" Target="../tags/tag250.xml"/><Relationship Id="rId4" Type="http://schemas.openxmlformats.org/officeDocument/2006/relationships/image" Target="../media/image1.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5.xml"/><Relationship Id="rId1" Type="http://schemas.openxmlformats.org/officeDocument/2006/relationships/tags" Target="../tags/tag251.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5.xml"/><Relationship Id="rId1" Type="http://schemas.openxmlformats.org/officeDocument/2006/relationships/tags" Target="../tags/tag252.xml"/><Relationship Id="rId4" Type="http://schemas.openxmlformats.org/officeDocument/2006/relationships/image" Target="../media/image1.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5.xml"/><Relationship Id="rId1" Type="http://schemas.openxmlformats.org/officeDocument/2006/relationships/tags" Target="../tags/tag253.xml"/><Relationship Id="rId4"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Master" Target="../slideMasters/slideMaster5.xml"/><Relationship Id="rId1" Type="http://schemas.openxmlformats.org/officeDocument/2006/relationships/tags" Target="../tags/tag254.xml"/><Relationship Id="rId4" Type="http://schemas.openxmlformats.org/officeDocument/2006/relationships/image" Target="../media/image1.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Master" Target="../slideMasters/slideMaster5.xml"/><Relationship Id="rId1" Type="http://schemas.openxmlformats.org/officeDocument/2006/relationships/tags" Target="../tags/tag255.xml"/><Relationship Id="rId4" Type="http://schemas.openxmlformats.org/officeDocument/2006/relationships/image" Target="../media/image1.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5.xml"/><Relationship Id="rId1" Type="http://schemas.openxmlformats.org/officeDocument/2006/relationships/tags" Target="../tags/tag256.xml"/><Relationship Id="rId4" Type="http://schemas.openxmlformats.org/officeDocument/2006/relationships/image" Target="../media/image1.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Master" Target="../slideMasters/slideMaster5.xml"/><Relationship Id="rId1" Type="http://schemas.openxmlformats.org/officeDocument/2006/relationships/tags" Target="../tags/tag257.xml"/><Relationship Id="rId4" Type="http://schemas.openxmlformats.org/officeDocument/2006/relationships/image" Target="../media/image1.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5.xml"/><Relationship Id="rId1" Type="http://schemas.openxmlformats.org/officeDocument/2006/relationships/tags" Target="../tags/tag258.xml"/><Relationship Id="rId4" Type="http://schemas.openxmlformats.org/officeDocument/2006/relationships/image" Target="../media/image1.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5.xml"/><Relationship Id="rId1" Type="http://schemas.openxmlformats.org/officeDocument/2006/relationships/tags" Target="../tags/tag259.xml"/><Relationship Id="rId4" Type="http://schemas.openxmlformats.org/officeDocument/2006/relationships/image" Target="../media/image1.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Master" Target="../slideMasters/slideMaster5.xml"/><Relationship Id="rId1" Type="http://schemas.openxmlformats.org/officeDocument/2006/relationships/tags" Target="../tags/tag26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44.bin"/><Relationship Id="rId2" Type="http://schemas.openxmlformats.org/officeDocument/2006/relationships/slideMaster" Target="../slideMasters/slideMaster5.xml"/><Relationship Id="rId1" Type="http://schemas.openxmlformats.org/officeDocument/2006/relationships/tags" Target="../tags/tag26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4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1.emf"/><Relationship Id="rId5" Type="http://schemas.openxmlformats.org/officeDocument/2006/relationships/oleObject" Target="../embeddings/oleObject246.bin"/><Relationship Id="rId4" Type="http://schemas.openxmlformats.org/officeDocument/2006/relationships/image" Target="../media/image4.jpeg"/></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47.bin"/><Relationship Id="rId2" Type="http://schemas.openxmlformats.org/officeDocument/2006/relationships/slideMaster" Target="../slideMasters/slideMaster6.xml"/><Relationship Id="rId1" Type="http://schemas.openxmlformats.org/officeDocument/2006/relationships/tags" Target="../tags/tag266.xml"/><Relationship Id="rId4" Type="http://schemas.openxmlformats.org/officeDocument/2006/relationships/image" Target="../media/image1.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Master" Target="../slideMasters/slideMaster6.xml"/><Relationship Id="rId1" Type="http://schemas.openxmlformats.org/officeDocument/2006/relationships/tags" Target="../tags/tag267.xml"/><Relationship Id="rId4" Type="http://schemas.openxmlformats.org/officeDocument/2006/relationships/image" Target="../media/image1.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49.bin"/><Relationship Id="rId2" Type="http://schemas.openxmlformats.org/officeDocument/2006/relationships/slideMaster" Target="../slideMasters/slideMaster6.xml"/><Relationship Id="rId1" Type="http://schemas.openxmlformats.org/officeDocument/2006/relationships/tags" Target="../tags/tag268.xml"/><Relationship Id="rId4" Type="http://schemas.openxmlformats.org/officeDocument/2006/relationships/image" Target="../media/image1.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6.xml"/><Relationship Id="rId1" Type="http://schemas.openxmlformats.org/officeDocument/2006/relationships/tags" Target="../tags/tag269.xml"/><Relationship Id="rId4" Type="http://schemas.openxmlformats.org/officeDocument/2006/relationships/image" Target="../media/image1.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251.bin"/><Relationship Id="rId2" Type="http://schemas.openxmlformats.org/officeDocument/2006/relationships/slideMaster" Target="../slideMasters/slideMaster6.xml"/><Relationship Id="rId1" Type="http://schemas.openxmlformats.org/officeDocument/2006/relationships/tags" Target="../tags/tag270.xml"/><Relationship Id="rId4" Type="http://schemas.openxmlformats.org/officeDocument/2006/relationships/image" Target="../media/image1.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252.bin"/><Relationship Id="rId2" Type="http://schemas.openxmlformats.org/officeDocument/2006/relationships/slideMaster" Target="../slideMasters/slideMaster6.xml"/><Relationship Id="rId1" Type="http://schemas.openxmlformats.org/officeDocument/2006/relationships/tags" Target="../tags/tag271.xml"/><Relationship Id="rId4" Type="http://schemas.openxmlformats.org/officeDocument/2006/relationships/image" Target="../media/image1.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53.bin"/><Relationship Id="rId2" Type="http://schemas.openxmlformats.org/officeDocument/2006/relationships/slideMaster" Target="../slideMasters/slideMaster6.xml"/><Relationship Id="rId1" Type="http://schemas.openxmlformats.org/officeDocument/2006/relationships/tags" Target="../tags/tag272.xml"/><Relationship Id="rId4"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254.bin"/><Relationship Id="rId2" Type="http://schemas.openxmlformats.org/officeDocument/2006/relationships/slideMaster" Target="../slideMasters/slideMaster6.xml"/><Relationship Id="rId1" Type="http://schemas.openxmlformats.org/officeDocument/2006/relationships/tags" Target="../tags/tag273.xml"/><Relationship Id="rId4" Type="http://schemas.openxmlformats.org/officeDocument/2006/relationships/image" Target="../media/image1.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255.bin"/><Relationship Id="rId2" Type="http://schemas.openxmlformats.org/officeDocument/2006/relationships/slideMaster" Target="../slideMasters/slideMaster6.xml"/><Relationship Id="rId1" Type="http://schemas.openxmlformats.org/officeDocument/2006/relationships/tags" Target="../tags/tag27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256.bin"/><Relationship Id="rId2" Type="http://schemas.openxmlformats.org/officeDocument/2006/relationships/slideMaster" Target="../slideMasters/slideMaster6.xml"/><Relationship Id="rId1" Type="http://schemas.openxmlformats.org/officeDocument/2006/relationships/tags" Target="../tags/tag275.xml"/><Relationship Id="rId4" Type="http://schemas.openxmlformats.org/officeDocument/2006/relationships/image" Target="../media/image1.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257.bin"/><Relationship Id="rId2" Type="http://schemas.openxmlformats.org/officeDocument/2006/relationships/slideMaster" Target="../slideMasters/slideMaster6.xml"/><Relationship Id="rId1" Type="http://schemas.openxmlformats.org/officeDocument/2006/relationships/tags" Target="../tags/tag276.xml"/><Relationship Id="rId4" Type="http://schemas.openxmlformats.org/officeDocument/2006/relationships/image" Target="../media/image1.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258.bin"/><Relationship Id="rId2" Type="http://schemas.openxmlformats.org/officeDocument/2006/relationships/slideMaster" Target="../slideMasters/slideMaster6.xml"/><Relationship Id="rId1" Type="http://schemas.openxmlformats.org/officeDocument/2006/relationships/tags" Target="../tags/tag277.xml"/><Relationship Id="rId4" Type="http://schemas.openxmlformats.org/officeDocument/2006/relationships/image" Target="../media/image1.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6.xml"/><Relationship Id="rId1" Type="http://schemas.openxmlformats.org/officeDocument/2006/relationships/tags" Target="../tags/tag278.xml"/><Relationship Id="rId4" Type="http://schemas.openxmlformats.org/officeDocument/2006/relationships/image" Target="../media/image1.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260.bin"/><Relationship Id="rId2" Type="http://schemas.openxmlformats.org/officeDocument/2006/relationships/slideMaster" Target="../slideMasters/slideMaster6.xml"/><Relationship Id="rId1" Type="http://schemas.openxmlformats.org/officeDocument/2006/relationships/tags" Target="../tags/tag279.xml"/><Relationship Id="rId4" Type="http://schemas.openxmlformats.org/officeDocument/2006/relationships/image" Target="../media/image1.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261.bin"/><Relationship Id="rId2" Type="http://schemas.openxmlformats.org/officeDocument/2006/relationships/slideMaster" Target="../slideMasters/slideMaster6.xml"/><Relationship Id="rId1" Type="http://schemas.openxmlformats.org/officeDocument/2006/relationships/tags" Target="../tags/tag280.xml"/><Relationship Id="rId4" Type="http://schemas.openxmlformats.org/officeDocument/2006/relationships/image" Target="../media/image7.emf"/></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62.bin"/><Relationship Id="rId2" Type="http://schemas.openxmlformats.org/officeDocument/2006/relationships/slideMaster" Target="../slideMasters/slideMaster6.xml"/><Relationship Id="rId1" Type="http://schemas.openxmlformats.org/officeDocument/2006/relationships/tags" Target="../tags/tag281.xml"/><Relationship Id="rId4" Type="http://schemas.openxmlformats.org/officeDocument/2006/relationships/image" Target="../media/image1.emf"/></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263.bin"/><Relationship Id="rId2" Type="http://schemas.openxmlformats.org/officeDocument/2006/relationships/slideMaster" Target="../slideMasters/slideMaster6.xml"/><Relationship Id="rId1" Type="http://schemas.openxmlformats.org/officeDocument/2006/relationships/tags" Target="../tags/tag282.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264.bin"/><Relationship Id="rId2" Type="http://schemas.openxmlformats.org/officeDocument/2006/relationships/slideMaster" Target="../slideMasters/slideMaster6.xml"/><Relationship Id="rId1" Type="http://schemas.openxmlformats.org/officeDocument/2006/relationships/tags" Target="../tags/tag283.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265.bin"/><Relationship Id="rId2" Type="http://schemas.openxmlformats.org/officeDocument/2006/relationships/slideMaster" Target="../slideMasters/slideMaster6.xml"/><Relationship Id="rId1" Type="http://schemas.openxmlformats.org/officeDocument/2006/relationships/tags" Target="../tags/tag284.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266.bin"/><Relationship Id="rId2" Type="http://schemas.openxmlformats.org/officeDocument/2006/relationships/slideMaster" Target="../slideMasters/slideMaster6.xml"/><Relationship Id="rId1" Type="http://schemas.openxmlformats.org/officeDocument/2006/relationships/tags" Target="../tags/tag285.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267.bin"/><Relationship Id="rId2" Type="http://schemas.openxmlformats.org/officeDocument/2006/relationships/slideMaster" Target="../slideMasters/slideMaster6.xml"/><Relationship Id="rId1" Type="http://schemas.openxmlformats.org/officeDocument/2006/relationships/tags" Target="../tags/tag286.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6.xml"/><Relationship Id="rId1" Type="http://schemas.openxmlformats.org/officeDocument/2006/relationships/tags" Target="../tags/tag287.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269.bin"/><Relationship Id="rId2" Type="http://schemas.openxmlformats.org/officeDocument/2006/relationships/slideMaster" Target="../slideMasters/slideMaster6.xml"/><Relationship Id="rId1" Type="http://schemas.openxmlformats.org/officeDocument/2006/relationships/tags" Target="../tags/tag288.xml"/><Relationship Id="rId4" Type="http://schemas.openxmlformats.org/officeDocument/2006/relationships/image" Target="../media/image1.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270.bin"/><Relationship Id="rId2" Type="http://schemas.openxmlformats.org/officeDocument/2006/relationships/slideMaster" Target="../slideMasters/slideMaster6.xml"/><Relationship Id="rId1" Type="http://schemas.openxmlformats.org/officeDocument/2006/relationships/tags" Target="../tags/tag289.xml"/><Relationship Id="rId4" Type="http://schemas.openxmlformats.org/officeDocument/2006/relationships/image" Target="../media/image1.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71.bin"/><Relationship Id="rId2" Type="http://schemas.openxmlformats.org/officeDocument/2006/relationships/slideMaster" Target="../slideMasters/slideMaster6.xml"/><Relationship Id="rId1" Type="http://schemas.openxmlformats.org/officeDocument/2006/relationships/tags" Target="../tags/tag290.xml"/><Relationship Id="rId4" Type="http://schemas.openxmlformats.org/officeDocument/2006/relationships/image" Target="../media/image1.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272.bin"/><Relationship Id="rId2" Type="http://schemas.openxmlformats.org/officeDocument/2006/relationships/slideMaster" Target="../slideMasters/slideMaster6.xml"/><Relationship Id="rId1" Type="http://schemas.openxmlformats.org/officeDocument/2006/relationships/tags" Target="../tags/tag291.xml"/><Relationship Id="rId4" Type="http://schemas.openxmlformats.org/officeDocument/2006/relationships/image" Target="../media/image1.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273.bin"/><Relationship Id="rId2" Type="http://schemas.openxmlformats.org/officeDocument/2006/relationships/slideMaster" Target="../slideMasters/slideMaster6.xml"/><Relationship Id="rId1" Type="http://schemas.openxmlformats.org/officeDocument/2006/relationships/tags" Target="../tags/tag292.xml"/><Relationship Id="rId4"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274.bin"/><Relationship Id="rId2" Type="http://schemas.openxmlformats.org/officeDocument/2006/relationships/slideMaster" Target="../slideMasters/slideMaster6.xml"/><Relationship Id="rId1" Type="http://schemas.openxmlformats.org/officeDocument/2006/relationships/tags" Target="../tags/tag293.xml"/><Relationship Id="rId4" Type="http://schemas.openxmlformats.org/officeDocument/2006/relationships/image" Target="../media/image1.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275.bin"/><Relationship Id="rId2" Type="http://schemas.openxmlformats.org/officeDocument/2006/relationships/slideMaster" Target="../slideMasters/slideMaster6.xml"/><Relationship Id="rId1" Type="http://schemas.openxmlformats.org/officeDocument/2006/relationships/tags" Target="../tags/tag29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276.bin"/><Relationship Id="rId2" Type="http://schemas.openxmlformats.org/officeDocument/2006/relationships/slideMaster" Target="../slideMasters/slideMaster6.xml"/><Relationship Id="rId1" Type="http://schemas.openxmlformats.org/officeDocument/2006/relationships/tags" Target="../tags/tag295.xml"/><Relationship Id="rId4" Type="http://schemas.openxmlformats.org/officeDocument/2006/relationships/image" Target="../media/image1.emf"/></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6.xml"/><Relationship Id="rId1" Type="http://schemas.openxmlformats.org/officeDocument/2006/relationships/tags" Target="../tags/tag296.xml"/><Relationship Id="rId4" Type="http://schemas.openxmlformats.org/officeDocument/2006/relationships/image" Target="../media/image1.emf"/></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278.bin"/><Relationship Id="rId2" Type="http://schemas.openxmlformats.org/officeDocument/2006/relationships/slideMaster" Target="../slideMasters/slideMaster6.xml"/><Relationship Id="rId1" Type="http://schemas.openxmlformats.org/officeDocument/2006/relationships/tags" Target="../tags/tag297.xml"/><Relationship Id="rId4" Type="http://schemas.openxmlformats.org/officeDocument/2006/relationships/image" Target="../media/image1.emf"/></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279.bin"/><Relationship Id="rId2" Type="http://schemas.openxmlformats.org/officeDocument/2006/relationships/slideMaster" Target="../slideMasters/slideMaster6.xml"/><Relationship Id="rId1" Type="http://schemas.openxmlformats.org/officeDocument/2006/relationships/tags" Target="../tags/tag298.xml"/><Relationship Id="rId4" Type="http://schemas.openxmlformats.org/officeDocument/2006/relationships/image" Target="../media/image1.emf"/></Relationships>
</file>

<file path=ppt/slideLayouts/_rels/slideLayout274.xml.rels><?xml version="1.0" encoding="UTF-8" standalone="yes"?>
<Relationships xmlns="http://schemas.openxmlformats.org/package/2006/relationships"><Relationship Id="rId3" Type="http://schemas.openxmlformats.org/officeDocument/2006/relationships/oleObject" Target="../embeddings/oleObject280.bin"/><Relationship Id="rId2" Type="http://schemas.openxmlformats.org/officeDocument/2006/relationships/slideMaster" Target="../slideMasters/slideMaster6.xml"/><Relationship Id="rId1" Type="http://schemas.openxmlformats.org/officeDocument/2006/relationships/tags" Target="../tags/tag299.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281.bin"/><Relationship Id="rId2" Type="http://schemas.openxmlformats.org/officeDocument/2006/relationships/slideMaster" Target="../slideMasters/slideMaster6.xml"/><Relationship Id="rId1" Type="http://schemas.openxmlformats.org/officeDocument/2006/relationships/tags" Target="../tags/tag300.xml"/><Relationship Id="rId4" Type="http://schemas.openxmlformats.org/officeDocument/2006/relationships/image" Target="../media/image1.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282.bin"/><Relationship Id="rId2" Type="http://schemas.openxmlformats.org/officeDocument/2006/relationships/slideMaster" Target="../slideMasters/slideMaster6.xml"/><Relationship Id="rId1" Type="http://schemas.openxmlformats.org/officeDocument/2006/relationships/tags" Target="../tags/tag301.xml"/><Relationship Id="rId4" Type="http://schemas.openxmlformats.org/officeDocument/2006/relationships/image" Target="../media/image1.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283.bin"/><Relationship Id="rId2" Type="http://schemas.openxmlformats.org/officeDocument/2006/relationships/slideMaster" Target="../slideMasters/slideMaster6.xml"/><Relationship Id="rId1" Type="http://schemas.openxmlformats.org/officeDocument/2006/relationships/tags" Target="../tags/tag302.xml"/><Relationship Id="rId4"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284.bin"/><Relationship Id="rId2" Type="http://schemas.openxmlformats.org/officeDocument/2006/relationships/slideMaster" Target="../slideMasters/slideMaster6.xml"/><Relationship Id="rId1" Type="http://schemas.openxmlformats.org/officeDocument/2006/relationships/tags" Target="../tags/tag303.xml"/><Relationship Id="rId4" Type="http://schemas.openxmlformats.org/officeDocument/2006/relationships/image" Target="../media/image1.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285.bin"/><Relationship Id="rId2" Type="http://schemas.openxmlformats.org/officeDocument/2006/relationships/slideMaster" Target="../slideMasters/slideMaster6.xml"/><Relationship Id="rId1" Type="http://schemas.openxmlformats.org/officeDocument/2006/relationships/tags" Target="../tags/tag304.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286.bin"/><Relationship Id="rId2" Type="http://schemas.openxmlformats.org/officeDocument/2006/relationships/slideMaster" Target="../slideMasters/slideMaster6.xml"/><Relationship Id="rId1" Type="http://schemas.openxmlformats.org/officeDocument/2006/relationships/tags" Target="../tags/tag305.xml"/><Relationship Id="rId4" Type="http://schemas.openxmlformats.org/officeDocument/2006/relationships/image" Target="../media/image1.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287.bin"/><Relationship Id="rId2" Type="http://schemas.openxmlformats.org/officeDocument/2006/relationships/slideMaster" Target="../slideMasters/slideMaster6.xml"/><Relationship Id="rId1" Type="http://schemas.openxmlformats.org/officeDocument/2006/relationships/tags" Target="../tags/tag306.xml"/><Relationship Id="rId4" Type="http://schemas.openxmlformats.org/officeDocument/2006/relationships/image" Target="../media/image1.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288.bin"/><Relationship Id="rId2" Type="http://schemas.openxmlformats.org/officeDocument/2006/relationships/slideMaster" Target="../slideMasters/slideMaster6.xml"/><Relationship Id="rId1" Type="http://schemas.openxmlformats.org/officeDocument/2006/relationships/tags" Target="../tags/tag307.xml"/><Relationship Id="rId4" Type="http://schemas.openxmlformats.org/officeDocument/2006/relationships/image" Target="../media/image1.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289.bin"/><Relationship Id="rId2" Type="http://schemas.openxmlformats.org/officeDocument/2006/relationships/slideMaster" Target="../slideMasters/slideMaster6.xml"/><Relationship Id="rId1" Type="http://schemas.openxmlformats.org/officeDocument/2006/relationships/tags" Target="../tags/tag308.xml"/><Relationship Id="rId6" Type="http://schemas.openxmlformats.org/officeDocument/2006/relationships/image" Target="../media/image9.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290.bin"/><Relationship Id="rId2" Type="http://schemas.openxmlformats.org/officeDocument/2006/relationships/slideMaster" Target="../slideMasters/slideMaster6.xml"/><Relationship Id="rId1" Type="http://schemas.openxmlformats.org/officeDocument/2006/relationships/tags" Target="../tags/tag309.xml"/><Relationship Id="rId4" Type="http://schemas.openxmlformats.org/officeDocument/2006/relationships/image" Target="../media/image7.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291.bin"/><Relationship Id="rId2" Type="http://schemas.openxmlformats.org/officeDocument/2006/relationships/slideMaster" Target="../slideMasters/slideMaster6.xml"/><Relationship Id="rId1" Type="http://schemas.openxmlformats.org/officeDocument/2006/relationships/tags" Target="../tags/tag310.xml"/><Relationship Id="rId4" Type="http://schemas.openxmlformats.org/officeDocument/2006/relationships/image" Target="../media/image1.emf"/></Relationships>
</file>

<file path=ppt/slideLayouts/_rels/slideLayout28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image" Target="../media/image1.emf"/><Relationship Id="rId5" Type="http://schemas.openxmlformats.org/officeDocument/2006/relationships/oleObject" Target="../embeddings/oleObject293.bin"/><Relationship Id="rId4" Type="http://schemas.openxmlformats.org/officeDocument/2006/relationships/image" Target="../media/image4.jpeg"/></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294.bin"/><Relationship Id="rId2" Type="http://schemas.openxmlformats.org/officeDocument/2006/relationships/slideMaster" Target="../slideMasters/slideMaster7.xml"/><Relationship Id="rId1" Type="http://schemas.openxmlformats.org/officeDocument/2006/relationships/tags" Target="../tags/tag315.xml"/><Relationship Id="rId4"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295.bin"/><Relationship Id="rId2" Type="http://schemas.openxmlformats.org/officeDocument/2006/relationships/slideMaster" Target="../slideMasters/slideMaster7.xml"/><Relationship Id="rId1" Type="http://schemas.openxmlformats.org/officeDocument/2006/relationships/tags" Target="../tags/tag316.xml"/><Relationship Id="rId4" Type="http://schemas.openxmlformats.org/officeDocument/2006/relationships/image" Target="../media/image1.emf"/></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296.bin"/><Relationship Id="rId2" Type="http://schemas.openxmlformats.org/officeDocument/2006/relationships/slideMaster" Target="../slideMasters/slideMaster7.xml"/><Relationship Id="rId1" Type="http://schemas.openxmlformats.org/officeDocument/2006/relationships/tags" Target="../tags/tag317.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297.bin"/><Relationship Id="rId2" Type="http://schemas.openxmlformats.org/officeDocument/2006/relationships/slideMaster" Target="../slideMasters/slideMaster7.xml"/><Relationship Id="rId1" Type="http://schemas.openxmlformats.org/officeDocument/2006/relationships/tags" Target="../tags/tag318.xml"/><Relationship Id="rId4" Type="http://schemas.openxmlformats.org/officeDocument/2006/relationships/image" Target="../media/image1.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298.bin"/><Relationship Id="rId2" Type="http://schemas.openxmlformats.org/officeDocument/2006/relationships/slideMaster" Target="../slideMasters/slideMaster7.xml"/><Relationship Id="rId1" Type="http://schemas.openxmlformats.org/officeDocument/2006/relationships/tags" Target="../tags/tag319.xml"/><Relationship Id="rId4" Type="http://schemas.openxmlformats.org/officeDocument/2006/relationships/image" Target="../media/image1.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299.bin"/><Relationship Id="rId2" Type="http://schemas.openxmlformats.org/officeDocument/2006/relationships/slideMaster" Target="../slideMasters/slideMaster7.xml"/><Relationship Id="rId1" Type="http://schemas.openxmlformats.org/officeDocument/2006/relationships/tags" Target="../tags/tag320.xml"/><Relationship Id="rId4" Type="http://schemas.openxmlformats.org/officeDocument/2006/relationships/image" Target="../media/image1.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300.bin"/><Relationship Id="rId2" Type="http://schemas.openxmlformats.org/officeDocument/2006/relationships/slideMaster" Target="../slideMasters/slideMaster7.xml"/><Relationship Id="rId1" Type="http://schemas.openxmlformats.org/officeDocument/2006/relationships/tags" Target="../tags/tag321.xml"/><Relationship Id="rId4" Type="http://schemas.openxmlformats.org/officeDocument/2006/relationships/image" Target="../media/image1.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301.bin"/><Relationship Id="rId2" Type="http://schemas.openxmlformats.org/officeDocument/2006/relationships/slideMaster" Target="../slideMasters/slideMaster7.xml"/><Relationship Id="rId1" Type="http://schemas.openxmlformats.org/officeDocument/2006/relationships/tags" Target="../tags/tag322.xml"/><Relationship Id="rId4" Type="http://schemas.openxmlformats.org/officeDocument/2006/relationships/image" Target="../media/image1.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7.xml"/><Relationship Id="rId1" Type="http://schemas.openxmlformats.org/officeDocument/2006/relationships/tags" Target="../tags/tag323.xml"/><Relationship Id="rId4" Type="http://schemas.openxmlformats.org/officeDocument/2006/relationships/image" Target="../media/image1.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303.bin"/><Relationship Id="rId2" Type="http://schemas.openxmlformats.org/officeDocument/2006/relationships/slideMaster" Target="../slideMasters/slideMaster7.xml"/><Relationship Id="rId1" Type="http://schemas.openxmlformats.org/officeDocument/2006/relationships/tags" Target="../tags/tag324.xml"/><Relationship Id="rId4" Type="http://schemas.openxmlformats.org/officeDocument/2006/relationships/image" Target="../media/image1.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304.bin"/><Relationship Id="rId2" Type="http://schemas.openxmlformats.org/officeDocument/2006/relationships/slideMaster" Target="../slideMasters/slideMaster7.xml"/><Relationship Id="rId1" Type="http://schemas.openxmlformats.org/officeDocument/2006/relationships/tags" Target="../tags/tag325.xml"/><Relationship Id="rId4"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305.bin"/><Relationship Id="rId2" Type="http://schemas.openxmlformats.org/officeDocument/2006/relationships/slideMaster" Target="../slideMasters/slideMaster7.xml"/><Relationship Id="rId1" Type="http://schemas.openxmlformats.org/officeDocument/2006/relationships/tags" Target="../tags/tag326.xml"/><Relationship Id="rId4" Type="http://schemas.openxmlformats.org/officeDocument/2006/relationships/image" Target="../media/image1.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306.bin"/><Relationship Id="rId2" Type="http://schemas.openxmlformats.org/officeDocument/2006/relationships/slideMaster" Target="../slideMasters/slideMaster7.xml"/><Relationship Id="rId1" Type="http://schemas.openxmlformats.org/officeDocument/2006/relationships/tags" Target="../tags/tag3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307.bin"/><Relationship Id="rId2" Type="http://schemas.openxmlformats.org/officeDocument/2006/relationships/slideMaster" Target="../slideMasters/slideMaster7.xml"/><Relationship Id="rId1" Type="http://schemas.openxmlformats.org/officeDocument/2006/relationships/tags" Target="../tags/tag328.xml"/><Relationship Id="rId4" Type="http://schemas.openxmlformats.org/officeDocument/2006/relationships/image" Target="../media/image1.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308.bin"/><Relationship Id="rId2" Type="http://schemas.openxmlformats.org/officeDocument/2006/relationships/slideMaster" Target="../slideMasters/slideMaster7.xml"/><Relationship Id="rId1" Type="http://schemas.openxmlformats.org/officeDocument/2006/relationships/tags" Target="../tags/tag329.xml"/><Relationship Id="rId4" Type="http://schemas.openxmlformats.org/officeDocument/2006/relationships/image" Target="../media/image1.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309.bin"/><Relationship Id="rId2" Type="http://schemas.openxmlformats.org/officeDocument/2006/relationships/slideMaster" Target="../slideMasters/slideMaster7.xml"/><Relationship Id="rId1" Type="http://schemas.openxmlformats.org/officeDocument/2006/relationships/tags" Target="../tags/tag330.xml"/><Relationship Id="rId4" Type="http://schemas.openxmlformats.org/officeDocument/2006/relationships/image" Target="../media/image1.emf"/></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310.bin"/><Relationship Id="rId2" Type="http://schemas.openxmlformats.org/officeDocument/2006/relationships/slideMaster" Target="../slideMasters/slideMaster7.xml"/><Relationship Id="rId1" Type="http://schemas.openxmlformats.org/officeDocument/2006/relationships/tags" Target="../tags/tag331.xml"/><Relationship Id="rId4" Type="http://schemas.openxmlformats.org/officeDocument/2006/relationships/image" Target="../media/image1.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7.xml"/><Relationship Id="rId1" Type="http://schemas.openxmlformats.org/officeDocument/2006/relationships/tags" Target="../tags/tag332.xml"/><Relationship Id="rId4" Type="http://schemas.openxmlformats.org/officeDocument/2006/relationships/image" Target="../media/image1.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312.bin"/><Relationship Id="rId2" Type="http://schemas.openxmlformats.org/officeDocument/2006/relationships/slideMaster" Target="../slideMasters/slideMaster7.xml"/><Relationship Id="rId1" Type="http://schemas.openxmlformats.org/officeDocument/2006/relationships/tags" Target="../tags/tag333.xml"/><Relationship Id="rId4" Type="http://schemas.openxmlformats.org/officeDocument/2006/relationships/image" Target="../media/image7.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313.bin"/><Relationship Id="rId2" Type="http://schemas.openxmlformats.org/officeDocument/2006/relationships/slideMaster" Target="../slideMasters/slideMaster7.xml"/><Relationship Id="rId1" Type="http://schemas.openxmlformats.org/officeDocument/2006/relationships/tags" Target="../tags/tag334.xml"/><Relationship Id="rId4" Type="http://schemas.openxmlformats.org/officeDocument/2006/relationships/image" Target="../media/image1.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314.bin"/><Relationship Id="rId2" Type="http://schemas.openxmlformats.org/officeDocument/2006/relationships/slideMaster" Target="../slideMasters/slideMaster7.xml"/><Relationship Id="rId1" Type="http://schemas.openxmlformats.org/officeDocument/2006/relationships/tags" Target="../tags/tag335.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315.bin"/><Relationship Id="rId2" Type="http://schemas.openxmlformats.org/officeDocument/2006/relationships/slideMaster" Target="../slideMasters/slideMaster7.xml"/><Relationship Id="rId1" Type="http://schemas.openxmlformats.org/officeDocument/2006/relationships/tags" Target="../tags/tag33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316.bin"/><Relationship Id="rId2" Type="http://schemas.openxmlformats.org/officeDocument/2006/relationships/slideMaster" Target="../slideMasters/slideMaster7.xml"/><Relationship Id="rId1" Type="http://schemas.openxmlformats.org/officeDocument/2006/relationships/tags" Target="../tags/tag337.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317.bin"/><Relationship Id="rId2" Type="http://schemas.openxmlformats.org/officeDocument/2006/relationships/slideMaster" Target="../slideMasters/slideMaster7.xml"/><Relationship Id="rId1" Type="http://schemas.openxmlformats.org/officeDocument/2006/relationships/tags" Target="../tags/tag338.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318.bin"/><Relationship Id="rId2" Type="http://schemas.openxmlformats.org/officeDocument/2006/relationships/slideMaster" Target="../slideMasters/slideMaster7.xml"/><Relationship Id="rId1" Type="http://schemas.openxmlformats.org/officeDocument/2006/relationships/tags" Target="../tags/tag339.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319.bin"/><Relationship Id="rId2" Type="http://schemas.openxmlformats.org/officeDocument/2006/relationships/slideMaster" Target="../slideMasters/slideMaster7.xml"/><Relationship Id="rId1" Type="http://schemas.openxmlformats.org/officeDocument/2006/relationships/tags" Target="../tags/tag340.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7.xml"/><Relationship Id="rId1" Type="http://schemas.openxmlformats.org/officeDocument/2006/relationships/tags" Target="../tags/tag341.xml"/><Relationship Id="rId4" Type="http://schemas.openxmlformats.org/officeDocument/2006/relationships/image" Target="../media/image1.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321.bin"/><Relationship Id="rId2" Type="http://schemas.openxmlformats.org/officeDocument/2006/relationships/slideMaster" Target="../slideMasters/slideMaster7.xml"/><Relationship Id="rId1" Type="http://schemas.openxmlformats.org/officeDocument/2006/relationships/tags" Target="../tags/tag342.xml"/><Relationship Id="rId4" Type="http://schemas.openxmlformats.org/officeDocument/2006/relationships/image" Target="../media/image1.emf"/></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322.bin"/><Relationship Id="rId2" Type="http://schemas.openxmlformats.org/officeDocument/2006/relationships/slideMaster" Target="../slideMasters/slideMaster7.xml"/><Relationship Id="rId1" Type="http://schemas.openxmlformats.org/officeDocument/2006/relationships/tags" Target="../tags/tag343.xml"/><Relationship Id="rId4" Type="http://schemas.openxmlformats.org/officeDocument/2006/relationships/image" Target="../media/image1.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323.bin"/><Relationship Id="rId2" Type="http://schemas.openxmlformats.org/officeDocument/2006/relationships/slideMaster" Target="../slideMasters/slideMaster7.xml"/><Relationship Id="rId1" Type="http://schemas.openxmlformats.org/officeDocument/2006/relationships/tags" Target="../tags/tag344.xml"/><Relationship Id="rId4" Type="http://schemas.openxmlformats.org/officeDocument/2006/relationships/image" Target="../media/image1.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324.bin"/><Relationship Id="rId2" Type="http://schemas.openxmlformats.org/officeDocument/2006/relationships/slideMaster" Target="../slideMasters/slideMaster7.xml"/><Relationship Id="rId1" Type="http://schemas.openxmlformats.org/officeDocument/2006/relationships/tags" Target="../tags/tag345.xml"/><Relationship Id="rId4" Type="http://schemas.openxmlformats.org/officeDocument/2006/relationships/image" Target="../media/image1.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325.bin"/><Relationship Id="rId2" Type="http://schemas.openxmlformats.org/officeDocument/2006/relationships/slideMaster" Target="../slideMasters/slideMaster7.xml"/><Relationship Id="rId1" Type="http://schemas.openxmlformats.org/officeDocument/2006/relationships/tags" Target="../tags/tag346.xml"/><Relationship Id="rId4" Type="http://schemas.openxmlformats.org/officeDocument/2006/relationships/image" Target="../media/image1.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326.bin"/><Relationship Id="rId2" Type="http://schemas.openxmlformats.org/officeDocument/2006/relationships/slideMaster" Target="../slideMasters/slideMaster7.xml"/><Relationship Id="rId1" Type="http://schemas.openxmlformats.org/officeDocument/2006/relationships/tags" Target="../tags/tag347.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327.bin"/><Relationship Id="rId2" Type="http://schemas.openxmlformats.org/officeDocument/2006/relationships/slideMaster" Target="../slideMasters/slideMaster7.xml"/><Relationship Id="rId1" Type="http://schemas.openxmlformats.org/officeDocument/2006/relationships/tags" Target="../tags/tag348.xml"/><Relationship Id="rId4" Type="http://schemas.openxmlformats.org/officeDocument/2006/relationships/image" Target="../media/image1.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328.bin"/><Relationship Id="rId2" Type="http://schemas.openxmlformats.org/officeDocument/2006/relationships/slideMaster" Target="../slideMasters/slideMaster7.xml"/><Relationship Id="rId1" Type="http://schemas.openxmlformats.org/officeDocument/2006/relationships/tags" Target="../tags/tag349.xml"/><Relationship Id="rId4" Type="http://schemas.openxmlformats.org/officeDocument/2006/relationships/image" Target="../media/image1.emf"/></Relationships>
</file>

<file path=ppt/slideLayouts/_rels/slideLayout322.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7.xml"/><Relationship Id="rId1" Type="http://schemas.openxmlformats.org/officeDocument/2006/relationships/tags" Target="../tags/tag350.xml"/><Relationship Id="rId4" Type="http://schemas.openxmlformats.org/officeDocument/2006/relationships/image" Target="../media/image1.emf"/></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330.bin"/><Relationship Id="rId2" Type="http://schemas.openxmlformats.org/officeDocument/2006/relationships/slideMaster" Target="../slideMasters/slideMaster7.xml"/><Relationship Id="rId1" Type="http://schemas.openxmlformats.org/officeDocument/2006/relationships/tags" Target="../tags/tag351.xml"/><Relationship Id="rId4"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331.bin"/><Relationship Id="rId2" Type="http://schemas.openxmlformats.org/officeDocument/2006/relationships/slideMaster" Target="../slideMasters/slideMaster7.xml"/><Relationship Id="rId1" Type="http://schemas.openxmlformats.org/officeDocument/2006/relationships/tags" Target="../tags/tag352.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332.bin"/><Relationship Id="rId2" Type="http://schemas.openxmlformats.org/officeDocument/2006/relationships/slideMaster" Target="../slideMasters/slideMaster7.xml"/><Relationship Id="rId1" Type="http://schemas.openxmlformats.org/officeDocument/2006/relationships/tags" Target="../tags/tag353.xml"/><Relationship Id="rId4" Type="http://schemas.openxmlformats.org/officeDocument/2006/relationships/image" Target="../media/image1.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333.bin"/><Relationship Id="rId2" Type="http://schemas.openxmlformats.org/officeDocument/2006/relationships/slideMaster" Target="../slideMasters/slideMaster7.xml"/><Relationship Id="rId1" Type="http://schemas.openxmlformats.org/officeDocument/2006/relationships/tags" Target="../tags/tag354.xml"/><Relationship Id="rId4" Type="http://schemas.openxmlformats.org/officeDocument/2006/relationships/image" Target="../media/image1.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334.bin"/><Relationship Id="rId2" Type="http://schemas.openxmlformats.org/officeDocument/2006/relationships/slideMaster" Target="../slideMasters/slideMaster7.xml"/><Relationship Id="rId1" Type="http://schemas.openxmlformats.org/officeDocument/2006/relationships/tags" Target="../tags/tag355.xml"/><Relationship Id="rId4" Type="http://schemas.openxmlformats.org/officeDocument/2006/relationships/image" Target="../media/image1.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335.bin"/><Relationship Id="rId2" Type="http://schemas.openxmlformats.org/officeDocument/2006/relationships/slideMaster" Target="../slideMasters/slideMaster7.xml"/><Relationship Id="rId1" Type="http://schemas.openxmlformats.org/officeDocument/2006/relationships/tags" Target="../tags/tag356.xml"/><Relationship Id="rId4" Type="http://schemas.openxmlformats.org/officeDocument/2006/relationships/image" Target="../media/image1.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336.bin"/><Relationship Id="rId2" Type="http://schemas.openxmlformats.org/officeDocument/2006/relationships/slideMaster" Target="../slideMasters/slideMaster7.xml"/><Relationship Id="rId1" Type="http://schemas.openxmlformats.org/officeDocument/2006/relationships/tags" Target="../tags/tag357.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337.bin"/><Relationship Id="rId2" Type="http://schemas.openxmlformats.org/officeDocument/2006/relationships/slideMaster" Target="../slideMasters/slideMaster7.xml"/><Relationship Id="rId1" Type="http://schemas.openxmlformats.org/officeDocument/2006/relationships/tags" Target="../tags/tag358.xml"/><Relationship Id="rId4" Type="http://schemas.openxmlformats.org/officeDocument/2006/relationships/image" Target="../media/image1.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7.xml"/><Relationship Id="rId1" Type="http://schemas.openxmlformats.org/officeDocument/2006/relationships/tags" Target="../tags/tag359.xml"/><Relationship Id="rId4" Type="http://schemas.openxmlformats.org/officeDocument/2006/relationships/image" Target="../media/image1.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339.bin"/><Relationship Id="rId2" Type="http://schemas.openxmlformats.org/officeDocument/2006/relationships/slideMaster" Target="../slideMasters/slideMaster7.xml"/><Relationship Id="rId1" Type="http://schemas.openxmlformats.org/officeDocument/2006/relationships/tags" Target="../tags/tag360.xml"/><Relationship Id="rId4" Type="http://schemas.openxmlformats.org/officeDocument/2006/relationships/image" Target="../media/image1.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340.bin"/><Relationship Id="rId2" Type="http://schemas.openxmlformats.org/officeDocument/2006/relationships/slideMaster" Target="../slideMasters/slideMaster7.xml"/><Relationship Id="rId1" Type="http://schemas.openxmlformats.org/officeDocument/2006/relationships/tags" Target="../tags/tag361.xml"/><Relationship Id="rId6" Type="http://schemas.openxmlformats.org/officeDocument/2006/relationships/image" Target="../media/image9.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341.bin"/><Relationship Id="rId2" Type="http://schemas.openxmlformats.org/officeDocument/2006/relationships/slideMaster" Target="../slideMasters/slideMaster7.xml"/><Relationship Id="rId1" Type="http://schemas.openxmlformats.org/officeDocument/2006/relationships/tags" Target="../tags/tag362.xml"/><Relationship Id="rId4" Type="http://schemas.openxmlformats.org/officeDocument/2006/relationships/image" Target="../media/image7.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342.bin"/><Relationship Id="rId2" Type="http://schemas.openxmlformats.org/officeDocument/2006/relationships/slideMaster" Target="../slideMasters/slideMaster7.xml"/><Relationship Id="rId1" Type="http://schemas.openxmlformats.org/officeDocument/2006/relationships/tags" Target="../tags/tag363.xml"/><Relationship Id="rId4" Type="http://schemas.openxmlformats.org/officeDocument/2006/relationships/image" Target="../media/image1.emf"/></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5.xml"/><Relationship Id="rId1" Type="http://schemas.openxmlformats.org/officeDocument/2006/relationships/tags" Target="../tags/tag364.xml"/><Relationship Id="rId5" Type="http://schemas.openxmlformats.org/officeDocument/2006/relationships/image" Target="../media/image1.emf"/><Relationship Id="rId4" Type="http://schemas.openxmlformats.org/officeDocument/2006/relationships/oleObject" Target="../embeddings/oleObject343.bin"/></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344.bin"/><Relationship Id="rId2" Type="http://schemas.openxmlformats.org/officeDocument/2006/relationships/slideMaster" Target="../slideMasters/slideMaster7.xml"/><Relationship Id="rId1" Type="http://schemas.openxmlformats.org/officeDocument/2006/relationships/tags" Target="../tags/tag366.xml"/><Relationship Id="rId4" Type="http://schemas.openxmlformats.org/officeDocument/2006/relationships/image" Target="../media/image1.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345.bin"/><Relationship Id="rId2" Type="http://schemas.openxmlformats.org/officeDocument/2006/relationships/slideMaster" Target="../slideMasters/slideMaster7.xml"/><Relationship Id="rId1" Type="http://schemas.openxmlformats.org/officeDocument/2006/relationships/tags" Target="../tags/tag367.xml"/><Relationship Id="rId4" Type="http://schemas.openxmlformats.org/officeDocument/2006/relationships/image" Target="../media/image1.emf"/></Relationships>
</file>

<file path=ppt/slideLayouts/_rels/slideLayout339.xml.rels><?xml version="1.0" encoding="UTF-8" standalone="yes"?>
<Relationships xmlns="http://schemas.openxmlformats.org/package/2006/relationships"><Relationship Id="rId3" Type="http://schemas.openxmlformats.org/officeDocument/2006/relationships/oleObject" Target="../embeddings/oleObject346.bin"/><Relationship Id="rId2" Type="http://schemas.openxmlformats.org/officeDocument/2006/relationships/slideMaster" Target="../slideMasters/slideMaster7.xml"/><Relationship Id="rId1" Type="http://schemas.openxmlformats.org/officeDocument/2006/relationships/tags" Target="../tags/tag368.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7.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80.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6.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105.xml"/><Relationship Id="rId6" Type="http://schemas.openxmlformats.org/officeDocument/2006/relationships/image" Target="../media/image9.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7.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10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10320906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US"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81729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523405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461956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Standar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26521836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5"/>
          <p:cNvSpPr>
            <a:spLocks noGrp="1"/>
          </p:cNvSpPr>
          <p:nvPr>
            <p:ph type="body" sz="quarter" idx="23" hasCustomPrompt="1"/>
          </p:nvPr>
        </p:nvSpPr>
        <p:spPr>
          <a:xfrm>
            <a:off x="381000" y="80964"/>
            <a:ext cx="9633859" cy="177800"/>
          </a:xfrm>
        </p:spPr>
        <p:txBody>
          <a:bodyPr lIns="0" tIns="0" rIns="0" bIns="0">
            <a:noAutofit/>
          </a:bodyPr>
          <a:lstStyle>
            <a:lvl1pPr marL="0" indent="0" rtl="0">
              <a:buNone/>
              <a:defRPr sz="1200" b="1">
                <a:solidFill>
                  <a:schemeClr val="accent1"/>
                </a:solidFill>
              </a:defRPr>
            </a:lvl1pPr>
          </a:lstStyle>
          <a:p>
            <a:pPr lvl="0"/>
            <a:r>
              <a:rPr lang="en-GB"/>
              <a:t>Insert supertitle</a:t>
            </a:r>
          </a:p>
        </p:txBody>
      </p:sp>
      <p:sp>
        <p:nvSpPr>
          <p:cNvPr id="2" name="Title 1"/>
          <p:cNvSpPr>
            <a:spLocks noGrp="1"/>
          </p:cNvSpPr>
          <p:nvPr>
            <p:ph type="title"/>
          </p:nvPr>
        </p:nvSpPr>
        <p:spPr/>
        <p:txBody>
          <a:bodyPr vert="horz"/>
          <a:lstStyle>
            <a:lvl1pPr rtl="0">
              <a:defRPr/>
            </a:lvl1pPr>
          </a:lstStyle>
          <a:p>
            <a:r>
              <a:rPr lang="en-GB"/>
              <a:t>Click to edit Master title style</a:t>
            </a:r>
          </a:p>
        </p:txBody>
      </p:sp>
      <p:sp>
        <p:nvSpPr>
          <p:cNvPr id="8" name="Text Placeholder 2"/>
          <p:cNvSpPr>
            <a:spLocks noGrp="1"/>
          </p:cNvSpPr>
          <p:nvPr>
            <p:ph type="body" sz="quarter" idx="22" hasCustomPrompt="1"/>
          </p:nvPr>
        </p:nvSpPr>
        <p:spPr>
          <a:xfrm>
            <a:off x="381001" y="6524522"/>
            <a:ext cx="6297084" cy="231406"/>
          </a:xfrm>
        </p:spPr>
        <p:txBody>
          <a:bodyPr lIns="0" tIns="0" rIns="0" bIns="0" anchor="b" anchorCtr="0">
            <a:noAutofit/>
          </a:bodyPr>
          <a:lstStyle>
            <a:lvl1pPr marL="0" indent="0" rtl="0">
              <a:buNone/>
              <a:defRPr sz="800" baseline="0"/>
            </a:lvl1pPr>
          </a:lstStyle>
          <a:p>
            <a:pPr lvl="0"/>
            <a:r>
              <a:rPr lang="en-GB"/>
              <a:t>Sources: Insert sources</a:t>
            </a:r>
          </a:p>
        </p:txBody>
      </p:sp>
      <p:sp>
        <p:nvSpPr>
          <p:cNvPr id="10" name="Text Placeholder 14"/>
          <p:cNvSpPr>
            <a:spLocks noGrp="1"/>
          </p:cNvSpPr>
          <p:nvPr>
            <p:ph type="body" sz="quarter" idx="24" hasCustomPrompt="1"/>
          </p:nvPr>
        </p:nvSpPr>
        <p:spPr>
          <a:xfrm>
            <a:off x="381001" y="6149976"/>
            <a:ext cx="11442700" cy="250825"/>
          </a:xfrm>
        </p:spPr>
        <p:txBody>
          <a:bodyPr lIns="0" tIns="0" rIns="0" bIns="0" anchor="b" anchorCtr="0">
            <a:normAutofit/>
          </a:bodyPr>
          <a:lstStyle>
            <a:lvl1pPr marL="0" indent="0" rtl="0">
              <a:buNone/>
              <a:defRPr sz="800"/>
            </a:lvl1pPr>
          </a:lstStyle>
          <a:p>
            <a:pPr lvl="0"/>
            <a:r>
              <a:rPr lang="en-GB"/>
              <a:t>Notes: Insert notes</a:t>
            </a:r>
          </a:p>
        </p:txBody>
      </p:sp>
      <p:sp>
        <p:nvSpPr>
          <p:cNvPr id="9" name="TextBox 8"/>
          <p:cNvSpPr txBox="1"/>
          <p:nvPr userDrawn="1"/>
        </p:nvSpPr>
        <p:spPr>
          <a:xfrm rot="16200000">
            <a:off x="-348654" y="6514957"/>
            <a:ext cx="594715" cy="76944"/>
          </a:xfrm>
          <a:prstGeom prst="rect">
            <a:avLst/>
          </a:prstGeom>
          <a:noFill/>
        </p:spPr>
        <p:txBody>
          <a:bodyPr wrap="none" lIns="0" tIns="0" rIns="0" bIns="0" rtlCol="0">
            <a:spAutoFit/>
          </a:bodyPr>
          <a:lstStyle/>
          <a:p>
            <a:pPr marL="0" indent="0" rtl="0">
              <a:spcAft>
                <a:spcPts val="600"/>
              </a:spcAft>
              <a:buFont typeface="Wingdings" panose="05000000000000000000" pitchFamily="2" charset="2"/>
              <a:buNone/>
            </a:pPr>
            <a:r>
              <a:rPr lang="en-GB" sz="500">
                <a:solidFill>
                  <a:schemeClr val="accent5"/>
                </a:solidFill>
              </a:rPr>
              <a:t>AER Template</a:t>
            </a:r>
            <a:r>
              <a:rPr lang="en-GB" sz="500" baseline="0">
                <a:solidFill>
                  <a:schemeClr val="accent5"/>
                </a:solidFill>
              </a:rPr>
              <a:t> 2017a</a:t>
            </a:r>
            <a:endParaRPr lang="en-GB" sz="500">
              <a:solidFill>
                <a:schemeClr val="accent5"/>
              </a:solidFill>
            </a:endParaRPr>
          </a:p>
        </p:txBody>
      </p:sp>
    </p:spTree>
    <p:extLst>
      <p:ext uri="{BB962C8B-B14F-4D97-AF65-F5344CB8AC3E}">
        <p14:creationId xmlns:p14="http://schemas.microsoft.com/office/powerpoint/2010/main" val="39021843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461359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4776872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420550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597814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31104746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72FBE84-FE16-0E99-D527-37295EBC0E0E}"/>
              </a:ext>
            </a:extLst>
          </p:cNvPr>
          <p:cNvPicPr>
            <a:picLocks noChangeAspect="1"/>
          </p:cNvPicPr>
          <p:nvPr userDrawn="1"/>
        </p:nvPicPr>
        <p:blipFill rotWithShape="1">
          <a:blip r:embed="rId7">
            <a:extLst>
              <a:ext uri="{28A0092B-C50C-407E-A947-70E740481C1C}">
                <a14:useLocalDpi xmlns:a14="http://schemas.microsoft.com/office/drawing/2010/main"/>
              </a:ext>
            </a:extLst>
          </a:blip>
          <a:srcRect r="23738"/>
          <a:stretch/>
        </p:blipFill>
        <p:spPr>
          <a:xfrm>
            <a:off x="4358161" y="0"/>
            <a:ext cx="7833840" cy="6858000"/>
          </a:xfrm>
          <a:prstGeom prst="rect">
            <a:avLst/>
          </a:prstGeom>
        </p:spPr>
      </p:pic>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13644158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448065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hasCustomPrompt="1"/>
          </p:nvPr>
        </p:nvSpPr>
        <p:spPr>
          <a:xfrm>
            <a:off x="0" y="1273038"/>
            <a:ext cx="12192000" cy="355799"/>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err="1"/>
              <a:t>Mastertextformat</a:t>
            </a:r>
            <a:r>
              <a:rPr lang="en-GB"/>
              <a:t> </a:t>
            </a:r>
            <a:r>
              <a:rPr lang="en-GB" err="1"/>
              <a:t>bearbeiten</a:t>
            </a:r>
            <a:endParaRPr lang="en-GB"/>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rtl="0"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rtl="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29915530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297249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hasCustomPrompt="1"/>
          </p:nvPr>
        </p:nvSpPr>
        <p:spPr>
          <a:xfrm>
            <a:off x="0" y="1272245"/>
            <a:ext cx="6095996" cy="252000"/>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err="1"/>
              <a:t>Mastertextformat</a:t>
            </a:r>
            <a:r>
              <a:rPr lang="en-GB"/>
              <a:t> </a:t>
            </a:r>
            <a:r>
              <a:rPr lang="en-GB" err="1"/>
              <a:t>bearbeiten</a:t>
            </a:r>
            <a:endParaRPr lang="en-GB"/>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rtl="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rtl="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125017960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665082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042740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5142293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8470381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05711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599"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1583053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965425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hasCustomPrompt="1"/>
          </p:nvPr>
        </p:nvSpPr>
        <p:spPr>
          <a:xfrm>
            <a:off x="6433799" y="1710172"/>
            <a:ext cx="5376000" cy="854080"/>
          </a:xfrm>
        </p:spPr>
        <p:txBody>
          <a:bodyPr>
            <a:spAutoFit/>
          </a:bodyPr>
          <a:lstStyle>
            <a:lvl1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31274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017925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406791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240245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000"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hasCustomPrompt="1"/>
          </p:nvPr>
        </p:nvSpPr>
        <p:spPr>
          <a:xfrm>
            <a:off x="6433799"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972011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8514495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000" y="1710172"/>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hasCustomPrompt="1"/>
          </p:nvPr>
        </p:nvSpPr>
        <p:spPr>
          <a:xfrm>
            <a:off x="4341230"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hasCustomPrompt="1"/>
          </p:nvPr>
        </p:nvSpPr>
        <p:spPr>
          <a:xfrm>
            <a:off x="8306568"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46458461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825285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hasCustomPrompt="1"/>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hasCustomPrompt="1"/>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905826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238234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hasCustomPrompt="1"/>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hasCustomPrompt="1"/>
          </p:nvPr>
        </p:nvSpPr>
        <p:spPr>
          <a:xfrm>
            <a:off x="6433799"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hasCustomPrompt="1"/>
          </p:nvPr>
        </p:nvSpPr>
        <p:spPr>
          <a:xfrm>
            <a:off x="381000"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hasCustomPrompt="1"/>
          </p:nvPr>
        </p:nvSpPr>
        <p:spPr>
          <a:xfrm>
            <a:off x="6433799"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206885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904281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599" y="1710172"/>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hasCustomPrompt="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hasCustomPrompt="1"/>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945081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700184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7899396" y="1263129"/>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hasCustomPrompt="1"/>
          </p:nvPr>
        </p:nvSpPr>
        <p:spPr>
          <a:xfrm>
            <a:off x="7899400" y="297463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hasCustomPrompt="1"/>
          </p:nvPr>
        </p:nvSpPr>
        <p:spPr>
          <a:xfrm>
            <a:off x="7899400" y="469070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91821395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777102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hasCustomPrompt="1"/>
          </p:nvPr>
        </p:nvSpPr>
        <p:spPr>
          <a:xfrm>
            <a:off x="380996" y="2860467"/>
            <a:ext cx="3038479" cy="854080"/>
          </a:xfrm>
        </p:spPr>
        <p:txBody>
          <a:bodyPr>
            <a:spAutoFit/>
          </a:bodyPr>
          <a:lstStyle>
            <a:lvl1pPr rtl="0">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242173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464374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hasCustomPrompt="1"/>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138666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38980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184666"/>
          </a:xfrm>
        </p:spPr>
        <p:txBody>
          <a:bodyPr/>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471349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329681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rtl="0">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hasCustomPrompt="1"/>
          </p:nvPr>
        </p:nvSpPr>
        <p:spPr>
          <a:xfrm>
            <a:off x="381000" y="1712755"/>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hasCustomPrompt="1"/>
          </p:nvPr>
        </p:nvSpPr>
        <p:spPr>
          <a:xfrm>
            <a:off x="9500714" y="1712755"/>
            <a:ext cx="2335686" cy="854080"/>
          </a:xfrm>
        </p:spPr>
        <p:txBody>
          <a:bodyPr>
            <a:spAutoFit/>
          </a:bodyPr>
          <a:lstStyle>
            <a:lvl1pPr rtl="0">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726093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106538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78329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485051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hasCustomPrompt="1"/>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959635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821881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hasCustomPrompt="1"/>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hasCustomPrompt="1"/>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8206829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610032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hasCustomPrompt="1"/>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hasCustomPrompt="1"/>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hasCustomPrompt="1"/>
          </p:nvPr>
        </p:nvSpPr>
        <p:spPr>
          <a:xfrm>
            <a:off x="381000" y="440880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2320629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433441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hasCustomPrompt="1"/>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hasCustomPrompt="1"/>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hasCustomPrompt="1"/>
          </p:nvPr>
        </p:nvSpPr>
        <p:spPr>
          <a:xfrm>
            <a:off x="381000" y="342191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hasCustomPrompt="1"/>
          </p:nvPr>
        </p:nvSpPr>
        <p:spPr>
          <a:xfrm>
            <a:off x="381000" y="51444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166460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869128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hasCustomPrompt="1"/>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hasCustomPrompt="1"/>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hasCustomPrompt="1"/>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9308451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259251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hasCustomPrompt="1"/>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hasCustomPrompt="1"/>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hasCustomPrompt="1"/>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hasCustomPrompt="1"/>
          </p:nvPr>
        </p:nvSpPr>
        <p:spPr>
          <a:xfrm>
            <a:off x="381000"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hasCustomPrompt="1"/>
          </p:nvPr>
        </p:nvSpPr>
        <p:spPr>
          <a:xfrm>
            <a:off x="5020274"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948888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76419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hasCustomPrompt="1"/>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144594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277769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hasCustomPrompt="1"/>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94645653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290762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599" y="2159069"/>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hasCustomPrompt="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hasCustomPrompt="1"/>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660846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33437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000"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hasCustomPrompt="1"/>
          </p:nvPr>
        </p:nvSpPr>
        <p:spPr>
          <a:xfrm>
            <a:off x="6433799"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865215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72016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069512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345812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000" y="2157827"/>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hasCustomPrompt="1"/>
          </p:nvPr>
        </p:nvSpPr>
        <p:spPr>
          <a:xfrm>
            <a:off x="4341230"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hasCustomPrompt="1"/>
          </p:nvPr>
        </p:nvSpPr>
        <p:spPr>
          <a:xfrm>
            <a:off x="8306568"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1851156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3155914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hasCustomPrompt="1"/>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hasCustomPrompt="1"/>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hasCustomPrompt="1"/>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019317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0143283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hasCustomPrompt="1"/>
          </p:nvPr>
        </p:nvSpPr>
        <p:spPr>
          <a:xfrm>
            <a:off x="381000"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hasCustomPrompt="1"/>
          </p:nvPr>
        </p:nvSpPr>
        <p:spPr>
          <a:xfrm>
            <a:off x="6433799"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hasCustomPrompt="1"/>
          </p:nvPr>
        </p:nvSpPr>
        <p:spPr>
          <a:xfrm>
            <a:off x="381000"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hasCustomPrompt="1"/>
          </p:nvPr>
        </p:nvSpPr>
        <p:spPr>
          <a:xfrm>
            <a:off x="6433799"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539588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877135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hasCustomPrompt="1"/>
          </p:nvPr>
        </p:nvSpPr>
        <p:spPr>
          <a:xfrm>
            <a:off x="13442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hasCustomPrompt="1"/>
          </p:nvPr>
        </p:nvSpPr>
        <p:spPr>
          <a:xfrm>
            <a:off x="73976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hasCustomPrompt="1"/>
          </p:nvPr>
        </p:nvSpPr>
        <p:spPr>
          <a:xfrm>
            <a:off x="13442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hasCustomPrompt="1"/>
          </p:nvPr>
        </p:nvSpPr>
        <p:spPr>
          <a:xfrm>
            <a:off x="73976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9601764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2226291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hasCustomPrompt="1"/>
          </p:nvPr>
        </p:nvSpPr>
        <p:spPr>
          <a:xfrm>
            <a:off x="381000"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hasCustomPrompt="1"/>
          </p:nvPr>
        </p:nvSpPr>
        <p:spPr>
          <a:xfrm>
            <a:off x="6433799"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hasCustomPrompt="1"/>
          </p:nvPr>
        </p:nvSpPr>
        <p:spPr>
          <a:xfrm>
            <a:off x="381000"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hasCustomPrompt="1"/>
          </p:nvPr>
        </p:nvSpPr>
        <p:spPr>
          <a:xfrm>
            <a:off x="6433799"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rtl="0">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3446056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971621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hasCustomPrompt="1"/>
          </p:nvPr>
        </p:nvSpPr>
        <p:spPr>
          <a:xfrm>
            <a:off x="8234803" y="4035234"/>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36521847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228562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hasCustomPrompt="1"/>
          </p:nvPr>
        </p:nvSpPr>
        <p:spPr>
          <a:xfrm>
            <a:off x="8234803" y="4149530"/>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391560490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398927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hasCustomPrompt="1"/>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207136890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184889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281770731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169183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hasCustomPrompt="1"/>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err="1"/>
              <a:t>Mastertextformat</a:t>
            </a:r>
            <a:r>
              <a:rPr lang="en-GB"/>
              <a:t> </a:t>
            </a:r>
            <a:r>
              <a:rPr lang="en-GB" err="1"/>
              <a:t>bearbeiten</a:t>
            </a:r>
            <a:endParaRPr lang="en-GB"/>
          </a:p>
          <a:p>
            <a:pPr lvl="1"/>
            <a:r>
              <a:rPr lang="en-GB" err="1"/>
              <a:t>Zweite</a:t>
            </a:r>
            <a:r>
              <a:rPr lang="en-GB"/>
              <a:t> Ebene</a:t>
            </a:r>
          </a:p>
          <a:p>
            <a:pPr lvl="2"/>
            <a:r>
              <a:rPr lang="en-GB" err="1"/>
              <a:t>Dritte</a:t>
            </a:r>
            <a:r>
              <a:rPr lang="en-GB"/>
              <a:t> Ebene</a:t>
            </a:r>
          </a:p>
          <a:p>
            <a:pPr lvl="3"/>
            <a:r>
              <a:rPr lang="en-GB" err="1"/>
              <a:t>Vierte</a:t>
            </a:r>
            <a:r>
              <a:rPr lang="en-GB"/>
              <a:t> Ebene</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rtl="0">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hasCustomPrompt="1"/>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err="1"/>
              <a:t>Mastertitelformat</a:t>
            </a:r>
            <a:r>
              <a:rPr lang="en-GB"/>
              <a:t> </a:t>
            </a:r>
            <a:r>
              <a:rPr lang="en-GB" err="1"/>
              <a:t>bearbeiten</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83213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139955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144968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6549203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00355532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320442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spTree>
    <p:extLst>
      <p:ext uri="{BB962C8B-B14F-4D97-AF65-F5344CB8AC3E}">
        <p14:creationId xmlns:p14="http://schemas.microsoft.com/office/powerpoint/2010/main" val="21007177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4694071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41287562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4241063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849233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37375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rtl="0">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395486891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812868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rtl="0">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rtl="0">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1070931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849274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10418394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2978997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21373899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l="30000"/>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35039003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1" y="0"/>
            <a:ext cx="158751"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44" indent="-285744"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44" indent="-285744"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5" y="6677741"/>
            <a:ext cx="1388201" cy="123111"/>
          </a:xfrm>
          <a:prstGeom prst="rect">
            <a:avLst/>
          </a:prstGeom>
          <a:noFill/>
        </p:spPr>
        <p:txBody>
          <a:bodyPr wrap="none" lIns="0" tIns="0" rIns="0" bIns="0" rtlCol="0">
            <a:spAutoFit/>
          </a:bodyPr>
          <a:lstStyle/>
          <a:p>
            <a:pPr marL="0" marR="0" indent="0" algn="l" defTabSz="914377" rtl="0" eaLnBrk="1" fontAlgn="auto" latinLnBrk="0" hangingPunct="1">
              <a:lnSpc>
                <a:spcPct val="100000"/>
              </a:lnSpc>
              <a:spcBef>
                <a:spcPts val="0"/>
              </a:spcBef>
              <a:spcAft>
                <a:spcPts val="1000"/>
              </a:spcAft>
              <a:buClrTx/>
              <a:buSzTx/>
              <a:buFont typeface="Wingdings" panose="05000000000000000000" pitchFamily="2" charset="2"/>
              <a:buNone/>
              <a:tabLst/>
            </a:pPr>
            <a:r>
              <a:rPr lang="en-US"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a:t>
            </a:r>
          </a:p>
        </p:txBody>
      </p:sp>
      <p:sp>
        <p:nvSpPr>
          <p:cNvPr id="12" name="Title 1"/>
          <p:cNvSpPr>
            <a:spLocks noGrp="1"/>
          </p:cNvSpPr>
          <p:nvPr>
            <p:ph type="ctrTitle" hasCustomPrompt="1"/>
          </p:nvPr>
        </p:nvSpPr>
        <p:spPr>
          <a:xfrm>
            <a:off x="391585" y="3677095"/>
            <a:ext cx="5158316" cy="1046440"/>
          </a:xfrm>
          <a:prstGeom prst="rect">
            <a:avLst/>
          </a:prstGeom>
        </p:spPr>
        <p:txBody>
          <a:bodyPr vert="horz"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6" y="4892985"/>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5" y="655043"/>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2" y="-172292"/>
            <a:ext cx="679673"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_2021.1</a:t>
            </a:r>
          </a:p>
        </p:txBody>
      </p:sp>
    </p:spTree>
    <p:extLst>
      <p:ext uri="{BB962C8B-B14F-4D97-AF65-F5344CB8AC3E}">
        <p14:creationId xmlns:p14="http://schemas.microsoft.com/office/powerpoint/2010/main" val="373247433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0701664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40"/>
            <a:ext cx="12192000" cy="355799"/>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1" y="1348182"/>
            <a:ext cx="11428411" cy="4878259"/>
          </a:xfrm>
          <a:prstGeom prst="rect">
            <a:avLst/>
          </a:prstGeom>
        </p:spPr>
        <p:txBody>
          <a:bodyPr/>
          <a:lstStyle>
            <a:lvl1pPr marL="447663" indent="-447663" fontAlgn="base">
              <a:lnSpc>
                <a:spcPct val="100000"/>
              </a:lnSpc>
              <a:spcBef>
                <a:spcPts val="1800"/>
              </a:spcBef>
              <a:spcAft>
                <a:spcPct val="0"/>
              </a:spcAft>
              <a:buClr>
                <a:schemeClr val="tx1"/>
              </a:buClr>
              <a:buSzPct val="100000"/>
              <a:buFont typeface="+mj-lt"/>
              <a:buAutoNum type="romanUcPeriod"/>
              <a:tabLst>
                <a:tab pos="11412253"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080" indent="-342891" fontAlgn="base">
              <a:lnSpc>
                <a:spcPct val="100000"/>
              </a:lnSpc>
              <a:spcBef>
                <a:spcPts val="1200"/>
              </a:spcBef>
              <a:spcAft>
                <a:spcPct val="0"/>
              </a:spcAft>
              <a:buClr>
                <a:schemeClr val="tx1"/>
              </a:buClr>
              <a:buSzPct val="100000"/>
              <a:buFont typeface="+mj-lt"/>
              <a:buAutoNum type="arabicPeriod"/>
              <a:tabLst>
                <a:tab pos="11412253"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24" indent="-271456">
              <a:buFont typeface="+mj-lt"/>
              <a:buAutoNum type="romanLcPeriod"/>
              <a:tabLst>
                <a:tab pos="11411715" algn="r"/>
              </a:tabLst>
              <a:defRPr sz="1600" b="0"/>
            </a:lvl3pPr>
            <a:lvl4pPr marL="758806" indent="-400041">
              <a:buFont typeface="+mj-lt"/>
              <a:buAutoNum type="romanUcPeriod"/>
              <a:defRPr sz="1600" b="1"/>
            </a:lvl4pPr>
            <a:lvl5pPr marL="1771572" indent="-400041">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2" y="411858"/>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sz="2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2225835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53080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80645929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42246807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1" y="1272245"/>
            <a:ext cx="6095996" cy="252000"/>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42" indent="-361942">
              <a:spcBef>
                <a:spcPts val="1800"/>
              </a:spcBef>
              <a:buClr>
                <a:schemeClr val="tx1"/>
              </a:buClr>
              <a:buFont typeface="+mj-lt"/>
              <a:buAutoNum type="romanUcPeriod"/>
              <a:tabLst>
                <a:tab pos="559897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35" indent="-266693">
              <a:buFont typeface="+mj-lt"/>
              <a:buAutoNum type="arabicPeriod"/>
              <a:tabLst>
                <a:tab pos="559897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16" indent="-266693">
              <a:buFont typeface="+mj-lt"/>
              <a:buAutoNum type="romanLcPeriod"/>
              <a:tabLst>
                <a:tab pos="559786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2" y="411858"/>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sz="2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9875975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7627501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2426606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6431596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5024776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8134030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30"/>
            <a:ext cx="114288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7450521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5178338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3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2" y="6715169"/>
            <a:ext cx="577081"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3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086961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3146882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3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3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9091022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9247007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1"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30"/>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1" y="1263130"/>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9"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9" y="1263130"/>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625357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3570063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1"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30"/>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1" y="1263130"/>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9"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9" y="1263130"/>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9779299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9993557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3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3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0719403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1790603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601" y="1710172"/>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601" y="1263130"/>
            <a:ext cx="11428799" cy="369332"/>
          </a:xfrm>
        </p:spPr>
        <p:txBody>
          <a:bodyPr vert="horz"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601"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601"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601"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23957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222640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215444"/>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442060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7628113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8" y="1263129"/>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30"/>
            <a:ext cx="5410200" cy="369332"/>
          </a:xfrm>
        </p:spPr>
        <p:txBody>
          <a:bodyPr vert="horz" wrap="square"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2" y="297463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8"/>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2" y="469070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8"/>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9857743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07660678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7"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7" y="1133613"/>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text</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2"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8" y="2860467"/>
            <a:ext cx="3038479" cy="854080"/>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2" y="1270001"/>
            <a:ext cx="8009220" cy="669414"/>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2"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7313779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0354718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7"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7" y="1133612"/>
            <a:ext cx="3164179" cy="1354217"/>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2"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8" y="2860467"/>
            <a:ext cx="3038479" cy="854080"/>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2" y="1270001"/>
            <a:ext cx="8009220" cy="669414"/>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2"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3330411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5535827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7"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7" y="1133612"/>
            <a:ext cx="3164179" cy="1354217"/>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2"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8" y="2860467"/>
            <a:ext cx="3038479" cy="854080"/>
          </a:xfrm>
        </p:spPr>
        <p:txBody>
          <a:bodyPr>
            <a:spAutoFit/>
          </a:bodyPr>
          <a:lstStyle>
            <a:lvl1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2" y="1270001"/>
            <a:ext cx="8009220" cy="669414"/>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2"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5329804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75446091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30"/>
            <a:ext cx="11428800" cy="184666"/>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4" y="411858"/>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3"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019853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84814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5" cy="609398"/>
          </a:xfrm>
        </p:spPr>
        <p:txBody>
          <a:bodyPr vert="horz" lIns="0" tIns="0" rIns="0" bIns="0" rtlCol="0" anchor="t" anchorCtr="0">
            <a:noAutofit/>
          </a:bodyPr>
          <a:lstStyle>
            <a:lvl1pPr>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5"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30"/>
            <a:ext cx="8601075"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2"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7" y="467244"/>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7" cy="338554"/>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7" cy="854080"/>
          </a:xfrm>
        </p:spPr>
        <p:txBody>
          <a:bodyPr>
            <a:spAutoFit/>
          </a:bodyPr>
          <a:lstStyle>
            <a:lvl1pP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5"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949248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41930299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2"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30"/>
            <a:ext cx="2335687"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7"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5"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1522146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4936964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userDrawn="1"/>
        </p:nvSpPr>
        <p:spPr>
          <a:xfrm flipV="1">
            <a:off x="9220202"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5"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30"/>
            <a:ext cx="8601075"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30"/>
            <a:ext cx="2335687"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7"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5"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681127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00912482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2"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5"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30"/>
            <a:ext cx="2335687"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7"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5"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30"/>
            <a:ext cx="8601075"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5"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5"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3504550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7882549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2"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5"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30"/>
            <a:ext cx="2335687"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7"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5"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5"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30"/>
            <a:ext cx="8601075"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8"/>
            <a:ext cx="8601075"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7"/>
            <a:ext cx="8601075"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5"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677954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041234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userDrawn="1"/>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1429159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4952165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2"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5"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30"/>
            <a:ext cx="2335687"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7"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30"/>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5" y="1268130"/>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5"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8914451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2634529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2"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5"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17544" y="6715169"/>
            <a:ext cx="748602" cy="110800"/>
          </a:xfrm>
          <a:prstGeom prst="rect">
            <a:avLst/>
          </a:prstGeom>
          <a:noFill/>
        </p:spPr>
        <p:txBody>
          <a:bodyPr wrap="none" lIns="0" tIns="0" rIns="0" bIns="0" rtlCol="0" anchor="b" anchorCtr="0">
            <a:spAutoFit/>
          </a:bodyPr>
          <a:lstStyle/>
          <a:p>
            <a:pPr marL="0" marR="0" indent="0" algn="r" defTabSz="914377"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30"/>
            <a:ext cx="2335687"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7"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5"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30"/>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5" y="1263130"/>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5"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5"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0409449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268997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30"/>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601"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2703192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3657230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30"/>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601"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4199989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5462395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601" y="2159069"/>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601"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601"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601"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30"/>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601" y="1710172"/>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6210675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2716395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30"/>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0120681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4072234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1"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1"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9"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9"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30"/>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3216308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4215745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1"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1"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9"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9"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30"/>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42612504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418538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30"/>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432419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1482784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3" y="1724730"/>
            <a:ext cx="908687" cy="2068113"/>
          </a:xfrm>
          <a:solidFill>
            <a:schemeClr val="bg2"/>
          </a:solidFill>
        </p:spPr>
        <p:txBody>
          <a:bodyPr lIns="72000" tIns="288000" rIns="72000">
            <a:no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1" y="2154646"/>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1" y="2154646"/>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1" y="1724728"/>
            <a:ext cx="4412739"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1" y="1724728"/>
            <a:ext cx="4412739"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1"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1"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1" y="4085038"/>
            <a:ext cx="4412739"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1" y="4085038"/>
            <a:ext cx="441273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30"/>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30"/>
            <a:ext cx="908687" cy="2068113"/>
          </a:xfrm>
          <a:solidFill>
            <a:schemeClr val="bg2"/>
          </a:solidFill>
        </p:spPr>
        <p:txBody>
          <a:bodyPr lIns="72000" tIns="288000" rIns="72000">
            <a:no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3"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3" y="4085039"/>
            <a:ext cx="908687" cy="2068113"/>
          </a:xfrm>
          <a:solidFill>
            <a:schemeClr val="bg2"/>
          </a:solidFill>
        </p:spPr>
        <p:txBody>
          <a:bodyPr lIns="72000" tIns="288000" rIns="72000">
            <a:no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9"/>
            <a:ext cx="908687" cy="2068113"/>
          </a:xfrm>
          <a:solidFill>
            <a:schemeClr val="bg2"/>
          </a:solidFill>
        </p:spPr>
        <p:txBody>
          <a:bodyPr lIns="72000" tIns="288000" rIns="72000">
            <a:no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3" y="4016385"/>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99201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212934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289364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4065742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7"/>
            <a:ext cx="5376000"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7"/>
            <a:ext cx="5376000"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1"/>
            <a:ext cx="5376000"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1"/>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30"/>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1" y="1723182"/>
            <a:ext cx="5261700" cy="211746"/>
          </a:xfrm>
          <a:solidFill>
            <a:schemeClr val="bg2"/>
          </a:solidFill>
        </p:spPr>
        <p:txBody>
          <a:bodyPr lIns="180000">
            <a:no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1" y="4090556"/>
            <a:ext cx="5261700" cy="211746"/>
          </a:xfrm>
          <a:solidFill>
            <a:schemeClr val="bg2"/>
          </a:solidFill>
        </p:spPr>
        <p:txBody>
          <a:bodyPr lIns="180000">
            <a:no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452565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452425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5" y="4035234"/>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30"/>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5" y="1486558"/>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24007074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6261651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5" y="4149530"/>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30"/>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5" y="1486558"/>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21344495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294497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2"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30"/>
            <a:ext cx="2335687" cy="369332"/>
          </a:xfrm>
        </p:spPr>
        <p:txBody>
          <a:bodyPr>
            <a:spAutoFit/>
          </a:bodyPr>
          <a:lstStyle>
            <a:lvl1pPr marL="0" marR="0" indent="0" algn="l"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7"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5"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5" y="1486558"/>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30"/>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69" y="1785266"/>
            <a:ext cx="388800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69" y="3937670"/>
            <a:ext cx="388800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01766652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3079722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30"/>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5" y="1486558"/>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66"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196574585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7826484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2"/>
            <a:ext cx="273479"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44" indent="-285744" algn="l">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30"/>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8"/>
            <a:ext cx="11428800" cy="492443"/>
          </a:xfrm>
        </p:spPr>
        <p:txBody>
          <a:bodyPr anchor="ctr" anchorCtr="0">
            <a:spAutoFit/>
          </a:bodyPr>
          <a:lstStyle>
            <a:lvl1pPr>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5784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2"/>
            <a:ext cx="3374322" cy="184666"/>
          </a:xfrm>
        </p:spPr>
        <p:txBody>
          <a:bodyPr wrap="none" anchor="t" anchorCtr="0"/>
          <a:lstStyle>
            <a:lvl1pPr marL="223833" indent="-223833">
              <a:spcBef>
                <a:spcPts val="0"/>
              </a:spcBef>
              <a:tabLst>
                <a:tab pos="452427"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4400128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586680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50"/>
            <a:ext cx="8000149" cy="5109091"/>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20"/>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sz="2200"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sz="2200"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2200"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2" y="2193392"/>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356985175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5775265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51"/>
            <a:ext cx="8000149" cy="5262979"/>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20"/>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sz="2200"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2" y="2193392"/>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spTree>
    <p:extLst>
      <p:ext uri="{BB962C8B-B14F-4D97-AF65-F5344CB8AC3E}">
        <p14:creationId xmlns:p14="http://schemas.microsoft.com/office/powerpoint/2010/main" val="233687418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4293833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50"/>
            <a:ext cx="8000149" cy="5109091"/>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20"/>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sz="2200"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sz="2200"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2200"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2" y="2193392"/>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4727551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7703769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51"/>
            <a:ext cx="8000149" cy="5262979"/>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20"/>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sz="2200"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2" y="2193392"/>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64596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13342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2578101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8644994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4"/>
            <a:ext cx="11428800" cy="3970318"/>
          </a:xfrm>
          <a:prstGeom prst="rect">
            <a:avLst/>
          </a:prstGeom>
          <a:noFill/>
        </p:spPr>
        <p:txBody>
          <a:bodyPr wrap="square" lIns="0" tIns="0" rIns="0" bIns="0" rtlCol="0">
            <a:spAutoFit/>
          </a:bodyPr>
          <a:lstStyle/>
          <a:p>
            <a:pPr algn="just">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2"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sz="2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5711484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1038994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5"/>
            <a:ext cx="11428800" cy="4708981"/>
          </a:xfrm>
          <a:prstGeom prst="rect">
            <a:avLst/>
          </a:prstGeom>
          <a:noFill/>
        </p:spPr>
        <p:txBody>
          <a:bodyPr wrap="square" lIns="0" tIns="0" rIns="0" bIns="0" rtlCol="0">
            <a:spAutoFit/>
          </a:bodyPr>
          <a:lstStyle/>
          <a:p>
            <a:pPr algn="just">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7"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2" y="411858"/>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sz="2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 und Urheberrecht</a:t>
            </a:r>
          </a:p>
        </p:txBody>
      </p:sp>
    </p:spTree>
    <p:extLst>
      <p:ext uri="{BB962C8B-B14F-4D97-AF65-F5344CB8AC3E}">
        <p14:creationId xmlns:p14="http://schemas.microsoft.com/office/powerpoint/2010/main" val="6377791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156487349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90" y="2821506"/>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1"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6930071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34744943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8608228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2_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1839209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1" y="0"/>
            <a:ext cx="158751"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a:spcAft>
                <a:spcPts val="1000"/>
              </a:spcAft>
              <a:buFontTx/>
              <a:buNone/>
            </a:pPr>
            <a:endParaRPr lang="en-US" sz="2200" b="1" i="0" baseline="0">
              <a:solidFill>
                <a:schemeClr val="tx1"/>
              </a:solidFill>
              <a:latin typeface="Lato" panose="020F0502020204030203" pitchFamily="34" charset="0"/>
              <a:ea typeface="+mj-ea"/>
              <a:cs typeface="+mj-cs"/>
              <a:sym typeface="Lato" panose="020F0502020204030203" pitchFamily="34" charset="0"/>
            </a:endParaRPr>
          </a:p>
        </p:txBody>
      </p:sp>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44" indent="-285744">
              <a:spcAft>
                <a:spcPts val="1000"/>
              </a:spcAft>
              <a:buFont typeface="Wingdings" panose="05000000000000000000" pitchFamily="2" charset="2"/>
              <a:buChar char="§"/>
            </a:pPr>
            <a:endParaRPr lang="en-GB" sz="1400">
              <a:solidFill>
                <a:schemeClr val="tx1"/>
              </a:solidFill>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7"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2"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8" y="2860468"/>
            <a:ext cx="3038479" cy="854080"/>
          </a:xfrm>
        </p:spPr>
        <p:txBody>
          <a:bodyPr>
            <a:sp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300"/>
              </a:spcBef>
              <a:defRPr>
                <a:solidFill>
                  <a:schemeClr val="bg1"/>
                </a:solidFill>
              </a:defRPr>
            </a:lvl3pPr>
            <a:lvl4pPr>
              <a:lnSpc>
                <a:spcPct val="100000"/>
              </a:lnSpc>
              <a:spcBef>
                <a:spcPts val="0"/>
              </a:spcBef>
              <a:defRPr>
                <a:solidFill>
                  <a:schemeClr val="bg1"/>
                </a:solidFill>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2" y="1270002"/>
            <a:ext cx="8009220" cy="669414"/>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defRPr>
            </a:lvl2pPr>
            <a:lvl3pPr>
              <a:lnSpc>
                <a:spcPct val="100000"/>
              </a:lnSpc>
              <a:spcBef>
                <a:spcPts val="600"/>
              </a:spcBef>
              <a:defRPr>
                <a:solidFill>
                  <a:schemeClr val="tx1"/>
                </a:solidFill>
              </a:defRPr>
            </a:lvl3pPr>
            <a:lvl4pPr>
              <a:lnSpc>
                <a:spcPct val="100000"/>
              </a:lnSpc>
              <a:spcBef>
                <a:spcPts val="300"/>
              </a:spcBef>
              <a:defRPr>
                <a:solidFill>
                  <a:schemeClr val="tx1"/>
                </a:solidFill>
              </a:defRPr>
            </a:lvl4pPr>
            <a:lvl5pPr>
              <a:lnSpc>
                <a:spcPct val="100000"/>
              </a:lnSpc>
              <a:spcBef>
                <a:spcPts val="600"/>
              </a:spcBef>
              <a:defRPr>
                <a:solidFill>
                  <a:schemeClr val="bg1"/>
                </a:solidFill>
              </a:defRPr>
            </a:lvl5pPr>
          </a:lstStyle>
          <a:p>
            <a:pPr lvl="1"/>
            <a:r>
              <a:rPr lang="en-US"/>
              <a:t>Second level</a:t>
            </a:r>
          </a:p>
          <a:p>
            <a:pPr lvl="2"/>
            <a:r>
              <a:rPr lang="en-US"/>
              <a:t>Third level</a:t>
            </a:r>
          </a:p>
          <a:p>
            <a:pPr lvl="3"/>
            <a:r>
              <a:rPr lang="en-US"/>
              <a:t>Fourth level</a:t>
            </a:r>
          </a:p>
        </p:txBody>
      </p:sp>
      <p:sp>
        <p:nvSpPr>
          <p:cNvPr id="25" name="Text Placeholder 14">
            <a:extLst>
              <a:ext uri="{FF2B5EF4-FFF2-40B4-BE49-F238E27FC236}">
                <a16:creationId xmlns:a16="http://schemas.microsoft.com/office/drawing/2014/main" id="{6C6B9CE2-8762-4B67-AA9B-1D035B0F984A}"/>
              </a:ext>
            </a:extLst>
          </p:cNvPr>
          <p:cNvSpPr>
            <a:spLocks noGrp="1"/>
          </p:cNvSpPr>
          <p:nvPr>
            <p:ph type="body" sz="quarter" idx="26" hasCustomPrompt="1"/>
          </p:nvPr>
        </p:nvSpPr>
        <p:spPr>
          <a:xfrm>
            <a:off x="3814482" y="6474841"/>
            <a:ext cx="8009220" cy="110800"/>
          </a:xfrm>
        </p:spPr>
        <p:txBody>
          <a:bodyPr anchor="t" anchorCtr="0">
            <a:noAutofit/>
          </a:bodyPr>
          <a:lstStyle>
            <a:lvl1pPr>
              <a:lnSpc>
                <a:spcPct val="90000"/>
              </a:lnSpc>
              <a:spcBef>
                <a:spcPts val="0"/>
              </a:spcBef>
              <a:defRPr sz="800"/>
            </a:lvl1pPr>
          </a:lstStyle>
          <a:p>
            <a:pPr>
              <a:spcBef>
                <a:spcPts val="0"/>
              </a:spcBef>
            </a:pPr>
            <a:r>
              <a:rPr lang="en-GB"/>
              <a:t>1. xxx; 2. xxx</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57845" cy="110800"/>
          </a:xfrm>
        </p:spPr>
        <p:txBody>
          <a:bodyPr wrap="none" lIns="0" tIns="0" rIns="0" bIns="0" anchor="b" anchorCtr="0">
            <a:spAutoFit/>
          </a:bodyPr>
          <a:lstStyle>
            <a:lvl1pPr marL="0" indent="0">
              <a:lnSpc>
                <a:spcPct val="90000"/>
              </a:lnSpc>
              <a:spcBef>
                <a:spcPts val="0"/>
              </a:spcBef>
              <a:buNone/>
              <a:defRPr sz="800" baseline="0"/>
            </a:lvl1pPr>
          </a:lstStyle>
          <a:p>
            <a:pPr lvl="0"/>
            <a:r>
              <a:rPr lang="en-US"/>
              <a:t>Sources: xxx</a:t>
            </a:r>
            <a:endParaRPr lang="en-GB"/>
          </a:p>
        </p:txBody>
      </p:sp>
      <p:sp>
        <p:nvSpPr>
          <p:cNvPr id="13" name="87bda0fb-aa74-4c09-ab9d-334ef6f592c0">
            <a:extLst>
              <a:ext uri="{FF2B5EF4-FFF2-40B4-BE49-F238E27FC236}">
                <a16:creationId xmlns:a16="http://schemas.microsoft.com/office/drawing/2014/main" id="{720C2686-EBD7-4501-8BBA-9601C33E2880}"/>
              </a:ext>
            </a:extLst>
          </p:cNvPr>
          <p:cNvSpPr txBox="1">
            <a:spLocks/>
          </p:cNvSpPr>
          <p:nvPr userDrawn="1"/>
        </p:nvSpPr>
        <p:spPr>
          <a:xfrm>
            <a:off x="380997" y="1133613"/>
            <a:ext cx="3164179" cy="430887"/>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2800" b="0" spc="0" baseline="0">
                <a:solidFill>
                  <a:schemeClr val="accent2"/>
                </a:solidFill>
              </a:rPr>
              <a:t>Context</a:t>
            </a:r>
          </a:p>
        </p:txBody>
      </p:sp>
    </p:spTree>
    <p:extLst>
      <p:ext uri="{BB962C8B-B14F-4D97-AF65-F5344CB8AC3E}">
        <p14:creationId xmlns:p14="http://schemas.microsoft.com/office/powerpoint/2010/main" val="35652488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178382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rtl="0">
              <a:spcAft>
                <a:spcPts val="1000"/>
              </a:spcAft>
              <a:buFontTx/>
              <a:buNone/>
            </a:pPr>
            <a:endParaRPr lang="en-GB" sz="2200" b="1" i="0" baseline="0">
              <a:solidFill>
                <a:schemeClr val="tx1"/>
              </a:solidFill>
              <a:latin typeface="Lato" panose="020F0502020204030203" pitchFamily="34" charset="0"/>
              <a:ea typeface="+mj-ea"/>
              <a:cs typeface="+mj-cs"/>
              <a:sym typeface="Lato" panose="020F0502020204030203" pitchFamily="34" charset="0"/>
            </a:endParaRPr>
          </a:p>
        </p:txBody>
      </p:sp>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EA78DF35-4B78-4F38-B86C-9F1BF366BFC1}"/>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9939089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068019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56378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411415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7084200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8062196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rtl="0">
              <a:spcAft>
                <a:spcPts val="1000"/>
              </a:spcAft>
              <a:buFontTx/>
              <a:buNone/>
            </a:pPr>
            <a:endParaRPr lang="en-GB" sz="2200" b="1" i="0" baseline="0">
              <a:solidFill>
                <a:schemeClr val="tx1"/>
              </a:solidFill>
              <a:latin typeface="Lato" panose="020F0502020204030203" pitchFamily="34" charset="0"/>
              <a:ea typeface="+mj-ea"/>
              <a:cs typeface="+mj-cs"/>
              <a:sym typeface="Lato" panose="020F0502020204030203" pitchFamily="34" charset="0"/>
            </a:endParaRPr>
          </a:p>
        </p:txBody>
      </p:sp>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Tree>
    <p:extLst>
      <p:ext uri="{BB962C8B-B14F-4D97-AF65-F5344CB8AC3E}">
        <p14:creationId xmlns:p14="http://schemas.microsoft.com/office/powerpoint/2010/main" val="247079771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84268572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3915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Tree>
    <p:extLst>
      <p:ext uri="{BB962C8B-B14F-4D97-AF65-F5344CB8AC3E}">
        <p14:creationId xmlns:p14="http://schemas.microsoft.com/office/powerpoint/2010/main" val="34796908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add client log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28678807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1B9B2B-AD9B-4C54-9056-21A1AC246198}"/>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3915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20" name="Graphic 19">
            <a:extLst>
              <a:ext uri="{FF2B5EF4-FFF2-40B4-BE49-F238E27FC236}">
                <a16:creationId xmlns:a16="http://schemas.microsoft.com/office/drawing/2014/main" id="{F7835C38-364E-4B2E-9335-5D86F8C053E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2"/>
            <a:ext cx="2053960" cy="479708"/>
          </a:xfrm>
          <a:prstGeom prst="rect">
            <a:avLst/>
          </a:prstGeom>
        </p:spPr>
      </p:pic>
    </p:spTree>
    <p:extLst>
      <p:ext uri="{BB962C8B-B14F-4D97-AF65-F5344CB8AC3E}">
        <p14:creationId xmlns:p14="http://schemas.microsoft.com/office/powerpoint/2010/main" val="16127852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947424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044760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068019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8123001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446697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177653430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178865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222115087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628801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2535448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910352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050227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772680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2672306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411016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613694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753089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407020"/>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9006294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93296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1351616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790046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40702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40702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8731479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4024964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5642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5642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41141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41141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733603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167070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7551244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8468399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561821"/>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4112195"/>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85761616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22133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6802659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065075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2709640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6101431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076659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403970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215444"/>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0602420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378075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341031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174693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6555076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9496854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6378743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150505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56378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411415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0456501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8315986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92673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954609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1168676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289594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2438633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774005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56427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566858"/>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4117232"/>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4117232"/>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9113934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63637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2969663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836842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3525574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948027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561821"/>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4112195"/>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0857880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129568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0226015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544645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8280333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957665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40702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40702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3870587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389663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563316"/>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563316"/>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4113213"/>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4113213"/>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7259039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257338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53302"/>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83219"/>
            <a:ext cx="4412739" cy="1741783"/>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83219"/>
            <a:ext cx="4412739" cy="1741783"/>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53302"/>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53302"/>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4"/>
            <a:ext cx="4412739" cy="1741783"/>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4"/>
            <a:ext cx="4412739" cy="1741783"/>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53302"/>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1464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1464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599171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954804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1609728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206477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823148"/>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823148"/>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73045"/>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73045"/>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119131"/>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9916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119131"/>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9916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343455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135574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462f667e-9984-42c7-85dd-eeae68e64e89">
            <a:extLst>
              <a:ext uri="{FF2B5EF4-FFF2-40B4-BE49-F238E27FC236}">
                <a16:creationId xmlns:a16="http://schemas.microsoft.com/office/drawing/2014/main" id="{C33DE3E8-0595-4AE5-8F4D-0884013EC5C1}"/>
              </a:ext>
            </a:extLst>
          </p:cNvPr>
          <p:cNvSpPr/>
          <p:nvPr/>
        </p:nvSpPr>
        <p:spPr>
          <a:xfrm>
            <a:off x="-386922" y="5504193"/>
            <a:ext cx="657372" cy="657372"/>
          </a:xfrm>
          <a:prstGeom prst="ellipse">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1874730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760215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20050450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98977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spTree>
    <p:extLst>
      <p:ext uri="{BB962C8B-B14F-4D97-AF65-F5344CB8AC3E}">
        <p14:creationId xmlns:p14="http://schemas.microsoft.com/office/powerpoint/2010/main" val="66629784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182230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117017244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765541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779055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834400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157471153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995689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 und Urheberrecht</a:t>
            </a:r>
          </a:p>
        </p:txBody>
      </p:sp>
    </p:spTree>
    <p:extLst>
      <p:ext uri="{BB962C8B-B14F-4D97-AF65-F5344CB8AC3E}">
        <p14:creationId xmlns:p14="http://schemas.microsoft.com/office/powerpoint/2010/main" val="360706973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3318735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93332231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552456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0200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205815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6057077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4391225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87306490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822789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rtl="0"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rtl="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tent</a:t>
            </a:r>
          </a:p>
        </p:txBody>
      </p:sp>
    </p:spTree>
    <p:extLst>
      <p:ext uri="{BB962C8B-B14F-4D97-AF65-F5344CB8AC3E}">
        <p14:creationId xmlns:p14="http://schemas.microsoft.com/office/powerpoint/2010/main" val="329833071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502541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rtl="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rtl="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215940291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78641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2744942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208139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5004283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5901292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257855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8545073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6617588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705825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5378367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002989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5864971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01791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467729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822507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1401833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900993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7140743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745244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0144928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0503014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6398975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21165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4324189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76700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6404129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310558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184666"/>
          </a:xfrm>
        </p:spPr>
        <p:txBody>
          <a:bodyPr/>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6310330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039425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rtl="0">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rtl="0">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7735103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01261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059045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561700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9194315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358817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67231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318564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1249286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657060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6963297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96933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2573921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805602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7791534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558922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60782264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942205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03700284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337912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7002897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0281623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73205642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48409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1883876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624361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603956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003840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4011139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11460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9380274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233876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4935325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0640863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rtl="0">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7486120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2008155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63373626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1394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23630617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084302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66183475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876195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77599435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233774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rtl="0">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4614663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253761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332478822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239239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spTree>
    <p:extLst>
      <p:ext uri="{BB962C8B-B14F-4D97-AF65-F5344CB8AC3E}">
        <p14:creationId xmlns:p14="http://schemas.microsoft.com/office/powerpoint/2010/main" val="5134806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885204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26197521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075803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449415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94353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154561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243439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rtl="0">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13491797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468933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rtl="0">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rtl="0">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28636690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121209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99663591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268765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06136911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3_Standard with box">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15074185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5"/>
          <p:cNvSpPr>
            <a:spLocks noGrp="1"/>
          </p:cNvSpPr>
          <p:nvPr>
            <p:ph type="body" sz="quarter" idx="23" hasCustomPrompt="1"/>
          </p:nvPr>
        </p:nvSpPr>
        <p:spPr>
          <a:xfrm>
            <a:off x="381000" y="80964"/>
            <a:ext cx="9633859" cy="177800"/>
          </a:xfrm>
        </p:spPr>
        <p:txBody>
          <a:bodyPr lIns="0" tIns="0" rIns="0" bIns="0">
            <a:noAutofit/>
          </a:bodyPr>
          <a:lstStyle>
            <a:lvl1pPr marL="0" indent="0" rtl="0">
              <a:buNone/>
              <a:defRPr sz="1200" b="1">
                <a:solidFill>
                  <a:schemeClr val="accent1"/>
                </a:solidFill>
              </a:defRPr>
            </a:lvl1pPr>
          </a:lstStyle>
          <a:p>
            <a:pPr lvl="0"/>
            <a:r>
              <a:rPr lang="en-GB"/>
              <a:t>Insert supertitle</a:t>
            </a:r>
          </a:p>
        </p:txBody>
      </p:sp>
      <p:sp>
        <p:nvSpPr>
          <p:cNvPr id="2" name="Title 1"/>
          <p:cNvSpPr>
            <a:spLocks noGrp="1"/>
          </p:cNvSpPr>
          <p:nvPr>
            <p:ph type="title"/>
          </p:nvPr>
        </p:nvSpPr>
        <p:spPr/>
        <p:txBody>
          <a:bodyPr vert="horz"/>
          <a:lstStyle>
            <a:lvl1pPr rtl="0">
              <a:defRPr/>
            </a:lvl1pPr>
          </a:lstStyle>
          <a:p>
            <a:r>
              <a:rPr lang="en-GB"/>
              <a:t>Click to edit Master title style</a:t>
            </a:r>
          </a:p>
        </p:txBody>
      </p:sp>
      <p:sp>
        <p:nvSpPr>
          <p:cNvPr id="8" name="Text Placeholder 2"/>
          <p:cNvSpPr>
            <a:spLocks noGrp="1"/>
          </p:cNvSpPr>
          <p:nvPr>
            <p:ph type="body" sz="quarter" idx="22" hasCustomPrompt="1"/>
          </p:nvPr>
        </p:nvSpPr>
        <p:spPr>
          <a:xfrm>
            <a:off x="381001" y="6524522"/>
            <a:ext cx="6297084" cy="231406"/>
          </a:xfrm>
        </p:spPr>
        <p:txBody>
          <a:bodyPr lIns="0" tIns="0" rIns="0" bIns="0" anchor="b" anchorCtr="0">
            <a:noAutofit/>
          </a:bodyPr>
          <a:lstStyle>
            <a:lvl1pPr marL="0" indent="0" rtl="0">
              <a:buNone/>
              <a:defRPr sz="800" baseline="0"/>
            </a:lvl1pPr>
          </a:lstStyle>
          <a:p>
            <a:pPr lvl="0"/>
            <a:r>
              <a:rPr lang="en-GB"/>
              <a:t>Sources: Insert sources</a:t>
            </a:r>
          </a:p>
        </p:txBody>
      </p:sp>
      <p:sp>
        <p:nvSpPr>
          <p:cNvPr id="10" name="Text Placeholder 14"/>
          <p:cNvSpPr>
            <a:spLocks noGrp="1"/>
          </p:cNvSpPr>
          <p:nvPr>
            <p:ph type="body" sz="quarter" idx="24" hasCustomPrompt="1"/>
          </p:nvPr>
        </p:nvSpPr>
        <p:spPr>
          <a:xfrm>
            <a:off x="381001" y="6149976"/>
            <a:ext cx="11442700" cy="250825"/>
          </a:xfrm>
        </p:spPr>
        <p:txBody>
          <a:bodyPr lIns="0" tIns="0" rIns="0" bIns="0" anchor="b" anchorCtr="0">
            <a:normAutofit/>
          </a:bodyPr>
          <a:lstStyle>
            <a:lvl1pPr marL="0" indent="0" rtl="0">
              <a:buNone/>
              <a:defRPr sz="800"/>
            </a:lvl1pPr>
          </a:lstStyle>
          <a:p>
            <a:pPr lvl="0"/>
            <a:r>
              <a:rPr lang="en-GB"/>
              <a:t>Notes: Insert notes</a:t>
            </a:r>
          </a:p>
        </p:txBody>
      </p:sp>
      <p:sp>
        <p:nvSpPr>
          <p:cNvPr id="4" name="Text Placeholder 3"/>
          <p:cNvSpPr>
            <a:spLocks noGrp="1"/>
          </p:cNvSpPr>
          <p:nvPr>
            <p:ph type="body" sz="quarter" idx="25" hasCustomPrompt="1"/>
          </p:nvPr>
        </p:nvSpPr>
        <p:spPr>
          <a:xfrm>
            <a:off x="8578469" y="3019122"/>
            <a:ext cx="3245232" cy="1020279"/>
          </a:xfrm>
          <a:solidFill>
            <a:schemeClr val="bg1">
              <a:lumMod val="95000"/>
            </a:schemeClr>
          </a:solidFill>
          <a:ln>
            <a:solidFill>
              <a:schemeClr val="bg1">
                <a:lumMod val="65000"/>
              </a:schemeClr>
            </a:solidFill>
          </a:ln>
        </p:spPr>
        <p:txBody>
          <a:bodyPr anchor="ctr" anchorCtr="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Box 10"/>
          <p:cNvSpPr txBox="1"/>
          <p:nvPr userDrawn="1"/>
        </p:nvSpPr>
        <p:spPr>
          <a:xfrm rot="16200000">
            <a:off x="-348654" y="6514957"/>
            <a:ext cx="594715" cy="76944"/>
          </a:xfrm>
          <a:prstGeom prst="rect">
            <a:avLst/>
          </a:prstGeom>
          <a:noFill/>
        </p:spPr>
        <p:txBody>
          <a:bodyPr wrap="none" lIns="0" tIns="0" rIns="0" bIns="0" rtlCol="0">
            <a:spAutoFit/>
          </a:bodyPr>
          <a:lstStyle/>
          <a:p>
            <a:pPr marL="0" indent="0" rtl="0">
              <a:spcAft>
                <a:spcPts val="600"/>
              </a:spcAft>
              <a:buFont typeface="Wingdings" panose="05000000000000000000" pitchFamily="2" charset="2"/>
              <a:buNone/>
            </a:pPr>
            <a:r>
              <a:rPr lang="en-GB" sz="500">
                <a:solidFill>
                  <a:schemeClr val="accent5"/>
                </a:solidFill>
              </a:rPr>
              <a:t>AER Template</a:t>
            </a:r>
            <a:r>
              <a:rPr lang="en-GB" sz="500" baseline="0">
                <a:solidFill>
                  <a:schemeClr val="accent5"/>
                </a:solidFill>
              </a:rPr>
              <a:t> 2017a</a:t>
            </a:r>
            <a:endParaRPr lang="en-GB" sz="500">
              <a:solidFill>
                <a:schemeClr val="accent5"/>
              </a:solidFill>
            </a:endParaRPr>
          </a:p>
        </p:txBody>
      </p:sp>
    </p:spTree>
    <p:extLst>
      <p:ext uri="{BB962C8B-B14F-4D97-AF65-F5344CB8AC3E}">
        <p14:creationId xmlns:p14="http://schemas.microsoft.com/office/powerpoint/2010/main" val="349697785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16874588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userDrawn="1"/>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indent="0" algn="l" rtl="0">
                <a:spcAft>
                  <a:spcPts val="1000"/>
                </a:spcAft>
                <a:buFont typeface="Wingdings" panose="05000000000000000000" pitchFamily="2" charset="2"/>
                <a:buNone/>
              </a:pPr>
              <a:endParaRPr lang="en-GB" sz="1400">
                <a:solidFill>
                  <a:srgbClr val="FF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
        <p:nvSpPr>
          <p:cNvPr id="3" name="Rectangle 2">
            <a:extLst>
              <a:ext uri="{FF2B5EF4-FFF2-40B4-BE49-F238E27FC236}">
                <a16:creationId xmlns:a16="http://schemas.microsoft.com/office/drawing/2014/main" id="{F18F630C-B0E5-895E-E3C7-3861B14751F8}"/>
              </a:ext>
            </a:extLst>
          </p:cNvPr>
          <p:cNvSpPr/>
          <p:nvPr userDrawn="1"/>
        </p:nvSpPr>
        <p:spPr>
          <a:xfrm>
            <a:off x="5866768" y="0"/>
            <a:ext cx="6513592" cy="6935056"/>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endParaRPr>
          </a:p>
        </p:txBody>
      </p:sp>
    </p:spTree>
    <p:extLst>
      <p:ext uri="{BB962C8B-B14F-4D97-AF65-F5344CB8AC3E}">
        <p14:creationId xmlns:p14="http://schemas.microsoft.com/office/powerpoint/2010/main" val="417660135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508246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rtl="0"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rtl="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225439033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234056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rtl="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rtl="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49334611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84537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732534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066976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443119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229290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8337114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80763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4673479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752301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6123866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5986543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5275127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593686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9552182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595066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5566249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546204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7226682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228593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3332102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505296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3025666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41099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19783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318638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9216464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582241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3621266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430677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453267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055666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FFE680"/>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6895204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599631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A6964E"/>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44672569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763678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6F854E"/>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2709913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252635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4E5F6E"/>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85377938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319584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184666"/>
          </a:xfrm>
        </p:spPr>
        <p:txBody>
          <a:bodyPr/>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99000535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961286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rtl="0">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rtl="0">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3590771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26444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6971941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270163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1866481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029523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102756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651435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9628820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8086992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3010876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289938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2144336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361147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1959978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229468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3326945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359602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4334293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642061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42303540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76610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8654016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578788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0992715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808030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1491221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98946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320986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656192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0147491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443083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032169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476906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rtl="0">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8735031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76310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390057656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676325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211944597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694034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49852312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148533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138678486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563420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rtl="0">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8413910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317579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31527358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207594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a:t>
            </a:r>
            <a:r>
              <a:rPr lang="en-GB" b="0" spc="0" err="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spTree>
    <p:extLst>
      <p:ext uri="{BB962C8B-B14F-4D97-AF65-F5344CB8AC3E}">
        <p14:creationId xmlns:p14="http://schemas.microsoft.com/office/powerpoint/2010/main" val="293152587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406542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16013998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010532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20743555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167452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a:t>
            </a:r>
            <a:r>
              <a:rPr lang="en-GB" b="0" spc="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09611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25500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rtl="0">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421256833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172474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rtl="0">
              <a:lnSpc>
                <a:spcPct val="100000"/>
              </a:lnSpc>
              <a:spcBef>
                <a:spcPts val="6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29377008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1664928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49339790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807764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28478081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3_Standard with box">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27665874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5"/>
          <p:cNvSpPr>
            <a:spLocks noGrp="1"/>
          </p:cNvSpPr>
          <p:nvPr>
            <p:ph type="body" sz="quarter" idx="23" hasCustomPrompt="1"/>
          </p:nvPr>
        </p:nvSpPr>
        <p:spPr>
          <a:xfrm>
            <a:off x="381000" y="80964"/>
            <a:ext cx="9633859" cy="177800"/>
          </a:xfrm>
        </p:spPr>
        <p:txBody>
          <a:bodyPr lIns="0" tIns="0" rIns="0" bIns="0">
            <a:noAutofit/>
          </a:bodyPr>
          <a:lstStyle>
            <a:lvl1pPr marL="0" indent="0" rtl="0">
              <a:buNone/>
              <a:defRPr sz="1200" b="1">
                <a:solidFill>
                  <a:schemeClr val="accent1"/>
                </a:solidFill>
              </a:defRPr>
            </a:lvl1pPr>
          </a:lstStyle>
          <a:p>
            <a:pPr lvl="0"/>
            <a:r>
              <a:rPr lang="en-GB"/>
              <a:t>Insert supertitle</a:t>
            </a:r>
          </a:p>
        </p:txBody>
      </p:sp>
      <p:sp>
        <p:nvSpPr>
          <p:cNvPr id="2" name="Title 1"/>
          <p:cNvSpPr>
            <a:spLocks noGrp="1"/>
          </p:cNvSpPr>
          <p:nvPr>
            <p:ph type="title"/>
          </p:nvPr>
        </p:nvSpPr>
        <p:spPr/>
        <p:txBody>
          <a:bodyPr vert="horz"/>
          <a:lstStyle>
            <a:lvl1pPr rtl="0">
              <a:defRPr/>
            </a:lvl1pPr>
          </a:lstStyle>
          <a:p>
            <a:r>
              <a:rPr lang="en-GB"/>
              <a:t>Click to edit Master title style</a:t>
            </a:r>
          </a:p>
        </p:txBody>
      </p:sp>
      <p:sp>
        <p:nvSpPr>
          <p:cNvPr id="8" name="Text Placeholder 2"/>
          <p:cNvSpPr>
            <a:spLocks noGrp="1"/>
          </p:cNvSpPr>
          <p:nvPr>
            <p:ph type="body" sz="quarter" idx="22" hasCustomPrompt="1"/>
          </p:nvPr>
        </p:nvSpPr>
        <p:spPr>
          <a:xfrm>
            <a:off x="381001" y="6524522"/>
            <a:ext cx="6297084" cy="231406"/>
          </a:xfrm>
        </p:spPr>
        <p:txBody>
          <a:bodyPr lIns="0" tIns="0" rIns="0" bIns="0" anchor="b" anchorCtr="0">
            <a:noAutofit/>
          </a:bodyPr>
          <a:lstStyle>
            <a:lvl1pPr marL="0" indent="0" rtl="0">
              <a:buNone/>
              <a:defRPr sz="800" baseline="0"/>
            </a:lvl1pPr>
          </a:lstStyle>
          <a:p>
            <a:pPr lvl="0"/>
            <a:r>
              <a:rPr lang="en-GB"/>
              <a:t>Sources: Insert sources</a:t>
            </a:r>
          </a:p>
        </p:txBody>
      </p:sp>
      <p:sp>
        <p:nvSpPr>
          <p:cNvPr id="10" name="Text Placeholder 14"/>
          <p:cNvSpPr>
            <a:spLocks noGrp="1"/>
          </p:cNvSpPr>
          <p:nvPr>
            <p:ph type="body" sz="quarter" idx="24" hasCustomPrompt="1"/>
          </p:nvPr>
        </p:nvSpPr>
        <p:spPr>
          <a:xfrm>
            <a:off x="381001" y="6149976"/>
            <a:ext cx="11442700" cy="250825"/>
          </a:xfrm>
        </p:spPr>
        <p:txBody>
          <a:bodyPr lIns="0" tIns="0" rIns="0" bIns="0" anchor="b" anchorCtr="0">
            <a:normAutofit/>
          </a:bodyPr>
          <a:lstStyle>
            <a:lvl1pPr marL="0" indent="0" rtl="0">
              <a:buNone/>
              <a:defRPr sz="800"/>
            </a:lvl1pPr>
          </a:lstStyle>
          <a:p>
            <a:pPr lvl="0"/>
            <a:r>
              <a:rPr lang="en-GB"/>
              <a:t>Notes: Insert notes</a:t>
            </a:r>
          </a:p>
        </p:txBody>
      </p:sp>
      <p:sp>
        <p:nvSpPr>
          <p:cNvPr id="4" name="Text Placeholder 3"/>
          <p:cNvSpPr>
            <a:spLocks noGrp="1"/>
          </p:cNvSpPr>
          <p:nvPr>
            <p:ph type="body" sz="quarter" idx="25" hasCustomPrompt="1"/>
          </p:nvPr>
        </p:nvSpPr>
        <p:spPr>
          <a:xfrm>
            <a:off x="8578469" y="3019122"/>
            <a:ext cx="3245232" cy="1020279"/>
          </a:xfrm>
          <a:solidFill>
            <a:schemeClr val="bg1">
              <a:lumMod val="95000"/>
            </a:schemeClr>
          </a:solidFill>
          <a:ln>
            <a:solidFill>
              <a:schemeClr val="bg1">
                <a:lumMod val="65000"/>
              </a:schemeClr>
            </a:solidFill>
          </a:ln>
        </p:spPr>
        <p:txBody>
          <a:bodyPr anchor="ctr" anchorCtr="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Box 10"/>
          <p:cNvSpPr txBox="1"/>
          <p:nvPr userDrawn="1"/>
        </p:nvSpPr>
        <p:spPr>
          <a:xfrm rot="16200000">
            <a:off x="-348654" y="6514957"/>
            <a:ext cx="594715" cy="76944"/>
          </a:xfrm>
          <a:prstGeom prst="rect">
            <a:avLst/>
          </a:prstGeom>
          <a:noFill/>
        </p:spPr>
        <p:txBody>
          <a:bodyPr wrap="none" lIns="0" tIns="0" rIns="0" bIns="0" rtlCol="0">
            <a:spAutoFit/>
          </a:bodyPr>
          <a:lstStyle/>
          <a:p>
            <a:pPr marL="0" indent="0" rtl="0">
              <a:spcAft>
                <a:spcPts val="600"/>
              </a:spcAft>
              <a:buFont typeface="Wingdings" panose="05000000000000000000" pitchFamily="2" charset="2"/>
              <a:buNone/>
            </a:pPr>
            <a:r>
              <a:rPr lang="en-GB" sz="500">
                <a:solidFill>
                  <a:schemeClr val="accent5"/>
                </a:solidFill>
              </a:rPr>
              <a:t>AER Template</a:t>
            </a:r>
            <a:r>
              <a:rPr lang="en-GB" sz="500" baseline="0">
                <a:solidFill>
                  <a:schemeClr val="accent5"/>
                </a:solidFill>
              </a:rPr>
              <a:t> 2017a</a:t>
            </a:r>
            <a:endParaRPr lang="en-GB" sz="500">
              <a:solidFill>
                <a:schemeClr val="accent5"/>
              </a:solidFill>
            </a:endParaRPr>
          </a:p>
        </p:txBody>
      </p:sp>
    </p:spTree>
    <p:extLst>
      <p:ext uri="{BB962C8B-B14F-4D97-AF65-F5344CB8AC3E}">
        <p14:creationId xmlns:p14="http://schemas.microsoft.com/office/powerpoint/2010/main" val="260751431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009826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rtl="0">
              <a:spcAft>
                <a:spcPts val="1000"/>
              </a:spcAft>
              <a:buFontTx/>
              <a:buNone/>
            </a:pPr>
            <a:endParaRPr lang="en-GB" sz="2200" b="1" i="0" baseline="0">
              <a:solidFill>
                <a:schemeClr val="tx1"/>
              </a:solidFill>
              <a:latin typeface="Lato" panose="020F0502020204030203" pitchFamily="34" charset="0"/>
              <a:ea typeface="+mj-ea"/>
              <a:cs typeface="+mj-cs"/>
              <a:sym typeface="Lato" panose="020F0502020204030203" pitchFamily="34" charset="0"/>
            </a:endParaRPr>
          </a:p>
        </p:txBody>
      </p:sp>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EA78DF35-4B78-4F38-B86C-9F1BF366BFC1}"/>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6528634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2_Standar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26521836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5"/>
          <p:cNvSpPr>
            <a:spLocks noGrp="1"/>
          </p:cNvSpPr>
          <p:nvPr>
            <p:ph type="body" sz="quarter" idx="23" hasCustomPrompt="1"/>
          </p:nvPr>
        </p:nvSpPr>
        <p:spPr>
          <a:xfrm>
            <a:off x="381000" y="80964"/>
            <a:ext cx="9633859" cy="177800"/>
          </a:xfrm>
        </p:spPr>
        <p:txBody>
          <a:bodyPr lIns="0" tIns="0" rIns="0" bIns="0">
            <a:noAutofit/>
          </a:bodyPr>
          <a:lstStyle>
            <a:lvl1pPr marL="0" indent="0" rtl="0">
              <a:buNone/>
              <a:defRPr sz="1200" b="1">
                <a:solidFill>
                  <a:schemeClr val="accent1"/>
                </a:solidFill>
              </a:defRPr>
            </a:lvl1pPr>
          </a:lstStyle>
          <a:p>
            <a:pPr lvl="0"/>
            <a:r>
              <a:rPr lang="en-GB"/>
              <a:t>Insert supertitle</a:t>
            </a:r>
          </a:p>
        </p:txBody>
      </p:sp>
      <p:sp>
        <p:nvSpPr>
          <p:cNvPr id="2" name="Title 1"/>
          <p:cNvSpPr>
            <a:spLocks noGrp="1"/>
          </p:cNvSpPr>
          <p:nvPr>
            <p:ph type="title"/>
          </p:nvPr>
        </p:nvSpPr>
        <p:spPr/>
        <p:txBody>
          <a:bodyPr vert="horz"/>
          <a:lstStyle>
            <a:lvl1pPr rtl="0">
              <a:defRPr/>
            </a:lvl1pPr>
          </a:lstStyle>
          <a:p>
            <a:r>
              <a:rPr lang="en-GB"/>
              <a:t>Click to edit Master title style</a:t>
            </a:r>
          </a:p>
        </p:txBody>
      </p:sp>
      <p:sp>
        <p:nvSpPr>
          <p:cNvPr id="8" name="Text Placeholder 2"/>
          <p:cNvSpPr>
            <a:spLocks noGrp="1"/>
          </p:cNvSpPr>
          <p:nvPr>
            <p:ph type="body" sz="quarter" idx="22" hasCustomPrompt="1"/>
          </p:nvPr>
        </p:nvSpPr>
        <p:spPr>
          <a:xfrm>
            <a:off x="381001" y="6524522"/>
            <a:ext cx="6297084" cy="231406"/>
          </a:xfrm>
        </p:spPr>
        <p:txBody>
          <a:bodyPr lIns="0" tIns="0" rIns="0" bIns="0" anchor="b" anchorCtr="0">
            <a:noAutofit/>
          </a:bodyPr>
          <a:lstStyle>
            <a:lvl1pPr marL="0" indent="0" rtl="0">
              <a:buNone/>
              <a:defRPr sz="800" baseline="0"/>
            </a:lvl1pPr>
          </a:lstStyle>
          <a:p>
            <a:pPr lvl="0"/>
            <a:r>
              <a:rPr lang="en-GB"/>
              <a:t>Sources: Insert sources</a:t>
            </a:r>
          </a:p>
        </p:txBody>
      </p:sp>
      <p:sp>
        <p:nvSpPr>
          <p:cNvPr id="10" name="Text Placeholder 14"/>
          <p:cNvSpPr>
            <a:spLocks noGrp="1"/>
          </p:cNvSpPr>
          <p:nvPr>
            <p:ph type="body" sz="quarter" idx="24" hasCustomPrompt="1"/>
          </p:nvPr>
        </p:nvSpPr>
        <p:spPr>
          <a:xfrm>
            <a:off x="381001" y="6149976"/>
            <a:ext cx="11442700" cy="250825"/>
          </a:xfrm>
        </p:spPr>
        <p:txBody>
          <a:bodyPr lIns="0" tIns="0" rIns="0" bIns="0" anchor="b" anchorCtr="0">
            <a:normAutofit/>
          </a:bodyPr>
          <a:lstStyle>
            <a:lvl1pPr marL="0" indent="0" rtl="0">
              <a:buNone/>
              <a:defRPr sz="800"/>
            </a:lvl1pPr>
          </a:lstStyle>
          <a:p>
            <a:pPr lvl="0"/>
            <a:r>
              <a:rPr lang="en-GB"/>
              <a:t>Notes: Insert notes</a:t>
            </a:r>
          </a:p>
        </p:txBody>
      </p:sp>
      <p:sp>
        <p:nvSpPr>
          <p:cNvPr id="9" name="TextBox 8"/>
          <p:cNvSpPr txBox="1"/>
          <p:nvPr userDrawn="1"/>
        </p:nvSpPr>
        <p:spPr>
          <a:xfrm rot="16200000">
            <a:off x="-348654" y="6514957"/>
            <a:ext cx="594715" cy="76944"/>
          </a:xfrm>
          <a:prstGeom prst="rect">
            <a:avLst/>
          </a:prstGeom>
          <a:noFill/>
        </p:spPr>
        <p:txBody>
          <a:bodyPr wrap="none" lIns="0" tIns="0" rIns="0" bIns="0" rtlCol="0">
            <a:spAutoFit/>
          </a:bodyPr>
          <a:lstStyle/>
          <a:p>
            <a:pPr marL="0" indent="0" rtl="0">
              <a:spcAft>
                <a:spcPts val="600"/>
              </a:spcAft>
              <a:buFont typeface="Wingdings" panose="05000000000000000000" pitchFamily="2" charset="2"/>
              <a:buNone/>
            </a:pPr>
            <a:r>
              <a:rPr lang="en-GB" sz="500">
                <a:solidFill>
                  <a:schemeClr val="accent5"/>
                </a:solidFill>
              </a:rPr>
              <a:t>AER Template</a:t>
            </a:r>
            <a:r>
              <a:rPr lang="en-GB" sz="500" baseline="0">
                <a:solidFill>
                  <a:schemeClr val="accent5"/>
                </a:solidFill>
              </a:rPr>
              <a:t> 2017a</a:t>
            </a:r>
            <a:endParaRPr lang="en-GB" sz="500">
              <a:solidFill>
                <a:schemeClr val="accent5"/>
              </a:solidFill>
            </a:endParaRPr>
          </a:p>
        </p:txBody>
      </p:sp>
    </p:spTree>
    <p:extLst>
      <p:ext uri="{BB962C8B-B14F-4D97-AF65-F5344CB8AC3E}">
        <p14:creationId xmlns:p14="http://schemas.microsoft.com/office/powerpoint/2010/main" val="138934729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1_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461359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3789565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420550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532277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424943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35134899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145639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8565512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096192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0832558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841947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39569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533942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163407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507817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spTree>
    <p:extLst>
      <p:ext uri="{BB962C8B-B14F-4D97-AF65-F5344CB8AC3E}">
        <p14:creationId xmlns:p14="http://schemas.microsoft.com/office/powerpoint/2010/main" val="900996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963227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473778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42524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28381021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730866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084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2602009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26713290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941236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 und Urheberrecht</a:t>
            </a:r>
          </a:p>
        </p:txBody>
      </p:sp>
    </p:spTree>
    <p:extLst>
      <p:ext uri="{BB962C8B-B14F-4D97-AF65-F5344CB8AC3E}">
        <p14:creationId xmlns:p14="http://schemas.microsoft.com/office/powerpoint/2010/main" val="5202693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161792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4213018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4048961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838437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ext &amp; S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720108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a:spcAft>
                <a:spcPts val="1000"/>
              </a:spcAft>
              <a:buFontTx/>
              <a:buNone/>
            </a:pPr>
            <a:endParaRPr lang="en-US" sz="2200" b="1" i="0" baseline="0">
              <a:solidFill>
                <a:schemeClr val="tx1"/>
              </a:solidFill>
              <a:latin typeface="Lato" panose="020F0502020204030203" pitchFamily="34" charset="0"/>
              <a:ea typeface="+mj-ea"/>
              <a:cs typeface="+mj-cs"/>
              <a:sym typeface="Lato" panose="020F0502020204030203" pitchFamily="34" charset="0"/>
            </a:endParaRPr>
          </a:p>
        </p:txBody>
      </p:sp>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67578"/>
            <a:ext cx="11428800" cy="854080"/>
          </a:xfrm>
        </p:spPr>
        <p:txBody>
          <a:bodyPr>
            <a:spAutoFit/>
          </a:bodyPr>
          <a:lstStyle>
            <a:lvl1pPr>
              <a:defRPr sz="1200"/>
            </a:lvl1pPr>
            <a:lvl2pPr>
              <a:defRPr sz="1200"/>
            </a:lvl2pPr>
            <a:lvl3pPr>
              <a:defRPr sz="1200"/>
            </a:lvl3pPr>
            <a:lvl4pPr>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0999" y="1270000"/>
            <a:ext cx="11428800" cy="369332"/>
          </a:xfrm>
        </p:spPr>
        <p:txBody>
          <a:bodyPr>
            <a:spAutoFit/>
          </a:bodyPr>
          <a:lstStyle>
            <a:lvl1pPr>
              <a:spcBef>
                <a:spcPts val="0"/>
              </a:spcBef>
              <a:defRPr sz="1200" b="0">
                <a:solidFill>
                  <a:schemeClr val="accent5"/>
                </a:solidFill>
                <a:latin typeface="+mn-lt"/>
                <a:ea typeface="Lato Black" panose="020F0502020204030203" pitchFamily="34" charset="0"/>
                <a:cs typeface="Lato Black"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Text Placeholder 14">
            <a:extLst>
              <a:ext uri="{FF2B5EF4-FFF2-40B4-BE49-F238E27FC236}">
                <a16:creationId xmlns:a16="http://schemas.microsoft.com/office/drawing/2014/main" id="{EB1EA1E0-758A-4CEB-8D9C-6E80746842DB}"/>
              </a:ext>
            </a:extLst>
          </p:cNvPr>
          <p:cNvSpPr>
            <a:spLocks noGrp="1"/>
          </p:cNvSpPr>
          <p:nvPr>
            <p:ph type="body" sz="quarter" idx="26" hasCustomPrompt="1"/>
          </p:nvPr>
        </p:nvSpPr>
        <p:spPr>
          <a:xfrm>
            <a:off x="381600" y="6474841"/>
            <a:ext cx="11428800" cy="110800"/>
          </a:xfrm>
        </p:spPr>
        <p:txBody>
          <a:bodyPr anchor="t" anchorCtr="0">
            <a:noAutofit/>
          </a:bodyPr>
          <a:lstStyle>
            <a:lvl1pPr>
              <a:lnSpc>
                <a:spcPct val="90000"/>
              </a:lnSpc>
              <a:defRPr sz="800"/>
            </a:lvl1pPr>
          </a:lstStyle>
          <a:p>
            <a:pPr>
              <a:spcBef>
                <a:spcPts val="0"/>
              </a:spcBef>
            </a:pPr>
            <a:r>
              <a:rPr lang="en-GB"/>
              <a:t>1. xxx; 2. xxx</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vl1pPr>
          </a:lstStyle>
          <a:p>
            <a:pPr lvl="0"/>
            <a:r>
              <a:rPr lang="en-US"/>
              <a:t>Sources: xxx</a:t>
            </a:r>
            <a:endParaRPr lang="en-GB"/>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p:txBody>
          <a:body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861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055666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FFE680"/>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6959716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009826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rtl="0">
              <a:spcAft>
                <a:spcPts val="1000"/>
              </a:spcAft>
              <a:buFontTx/>
              <a:buNone/>
            </a:pPr>
            <a:endParaRPr lang="en-GB" sz="2200" b="1" i="0" baseline="0">
              <a:solidFill>
                <a:schemeClr val="tx1"/>
              </a:solidFill>
              <a:latin typeface="Lato" panose="020F0502020204030203" pitchFamily="34" charset="0"/>
              <a:ea typeface="+mj-ea"/>
              <a:cs typeface="+mj-cs"/>
              <a:sym typeface="Lato" panose="020F0502020204030203" pitchFamily="34" charset="0"/>
            </a:endParaRPr>
          </a:p>
        </p:txBody>
      </p:sp>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EA78DF35-4B78-4F38-B86C-9F1BF366BFC1}"/>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135845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16874588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userDrawn="1"/>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indent="0" algn="l" rtl="0">
                <a:spcAft>
                  <a:spcPts val="1000"/>
                </a:spcAft>
                <a:buFont typeface="Wingdings" panose="05000000000000000000" pitchFamily="2" charset="2"/>
                <a:buNone/>
              </a:pPr>
              <a:endParaRPr lang="en-GB" sz="1400">
                <a:solidFill>
                  <a:srgbClr val="FF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
        <p:nvSpPr>
          <p:cNvPr id="3" name="Rectangle 2">
            <a:extLst>
              <a:ext uri="{FF2B5EF4-FFF2-40B4-BE49-F238E27FC236}">
                <a16:creationId xmlns:a16="http://schemas.microsoft.com/office/drawing/2014/main" id="{F18F630C-B0E5-895E-E3C7-3861B14751F8}"/>
              </a:ext>
            </a:extLst>
          </p:cNvPr>
          <p:cNvSpPr/>
          <p:nvPr userDrawn="1"/>
        </p:nvSpPr>
        <p:spPr>
          <a:xfrm>
            <a:off x="5866768" y="0"/>
            <a:ext cx="6513592" cy="6935056"/>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endParaRPr>
          </a:p>
        </p:txBody>
      </p:sp>
    </p:spTree>
    <p:extLst>
      <p:ext uri="{BB962C8B-B14F-4D97-AF65-F5344CB8AC3E}">
        <p14:creationId xmlns:p14="http://schemas.microsoft.com/office/powerpoint/2010/main" val="2749887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367458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065523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508246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rtl="0"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rtl="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20873032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234056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rtl="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rtl="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18564628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84537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18709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229290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616900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80763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3506959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752301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979171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5986543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166511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593686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658199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595066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716319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546204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421411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060045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83609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228593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512097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505296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722001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41099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247564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430677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8256869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055666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FFE680"/>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409423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599631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A6964E"/>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160508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763678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6F854E"/>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bg2">
                    <a:lumMod val="2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809650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252635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rgbClr val="4E5F6E"/>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bg1">
                    <a:lumMod val="8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15626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319584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184666"/>
          </a:xfrm>
        </p:spPr>
        <p:txBody>
          <a:bodyPr/>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107655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961286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rtl="0">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rtl="0">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56690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833738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54799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26444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888270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270163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529618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029523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168003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8086992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491550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289938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184437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361147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509540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229468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005156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359602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345534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642061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340128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76610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81541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769889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027756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578788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929179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808030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515057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98946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7148769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443083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628971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476906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rtl="0">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121223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76310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9935489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676325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6790304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694034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4008351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148533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20932763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563420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rtl="0">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335050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922523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734069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317579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34538153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207594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spTree>
    <p:extLst>
      <p:ext uri="{BB962C8B-B14F-4D97-AF65-F5344CB8AC3E}">
        <p14:creationId xmlns:p14="http://schemas.microsoft.com/office/powerpoint/2010/main" val="104586863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406542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39574727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9167452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4356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25500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rtl="0">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31785262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172474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rtl="0">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rtl="0">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gibt hinsichtlich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keine Haftung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weck herangezoge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inschätzung hinsichtlich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42534115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1664928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5022010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807764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9658398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Standard with box">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27665874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5"/>
          <p:cNvSpPr>
            <a:spLocks noGrp="1"/>
          </p:cNvSpPr>
          <p:nvPr>
            <p:ph type="body" sz="quarter" idx="23" hasCustomPrompt="1"/>
          </p:nvPr>
        </p:nvSpPr>
        <p:spPr>
          <a:xfrm>
            <a:off x="381000" y="80964"/>
            <a:ext cx="9633859" cy="177800"/>
          </a:xfrm>
        </p:spPr>
        <p:txBody>
          <a:bodyPr lIns="0" tIns="0" rIns="0" bIns="0">
            <a:noAutofit/>
          </a:bodyPr>
          <a:lstStyle>
            <a:lvl1pPr marL="0" indent="0" rtl="0">
              <a:buNone/>
              <a:defRPr sz="1200" b="1">
                <a:solidFill>
                  <a:schemeClr val="accent1"/>
                </a:solidFill>
              </a:defRPr>
            </a:lvl1pPr>
          </a:lstStyle>
          <a:p>
            <a:pPr lvl="0"/>
            <a:r>
              <a:rPr lang="en-GB"/>
              <a:t>Insert supertitle</a:t>
            </a:r>
          </a:p>
        </p:txBody>
      </p:sp>
      <p:sp>
        <p:nvSpPr>
          <p:cNvPr id="2" name="Title 1"/>
          <p:cNvSpPr>
            <a:spLocks noGrp="1"/>
          </p:cNvSpPr>
          <p:nvPr>
            <p:ph type="title"/>
          </p:nvPr>
        </p:nvSpPr>
        <p:spPr/>
        <p:txBody>
          <a:bodyPr vert="horz"/>
          <a:lstStyle>
            <a:lvl1pPr rtl="0">
              <a:defRPr/>
            </a:lvl1pPr>
          </a:lstStyle>
          <a:p>
            <a:r>
              <a:rPr lang="en-GB"/>
              <a:t>Click to edit Master title style</a:t>
            </a:r>
          </a:p>
        </p:txBody>
      </p:sp>
      <p:sp>
        <p:nvSpPr>
          <p:cNvPr id="8" name="Text Placeholder 2"/>
          <p:cNvSpPr>
            <a:spLocks noGrp="1"/>
          </p:cNvSpPr>
          <p:nvPr>
            <p:ph type="body" sz="quarter" idx="22" hasCustomPrompt="1"/>
          </p:nvPr>
        </p:nvSpPr>
        <p:spPr>
          <a:xfrm>
            <a:off x="381001" y="6524522"/>
            <a:ext cx="6297084" cy="231406"/>
          </a:xfrm>
        </p:spPr>
        <p:txBody>
          <a:bodyPr lIns="0" tIns="0" rIns="0" bIns="0" anchor="b" anchorCtr="0">
            <a:noAutofit/>
          </a:bodyPr>
          <a:lstStyle>
            <a:lvl1pPr marL="0" indent="0" rtl="0">
              <a:buNone/>
              <a:defRPr sz="800" baseline="0"/>
            </a:lvl1pPr>
          </a:lstStyle>
          <a:p>
            <a:pPr lvl="0"/>
            <a:r>
              <a:rPr lang="en-GB"/>
              <a:t>Sources: Insert sources</a:t>
            </a:r>
          </a:p>
        </p:txBody>
      </p:sp>
      <p:sp>
        <p:nvSpPr>
          <p:cNvPr id="10" name="Text Placeholder 14"/>
          <p:cNvSpPr>
            <a:spLocks noGrp="1"/>
          </p:cNvSpPr>
          <p:nvPr>
            <p:ph type="body" sz="quarter" idx="24" hasCustomPrompt="1"/>
          </p:nvPr>
        </p:nvSpPr>
        <p:spPr>
          <a:xfrm>
            <a:off x="381001" y="6149976"/>
            <a:ext cx="11442700" cy="250825"/>
          </a:xfrm>
        </p:spPr>
        <p:txBody>
          <a:bodyPr lIns="0" tIns="0" rIns="0" bIns="0" anchor="b" anchorCtr="0">
            <a:normAutofit/>
          </a:bodyPr>
          <a:lstStyle>
            <a:lvl1pPr marL="0" indent="0" rtl="0">
              <a:buNone/>
              <a:defRPr sz="800"/>
            </a:lvl1pPr>
          </a:lstStyle>
          <a:p>
            <a:pPr lvl="0"/>
            <a:r>
              <a:rPr lang="en-GB"/>
              <a:t>Notes: Insert notes</a:t>
            </a:r>
          </a:p>
        </p:txBody>
      </p:sp>
      <p:sp>
        <p:nvSpPr>
          <p:cNvPr id="4" name="Text Placeholder 3"/>
          <p:cNvSpPr>
            <a:spLocks noGrp="1"/>
          </p:cNvSpPr>
          <p:nvPr>
            <p:ph type="body" sz="quarter" idx="25" hasCustomPrompt="1"/>
          </p:nvPr>
        </p:nvSpPr>
        <p:spPr>
          <a:xfrm>
            <a:off x="8578469" y="3019122"/>
            <a:ext cx="3245232" cy="1020279"/>
          </a:xfrm>
          <a:solidFill>
            <a:schemeClr val="bg1">
              <a:lumMod val="95000"/>
            </a:schemeClr>
          </a:solidFill>
          <a:ln>
            <a:solidFill>
              <a:schemeClr val="bg1">
                <a:lumMod val="65000"/>
              </a:schemeClr>
            </a:solidFill>
          </a:ln>
        </p:spPr>
        <p:txBody>
          <a:bodyPr anchor="ctr" anchorCtr="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Box 10"/>
          <p:cNvSpPr txBox="1"/>
          <p:nvPr userDrawn="1"/>
        </p:nvSpPr>
        <p:spPr>
          <a:xfrm rot="16200000">
            <a:off x="-348654" y="6514957"/>
            <a:ext cx="594715" cy="76944"/>
          </a:xfrm>
          <a:prstGeom prst="rect">
            <a:avLst/>
          </a:prstGeom>
          <a:noFill/>
        </p:spPr>
        <p:txBody>
          <a:bodyPr wrap="none" lIns="0" tIns="0" rIns="0" bIns="0" rtlCol="0">
            <a:spAutoFit/>
          </a:bodyPr>
          <a:lstStyle/>
          <a:p>
            <a:pPr marL="0" indent="0" rtl="0">
              <a:spcAft>
                <a:spcPts val="600"/>
              </a:spcAft>
              <a:buFont typeface="Wingdings" panose="05000000000000000000" pitchFamily="2" charset="2"/>
              <a:buNone/>
            </a:pPr>
            <a:r>
              <a:rPr lang="en-GB" sz="500">
                <a:solidFill>
                  <a:schemeClr val="accent5"/>
                </a:solidFill>
              </a:rPr>
              <a:t>AER Template</a:t>
            </a:r>
            <a:r>
              <a:rPr lang="en-GB" sz="500" baseline="0">
                <a:solidFill>
                  <a:schemeClr val="accent5"/>
                </a:solidFill>
              </a:rPr>
              <a:t> 2017a</a:t>
            </a:r>
            <a:endParaRPr lang="en-GB" sz="500">
              <a:solidFill>
                <a:schemeClr val="accent5"/>
              </a:solidFill>
            </a:endParaRPr>
          </a:p>
        </p:txBody>
      </p:sp>
    </p:spTree>
    <p:extLst>
      <p:ext uri="{BB962C8B-B14F-4D97-AF65-F5344CB8AC3E}">
        <p14:creationId xmlns:p14="http://schemas.microsoft.com/office/powerpoint/2010/main" val="34424954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009826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rtl="0">
              <a:spcAft>
                <a:spcPts val="1000"/>
              </a:spcAft>
              <a:buFontTx/>
              <a:buNone/>
            </a:pPr>
            <a:endParaRPr lang="en-GB" sz="2200" b="1" i="0" baseline="0">
              <a:solidFill>
                <a:schemeClr val="tx1"/>
              </a:solidFill>
              <a:latin typeface="Lato" panose="020F0502020204030203" pitchFamily="34" charset="0"/>
              <a:ea typeface="+mj-ea"/>
              <a:cs typeface="+mj-cs"/>
              <a:sym typeface="Lato" panose="020F0502020204030203" pitchFamily="34" charset="0"/>
            </a:endParaRPr>
          </a:p>
        </p:txBody>
      </p:sp>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EA78DF35-4B78-4F38-B86C-9F1BF366BFC1}"/>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137946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55"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slideLayout" Target="../slideLayouts/slideLayout98.xml"/><Relationship Id="rId55"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slideLayout" Target="../slideLayouts/slideLayout101.xml"/><Relationship Id="rId58" Type="http://schemas.openxmlformats.org/officeDocument/2006/relationships/oleObject" Target="../embeddings/oleObject50.bin"/><Relationship Id="rId5" Type="http://schemas.openxmlformats.org/officeDocument/2006/relationships/slideLayout" Target="../slideLayouts/slideLayout53.xml"/><Relationship Id="rId61" Type="http://schemas.openxmlformats.org/officeDocument/2006/relationships/image" Target="../media/image3.svg"/><Relationship Id="rId19" Type="http://schemas.openxmlformats.org/officeDocument/2006/relationships/slideLayout" Target="../slideLayouts/slideLayout6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56" Type="http://schemas.openxmlformats.org/officeDocument/2006/relationships/tags" Target="../tags/tag55.xml"/><Relationship Id="rId8" Type="http://schemas.openxmlformats.org/officeDocument/2006/relationships/slideLayout" Target="../slideLayouts/slideLayout56.xml"/><Relationship Id="rId51" Type="http://schemas.openxmlformats.org/officeDocument/2006/relationships/slideLayout" Target="../slideLayouts/slideLayout99.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59" Type="http://schemas.openxmlformats.org/officeDocument/2006/relationships/image" Target="../media/image1.emf"/><Relationship Id="rId20" Type="http://schemas.openxmlformats.org/officeDocument/2006/relationships/slideLayout" Target="../slideLayouts/slideLayout68.xml"/><Relationship Id="rId41" Type="http://schemas.openxmlformats.org/officeDocument/2006/relationships/slideLayout" Target="../slideLayouts/slideLayout89.xml"/><Relationship Id="rId54" Type="http://schemas.openxmlformats.org/officeDocument/2006/relationships/slideLayout" Target="../slideLayouts/slideLayout102.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57" Type="http://schemas.openxmlformats.org/officeDocument/2006/relationships/tags" Target="../tags/tag56.xml"/><Relationship Id="rId10" Type="http://schemas.openxmlformats.org/officeDocument/2006/relationships/slideLayout" Target="../slideLayouts/slideLayout58.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slideLayout" Target="../slideLayouts/slideLayout100.xml"/><Relationship Id="rId60" Type="http://schemas.openxmlformats.org/officeDocument/2006/relationships/image" Target="../media/image2.png"/><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47" Type="http://schemas.openxmlformats.org/officeDocument/2006/relationships/tags" Target="../tags/tag113.xml"/><Relationship Id="rId50" Type="http://schemas.openxmlformats.org/officeDocument/2006/relationships/image" Target="../media/image1.emf"/><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oleObject" Target="../embeddings/oleObject105.bin"/><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image" Target="../media/image3.svg"/><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tags" Target="../tags/tag114.xml"/><Relationship Id="rId8" Type="http://schemas.openxmlformats.org/officeDocument/2006/relationships/slideLayout" Target="../slideLayouts/slideLayout110.xml"/><Relationship Id="rId51" Type="http://schemas.openxmlformats.org/officeDocument/2006/relationships/image" Target="../media/image2.png"/><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theme" Target="../theme/theme3.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1" Type="http://schemas.openxmlformats.org/officeDocument/2006/relationships/slideLayout" Target="../slideLayouts/slideLayout103.xml"/><Relationship Id="rId6"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9" Type="http://schemas.openxmlformats.org/officeDocument/2006/relationships/slideLayout" Target="../slideLayouts/slideLayout186.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42" Type="http://schemas.openxmlformats.org/officeDocument/2006/relationships/slideLayout" Target="../slideLayouts/slideLayout189.xml"/><Relationship Id="rId47" Type="http://schemas.openxmlformats.org/officeDocument/2006/relationships/slideLayout" Target="../slideLayouts/slideLayout194.xml"/><Relationship Id="rId50" Type="http://schemas.openxmlformats.org/officeDocument/2006/relationships/slideLayout" Target="../slideLayouts/slideLayout197.xml"/><Relationship Id="rId55" Type="http://schemas.openxmlformats.org/officeDocument/2006/relationships/image" Target="../media/image1.emf"/><Relationship Id="rId7" Type="http://schemas.openxmlformats.org/officeDocument/2006/relationships/slideLayout" Target="../slideLayouts/slideLayout15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9" Type="http://schemas.openxmlformats.org/officeDocument/2006/relationships/slideLayout" Target="../slideLayouts/slideLayout176.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slideLayout" Target="../slideLayouts/slideLayout187.xml"/><Relationship Id="rId45" Type="http://schemas.openxmlformats.org/officeDocument/2006/relationships/slideLayout" Target="../slideLayouts/slideLayout192.xml"/><Relationship Id="rId53" Type="http://schemas.openxmlformats.org/officeDocument/2006/relationships/tags" Target="../tags/tag162.xml"/><Relationship Id="rId5" Type="http://schemas.openxmlformats.org/officeDocument/2006/relationships/slideLayout" Target="../slideLayouts/slideLayout152.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43" Type="http://schemas.openxmlformats.org/officeDocument/2006/relationships/slideLayout" Target="../slideLayouts/slideLayout190.xml"/><Relationship Id="rId48" Type="http://schemas.openxmlformats.org/officeDocument/2006/relationships/slideLayout" Target="../slideLayouts/slideLayout195.xml"/><Relationship Id="rId56" Type="http://schemas.openxmlformats.org/officeDocument/2006/relationships/image" Target="../media/image2.png"/><Relationship Id="rId8" Type="http://schemas.openxmlformats.org/officeDocument/2006/relationships/slideLayout" Target="../slideLayouts/slideLayout155.xml"/><Relationship Id="rId51" Type="http://schemas.openxmlformats.org/officeDocument/2006/relationships/theme" Target="../theme/theme4.xml"/><Relationship Id="rId3" Type="http://schemas.openxmlformats.org/officeDocument/2006/relationships/slideLayout" Target="../slideLayouts/slideLayout150.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 Id="rId46" Type="http://schemas.openxmlformats.org/officeDocument/2006/relationships/slideLayout" Target="../slideLayouts/slideLayout193.xml"/><Relationship Id="rId20" Type="http://schemas.openxmlformats.org/officeDocument/2006/relationships/slideLayout" Target="../slideLayouts/slideLayout167.xml"/><Relationship Id="rId41" Type="http://schemas.openxmlformats.org/officeDocument/2006/relationships/slideLayout" Target="../slideLayouts/slideLayout188.xml"/><Relationship Id="rId54" Type="http://schemas.openxmlformats.org/officeDocument/2006/relationships/oleObject" Target="../embeddings/oleObject151.bin"/><Relationship Id="rId1" Type="http://schemas.openxmlformats.org/officeDocument/2006/relationships/slideLayout" Target="../slideLayouts/slideLayout148.xml"/><Relationship Id="rId6" Type="http://schemas.openxmlformats.org/officeDocument/2006/relationships/slideLayout" Target="../slideLayouts/slideLayout153.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49" Type="http://schemas.openxmlformats.org/officeDocument/2006/relationships/slideLayout" Target="../slideLayouts/slideLayout196.xml"/><Relationship Id="rId57" Type="http://schemas.openxmlformats.org/officeDocument/2006/relationships/image" Target="../media/image3.svg"/><Relationship Id="rId10" Type="http://schemas.openxmlformats.org/officeDocument/2006/relationships/slideLayout" Target="../slideLayouts/slideLayout157.xml"/><Relationship Id="rId31" Type="http://schemas.openxmlformats.org/officeDocument/2006/relationships/slideLayout" Target="../slideLayouts/slideLayout178.xml"/><Relationship Id="rId44" Type="http://schemas.openxmlformats.org/officeDocument/2006/relationships/slideLayout" Target="../slideLayouts/slideLayout191.xml"/><Relationship Id="rId52" Type="http://schemas.openxmlformats.org/officeDocument/2006/relationships/tags" Target="../tags/tag16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slideLayout" Target="../slideLayouts/slideLayout236.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42" Type="http://schemas.openxmlformats.org/officeDocument/2006/relationships/slideLayout" Target="../slideLayouts/slideLayout239.xml"/><Relationship Id="rId47" Type="http://schemas.openxmlformats.org/officeDocument/2006/relationships/image" Target="../media/image2.png"/><Relationship Id="rId7" Type="http://schemas.openxmlformats.org/officeDocument/2006/relationships/slideLayout" Target="../slideLayouts/slideLayout20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slideLayout" Target="../slideLayouts/slideLayout234.xml"/><Relationship Id="rId40" Type="http://schemas.openxmlformats.org/officeDocument/2006/relationships/slideLayout" Target="../slideLayouts/slideLayout237.xml"/><Relationship Id="rId45" Type="http://schemas.openxmlformats.org/officeDocument/2006/relationships/oleObject" Target="../embeddings/oleObject202.bin"/><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slideLayout" Target="../slideLayouts/slideLayout233.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4" Type="http://schemas.openxmlformats.org/officeDocument/2006/relationships/tags" Target="../tags/tag21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43" Type="http://schemas.openxmlformats.org/officeDocument/2006/relationships/theme" Target="../theme/theme5.xml"/><Relationship Id="rId48" Type="http://schemas.openxmlformats.org/officeDocument/2006/relationships/image" Target="../media/image3.svg"/><Relationship Id="rId8" Type="http://schemas.openxmlformats.org/officeDocument/2006/relationships/slideLayout" Target="../slideLayouts/slideLayout205.xml"/><Relationship Id="rId3" Type="http://schemas.openxmlformats.org/officeDocument/2006/relationships/slideLayout" Target="../slideLayouts/slideLayout200.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slideLayout" Target="../slideLayouts/slideLayout235.xml"/><Relationship Id="rId46" Type="http://schemas.openxmlformats.org/officeDocument/2006/relationships/image" Target="../media/image1.emf"/><Relationship Id="rId20" Type="http://schemas.openxmlformats.org/officeDocument/2006/relationships/slideLayout" Target="../slideLayouts/slideLayout217.xml"/><Relationship Id="rId41" Type="http://schemas.openxmlformats.org/officeDocument/2006/relationships/slideLayout" Target="../slideLayouts/slideLayout23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26" Type="http://schemas.openxmlformats.org/officeDocument/2006/relationships/slideLayout" Target="../slideLayouts/slideLayout265.xml"/><Relationship Id="rId39" Type="http://schemas.openxmlformats.org/officeDocument/2006/relationships/slideLayout" Target="../slideLayouts/slideLayout278.xml"/><Relationship Id="rId21" Type="http://schemas.openxmlformats.org/officeDocument/2006/relationships/slideLayout" Target="../slideLayouts/slideLayout260.xml"/><Relationship Id="rId34" Type="http://schemas.openxmlformats.org/officeDocument/2006/relationships/slideLayout" Target="../slideLayouts/slideLayout273.xml"/><Relationship Id="rId42" Type="http://schemas.openxmlformats.org/officeDocument/2006/relationships/slideLayout" Target="../slideLayouts/slideLayout281.xml"/><Relationship Id="rId47" Type="http://schemas.openxmlformats.org/officeDocument/2006/relationships/theme" Target="../theme/theme6.xml"/><Relationship Id="rId50" Type="http://schemas.openxmlformats.org/officeDocument/2006/relationships/oleObject" Target="../embeddings/oleObject245.bin"/><Relationship Id="rId7" Type="http://schemas.openxmlformats.org/officeDocument/2006/relationships/slideLayout" Target="../slideLayouts/slideLayout24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9" Type="http://schemas.openxmlformats.org/officeDocument/2006/relationships/slideLayout" Target="../slideLayouts/slideLayout268.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32" Type="http://schemas.openxmlformats.org/officeDocument/2006/relationships/slideLayout" Target="../slideLayouts/slideLayout271.xml"/><Relationship Id="rId37" Type="http://schemas.openxmlformats.org/officeDocument/2006/relationships/slideLayout" Target="../slideLayouts/slideLayout276.xml"/><Relationship Id="rId40" Type="http://schemas.openxmlformats.org/officeDocument/2006/relationships/slideLayout" Target="../slideLayouts/slideLayout279.xml"/><Relationship Id="rId45" Type="http://schemas.openxmlformats.org/officeDocument/2006/relationships/slideLayout" Target="../slideLayouts/slideLayout284.xml"/><Relationship Id="rId53" Type="http://schemas.openxmlformats.org/officeDocument/2006/relationships/image" Target="../media/image3.svg"/><Relationship Id="rId5" Type="http://schemas.openxmlformats.org/officeDocument/2006/relationships/slideLayout" Target="../slideLayouts/slideLayout244.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31" Type="http://schemas.openxmlformats.org/officeDocument/2006/relationships/slideLayout" Target="../slideLayouts/slideLayout270.xml"/><Relationship Id="rId44" Type="http://schemas.openxmlformats.org/officeDocument/2006/relationships/slideLayout" Target="../slideLayouts/slideLayout283.xml"/><Relationship Id="rId52" Type="http://schemas.openxmlformats.org/officeDocument/2006/relationships/image" Target="../media/image2.png"/><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slideLayout" Target="../slideLayouts/slideLayout266.xml"/><Relationship Id="rId30" Type="http://schemas.openxmlformats.org/officeDocument/2006/relationships/slideLayout" Target="../slideLayouts/slideLayout269.xml"/><Relationship Id="rId35" Type="http://schemas.openxmlformats.org/officeDocument/2006/relationships/slideLayout" Target="../slideLayouts/slideLayout274.xml"/><Relationship Id="rId43" Type="http://schemas.openxmlformats.org/officeDocument/2006/relationships/slideLayout" Target="../slideLayouts/slideLayout282.xml"/><Relationship Id="rId48" Type="http://schemas.openxmlformats.org/officeDocument/2006/relationships/tags" Target="../tags/tag262.xml"/><Relationship Id="rId8" Type="http://schemas.openxmlformats.org/officeDocument/2006/relationships/slideLayout" Target="../slideLayouts/slideLayout247.xml"/><Relationship Id="rId51" Type="http://schemas.openxmlformats.org/officeDocument/2006/relationships/image" Target="../media/image1.emf"/><Relationship Id="rId3" Type="http://schemas.openxmlformats.org/officeDocument/2006/relationships/slideLayout" Target="../slideLayouts/slideLayout242.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33" Type="http://schemas.openxmlformats.org/officeDocument/2006/relationships/slideLayout" Target="../slideLayouts/slideLayout272.xml"/><Relationship Id="rId38" Type="http://schemas.openxmlformats.org/officeDocument/2006/relationships/slideLayout" Target="../slideLayouts/slideLayout277.xml"/><Relationship Id="rId46" Type="http://schemas.openxmlformats.org/officeDocument/2006/relationships/slideLayout" Target="../slideLayouts/slideLayout285.xml"/><Relationship Id="rId20" Type="http://schemas.openxmlformats.org/officeDocument/2006/relationships/slideLayout" Target="../slideLayouts/slideLayout259.xml"/><Relationship Id="rId41" Type="http://schemas.openxmlformats.org/officeDocument/2006/relationships/slideLayout" Target="../slideLayouts/slideLayout280.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slideLayout" Target="../slideLayouts/slideLayout267.xml"/><Relationship Id="rId36" Type="http://schemas.openxmlformats.org/officeDocument/2006/relationships/slideLayout" Target="../slideLayouts/slideLayout275.xml"/><Relationship Id="rId49" Type="http://schemas.openxmlformats.org/officeDocument/2006/relationships/tags" Target="../tags/tag26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26" Type="http://schemas.openxmlformats.org/officeDocument/2006/relationships/slideLayout" Target="../slideLayouts/slideLayout311.xml"/><Relationship Id="rId39" Type="http://schemas.openxmlformats.org/officeDocument/2006/relationships/slideLayout" Target="../slideLayouts/slideLayout324.xml"/><Relationship Id="rId21" Type="http://schemas.openxmlformats.org/officeDocument/2006/relationships/slideLayout" Target="../slideLayouts/slideLayout306.xml"/><Relationship Id="rId34" Type="http://schemas.openxmlformats.org/officeDocument/2006/relationships/slideLayout" Target="../slideLayouts/slideLayout319.xml"/><Relationship Id="rId42" Type="http://schemas.openxmlformats.org/officeDocument/2006/relationships/slideLayout" Target="../slideLayouts/slideLayout327.xml"/><Relationship Id="rId47" Type="http://schemas.openxmlformats.org/officeDocument/2006/relationships/slideLayout" Target="../slideLayouts/slideLayout332.xml"/><Relationship Id="rId50" Type="http://schemas.openxmlformats.org/officeDocument/2006/relationships/slideLayout" Target="../slideLayouts/slideLayout335.xml"/><Relationship Id="rId55" Type="http://schemas.openxmlformats.org/officeDocument/2006/relationships/theme" Target="../theme/theme7.xml"/><Relationship Id="rId7" Type="http://schemas.openxmlformats.org/officeDocument/2006/relationships/slideLayout" Target="../slideLayouts/slideLayout292.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9" Type="http://schemas.openxmlformats.org/officeDocument/2006/relationships/slideLayout" Target="../slideLayouts/slideLayout314.xml"/><Relationship Id="rId11" Type="http://schemas.openxmlformats.org/officeDocument/2006/relationships/slideLayout" Target="../slideLayouts/slideLayout296.xml"/><Relationship Id="rId24" Type="http://schemas.openxmlformats.org/officeDocument/2006/relationships/slideLayout" Target="../slideLayouts/slideLayout309.xml"/><Relationship Id="rId32" Type="http://schemas.openxmlformats.org/officeDocument/2006/relationships/slideLayout" Target="../slideLayouts/slideLayout317.xml"/><Relationship Id="rId37" Type="http://schemas.openxmlformats.org/officeDocument/2006/relationships/slideLayout" Target="../slideLayouts/slideLayout322.xml"/><Relationship Id="rId40" Type="http://schemas.openxmlformats.org/officeDocument/2006/relationships/slideLayout" Target="../slideLayouts/slideLayout325.xml"/><Relationship Id="rId45" Type="http://schemas.openxmlformats.org/officeDocument/2006/relationships/slideLayout" Target="../slideLayouts/slideLayout330.xml"/><Relationship Id="rId53" Type="http://schemas.openxmlformats.org/officeDocument/2006/relationships/slideLayout" Target="../slideLayouts/slideLayout338.xml"/><Relationship Id="rId58" Type="http://schemas.openxmlformats.org/officeDocument/2006/relationships/oleObject" Target="../embeddings/oleObject292.bin"/><Relationship Id="rId5" Type="http://schemas.openxmlformats.org/officeDocument/2006/relationships/slideLayout" Target="../slideLayouts/slideLayout290.xml"/><Relationship Id="rId61" Type="http://schemas.openxmlformats.org/officeDocument/2006/relationships/image" Target="../media/image3.svg"/><Relationship Id="rId19" Type="http://schemas.openxmlformats.org/officeDocument/2006/relationships/slideLayout" Target="../slideLayouts/slideLayout304.xml"/><Relationship Id="rId14" Type="http://schemas.openxmlformats.org/officeDocument/2006/relationships/slideLayout" Target="../slideLayouts/slideLayout299.xml"/><Relationship Id="rId22" Type="http://schemas.openxmlformats.org/officeDocument/2006/relationships/slideLayout" Target="../slideLayouts/slideLayout307.xml"/><Relationship Id="rId27" Type="http://schemas.openxmlformats.org/officeDocument/2006/relationships/slideLayout" Target="../slideLayouts/slideLayout312.xml"/><Relationship Id="rId30" Type="http://schemas.openxmlformats.org/officeDocument/2006/relationships/slideLayout" Target="../slideLayouts/slideLayout315.xml"/><Relationship Id="rId35" Type="http://schemas.openxmlformats.org/officeDocument/2006/relationships/slideLayout" Target="../slideLayouts/slideLayout320.xml"/><Relationship Id="rId43" Type="http://schemas.openxmlformats.org/officeDocument/2006/relationships/slideLayout" Target="../slideLayouts/slideLayout328.xml"/><Relationship Id="rId48" Type="http://schemas.openxmlformats.org/officeDocument/2006/relationships/slideLayout" Target="../slideLayouts/slideLayout333.xml"/><Relationship Id="rId56" Type="http://schemas.openxmlformats.org/officeDocument/2006/relationships/tags" Target="../tags/tag311.xml"/><Relationship Id="rId8" Type="http://schemas.openxmlformats.org/officeDocument/2006/relationships/slideLayout" Target="../slideLayouts/slideLayout293.xml"/><Relationship Id="rId51" Type="http://schemas.openxmlformats.org/officeDocument/2006/relationships/slideLayout" Target="../slideLayouts/slideLayout336.xml"/><Relationship Id="rId3" Type="http://schemas.openxmlformats.org/officeDocument/2006/relationships/slideLayout" Target="../slideLayouts/slideLayout288.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5" Type="http://schemas.openxmlformats.org/officeDocument/2006/relationships/slideLayout" Target="../slideLayouts/slideLayout310.xml"/><Relationship Id="rId33" Type="http://schemas.openxmlformats.org/officeDocument/2006/relationships/slideLayout" Target="../slideLayouts/slideLayout318.xml"/><Relationship Id="rId38" Type="http://schemas.openxmlformats.org/officeDocument/2006/relationships/slideLayout" Target="../slideLayouts/slideLayout323.xml"/><Relationship Id="rId46" Type="http://schemas.openxmlformats.org/officeDocument/2006/relationships/slideLayout" Target="../slideLayouts/slideLayout331.xml"/><Relationship Id="rId59" Type="http://schemas.openxmlformats.org/officeDocument/2006/relationships/image" Target="../media/image1.emf"/><Relationship Id="rId20" Type="http://schemas.openxmlformats.org/officeDocument/2006/relationships/slideLayout" Target="../slideLayouts/slideLayout305.xml"/><Relationship Id="rId41" Type="http://schemas.openxmlformats.org/officeDocument/2006/relationships/slideLayout" Target="../slideLayouts/slideLayout326.xml"/><Relationship Id="rId54" Type="http://schemas.openxmlformats.org/officeDocument/2006/relationships/slideLayout" Target="../slideLayouts/slideLayout339.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5" Type="http://schemas.openxmlformats.org/officeDocument/2006/relationships/slideLayout" Target="../slideLayouts/slideLayout300.xml"/><Relationship Id="rId23" Type="http://schemas.openxmlformats.org/officeDocument/2006/relationships/slideLayout" Target="../slideLayouts/slideLayout308.xml"/><Relationship Id="rId28" Type="http://schemas.openxmlformats.org/officeDocument/2006/relationships/slideLayout" Target="../slideLayouts/slideLayout313.xml"/><Relationship Id="rId36" Type="http://schemas.openxmlformats.org/officeDocument/2006/relationships/slideLayout" Target="../slideLayouts/slideLayout321.xml"/><Relationship Id="rId49" Type="http://schemas.openxmlformats.org/officeDocument/2006/relationships/slideLayout" Target="../slideLayouts/slideLayout334.xml"/><Relationship Id="rId57" Type="http://schemas.openxmlformats.org/officeDocument/2006/relationships/tags" Target="../tags/tag312.xml"/><Relationship Id="rId10" Type="http://schemas.openxmlformats.org/officeDocument/2006/relationships/slideLayout" Target="../slideLayouts/slideLayout295.xml"/><Relationship Id="rId31" Type="http://schemas.openxmlformats.org/officeDocument/2006/relationships/slideLayout" Target="../slideLayouts/slideLayout316.xml"/><Relationship Id="rId44" Type="http://schemas.openxmlformats.org/officeDocument/2006/relationships/slideLayout" Target="../slideLayouts/slideLayout329.xml"/><Relationship Id="rId52" Type="http://schemas.openxmlformats.org/officeDocument/2006/relationships/slideLayout" Target="../slideLayouts/slideLayout337.xml"/><Relationship Id="rId60" Type="http://schemas.openxmlformats.org/officeDocument/2006/relationships/image" Target="../media/image2.png"/><Relationship Id="rId4" Type="http://schemas.openxmlformats.org/officeDocument/2006/relationships/slideLayout" Target="../slideLayouts/slideLayout289.xml"/><Relationship Id="rId9" Type="http://schemas.openxmlformats.org/officeDocument/2006/relationships/slideLayout" Target="../slideLayouts/slideLayout2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50"/>
            </p:custDataLst>
            <p:extLst>
              <p:ext uri="{D42A27DB-BD31-4B8C-83A1-F6EECF244321}">
                <p14:modId xmlns:p14="http://schemas.microsoft.com/office/powerpoint/2010/main" val="32738231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2" imgW="492" imgH="504" progId="TCLayout.ActiveDocument.1">
                  <p:embed/>
                </p:oleObj>
              </mc:Choice>
              <mc:Fallback>
                <p:oleObj name="think-cell Slide" r:id="rId52" imgW="492" imgH="504" progId="TCLayout.ActiveDocument.1">
                  <p:embed/>
                  <p:pic>
                    <p:nvPicPr>
                      <p:cNvPr id="16" name="Object 15" hidden="1"/>
                      <p:cNvPicPr/>
                      <p:nvPr/>
                    </p:nvPicPr>
                    <p:blipFill>
                      <a:blip r:embed="rId53"/>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51"/>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US" sz="22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US"/>
              <a:t>Click to edit Master title style</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905195804"/>
      </p:ext>
    </p:extLst>
  </p:cSld>
  <p:clrMap bg1="lt1" tx1="dk1" bg2="lt2" tx2="dk2" accent1="accent1" accent2="accent2" accent3="accent3" accent4="accent4" accent5="accent5" accent6="accent6" hlink="hlink" folHlink="folHlink"/>
  <p:sldLayoutIdLst>
    <p:sldLayoutId id="2147483750" r:id="rId1"/>
    <p:sldLayoutId id="2147483780" r:id="rId2"/>
    <p:sldLayoutId id="2147483777" r:id="rId3"/>
    <p:sldLayoutId id="2147483754" r:id="rId4"/>
    <p:sldLayoutId id="2147483759" r:id="rId5"/>
    <p:sldLayoutId id="2147483742" r:id="rId6"/>
    <p:sldLayoutId id="2147483733" r:id="rId7"/>
    <p:sldLayoutId id="2147483782" r:id="rId8"/>
    <p:sldLayoutId id="2147483783" r:id="rId9"/>
    <p:sldLayoutId id="2147483784" r:id="rId10"/>
    <p:sldLayoutId id="2147483739" r:id="rId11"/>
    <p:sldLayoutId id="2147483769" r:id="rId12"/>
    <p:sldLayoutId id="2147483741" r:id="rId13"/>
    <p:sldLayoutId id="2147483735" r:id="rId14"/>
    <p:sldLayoutId id="2147483761" r:id="rId15"/>
    <p:sldLayoutId id="2147483772" r:id="rId16"/>
    <p:sldLayoutId id="2147483743" r:id="rId17"/>
    <p:sldLayoutId id="2147483767" r:id="rId18"/>
    <p:sldLayoutId id="2147483698" r:id="rId19"/>
    <p:sldLayoutId id="2147483740" r:id="rId20"/>
    <p:sldLayoutId id="2147483768" r:id="rId21"/>
    <p:sldLayoutId id="2147483737" r:id="rId22"/>
    <p:sldLayoutId id="2147483770" r:id="rId23"/>
    <p:sldLayoutId id="2147483745" r:id="rId24"/>
    <p:sldLayoutId id="2147483771" r:id="rId25"/>
    <p:sldLayoutId id="2147483764" r:id="rId26"/>
    <p:sldLayoutId id="2147483765" r:id="rId27"/>
    <p:sldLayoutId id="2147483785" r:id="rId28"/>
    <p:sldLayoutId id="2147483786" r:id="rId29"/>
    <p:sldLayoutId id="2147483766" r:id="rId30"/>
    <p:sldLayoutId id="2147483774" r:id="rId31"/>
    <p:sldLayoutId id="2147483775" r:id="rId32"/>
    <p:sldLayoutId id="2147483787" r:id="rId33"/>
    <p:sldLayoutId id="2147483788" r:id="rId34"/>
    <p:sldLayoutId id="2147483789" r:id="rId35"/>
    <p:sldLayoutId id="2147483790" r:id="rId36"/>
    <p:sldLayoutId id="2147483746" r:id="rId37"/>
    <p:sldLayoutId id="2147483757" r:id="rId38"/>
    <p:sldLayoutId id="2147483778" r:id="rId39"/>
    <p:sldLayoutId id="2147483760" r:id="rId40"/>
    <p:sldLayoutId id="2147483779" r:id="rId41"/>
    <p:sldLayoutId id="2147483751" r:id="rId42"/>
    <p:sldLayoutId id="2147483753" r:id="rId43"/>
    <p:sldLayoutId id="2147483727" r:id="rId44"/>
    <p:sldLayoutId id="2147483723" r:id="rId45"/>
    <p:sldLayoutId id="2147483791" r:id="rId46"/>
    <p:sldLayoutId id="2147483792" r:id="rId47"/>
    <p:sldLayoutId id="2147483793" r:id="rId48"/>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userDrawn="1">
          <p15:clr>
            <a:srgbClr val="F26B43"/>
          </p15:clr>
        </p15:guide>
        <p15:guide id="2" pos="240">
          <p15:clr>
            <a:srgbClr val="F26B43"/>
          </p15:clr>
        </p15:guide>
        <p15:guide id="3" orient="horz" pos="799">
          <p15:clr>
            <a:srgbClr val="F26B43"/>
          </p15:clr>
        </p15:guide>
        <p15:guide id="4" pos="7448">
          <p15:clr>
            <a:srgbClr val="F26B43"/>
          </p15:clr>
        </p15:guide>
        <p15:guide id="5" orient="horz" pos="1071" userDrawn="1">
          <p15:clr>
            <a:srgbClr val="F26B43"/>
          </p15:clr>
        </p15:guide>
        <p15:guide id="6" pos="3624">
          <p15:clr>
            <a:srgbClr val="F26B43"/>
          </p15:clr>
        </p15:guide>
        <p15:guide id="7" pos="4056">
          <p15:clr>
            <a:srgbClr val="F26B43"/>
          </p15:clr>
        </p15:guide>
        <p15:guide id="8" orient="horz" pos="2500" userDrawn="1">
          <p15:clr>
            <a:srgbClr val="F26B43"/>
          </p15:clr>
        </p15:guide>
        <p15:guide id="9" orient="horz" pos="2115" userDrawn="1">
          <p15:clr>
            <a:srgbClr val="F26B43"/>
          </p15:clr>
        </p15:guide>
        <p15:guide id="10" orient="horz" pos="40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56"/>
            </p:custDataLst>
            <p:extLst>
              <p:ext uri="{D42A27DB-BD31-4B8C-83A1-F6EECF244321}">
                <p14:modId xmlns:p14="http://schemas.microsoft.com/office/powerpoint/2010/main" val="31453112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492" imgH="504" progId="TCLayout.ActiveDocument.1">
                  <p:embed/>
                </p:oleObj>
              </mc:Choice>
              <mc:Fallback>
                <p:oleObj name="think-cell Slide" r:id="rId58" imgW="492" imgH="504" progId="TCLayout.ActiveDocument.1">
                  <p:embed/>
                  <p:pic>
                    <p:nvPicPr>
                      <p:cNvPr id="16" name="Object 15" hidden="1"/>
                      <p:cNvPicPr/>
                      <p:nvPr/>
                    </p:nvPicPr>
                    <p:blipFill>
                      <a:blip r:embed="rId59"/>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57"/>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22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GB"/>
              <a:t>Click to edit Master title style</a:t>
            </a:r>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172952637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 id="2147483836" r:id="rId42"/>
    <p:sldLayoutId id="2147483837" r:id="rId43"/>
    <p:sldLayoutId id="2147483838" r:id="rId44"/>
    <p:sldLayoutId id="2147483839" r:id="rId45"/>
    <p:sldLayoutId id="2147483840" r:id="rId46"/>
    <p:sldLayoutId id="2147483841" r:id="rId47"/>
    <p:sldLayoutId id="2147483842" r:id="rId48"/>
    <p:sldLayoutId id="2147483843" r:id="rId49"/>
    <p:sldLayoutId id="2147483844" r:id="rId50"/>
    <p:sldLayoutId id="2147483845" r:id="rId51"/>
    <p:sldLayoutId id="2147483846" r:id="rId52"/>
    <p:sldLayoutId id="2147483847" r:id="rId53"/>
    <p:sldLayoutId id="2147483848" r:id="rId54"/>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7"/>
            </p:custDataLst>
            <p:extLst>
              <p:ext uri="{D42A27DB-BD31-4B8C-83A1-F6EECF244321}">
                <p14:modId xmlns:p14="http://schemas.microsoft.com/office/powerpoint/2010/main" val="133646179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9" imgW="492" imgH="504" progId="TCLayout.ActiveDocument.1">
                  <p:embed/>
                </p:oleObj>
              </mc:Choice>
              <mc:Fallback>
                <p:oleObj name="think-cell Slide" r:id="rId49" imgW="492" imgH="504" progId="TCLayout.ActiveDocument.1">
                  <p:embed/>
                  <p:pic>
                    <p:nvPicPr>
                      <p:cNvPr id="16" name="Object 15" hidden="1"/>
                      <p:cNvPicPr/>
                      <p:nvPr/>
                    </p:nvPicPr>
                    <p:blipFill>
                      <a:blip r:embed="rId5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48"/>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22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GB" err="1"/>
              <a:t>Mastertitelformat</a:t>
            </a:r>
            <a:r>
              <a:rPr lang="en-GB"/>
              <a:t> </a:t>
            </a:r>
            <a:r>
              <a:rPr lang="en-GB" err="1"/>
              <a:t>bearbeiten</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362750769"/>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52"/>
            </p:custDataLst>
            <p:extLst>
              <p:ext uri="{D42A27DB-BD31-4B8C-83A1-F6EECF244321}">
                <p14:modId xmlns:p14="http://schemas.microsoft.com/office/powerpoint/2010/main" val="188049093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4" imgW="492" imgH="504" progId="TCLayout.ActiveDocument.1">
                  <p:embed/>
                </p:oleObj>
              </mc:Choice>
              <mc:Fallback>
                <p:oleObj name="think-cell Slide" r:id="rId54" imgW="492" imgH="504" progId="TCLayout.ActiveDocument.1">
                  <p:embed/>
                  <p:pic>
                    <p:nvPicPr>
                      <p:cNvPr id="16" name="Object 15" hidden="1"/>
                      <p:cNvPicPr/>
                      <p:nvPr/>
                    </p:nvPicPr>
                    <p:blipFill>
                      <a:blip r:embed="rId55"/>
                      <a:stretch>
                        <a:fillRect/>
                      </a:stretch>
                    </p:blipFill>
                    <p:spPr>
                      <a:xfrm>
                        <a:off x="2119" y="1591"/>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53"/>
            </p:custDataLst>
          </p:nvPr>
        </p:nvSpPr>
        <p:spPr>
          <a:xfrm>
            <a:off x="1" y="0"/>
            <a:ext cx="158751"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US" sz="22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1"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z="800"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601" y="411856"/>
            <a:ext cx="8600471" cy="609398"/>
          </a:xfrm>
          <a:prstGeom prst="rect">
            <a:avLst/>
          </a:prstGeom>
        </p:spPr>
        <p:txBody>
          <a:bodyPr vert="horz" lIns="0" tIns="0" rIns="0" bIns="0" rtlCol="0" anchor="t" anchorCtr="0">
            <a:noAutofit/>
          </a:bodyPr>
          <a:lstStyle/>
          <a:p>
            <a:pPr marL="0" lvl="0"/>
            <a:r>
              <a:rPr lang="en-US"/>
              <a:t>Click to edit Master title style</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2" y="-172292"/>
            <a:ext cx="679673"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_2021.1</a:t>
            </a:r>
          </a:p>
        </p:txBody>
      </p:sp>
      <p:sp>
        <p:nvSpPr>
          <p:cNvPr id="6" name="TextBox 5">
            <a:extLst>
              <a:ext uri="{FF2B5EF4-FFF2-40B4-BE49-F238E27FC236}">
                <a16:creationId xmlns:a16="http://schemas.microsoft.com/office/drawing/2014/main" id="{E310896C-8244-259D-240E-50155D6617F9}"/>
              </a:ext>
            </a:extLst>
          </p:cNvPr>
          <p:cNvSpPr txBox="1"/>
          <p:nvPr userDrawn="1"/>
        </p:nvSpPr>
        <p:spPr>
          <a:xfrm>
            <a:off x="10765767" y="6696659"/>
            <a:ext cx="759124" cy="123111"/>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US" sz="800">
                <a:solidFill>
                  <a:schemeClr val="bg1">
                    <a:lumMod val="50000"/>
                  </a:schemeClr>
                </a:solidFill>
              </a:rPr>
              <a:t>CONFIDENTIAL</a:t>
            </a:r>
          </a:p>
        </p:txBody>
      </p:sp>
    </p:spTree>
    <p:extLst>
      <p:ext uri="{BB962C8B-B14F-4D97-AF65-F5344CB8AC3E}">
        <p14:creationId xmlns:p14="http://schemas.microsoft.com/office/powerpoint/2010/main" val="2254700829"/>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 id="2147483922" r:id="rId26"/>
    <p:sldLayoutId id="2147483923" r:id="rId27"/>
    <p:sldLayoutId id="2147483924" r:id="rId28"/>
    <p:sldLayoutId id="2147483925" r:id="rId29"/>
    <p:sldLayoutId id="2147483926" r:id="rId30"/>
    <p:sldLayoutId id="2147483927" r:id="rId31"/>
    <p:sldLayoutId id="2147483928" r:id="rId32"/>
    <p:sldLayoutId id="2147483929" r:id="rId33"/>
    <p:sldLayoutId id="2147483930" r:id="rId34"/>
    <p:sldLayoutId id="2147483931" r:id="rId35"/>
    <p:sldLayoutId id="2147483932" r:id="rId36"/>
    <p:sldLayoutId id="2147483933" r:id="rId37"/>
    <p:sldLayoutId id="2147483934" r:id="rId38"/>
    <p:sldLayoutId id="2147483935" r:id="rId39"/>
    <p:sldLayoutId id="2147483936" r:id="rId40"/>
    <p:sldLayoutId id="2147483937" r:id="rId41"/>
    <p:sldLayoutId id="2147483938" r:id="rId42"/>
    <p:sldLayoutId id="2147483939" r:id="rId43"/>
    <p:sldLayoutId id="2147483940" r:id="rId44"/>
    <p:sldLayoutId id="2147483941" r:id="rId45"/>
    <p:sldLayoutId id="2147483942" r:id="rId46"/>
    <p:sldLayoutId id="2147483943" r:id="rId47"/>
    <p:sldLayoutId id="2147483944" r:id="rId48"/>
    <p:sldLayoutId id="2147483945" r:id="rId49"/>
    <p:sldLayoutId id="2147483946" r:id="rId50"/>
  </p:sldLayoutIdLst>
  <p:hf sldNum="0" hdr="0" ftr="0" dt="0"/>
  <p:txStyles>
    <p:titleStyle>
      <a:lvl1pPr algn="l" defTabSz="685766"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66" rtl="0" eaLnBrk="1" latinLnBrk="0" hangingPunct="1">
        <a:lnSpc>
          <a:spcPct val="100000"/>
        </a:lnSpc>
        <a:spcBef>
          <a:spcPts val="751"/>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0" indent="-180970" algn="l" defTabSz="685766"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66" indent="-177796" algn="l" defTabSz="685766"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37" indent="-180970" algn="l" defTabSz="685766"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33" indent="-177796" algn="l" defTabSz="685766" rtl="0" eaLnBrk="1" latinLnBrk="0" hangingPunct="1">
        <a:lnSpc>
          <a:spcPct val="90000"/>
        </a:lnSpc>
        <a:spcBef>
          <a:spcPts val="0"/>
        </a:spcBef>
        <a:buFontTx/>
        <a:buChar char="-"/>
        <a:defRPr sz="12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3"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7"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3" algn="l" defTabSz="685766"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4"/>
            </p:custDataLst>
            <p:extLst>
              <p:ext uri="{D42A27DB-BD31-4B8C-83A1-F6EECF244321}">
                <p14:modId xmlns:p14="http://schemas.microsoft.com/office/powerpoint/2010/main" val="922003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5" imgW="492" imgH="504" progId="TCLayout.ActiveDocument.1">
                  <p:embed/>
                </p:oleObj>
              </mc:Choice>
              <mc:Fallback>
                <p:oleObj name="think-cell Slide" r:id="rId45" imgW="492" imgH="504" progId="TCLayout.ActiveDocument.1">
                  <p:embed/>
                  <p:pic>
                    <p:nvPicPr>
                      <p:cNvPr id="16" name="Object 15"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US"/>
              <a:t>Click to edit Master title style</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977191"/>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10303669" y="463173"/>
            <a:ext cx="1520032" cy="205004"/>
          </a:xfrm>
          <a:prstGeom prst="rect">
            <a:avLst/>
          </a:prstGeom>
        </p:spPr>
      </p:pic>
    </p:spTree>
    <p:extLst>
      <p:ext uri="{BB962C8B-B14F-4D97-AF65-F5344CB8AC3E}">
        <p14:creationId xmlns:p14="http://schemas.microsoft.com/office/powerpoint/2010/main" val="2198831119"/>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44">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91">
          <p15:clr>
            <a:srgbClr val="F26B43"/>
          </p15:clr>
        </p15:guide>
        <p15:guide id="9"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8"/>
            </p:custDataLst>
            <p:extLst>
              <p:ext uri="{D42A27DB-BD31-4B8C-83A1-F6EECF244321}">
                <p14:modId xmlns:p14="http://schemas.microsoft.com/office/powerpoint/2010/main" val="29414543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0" imgW="492" imgH="504" progId="TCLayout.ActiveDocument.1">
                  <p:embed/>
                </p:oleObj>
              </mc:Choice>
              <mc:Fallback>
                <p:oleObj name="think-cell Slide" r:id="rId50" imgW="492" imgH="504" progId="TCLayout.ActiveDocument.1">
                  <p:embed/>
                  <p:pic>
                    <p:nvPicPr>
                      <p:cNvPr id="16" name="Object 15" hidden="1"/>
                      <p:cNvPicPr/>
                      <p:nvPr/>
                    </p:nvPicPr>
                    <p:blipFill>
                      <a:blip r:embed="rId51"/>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49"/>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22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GB"/>
              <a:t>Click to edit Master title style</a:t>
            </a:r>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1057910490"/>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35" r:id="rId45"/>
    <p:sldLayoutId id="2147484036" r:id="rId46"/>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56"/>
            </p:custDataLst>
            <p:extLst>
              <p:ext uri="{D42A27DB-BD31-4B8C-83A1-F6EECF244321}">
                <p14:modId xmlns:p14="http://schemas.microsoft.com/office/powerpoint/2010/main" val="21835209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492" imgH="504" progId="TCLayout.ActiveDocument.1">
                  <p:embed/>
                </p:oleObj>
              </mc:Choice>
              <mc:Fallback>
                <p:oleObj name="think-cell Slide" r:id="rId58" imgW="492" imgH="504" progId="TCLayout.ActiveDocument.1">
                  <p:embed/>
                  <p:pic>
                    <p:nvPicPr>
                      <p:cNvPr id="16" name="Object 15" hidden="1"/>
                      <p:cNvPicPr/>
                      <p:nvPr/>
                    </p:nvPicPr>
                    <p:blipFill>
                      <a:blip r:embed="rId59"/>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57"/>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22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GB"/>
              <a:t>Click to edit Master title style</a:t>
            </a:r>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475412973"/>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 id="2147484070" r:id="rId33"/>
    <p:sldLayoutId id="2147484071" r:id="rId34"/>
    <p:sldLayoutId id="2147484072" r:id="rId35"/>
    <p:sldLayoutId id="2147484073" r:id="rId36"/>
    <p:sldLayoutId id="2147484074" r:id="rId37"/>
    <p:sldLayoutId id="2147484075" r:id="rId38"/>
    <p:sldLayoutId id="2147484076" r:id="rId39"/>
    <p:sldLayoutId id="2147484077" r:id="rId40"/>
    <p:sldLayoutId id="2147484078" r:id="rId41"/>
    <p:sldLayoutId id="2147484079" r:id="rId42"/>
    <p:sldLayoutId id="2147484080" r:id="rId43"/>
    <p:sldLayoutId id="2147484081" r:id="rId44"/>
    <p:sldLayoutId id="2147484082" r:id="rId45"/>
    <p:sldLayoutId id="2147484083" r:id="rId46"/>
    <p:sldLayoutId id="2147484084" r:id="rId47"/>
    <p:sldLayoutId id="2147484085" r:id="rId48"/>
    <p:sldLayoutId id="2147484086" r:id="rId49"/>
    <p:sldLayoutId id="2147484087" r:id="rId50"/>
    <p:sldLayoutId id="2147484088" r:id="rId51"/>
    <p:sldLayoutId id="2147484089" r:id="rId52"/>
    <p:sldLayoutId id="2147484090" r:id="rId53"/>
    <p:sldLayoutId id="2147484091" r:id="rId54"/>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5.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slideLayout" Target="../slideLayouts/slideLayout7.xml"/><Relationship Id="rId18" Type="http://schemas.openxmlformats.org/officeDocument/2006/relationships/chart" Target="../charts/chart1.xml"/><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tags" Target="../tags/tag389.xml"/><Relationship Id="rId17" Type="http://schemas.openxmlformats.org/officeDocument/2006/relationships/image" Target="../media/image63.emf"/><Relationship Id="rId2" Type="http://schemas.openxmlformats.org/officeDocument/2006/relationships/tags" Target="../tags/tag379.xml"/><Relationship Id="rId16" Type="http://schemas.openxmlformats.org/officeDocument/2006/relationships/oleObject" Target="../embeddings/oleObject355.bin"/><Relationship Id="rId1" Type="http://schemas.openxmlformats.org/officeDocument/2006/relationships/tags" Target="../tags/tag378.xml"/><Relationship Id="rId6" Type="http://schemas.openxmlformats.org/officeDocument/2006/relationships/tags" Target="../tags/tag383.xml"/><Relationship Id="rId11" Type="http://schemas.openxmlformats.org/officeDocument/2006/relationships/tags" Target="../tags/tag388.xml"/><Relationship Id="rId5" Type="http://schemas.openxmlformats.org/officeDocument/2006/relationships/tags" Target="../tags/tag382.xml"/><Relationship Id="rId15" Type="http://schemas.microsoft.com/office/2018/10/relationships/comments" Target="../comments/modernComment_7FFFF4ED_9F10E7EF.xml"/><Relationship Id="rId10" Type="http://schemas.openxmlformats.org/officeDocument/2006/relationships/tags" Target="../tags/tag387.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notesSlide" Target="../notesSlides/notesSlide7.xml"/></Relationships>
</file>

<file path=ppt/slides/_rels/slide100.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notesSlide" Target="../notesSlides/notesSlide94.xml"/><Relationship Id="rId7" Type="http://schemas.openxmlformats.org/officeDocument/2006/relationships/slide" Target="slide87.xml"/><Relationship Id="rId2" Type="http://schemas.openxmlformats.org/officeDocument/2006/relationships/slideLayout" Target="../slideLayouts/slideLayout3.xml"/><Relationship Id="rId1" Type="http://schemas.openxmlformats.org/officeDocument/2006/relationships/tags" Target="../tags/tag2140.xml"/><Relationship Id="rId6" Type="http://schemas.openxmlformats.org/officeDocument/2006/relationships/slide" Target="slide82.xml"/><Relationship Id="rId5" Type="http://schemas.openxmlformats.org/officeDocument/2006/relationships/image" Target="../media/image63.emf"/><Relationship Id="rId10" Type="http://schemas.openxmlformats.org/officeDocument/2006/relationships/slide" Target="slide78.xml"/><Relationship Id="rId4" Type="http://schemas.openxmlformats.org/officeDocument/2006/relationships/oleObject" Target="../embeddings/oleObject445.bin"/><Relationship Id="rId9" Type="http://schemas.openxmlformats.org/officeDocument/2006/relationships/slide" Target="slide102.xml"/></Relationships>
</file>

<file path=ppt/slides/_rels/slide101.xml.rels><?xml version="1.0" encoding="UTF-8" standalone="yes"?>
<Relationships xmlns="http://schemas.openxmlformats.org/package/2006/relationships"><Relationship Id="rId13" Type="http://schemas.openxmlformats.org/officeDocument/2006/relationships/tags" Target="../tags/tag2153.xml"/><Relationship Id="rId18" Type="http://schemas.openxmlformats.org/officeDocument/2006/relationships/tags" Target="../tags/tag2158.xml"/><Relationship Id="rId26" Type="http://schemas.openxmlformats.org/officeDocument/2006/relationships/tags" Target="../tags/tag2166.xml"/><Relationship Id="rId39" Type="http://schemas.openxmlformats.org/officeDocument/2006/relationships/chart" Target="../charts/chart95.xml"/><Relationship Id="rId21" Type="http://schemas.openxmlformats.org/officeDocument/2006/relationships/tags" Target="../tags/tag2161.xml"/><Relationship Id="rId34" Type="http://schemas.openxmlformats.org/officeDocument/2006/relationships/notesSlide" Target="../notesSlides/notesSlide95.xml"/><Relationship Id="rId7" Type="http://schemas.openxmlformats.org/officeDocument/2006/relationships/tags" Target="../tags/tag2147.xml"/><Relationship Id="rId12" Type="http://schemas.openxmlformats.org/officeDocument/2006/relationships/tags" Target="../tags/tag2152.xml"/><Relationship Id="rId17" Type="http://schemas.openxmlformats.org/officeDocument/2006/relationships/tags" Target="../tags/tag2157.xml"/><Relationship Id="rId25" Type="http://schemas.openxmlformats.org/officeDocument/2006/relationships/tags" Target="../tags/tag2165.xml"/><Relationship Id="rId33" Type="http://schemas.openxmlformats.org/officeDocument/2006/relationships/slideLayout" Target="../slideLayouts/slideLayout7.xml"/><Relationship Id="rId38" Type="http://schemas.openxmlformats.org/officeDocument/2006/relationships/chart" Target="../charts/chart94.xml"/><Relationship Id="rId2" Type="http://schemas.openxmlformats.org/officeDocument/2006/relationships/tags" Target="../tags/tag2142.xml"/><Relationship Id="rId16" Type="http://schemas.openxmlformats.org/officeDocument/2006/relationships/tags" Target="../tags/tag2156.xml"/><Relationship Id="rId20" Type="http://schemas.openxmlformats.org/officeDocument/2006/relationships/tags" Target="../tags/tag2160.xml"/><Relationship Id="rId29" Type="http://schemas.openxmlformats.org/officeDocument/2006/relationships/tags" Target="../tags/tag2169.xml"/><Relationship Id="rId1" Type="http://schemas.openxmlformats.org/officeDocument/2006/relationships/tags" Target="../tags/tag2141.xml"/><Relationship Id="rId6" Type="http://schemas.openxmlformats.org/officeDocument/2006/relationships/tags" Target="../tags/tag2146.xml"/><Relationship Id="rId11" Type="http://schemas.openxmlformats.org/officeDocument/2006/relationships/tags" Target="../tags/tag2151.xml"/><Relationship Id="rId24" Type="http://schemas.openxmlformats.org/officeDocument/2006/relationships/tags" Target="../tags/tag2164.xml"/><Relationship Id="rId32" Type="http://schemas.openxmlformats.org/officeDocument/2006/relationships/tags" Target="../tags/tag2172.xml"/><Relationship Id="rId37" Type="http://schemas.openxmlformats.org/officeDocument/2006/relationships/image" Target="../media/image87.emf"/><Relationship Id="rId40" Type="http://schemas.openxmlformats.org/officeDocument/2006/relationships/chart" Target="../charts/chart96.xml"/><Relationship Id="rId5" Type="http://schemas.openxmlformats.org/officeDocument/2006/relationships/tags" Target="../tags/tag2145.xml"/><Relationship Id="rId15" Type="http://schemas.openxmlformats.org/officeDocument/2006/relationships/tags" Target="../tags/tag2155.xml"/><Relationship Id="rId23" Type="http://schemas.openxmlformats.org/officeDocument/2006/relationships/tags" Target="../tags/tag2163.xml"/><Relationship Id="rId28" Type="http://schemas.openxmlformats.org/officeDocument/2006/relationships/tags" Target="../tags/tag2168.xml"/><Relationship Id="rId36" Type="http://schemas.openxmlformats.org/officeDocument/2006/relationships/oleObject" Target="../embeddings/oleObject446.bin"/><Relationship Id="rId10" Type="http://schemas.openxmlformats.org/officeDocument/2006/relationships/tags" Target="../tags/tag2150.xml"/><Relationship Id="rId19" Type="http://schemas.openxmlformats.org/officeDocument/2006/relationships/tags" Target="../tags/tag2159.xml"/><Relationship Id="rId31" Type="http://schemas.openxmlformats.org/officeDocument/2006/relationships/tags" Target="../tags/tag2171.xml"/><Relationship Id="rId4" Type="http://schemas.openxmlformats.org/officeDocument/2006/relationships/tags" Target="../tags/tag2144.xml"/><Relationship Id="rId9" Type="http://schemas.openxmlformats.org/officeDocument/2006/relationships/tags" Target="../tags/tag2149.xml"/><Relationship Id="rId14" Type="http://schemas.openxmlformats.org/officeDocument/2006/relationships/tags" Target="../tags/tag2154.xml"/><Relationship Id="rId22" Type="http://schemas.openxmlformats.org/officeDocument/2006/relationships/tags" Target="../tags/tag2162.xml"/><Relationship Id="rId27" Type="http://schemas.openxmlformats.org/officeDocument/2006/relationships/tags" Target="../tags/tag2167.xml"/><Relationship Id="rId30" Type="http://schemas.openxmlformats.org/officeDocument/2006/relationships/tags" Target="../tags/tag2170.xml"/><Relationship Id="rId35" Type="http://schemas.microsoft.com/office/2018/10/relationships/comments" Target="../comments/modernComment_7FF65031_2996504A.xml"/><Relationship Id="rId8" Type="http://schemas.openxmlformats.org/officeDocument/2006/relationships/tags" Target="../tags/tag2148.xml"/><Relationship Id="rId3" Type="http://schemas.openxmlformats.org/officeDocument/2006/relationships/tags" Target="../tags/tag2143.xml"/></Relationships>
</file>

<file path=ppt/slides/_rels/slide102.xml.rels><?xml version="1.0" encoding="UTF-8" standalone="yes"?>
<Relationships xmlns="http://schemas.openxmlformats.org/package/2006/relationships"><Relationship Id="rId8" Type="http://schemas.openxmlformats.org/officeDocument/2006/relationships/tags" Target="../tags/tag2180.xml"/><Relationship Id="rId13" Type="http://schemas.openxmlformats.org/officeDocument/2006/relationships/tags" Target="../tags/tag2185.xml"/><Relationship Id="rId18" Type="http://schemas.openxmlformats.org/officeDocument/2006/relationships/tags" Target="../tags/tag2190.xml"/><Relationship Id="rId3" Type="http://schemas.openxmlformats.org/officeDocument/2006/relationships/tags" Target="../tags/tag2175.xml"/><Relationship Id="rId21" Type="http://schemas.openxmlformats.org/officeDocument/2006/relationships/oleObject" Target="../embeddings/oleObject447.bin"/><Relationship Id="rId7" Type="http://schemas.openxmlformats.org/officeDocument/2006/relationships/tags" Target="../tags/tag2179.xml"/><Relationship Id="rId12" Type="http://schemas.openxmlformats.org/officeDocument/2006/relationships/tags" Target="../tags/tag2184.xml"/><Relationship Id="rId17" Type="http://schemas.openxmlformats.org/officeDocument/2006/relationships/tags" Target="../tags/tag2189.xml"/><Relationship Id="rId2" Type="http://schemas.openxmlformats.org/officeDocument/2006/relationships/tags" Target="../tags/tag2174.xml"/><Relationship Id="rId16" Type="http://schemas.openxmlformats.org/officeDocument/2006/relationships/tags" Target="../tags/tag2188.xml"/><Relationship Id="rId20" Type="http://schemas.openxmlformats.org/officeDocument/2006/relationships/notesSlide" Target="../notesSlides/notesSlide96.xml"/><Relationship Id="rId1" Type="http://schemas.openxmlformats.org/officeDocument/2006/relationships/tags" Target="../tags/tag2173.xml"/><Relationship Id="rId6" Type="http://schemas.openxmlformats.org/officeDocument/2006/relationships/tags" Target="../tags/tag2178.xml"/><Relationship Id="rId11" Type="http://schemas.openxmlformats.org/officeDocument/2006/relationships/tags" Target="../tags/tag2183.xml"/><Relationship Id="rId24" Type="http://schemas.openxmlformats.org/officeDocument/2006/relationships/chart" Target="../charts/chart98.xml"/><Relationship Id="rId5" Type="http://schemas.openxmlformats.org/officeDocument/2006/relationships/tags" Target="../tags/tag2177.xml"/><Relationship Id="rId15" Type="http://schemas.openxmlformats.org/officeDocument/2006/relationships/tags" Target="../tags/tag2187.xml"/><Relationship Id="rId23" Type="http://schemas.openxmlformats.org/officeDocument/2006/relationships/chart" Target="../charts/chart97.xml"/><Relationship Id="rId10" Type="http://schemas.openxmlformats.org/officeDocument/2006/relationships/tags" Target="../tags/tag2182.xml"/><Relationship Id="rId19" Type="http://schemas.openxmlformats.org/officeDocument/2006/relationships/slideLayout" Target="../slideLayouts/slideLayout7.xml"/><Relationship Id="rId4" Type="http://schemas.openxmlformats.org/officeDocument/2006/relationships/tags" Target="../tags/tag2176.xml"/><Relationship Id="rId9" Type="http://schemas.openxmlformats.org/officeDocument/2006/relationships/tags" Target="../tags/tag2181.xml"/><Relationship Id="rId14" Type="http://schemas.openxmlformats.org/officeDocument/2006/relationships/tags" Target="../tags/tag2186.xml"/><Relationship Id="rId22" Type="http://schemas.openxmlformats.org/officeDocument/2006/relationships/image" Target="../media/image14.emf"/></Relationships>
</file>

<file path=ppt/slides/_rels/slide103.xml.rels><?xml version="1.0" encoding="UTF-8" standalone="yes"?>
<Relationships xmlns="http://schemas.openxmlformats.org/package/2006/relationships"><Relationship Id="rId13" Type="http://schemas.openxmlformats.org/officeDocument/2006/relationships/tags" Target="../tags/tag2203.xml"/><Relationship Id="rId18" Type="http://schemas.openxmlformats.org/officeDocument/2006/relationships/tags" Target="../tags/tag2208.xml"/><Relationship Id="rId26" Type="http://schemas.openxmlformats.org/officeDocument/2006/relationships/tags" Target="../tags/tag2216.xml"/><Relationship Id="rId39" Type="http://schemas.openxmlformats.org/officeDocument/2006/relationships/image" Target="../media/image14.emf"/><Relationship Id="rId21" Type="http://schemas.openxmlformats.org/officeDocument/2006/relationships/tags" Target="../tags/tag2211.xml"/><Relationship Id="rId34" Type="http://schemas.openxmlformats.org/officeDocument/2006/relationships/tags" Target="../tags/tag2224.xml"/><Relationship Id="rId42" Type="http://schemas.openxmlformats.org/officeDocument/2006/relationships/chart" Target="../charts/chart101.xml"/><Relationship Id="rId7" Type="http://schemas.openxmlformats.org/officeDocument/2006/relationships/tags" Target="../tags/tag2197.xml"/><Relationship Id="rId2" Type="http://schemas.openxmlformats.org/officeDocument/2006/relationships/tags" Target="../tags/tag2192.xml"/><Relationship Id="rId16" Type="http://schemas.openxmlformats.org/officeDocument/2006/relationships/tags" Target="../tags/tag2206.xml"/><Relationship Id="rId20" Type="http://schemas.openxmlformats.org/officeDocument/2006/relationships/tags" Target="../tags/tag2210.xml"/><Relationship Id="rId29" Type="http://schemas.openxmlformats.org/officeDocument/2006/relationships/tags" Target="../tags/tag2219.xml"/><Relationship Id="rId41" Type="http://schemas.openxmlformats.org/officeDocument/2006/relationships/chart" Target="../charts/chart100.xml"/><Relationship Id="rId1" Type="http://schemas.openxmlformats.org/officeDocument/2006/relationships/tags" Target="../tags/tag2191.xml"/><Relationship Id="rId6" Type="http://schemas.openxmlformats.org/officeDocument/2006/relationships/tags" Target="../tags/tag2196.xml"/><Relationship Id="rId11" Type="http://schemas.openxmlformats.org/officeDocument/2006/relationships/tags" Target="../tags/tag2201.xml"/><Relationship Id="rId24" Type="http://schemas.openxmlformats.org/officeDocument/2006/relationships/tags" Target="../tags/tag2214.xml"/><Relationship Id="rId32" Type="http://schemas.openxmlformats.org/officeDocument/2006/relationships/tags" Target="../tags/tag2222.xml"/><Relationship Id="rId37" Type="http://schemas.microsoft.com/office/2018/10/relationships/comments" Target="../comments/modernComment_7FF65019_D597E138.xml"/><Relationship Id="rId40" Type="http://schemas.openxmlformats.org/officeDocument/2006/relationships/chart" Target="../charts/chart99.xml"/><Relationship Id="rId5" Type="http://schemas.openxmlformats.org/officeDocument/2006/relationships/tags" Target="../tags/tag2195.xml"/><Relationship Id="rId15" Type="http://schemas.openxmlformats.org/officeDocument/2006/relationships/tags" Target="../tags/tag2205.xml"/><Relationship Id="rId23" Type="http://schemas.openxmlformats.org/officeDocument/2006/relationships/tags" Target="../tags/tag2213.xml"/><Relationship Id="rId28" Type="http://schemas.openxmlformats.org/officeDocument/2006/relationships/tags" Target="../tags/tag2218.xml"/><Relationship Id="rId36" Type="http://schemas.openxmlformats.org/officeDocument/2006/relationships/notesSlide" Target="../notesSlides/notesSlide97.xml"/><Relationship Id="rId10" Type="http://schemas.openxmlformats.org/officeDocument/2006/relationships/tags" Target="../tags/tag2200.xml"/><Relationship Id="rId19" Type="http://schemas.openxmlformats.org/officeDocument/2006/relationships/tags" Target="../tags/tag2209.xml"/><Relationship Id="rId31" Type="http://schemas.openxmlformats.org/officeDocument/2006/relationships/tags" Target="../tags/tag2221.xml"/><Relationship Id="rId4" Type="http://schemas.openxmlformats.org/officeDocument/2006/relationships/tags" Target="../tags/tag2194.xml"/><Relationship Id="rId9" Type="http://schemas.openxmlformats.org/officeDocument/2006/relationships/tags" Target="../tags/tag2199.xml"/><Relationship Id="rId14" Type="http://schemas.openxmlformats.org/officeDocument/2006/relationships/tags" Target="../tags/tag2204.xml"/><Relationship Id="rId22" Type="http://schemas.openxmlformats.org/officeDocument/2006/relationships/tags" Target="../tags/tag2212.xml"/><Relationship Id="rId27" Type="http://schemas.openxmlformats.org/officeDocument/2006/relationships/tags" Target="../tags/tag2217.xml"/><Relationship Id="rId30" Type="http://schemas.openxmlformats.org/officeDocument/2006/relationships/tags" Target="../tags/tag2220.xml"/><Relationship Id="rId35" Type="http://schemas.openxmlformats.org/officeDocument/2006/relationships/slideLayout" Target="../slideLayouts/slideLayout4.xml"/><Relationship Id="rId8" Type="http://schemas.openxmlformats.org/officeDocument/2006/relationships/tags" Target="../tags/tag2198.xml"/><Relationship Id="rId3" Type="http://schemas.openxmlformats.org/officeDocument/2006/relationships/tags" Target="../tags/tag2193.xml"/><Relationship Id="rId12" Type="http://schemas.openxmlformats.org/officeDocument/2006/relationships/tags" Target="../tags/tag2202.xml"/><Relationship Id="rId17" Type="http://schemas.openxmlformats.org/officeDocument/2006/relationships/tags" Target="../tags/tag2207.xml"/><Relationship Id="rId25" Type="http://schemas.openxmlformats.org/officeDocument/2006/relationships/tags" Target="../tags/tag2215.xml"/><Relationship Id="rId33" Type="http://schemas.openxmlformats.org/officeDocument/2006/relationships/tags" Target="../tags/tag2223.xml"/><Relationship Id="rId38" Type="http://schemas.openxmlformats.org/officeDocument/2006/relationships/oleObject" Target="../embeddings/oleObject448.bin"/></Relationships>
</file>

<file path=ppt/slides/_rels/slide104.xml.rels><?xml version="1.0" encoding="UTF-8" standalone="yes"?>
<Relationships xmlns="http://schemas.openxmlformats.org/package/2006/relationships"><Relationship Id="rId13" Type="http://schemas.openxmlformats.org/officeDocument/2006/relationships/tags" Target="../tags/tag2237.xml"/><Relationship Id="rId18" Type="http://schemas.openxmlformats.org/officeDocument/2006/relationships/tags" Target="../tags/tag2242.xml"/><Relationship Id="rId26" Type="http://schemas.openxmlformats.org/officeDocument/2006/relationships/tags" Target="../tags/tag2250.xml"/><Relationship Id="rId39" Type="http://schemas.openxmlformats.org/officeDocument/2006/relationships/tags" Target="../tags/tag2263.xml"/><Relationship Id="rId21" Type="http://schemas.openxmlformats.org/officeDocument/2006/relationships/tags" Target="../tags/tag2245.xml"/><Relationship Id="rId34" Type="http://schemas.openxmlformats.org/officeDocument/2006/relationships/tags" Target="../tags/tag2258.xml"/><Relationship Id="rId42" Type="http://schemas.openxmlformats.org/officeDocument/2006/relationships/tags" Target="../tags/tag2266.xml"/><Relationship Id="rId47" Type="http://schemas.openxmlformats.org/officeDocument/2006/relationships/notesSlide" Target="../notesSlides/notesSlide98.xml"/><Relationship Id="rId50" Type="http://schemas.openxmlformats.org/officeDocument/2006/relationships/chart" Target="../charts/chart102.xml"/><Relationship Id="rId7" Type="http://schemas.openxmlformats.org/officeDocument/2006/relationships/tags" Target="../tags/tag2231.xml"/><Relationship Id="rId2" Type="http://schemas.openxmlformats.org/officeDocument/2006/relationships/tags" Target="../tags/tag2226.xml"/><Relationship Id="rId16" Type="http://schemas.openxmlformats.org/officeDocument/2006/relationships/tags" Target="../tags/tag2240.xml"/><Relationship Id="rId29" Type="http://schemas.openxmlformats.org/officeDocument/2006/relationships/tags" Target="../tags/tag2253.xml"/><Relationship Id="rId11" Type="http://schemas.openxmlformats.org/officeDocument/2006/relationships/tags" Target="../tags/tag2235.xml"/><Relationship Id="rId24" Type="http://schemas.openxmlformats.org/officeDocument/2006/relationships/tags" Target="../tags/tag2248.xml"/><Relationship Id="rId32" Type="http://schemas.openxmlformats.org/officeDocument/2006/relationships/tags" Target="../tags/tag2256.xml"/><Relationship Id="rId37" Type="http://schemas.openxmlformats.org/officeDocument/2006/relationships/tags" Target="../tags/tag2261.xml"/><Relationship Id="rId40" Type="http://schemas.openxmlformats.org/officeDocument/2006/relationships/tags" Target="../tags/tag2264.xml"/><Relationship Id="rId45" Type="http://schemas.openxmlformats.org/officeDocument/2006/relationships/tags" Target="../tags/tag2269.xml"/><Relationship Id="rId5" Type="http://schemas.openxmlformats.org/officeDocument/2006/relationships/tags" Target="../tags/tag2229.xml"/><Relationship Id="rId15" Type="http://schemas.openxmlformats.org/officeDocument/2006/relationships/tags" Target="../tags/tag2239.xml"/><Relationship Id="rId23" Type="http://schemas.openxmlformats.org/officeDocument/2006/relationships/tags" Target="../tags/tag2247.xml"/><Relationship Id="rId28" Type="http://schemas.openxmlformats.org/officeDocument/2006/relationships/tags" Target="../tags/tag2252.xml"/><Relationship Id="rId36" Type="http://schemas.openxmlformats.org/officeDocument/2006/relationships/tags" Target="../tags/tag2260.xml"/><Relationship Id="rId49" Type="http://schemas.openxmlformats.org/officeDocument/2006/relationships/image" Target="../media/image14.emf"/><Relationship Id="rId10" Type="http://schemas.openxmlformats.org/officeDocument/2006/relationships/tags" Target="../tags/tag2234.xml"/><Relationship Id="rId19" Type="http://schemas.openxmlformats.org/officeDocument/2006/relationships/tags" Target="../tags/tag2243.xml"/><Relationship Id="rId31" Type="http://schemas.openxmlformats.org/officeDocument/2006/relationships/tags" Target="../tags/tag2255.xml"/><Relationship Id="rId44" Type="http://schemas.openxmlformats.org/officeDocument/2006/relationships/tags" Target="../tags/tag2268.xml"/><Relationship Id="rId52" Type="http://schemas.openxmlformats.org/officeDocument/2006/relationships/chart" Target="../charts/chart104.xml"/><Relationship Id="rId4" Type="http://schemas.openxmlformats.org/officeDocument/2006/relationships/tags" Target="../tags/tag2228.xml"/><Relationship Id="rId9" Type="http://schemas.openxmlformats.org/officeDocument/2006/relationships/tags" Target="../tags/tag2233.xml"/><Relationship Id="rId14" Type="http://schemas.openxmlformats.org/officeDocument/2006/relationships/tags" Target="../tags/tag2238.xml"/><Relationship Id="rId22" Type="http://schemas.openxmlformats.org/officeDocument/2006/relationships/tags" Target="../tags/tag2246.xml"/><Relationship Id="rId27" Type="http://schemas.openxmlformats.org/officeDocument/2006/relationships/tags" Target="../tags/tag2251.xml"/><Relationship Id="rId30" Type="http://schemas.openxmlformats.org/officeDocument/2006/relationships/tags" Target="../tags/tag2254.xml"/><Relationship Id="rId35" Type="http://schemas.openxmlformats.org/officeDocument/2006/relationships/tags" Target="../tags/tag2259.xml"/><Relationship Id="rId43" Type="http://schemas.openxmlformats.org/officeDocument/2006/relationships/tags" Target="../tags/tag2267.xml"/><Relationship Id="rId48" Type="http://schemas.openxmlformats.org/officeDocument/2006/relationships/oleObject" Target="../embeddings/oleObject449.bin"/><Relationship Id="rId8" Type="http://schemas.openxmlformats.org/officeDocument/2006/relationships/tags" Target="../tags/tag2232.xml"/><Relationship Id="rId51" Type="http://schemas.openxmlformats.org/officeDocument/2006/relationships/chart" Target="../charts/chart103.xml"/><Relationship Id="rId3" Type="http://schemas.openxmlformats.org/officeDocument/2006/relationships/tags" Target="../tags/tag2227.xml"/><Relationship Id="rId12" Type="http://schemas.openxmlformats.org/officeDocument/2006/relationships/tags" Target="../tags/tag2236.xml"/><Relationship Id="rId17" Type="http://schemas.openxmlformats.org/officeDocument/2006/relationships/tags" Target="../tags/tag2241.xml"/><Relationship Id="rId25" Type="http://schemas.openxmlformats.org/officeDocument/2006/relationships/tags" Target="../tags/tag2249.xml"/><Relationship Id="rId33" Type="http://schemas.openxmlformats.org/officeDocument/2006/relationships/tags" Target="../tags/tag2257.xml"/><Relationship Id="rId38" Type="http://schemas.openxmlformats.org/officeDocument/2006/relationships/tags" Target="../tags/tag2262.xml"/><Relationship Id="rId46" Type="http://schemas.openxmlformats.org/officeDocument/2006/relationships/slideLayout" Target="../slideLayouts/slideLayout4.xml"/><Relationship Id="rId20" Type="http://schemas.openxmlformats.org/officeDocument/2006/relationships/tags" Target="../tags/tag2244.xml"/><Relationship Id="rId41" Type="http://schemas.openxmlformats.org/officeDocument/2006/relationships/tags" Target="../tags/tag2265.xml"/><Relationship Id="rId1" Type="http://schemas.openxmlformats.org/officeDocument/2006/relationships/tags" Target="../tags/tag2225.xml"/><Relationship Id="rId6" Type="http://schemas.openxmlformats.org/officeDocument/2006/relationships/tags" Target="../tags/tag2230.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3.xml"/><Relationship Id="rId1" Type="http://schemas.openxmlformats.org/officeDocument/2006/relationships/tags" Target="../tags/tag2270.xml"/><Relationship Id="rId6" Type="http://schemas.openxmlformats.org/officeDocument/2006/relationships/slide" Target="slide105.xml"/><Relationship Id="rId5" Type="http://schemas.openxmlformats.org/officeDocument/2006/relationships/image" Target="../media/image63.emf"/><Relationship Id="rId4" Type="http://schemas.openxmlformats.org/officeDocument/2006/relationships/oleObject" Target="../embeddings/oleObject450.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47.xml"/><Relationship Id="rId1" Type="http://schemas.openxmlformats.org/officeDocument/2006/relationships/tags" Target="../tags/tag2271.xml"/><Relationship Id="rId5" Type="http://schemas.openxmlformats.org/officeDocument/2006/relationships/image" Target="../media/image14.emf"/><Relationship Id="rId4" Type="http://schemas.openxmlformats.org/officeDocument/2006/relationships/oleObject" Target="../embeddings/oleObject451.bin"/></Relationships>
</file>

<file path=ppt/slides/_rels/slide107.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2274.xml"/><Relationship Id="rId7" Type="http://schemas.openxmlformats.org/officeDocument/2006/relationships/tags" Target="../tags/tag2278.xml"/><Relationship Id="rId12" Type="http://schemas.openxmlformats.org/officeDocument/2006/relationships/chart" Target="../charts/chart105.xml"/><Relationship Id="rId2" Type="http://schemas.openxmlformats.org/officeDocument/2006/relationships/tags" Target="../tags/tag2273.xml"/><Relationship Id="rId1" Type="http://schemas.openxmlformats.org/officeDocument/2006/relationships/tags" Target="../tags/tag2272.xml"/><Relationship Id="rId6" Type="http://schemas.openxmlformats.org/officeDocument/2006/relationships/tags" Target="../tags/tag2277.xml"/><Relationship Id="rId11" Type="http://schemas.openxmlformats.org/officeDocument/2006/relationships/image" Target="../media/image14.emf"/><Relationship Id="rId5" Type="http://schemas.openxmlformats.org/officeDocument/2006/relationships/tags" Target="../tags/tag2276.xml"/><Relationship Id="rId10" Type="http://schemas.openxmlformats.org/officeDocument/2006/relationships/oleObject" Target="../embeddings/oleObject452.bin"/><Relationship Id="rId4" Type="http://schemas.openxmlformats.org/officeDocument/2006/relationships/tags" Target="../tags/tag2275.xml"/><Relationship Id="rId9" Type="http://schemas.openxmlformats.org/officeDocument/2006/relationships/notesSlide" Target="../notesSlides/notesSlide101.xml"/></Relationships>
</file>

<file path=ppt/slides/_rels/slide108.xml.rels><?xml version="1.0" encoding="UTF-8" standalone="yes"?>
<Relationships xmlns="http://schemas.openxmlformats.org/package/2006/relationships"><Relationship Id="rId8" Type="http://schemas.openxmlformats.org/officeDocument/2006/relationships/tags" Target="../tags/tag2286.xml"/><Relationship Id="rId13" Type="http://schemas.openxmlformats.org/officeDocument/2006/relationships/notesSlide" Target="../notesSlides/notesSlide102.xml"/><Relationship Id="rId18" Type="http://schemas.openxmlformats.org/officeDocument/2006/relationships/hyperlink" Target="mailto:alex.hutcheson@auroraer.com" TargetMode="External"/><Relationship Id="rId3" Type="http://schemas.openxmlformats.org/officeDocument/2006/relationships/tags" Target="../tags/tag2281.xml"/><Relationship Id="rId7" Type="http://schemas.openxmlformats.org/officeDocument/2006/relationships/tags" Target="../tags/tag2285.xml"/><Relationship Id="rId12" Type="http://schemas.openxmlformats.org/officeDocument/2006/relationships/slideLayout" Target="../slideLayouts/slideLayout18.xml"/><Relationship Id="rId17" Type="http://schemas.openxmlformats.org/officeDocument/2006/relationships/chart" Target="../charts/chart107.xml"/><Relationship Id="rId2" Type="http://schemas.openxmlformats.org/officeDocument/2006/relationships/tags" Target="../tags/tag2280.xml"/><Relationship Id="rId16" Type="http://schemas.openxmlformats.org/officeDocument/2006/relationships/chart" Target="../charts/chart106.xml"/><Relationship Id="rId1" Type="http://schemas.openxmlformats.org/officeDocument/2006/relationships/tags" Target="../tags/tag2279.xml"/><Relationship Id="rId6" Type="http://schemas.openxmlformats.org/officeDocument/2006/relationships/tags" Target="../tags/tag2284.xml"/><Relationship Id="rId11" Type="http://schemas.openxmlformats.org/officeDocument/2006/relationships/tags" Target="../tags/tag2289.xml"/><Relationship Id="rId5" Type="http://schemas.openxmlformats.org/officeDocument/2006/relationships/tags" Target="../tags/tag2283.xml"/><Relationship Id="rId15" Type="http://schemas.openxmlformats.org/officeDocument/2006/relationships/image" Target="../media/image63.emf"/><Relationship Id="rId10" Type="http://schemas.openxmlformats.org/officeDocument/2006/relationships/tags" Target="../tags/tag2288.xml"/><Relationship Id="rId4" Type="http://schemas.openxmlformats.org/officeDocument/2006/relationships/tags" Target="../tags/tag2282.xml"/><Relationship Id="rId9" Type="http://schemas.openxmlformats.org/officeDocument/2006/relationships/tags" Target="../tags/tag2287.xml"/><Relationship Id="rId14" Type="http://schemas.openxmlformats.org/officeDocument/2006/relationships/oleObject" Target="../embeddings/oleObject453.bin"/></Relationships>
</file>

<file path=ppt/slides/_rels/slide109.xml.rels><?xml version="1.0" encoding="UTF-8" standalone="yes"?>
<Relationships xmlns="http://schemas.openxmlformats.org/package/2006/relationships"><Relationship Id="rId8" Type="http://schemas.openxmlformats.org/officeDocument/2006/relationships/tags" Target="../tags/tag2297.xml"/><Relationship Id="rId13" Type="http://schemas.openxmlformats.org/officeDocument/2006/relationships/oleObject" Target="../embeddings/oleObject454.bin"/><Relationship Id="rId3" Type="http://schemas.openxmlformats.org/officeDocument/2006/relationships/tags" Target="../tags/tag2292.xml"/><Relationship Id="rId7" Type="http://schemas.openxmlformats.org/officeDocument/2006/relationships/tags" Target="../tags/tag2296.xml"/><Relationship Id="rId12" Type="http://schemas.openxmlformats.org/officeDocument/2006/relationships/notesSlide" Target="../notesSlides/notesSlide103.xml"/><Relationship Id="rId2" Type="http://schemas.openxmlformats.org/officeDocument/2006/relationships/tags" Target="../tags/tag2291.xml"/><Relationship Id="rId16" Type="http://schemas.openxmlformats.org/officeDocument/2006/relationships/hyperlink" Target="mailto:alex.hutcheson@auroraer.com" TargetMode="External"/><Relationship Id="rId1" Type="http://schemas.openxmlformats.org/officeDocument/2006/relationships/tags" Target="../tags/tag2290.xml"/><Relationship Id="rId6" Type="http://schemas.openxmlformats.org/officeDocument/2006/relationships/tags" Target="../tags/tag2295.xml"/><Relationship Id="rId11" Type="http://schemas.openxmlformats.org/officeDocument/2006/relationships/slideLayout" Target="../slideLayouts/slideLayout19.xml"/><Relationship Id="rId5" Type="http://schemas.openxmlformats.org/officeDocument/2006/relationships/tags" Target="../tags/tag2294.xml"/><Relationship Id="rId15" Type="http://schemas.openxmlformats.org/officeDocument/2006/relationships/chart" Target="../charts/chart108.xml"/><Relationship Id="rId10" Type="http://schemas.openxmlformats.org/officeDocument/2006/relationships/tags" Target="../tags/tag2299.xml"/><Relationship Id="rId4" Type="http://schemas.openxmlformats.org/officeDocument/2006/relationships/tags" Target="../tags/tag2293.xml"/><Relationship Id="rId9" Type="http://schemas.openxmlformats.org/officeDocument/2006/relationships/tags" Target="../tags/tag2298.xml"/><Relationship Id="rId14" Type="http://schemas.openxmlformats.org/officeDocument/2006/relationships/image" Target="../media/image63.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390.xml"/><Relationship Id="rId5" Type="http://schemas.openxmlformats.org/officeDocument/2006/relationships/image" Target="../media/image14.emf"/><Relationship Id="rId4" Type="http://schemas.openxmlformats.org/officeDocument/2006/relationships/oleObject" Target="../embeddings/oleObject356.bin"/></Relationships>
</file>

<file path=ppt/slides/_rels/slide110.xml.rels><?xml version="1.0" encoding="UTF-8" standalone="yes"?>
<Relationships xmlns="http://schemas.openxmlformats.org/package/2006/relationships"><Relationship Id="rId13" Type="http://schemas.openxmlformats.org/officeDocument/2006/relationships/tags" Target="../tags/tag2312.xml"/><Relationship Id="rId18" Type="http://schemas.openxmlformats.org/officeDocument/2006/relationships/tags" Target="../tags/tag2317.xml"/><Relationship Id="rId26" Type="http://schemas.openxmlformats.org/officeDocument/2006/relationships/tags" Target="../tags/tag2325.xml"/><Relationship Id="rId21" Type="http://schemas.openxmlformats.org/officeDocument/2006/relationships/tags" Target="../tags/tag2320.xml"/><Relationship Id="rId34" Type="http://schemas.openxmlformats.org/officeDocument/2006/relationships/chart" Target="../charts/chart110.xml"/><Relationship Id="rId7" Type="http://schemas.openxmlformats.org/officeDocument/2006/relationships/tags" Target="../tags/tag2306.xml"/><Relationship Id="rId12" Type="http://schemas.openxmlformats.org/officeDocument/2006/relationships/tags" Target="../tags/tag2311.xml"/><Relationship Id="rId17" Type="http://schemas.openxmlformats.org/officeDocument/2006/relationships/tags" Target="../tags/tag2316.xml"/><Relationship Id="rId25" Type="http://schemas.openxmlformats.org/officeDocument/2006/relationships/tags" Target="../tags/tag2324.xml"/><Relationship Id="rId33" Type="http://schemas.openxmlformats.org/officeDocument/2006/relationships/chart" Target="../charts/chart109.xml"/><Relationship Id="rId2" Type="http://schemas.openxmlformats.org/officeDocument/2006/relationships/tags" Target="../tags/tag2301.xml"/><Relationship Id="rId16" Type="http://schemas.openxmlformats.org/officeDocument/2006/relationships/tags" Target="../tags/tag2315.xml"/><Relationship Id="rId20" Type="http://schemas.openxmlformats.org/officeDocument/2006/relationships/tags" Target="../tags/tag2319.xml"/><Relationship Id="rId29" Type="http://schemas.openxmlformats.org/officeDocument/2006/relationships/slideLayout" Target="../slideLayouts/slideLayout19.xml"/><Relationship Id="rId1" Type="http://schemas.openxmlformats.org/officeDocument/2006/relationships/tags" Target="../tags/tag2300.xml"/><Relationship Id="rId6" Type="http://schemas.openxmlformats.org/officeDocument/2006/relationships/tags" Target="../tags/tag2305.xml"/><Relationship Id="rId11" Type="http://schemas.openxmlformats.org/officeDocument/2006/relationships/tags" Target="../tags/tag2310.xml"/><Relationship Id="rId24" Type="http://schemas.openxmlformats.org/officeDocument/2006/relationships/tags" Target="../tags/tag2323.xml"/><Relationship Id="rId32" Type="http://schemas.openxmlformats.org/officeDocument/2006/relationships/image" Target="../media/image7.emf"/><Relationship Id="rId37" Type="http://schemas.openxmlformats.org/officeDocument/2006/relationships/hyperlink" Target="mailto:alex.hutcheson@auroraer.com" TargetMode="External"/><Relationship Id="rId5" Type="http://schemas.openxmlformats.org/officeDocument/2006/relationships/tags" Target="../tags/tag2304.xml"/><Relationship Id="rId15" Type="http://schemas.openxmlformats.org/officeDocument/2006/relationships/tags" Target="../tags/tag2314.xml"/><Relationship Id="rId23" Type="http://schemas.openxmlformats.org/officeDocument/2006/relationships/tags" Target="../tags/tag2322.xml"/><Relationship Id="rId28" Type="http://schemas.openxmlformats.org/officeDocument/2006/relationships/tags" Target="../tags/tag2327.xml"/><Relationship Id="rId36" Type="http://schemas.openxmlformats.org/officeDocument/2006/relationships/chart" Target="../charts/chart112.xml"/><Relationship Id="rId10" Type="http://schemas.openxmlformats.org/officeDocument/2006/relationships/tags" Target="../tags/tag2309.xml"/><Relationship Id="rId19" Type="http://schemas.openxmlformats.org/officeDocument/2006/relationships/tags" Target="../tags/tag2318.xml"/><Relationship Id="rId31" Type="http://schemas.openxmlformats.org/officeDocument/2006/relationships/oleObject" Target="../embeddings/oleObject455.bin"/><Relationship Id="rId4" Type="http://schemas.openxmlformats.org/officeDocument/2006/relationships/tags" Target="../tags/tag2303.xml"/><Relationship Id="rId9" Type="http://schemas.openxmlformats.org/officeDocument/2006/relationships/tags" Target="../tags/tag2308.xml"/><Relationship Id="rId14" Type="http://schemas.openxmlformats.org/officeDocument/2006/relationships/tags" Target="../tags/tag2313.xml"/><Relationship Id="rId22" Type="http://schemas.openxmlformats.org/officeDocument/2006/relationships/tags" Target="../tags/tag2321.xml"/><Relationship Id="rId27" Type="http://schemas.openxmlformats.org/officeDocument/2006/relationships/tags" Target="../tags/tag2326.xml"/><Relationship Id="rId30" Type="http://schemas.openxmlformats.org/officeDocument/2006/relationships/notesSlide" Target="../notesSlides/notesSlide104.xml"/><Relationship Id="rId35" Type="http://schemas.openxmlformats.org/officeDocument/2006/relationships/chart" Target="../charts/chart111.xml"/><Relationship Id="rId8" Type="http://schemas.openxmlformats.org/officeDocument/2006/relationships/tags" Target="../tags/tag2307.xml"/><Relationship Id="rId3" Type="http://schemas.openxmlformats.org/officeDocument/2006/relationships/tags" Target="../tags/tag2302.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329.xml"/><Relationship Id="rId1" Type="http://schemas.openxmlformats.org/officeDocument/2006/relationships/tags" Target="../tags/tag2328.xml"/><Relationship Id="rId6" Type="http://schemas.openxmlformats.org/officeDocument/2006/relationships/image" Target="../media/image7.emf"/><Relationship Id="rId5" Type="http://schemas.openxmlformats.org/officeDocument/2006/relationships/oleObject" Target="../embeddings/oleObject456.bin"/><Relationship Id="rId4" Type="http://schemas.openxmlformats.org/officeDocument/2006/relationships/notesSlide" Target="../notesSlides/notesSlide105.xml"/></Relationships>
</file>

<file path=ppt/slides/_rels/slide112.xml.rels><?xml version="1.0" encoding="UTF-8" standalone="yes"?>
<Relationships xmlns="http://schemas.openxmlformats.org/package/2006/relationships"><Relationship Id="rId26" Type="http://schemas.openxmlformats.org/officeDocument/2006/relationships/tags" Target="../tags/tag2355.xml"/><Relationship Id="rId21" Type="http://schemas.openxmlformats.org/officeDocument/2006/relationships/tags" Target="../tags/tag2350.xml"/><Relationship Id="rId42" Type="http://schemas.openxmlformats.org/officeDocument/2006/relationships/tags" Target="../tags/tag2371.xml"/><Relationship Id="rId47" Type="http://schemas.openxmlformats.org/officeDocument/2006/relationships/tags" Target="../tags/tag2376.xml"/><Relationship Id="rId63" Type="http://schemas.openxmlformats.org/officeDocument/2006/relationships/chart" Target="../charts/chart115.xml"/><Relationship Id="rId68" Type="http://schemas.openxmlformats.org/officeDocument/2006/relationships/chart" Target="../charts/chart120.xml"/><Relationship Id="rId7" Type="http://schemas.openxmlformats.org/officeDocument/2006/relationships/tags" Target="../tags/tag2336.xml"/><Relationship Id="rId71" Type="http://schemas.openxmlformats.org/officeDocument/2006/relationships/chart" Target="../charts/chart123.xml"/><Relationship Id="rId2" Type="http://schemas.openxmlformats.org/officeDocument/2006/relationships/tags" Target="../tags/tag2331.xml"/><Relationship Id="rId16" Type="http://schemas.openxmlformats.org/officeDocument/2006/relationships/tags" Target="../tags/tag2345.xml"/><Relationship Id="rId29" Type="http://schemas.openxmlformats.org/officeDocument/2006/relationships/tags" Target="../tags/tag2358.xml"/><Relationship Id="rId11" Type="http://schemas.openxmlformats.org/officeDocument/2006/relationships/tags" Target="../tags/tag2340.xml"/><Relationship Id="rId24" Type="http://schemas.openxmlformats.org/officeDocument/2006/relationships/tags" Target="../tags/tag2353.xml"/><Relationship Id="rId32" Type="http://schemas.openxmlformats.org/officeDocument/2006/relationships/tags" Target="../tags/tag2361.xml"/><Relationship Id="rId37" Type="http://schemas.openxmlformats.org/officeDocument/2006/relationships/tags" Target="../tags/tag2366.xml"/><Relationship Id="rId40" Type="http://schemas.openxmlformats.org/officeDocument/2006/relationships/tags" Target="../tags/tag2369.xml"/><Relationship Id="rId45" Type="http://schemas.openxmlformats.org/officeDocument/2006/relationships/tags" Target="../tags/tag2374.xml"/><Relationship Id="rId53" Type="http://schemas.openxmlformats.org/officeDocument/2006/relationships/tags" Target="../tags/tag2382.xml"/><Relationship Id="rId58" Type="http://schemas.openxmlformats.org/officeDocument/2006/relationships/notesSlide" Target="../notesSlides/notesSlide106.xml"/><Relationship Id="rId66" Type="http://schemas.openxmlformats.org/officeDocument/2006/relationships/chart" Target="../charts/chart118.xml"/><Relationship Id="rId5" Type="http://schemas.openxmlformats.org/officeDocument/2006/relationships/tags" Target="../tags/tag2334.xml"/><Relationship Id="rId61" Type="http://schemas.openxmlformats.org/officeDocument/2006/relationships/chart" Target="../charts/chart113.xml"/><Relationship Id="rId19" Type="http://schemas.openxmlformats.org/officeDocument/2006/relationships/tags" Target="../tags/tag2348.xml"/><Relationship Id="rId14" Type="http://schemas.openxmlformats.org/officeDocument/2006/relationships/tags" Target="../tags/tag2343.xml"/><Relationship Id="rId22" Type="http://schemas.openxmlformats.org/officeDocument/2006/relationships/tags" Target="../tags/tag2351.xml"/><Relationship Id="rId27" Type="http://schemas.openxmlformats.org/officeDocument/2006/relationships/tags" Target="../tags/tag2356.xml"/><Relationship Id="rId30" Type="http://schemas.openxmlformats.org/officeDocument/2006/relationships/tags" Target="../tags/tag2359.xml"/><Relationship Id="rId35" Type="http://schemas.openxmlformats.org/officeDocument/2006/relationships/tags" Target="../tags/tag2364.xml"/><Relationship Id="rId43" Type="http://schemas.openxmlformats.org/officeDocument/2006/relationships/tags" Target="../tags/tag2372.xml"/><Relationship Id="rId48" Type="http://schemas.openxmlformats.org/officeDocument/2006/relationships/tags" Target="../tags/tag2377.xml"/><Relationship Id="rId56" Type="http://schemas.openxmlformats.org/officeDocument/2006/relationships/tags" Target="../tags/tag2385.xml"/><Relationship Id="rId64" Type="http://schemas.openxmlformats.org/officeDocument/2006/relationships/chart" Target="../charts/chart116.xml"/><Relationship Id="rId69" Type="http://schemas.openxmlformats.org/officeDocument/2006/relationships/chart" Target="../charts/chart121.xml"/><Relationship Id="rId8" Type="http://schemas.openxmlformats.org/officeDocument/2006/relationships/tags" Target="../tags/tag2337.xml"/><Relationship Id="rId51" Type="http://schemas.openxmlformats.org/officeDocument/2006/relationships/tags" Target="../tags/tag2380.xml"/><Relationship Id="rId3" Type="http://schemas.openxmlformats.org/officeDocument/2006/relationships/tags" Target="../tags/tag2332.xml"/><Relationship Id="rId12" Type="http://schemas.openxmlformats.org/officeDocument/2006/relationships/tags" Target="../tags/tag2341.xml"/><Relationship Id="rId17" Type="http://schemas.openxmlformats.org/officeDocument/2006/relationships/tags" Target="../tags/tag2346.xml"/><Relationship Id="rId25" Type="http://schemas.openxmlformats.org/officeDocument/2006/relationships/tags" Target="../tags/tag2354.xml"/><Relationship Id="rId33" Type="http://schemas.openxmlformats.org/officeDocument/2006/relationships/tags" Target="../tags/tag2362.xml"/><Relationship Id="rId38" Type="http://schemas.openxmlformats.org/officeDocument/2006/relationships/tags" Target="../tags/tag2367.xml"/><Relationship Id="rId46" Type="http://schemas.openxmlformats.org/officeDocument/2006/relationships/tags" Target="../tags/tag2375.xml"/><Relationship Id="rId59" Type="http://schemas.openxmlformats.org/officeDocument/2006/relationships/oleObject" Target="../embeddings/oleObject457.bin"/><Relationship Id="rId67" Type="http://schemas.openxmlformats.org/officeDocument/2006/relationships/chart" Target="../charts/chart119.xml"/><Relationship Id="rId20" Type="http://schemas.openxmlformats.org/officeDocument/2006/relationships/tags" Target="../tags/tag2349.xml"/><Relationship Id="rId41" Type="http://schemas.openxmlformats.org/officeDocument/2006/relationships/tags" Target="../tags/tag2370.xml"/><Relationship Id="rId54" Type="http://schemas.openxmlformats.org/officeDocument/2006/relationships/tags" Target="../tags/tag2383.xml"/><Relationship Id="rId62" Type="http://schemas.openxmlformats.org/officeDocument/2006/relationships/chart" Target="../charts/chart114.xml"/><Relationship Id="rId70" Type="http://schemas.openxmlformats.org/officeDocument/2006/relationships/chart" Target="../charts/chart122.xml"/><Relationship Id="rId1" Type="http://schemas.openxmlformats.org/officeDocument/2006/relationships/tags" Target="../tags/tag2330.xml"/><Relationship Id="rId6" Type="http://schemas.openxmlformats.org/officeDocument/2006/relationships/tags" Target="../tags/tag2335.xml"/><Relationship Id="rId15" Type="http://schemas.openxmlformats.org/officeDocument/2006/relationships/tags" Target="../tags/tag2344.xml"/><Relationship Id="rId23" Type="http://schemas.openxmlformats.org/officeDocument/2006/relationships/tags" Target="../tags/tag2352.xml"/><Relationship Id="rId28" Type="http://schemas.openxmlformats.org/officeDocument/2006/relationships/tags" Target="../tags/tag2357.xml"/><Relationship Id="rId36" Type="http://schemas.openxmlformats.org/officeDocument/2006/relationships/tags" Target="../tags/tag2365.xml"/><Relationship Id="rId49" Type="http://schemas.openxmlformats.org/officeDocument/2006/relationships/tags" Target="../tags/tag2378.xml"/><Relationship Id="rId57" Type="http://schemas.openxmlformats.org/officeDocument/2006/relationships/slideLayout" Target="../slideLayouts/slideLayout5.xml"/><Relationship Id="rId10" Type="http://schemas.openxmlformats.org/officeDocument/2006/relationships/tags" Target="../tags/tag2339.xml"/><Relationship Id="rId31" Type="http://schemas.openxmlformats.org/officeDocument/2006/relationships/tags" Target="../tags/tag2360.xml"/><Relationship Id="rId44" Type="http://schemas.openxmlformats.org/officeDocument/2006/relationships/tags" Target="../tags/tag2373.xml"/><Relationship Id="rId52" Type="http://schemas.openxmlformats.org/officeDocument/2006/relationships/tags" Target="../tags/tag2381.xml"/><Relationship Id="rId60" Type="http://schemas.openxmlformats.org/officeDocument/2006/relationships/image" Target="../media/image63.emf"/><Relationship Id="rId65" Type="http://schemas.openxmlformats.org/officeDocument/2006/relationships/chart" Target="../charts/chart117.xml"/><Relationship Id="rId4" Type="http://schemas.openxmlformats.org/officeDocument/2006/relationships/tags" Target="../tags/tag2333.xml"/><Relationship Id="rId9" Type="http://schemas.openxmlformats.org/officeDocument/2006/relationships/tags" Target="../tags/tag2338.xml"/><Relationship Id="rId13" Type="http://schemas.openxmlformats.org/officeDocument/2006/relationships/tags" Target="../tags/tag2342.xml"/><Relationship Id="rId18" Type="http://schemas.openxmlformats.org/officeDocument/2006/relationships/tags" Target="../tags/tag2347.xml"/><Relationship Id="rId39" Type="http://schemas.openxmlformats.org/officeDocument/2006/relationships/tags" Target="../tags/tag2368.xml"/><Relationship Id="rId34" Type="http://schemas.openxmlformats.org/officeDocument/2006/relationships/tags" Target="../tags/tag2363.xml"/><Relationship Id="rId50" Type="http://schemas.openxmlformats.org/officeDocument/2006/relationships/tags" Target="../tags/tag2379.xml"/><Relationship Id="rId55" Type="http://schemas.openxmlformats.org/officeDocument/2006/relationships/tags" Target="../tags/tag2384.xml"/></Relationships>
</file>

<file path=ppt/slides/_rels/slide113.xml.rels><?xml version="1.0" encoding="UTF-8" standalone="yes"?>
<Relationships xmlns="http://schemas.openxmlformats.org/package/2006/relationships"><Relationship Id="rId13" Type="http://schemas.openxmlformats.org/officeDocument/2006/relationships/tags" Target="../tags/tag2398.xml"/><Relationship Id="rId18" Type="http://schemas.openxmlformats.org/officeDocument/2006/relationships/tags" Target="../tags/tag2403.xml"/><Relationship Id="rId26" Type="http://schemas.openxmlformats.org/officeDocument/2006/relationships/tags" Target="../tags/tag2411.xml"/><Relationship Id="rId39" Type="http://schemas.openxmlformats.org/officeDocument/2006/relationships/oleObject" Target="../embeddings/oleObject458.bin"/><Relationship Id="rId21" Type="http://schemas.openxmlformats.org/officeDocument/2006/relationships/tags" Target="../tags/tag2406.xml"/><Relationship Id="rId34" Type="http://schemas.openxmlformats.org/officeDocument/2006/relationships/tags" Target="../tags/tag2419.xml"/><Relationship Id="rId42" Type="http://schemas.openxmlformats.org/officeDocument/2006/relationships/chart" Target="../charts/chart125.xml"/><Relationship Id="rId7" Type="http://schemas.openxmlformats.org/officeDocument/2006/relationships/tags" Target="../tags/tag2392.xml"/><Relationship Id="rId2" Type="http://schemas.openxmlformats.org/officeDocument/2006/relationships/tags" Target="../tags/tag2387.xml"/><Relationship Id="rId16" Type="http://schemas.openxmlformats.org/officeDocument/2006/relationships/tags" Target="../tags/tag2401.xml"/><Relationship Id="rId29" Type="http://schemas.openxmlformats.org/officeDocument/2006/relationships/tags" Target="../tags/tag2414.xml"/><Relationship Id="rId1" Type="http://schemas.openxmlformats.org/officeDocument/2006/relationships/tags" Target="../tags/tag2386.xml"/><Relationship Id="rId6" Type="http://schemas.openxmlformats.org/officeDocument/2006/relationships/tags" Target="../tags/tag2391.xml"/><Relationship Id="rId11" Type="http://schemas.openxmlformats.org/officeDocument/2006/relationships/tags" Target="../tags/tag2396.xml"/><Relationship Id="rId24" Type="http://schemas.openxmlformats.org/officeDocument/2006/relationships/tags" Target="../tags/tag2409.xml"/><Relationship Id="rId32" Type="http://schemas.openxmlformats.org/officeDocument/2006/relationships/tags" Target="../tags/tag2417.xml"/><Relationship Id="rId37" Type="http://schemas.openxmlformats.org/officeDocument/2006/relationships/slideLayout" Target="../slideLayouts/slideLayout5.xml"/><Relationship Id="rId40" Type="http://schemas.openxmlformats.org/officeDocument/2006/relationships/image" Target="../media/image63.emf"/><Relationship Id="rId45" Type="http://schemas.openxmlformats.org/officeDocument/2006/relationships/chart" Target="../charts/chart128.xml"/><Relationship Id="rId5" Type="http://schemas.openxmlformats.org/officeDocument/2006/relationships/tags" Target="../tags/tag2390.xml"/><Relationship Id="rId15" Type="http://schemas.openxmlformats.org/officeDocument/2006/relationships/tags" Target="../tags/tag2400.xml"/><Relationship Id="rId23" Type="http://schemas.openxmlformats.org/officeDocument/2006/relationships/tags" Target="../tags/tag2408.xml"/><Relationship Id="rId28" Type="http://schemas.openxmlformats.org/officeDocument/2006/relationships/tags" Target="../tags/tag2413.xml"/><Relationship Id="rId36" Type="http://schemas.openxmlformats.org/officeDocument/2006/relationships/tags" Target="../tags/tag2421.xml"/><Relationship Id="rId10" Type="http://schemas.openxmlformats.org/officeDocument/2006/relationships/tags" Target="../tags/tag2395.xml"/><Relationship Id="rId19" Type="http://schemas.openxmlformats.org/officeDocument/2006/relationships/tags" Target="../tags/tag2404.xml"/><Relationship Id="rId31" Type="http://schemas.openxmlformats.org/officeDocument/2006/relationships/tags" Target="../tags/tag2416.xml"/><Relationship Id="rId44" Type="http://schemas.openxmlformats.org/officeDocument/2006/relationships/chart" Target="../charts/chart127.xml"/><Relationship Id="rId4" Type="http://schemas.openxmlformats.org/officeDocument/2006/relationships/tags" Target="../tags/tag2389.xml"/><Relationship Id="rId9" Type="http://schemas.openxmlformats.org/officeDocument/2006/relationships/tags" Target="../tags/tag2394.xml"/><Relationship Id="rId14" Type="http://schemas.openxmlformats.org/officeDocument/2006/relationships/tags" Target="../tags/tag2399.xml"/><Relationship Id="rId22" Type="http://schemas.openxmlformats.org/officeDocument/2006/relationships/tags" Target="../tags/tag2407.xml"/><Relationship Id="rId27" Type="http://schemas.openxmlformats.org/officeDocument/2006/relationships/tags" Target="../tags/tag2412.xml"/><Relationship Id="rId30" Type="http://schemas.openxmlformats.org/officeDocument/2006/relationships/tags" Target="../tags/tag2415.xml"/><Relationship Id="rId35" Type="http://schemas.openxmlformats.org/officeDocument/2006/relationships/tags" Target="../tags/tag2420.xml"/><Relationship Id="rId43" Type="http://schemas.openxmlformats.org/officeDocument/2006/relationships/chart" Target="../charts/chart126.xml"/><Relationship Id="rId8" Type="http://schemas.openxmlformats.org/officeDocument/2006/relationships/tags" Target="../tags/tag2393.xml"/><Relationship Id="rId3" Type="http://schemas.openxmlformats.org/officeDocument/2006/relationships/tags" Target="../tags/tag2388.xml"/><Relationship Id="rId12" Type="http://schemas.openxmlformats.org/officeDocument/2006/relationships/tags" Target="../tags/tag2397.xml"/><Relationship Id="rId17" Type="http://schemas.openxmlformats.org/officeDocument/2006/relationships/tags" Target="../tags/tag2402.xml"/><Relationship Id="rId25" Type="http://schemas.openxmlformats.org/officeDocument/2006/relationships/tags" Target="../tags/tag2410.xml"/><Relationship Id="rId33" Type="http://schemas.openxmlformats.org/officeDocument/2006/relationships/tags" Target="../tags/tag2418.xml"/><Relationship Id="rId38" Type="http://schemas.openxmlformats.org/officeDocument/2006/relationships/notesSlide" Target="../notesSlides/notesSlide107.xml"/><Relationship Id="rId46" Type="http://schemas.openxmlformats.org/officeDocument/2006/relationships/chart" Target="../charts/chart129.xml"/><Relationship Id="rId20" Type="http://schemas.openxmlformats.org/officeDocument/2006/relationships/tags" Target="../tags/tag2405.xml"/><Relationship Id="rId41" Type="http://schemas.openxmlformats.org/officeDocument/2006/relationships/chart" Target="../charts/chart124.xml"/></Relationships>
</file>

<file path=ppt/slides/_rels/slide114.xml.rels><?xml version="1.0" encoding="UTF-8" standalone="yes"?>
<Relationships xmlns="http://schemas.openxmlformats.org/package/2006/relationships"><Relationship Id="rId13" Type="http://schemas.openxmlformats.org/officeDocument/2006/relationships/tags" Target="../tags/tag2434.xml"/><Relationship Id="rId18" Type="http://schemas.openxmlformats.org/officeDocument/2006/relationships/tags" Target="../tags/tag2439.xml"/><Relationship Id="rId26" Type="http://schemas.openxmlformats.org/officeDocument/2006/relationships/tags" Target="../tags/tag2447.xml"/><Relationship Id="rId39" Type="http://schemas.openxmlformats.org/officeDocument/2006/relationships/tags" Target="../tags/tag2460.xml"/><Relationship Id="rId21" Type="http://schemas.openxmlformats.org/officeDocument/2006/relationships/tags" Target="../tags/tag2442.xml"/><Relationship Id="rId34" Type="http://schemas.openxmlformats.org/officeDocument/2006/relationships/tags" Target="../tags/tag2455.xml"/><Relationship Id="rId42" Type="http://schemas.openxmlformats.org/officeDocument/2006/relationships/notesSlide" Target="../notesSlides/notesSlide108.xml"/><Relationship Id="rId47" Type="http://schemas.openxmlformats.org/officeDocument/2006/relationships/chart" Target="../charts/chart132.xml"/><Relationship Id="rId50" Type="http://schemas.openxmlformats.org/officeDocument/2006/relationships/chart" Target="../charts/chart135.xml"/><Relationship Id="rId7" Type="http://schemas.openxmlformats.org/officeDocument/2006/relationships/tags" Target="../tags/tag2428.xml"/><Relationship Id="rId2" Type="http://schemas.openxmlformats.org/officeDocument/2006/relationships/tags" Target="../tags/tag2423.xml"/><Relationship Id="rId16" Type="http://schemas.openxmlformats.org/officeDocument/2006/relationships/tags" Target="../tags/tag2437.xml"/><Relationship Id="rId29" Type="http://schemas.openxmlformats.org/officeDocument/2006/relationships/tags" Target="../tags/tag2450.xml"/><Relationship Id="rId11" Type="http://schemas.openxmlformats.org/officeDocument/2006/relationships/tags" Target="../tags/tag2432.xml"/><Relationship Id="rId24" Type="http://schemas.openxmlformats.org/officeDocument/2006/relationships/tags" Target="../tags/tag2445.xml"/><Relationship Id="rId32" Type="http://schemas.openxmlformats.org/officeDocument/2006/relationships/tags" Target="../tags/tag2453.xml"/><Relationship Id="rId37" Type="http://schemas.openxmlformats.org/officeDocument/2006/relationships/tags" Target="../tags/tag2458.xml"/><Relationship Id="rId40" Type="http://schemas.openxmlformats.org/officeDocument/2006/relationships/tags" Target="../tags/tag2461.xml"/><Relationship Id="rId45" Type="http://schemas.openxmlformats.org/officeDocument/2006/relationships/chart" Target="../charts/chart130.xml"/><Relationship Id="rId5" Type="http://schemas.openxmlformats.org/officeDocument/2006/relationships/tags" Target="../tags/tag2426.xml"/><Relationship Id="rId15" Type="http://schemas.openxmlformats.org/officeDocument/2006/relationships/tags" Target="../tags/tag2436.xml"/><Relationship Id="rId23" Type="http://schemas.openxmlformats.org/officeDocument/2006/relationships/tags" Target="../tags/tag2444.xml"/><Relationship Id="rId28" Type="http://schemas.openxmlformats.org/officeDocument/2006/relationships/tags" Target="../tags/tag2449.xml"/><Relationship Id="rId36" Type="http://schemas.openxmlformats.org/officeDocument/2006/relationships/tags" Target="../tags/tag2457.xml"/><Relationship Id="rId49" Type="http://schemas.openxmlformats.org/officeDocument/2006/relationships/chart" Target="../charts/chart134.xml"/><Relationship Id="rId10" Type="http://schemas.openxmlformats.org/officeDocument/2006/relationships/tags" Target="../tags/tag2431.xml"/><Relationship Id="rId19" Type="http://schemas.openxmlformats.org/officeDocument/2006/relationships/tags" Target="../tags/tag2440.xml"/><Relationship Id="rId31" Type="http://schemas.openxmlformats.org/officeDocument/2006/relationships/tags" Target="../tags/tag2452.xml"/><Relationship Id="rId44" Type="http://schemas.openxmlformats.org/officeDocument/2006/relationships/image" Target="../media/image63.emf"/><Relationship Id="rId4" Type="http://schemas.openxmlformats.org/officeDocument/2006/relationships/tags" Target="../tags/tag2425.xml"/><Relationship Id="rId9" Type="http://schemas.openxmlformats.org/officeDocument/2006/relationships/tags" Target="../tags/tag2430.xml"/><Relationship Id="rId14" Type="http://schemas.openxmlformats.org/officeDocument/2006/relationships/tags" Target="../tags/tag2435.xml"/><Relationship Id="rId22" Type="http://schemas.openxmlformats.org/officeDocument/2006/relationships/tags" Target="../tags/tag2443.xml"/><Relationship Id="rId27" Type="http://schemas.openxmlformats.org/officeDocument/2006/relationships/tags" Target="../tags/tag2448.xml"/><Relationship Id="rId30" Type="http://schemas.openxmlformats.org/officeDocument/2006/relationships/tags" Target="../tags/tag2451.xml"/><Relationship Id="rId35" Type="http://schemas.openxmlformats.org/officeDocument/2006/relationships/tags" Target="../tags/tag2456.xml"/><Relationship Id="rId43" Type="http://schemas.openxmlformats.org/officeDocument/2006/relationships/oleObject" Target="../embeddings/oleObject459.bin"/><Relationship Id="rId48" Type="http://schemas.openxmlformats.org/officeDocument/2006/relationships/chart" Target="../charts/chart133.xml"/><Relationship Id="rId8" Type="http://schemas.openxmlformats.org/officeDocument/2006/relationships/tags" Target="../tags/tag2429.xml"/><Relationship Id="rId51" Type="http://schemas.openxmlformats.org/officeDocument/2006/relationships/chart" Target="../charts/chart136.xml"/><Relationship Id="rId3" Type="http://schemas.openxmlformats.org/officeDocument/2006/relationships/tags" Target="../tags/tag2424.xml"/><Relationship Id="rId12" Type="http://schemas.openxmlformats.org/officeDocument/2006/relationships/tags" Target="../tags/tag2433.xml"/><Relationship Id="rId17" Type="http://schemas.openxmlformats.org/officeDocument/2006/relationships/tags" Target="../tags/tag2438.xml"/><Relationship Id="rId25" Type="http://schemas.openxmlformats.org/officeDocument/2006/relationships/tags" Target="../tags/tag2446.xml"/><Relationship Id="rId33" Type="http://schemas.openxmlformats.org/officeDocument/2006/relationships/tags" Target="../tags/tag2454.xml"/><Relationship Id="rId38" Type="http://schemas.openxmlformats.org/officeDocument/2006/relationships/tags" Target="../tags/tag2459.xml"/><Relationship Id="rId46" Type="http://schemas.openxmlformats.org/officeDocument/2006/relationships/chart" Target="../charts/chart131.xml"/><Relationship Id="rId20" Type="http://schemas.openxmlformats.org/officeDocument/2006/relationships/tags" Target="../tags/tag2441.xml"/><Relationship Id="rId41" Type="http://schemas.openxmlformats.org/officeDocument/2006/relationships/slideLayout" Target="../slideLayouts/slideLayout5.xml"/><Relationship Id="rId1" Type="http://schemas.openxmlformats.org/officeDocument/2006/relationships/tags" Target="../tags/tag2422.xml"/><Relationship Id="rId6" Type="http://schemas.openxmlformats.org/officeDocument/2006/relationships/tags" Target="../tags/tag2427.xml"/></Relationships>
</file>

<file path=ppt/slides/_rels/slide115.xml.rels><?xml version="1.0" encoding="UTF-8" standalone="yes"?>
<Relationships xmlns="http://schemas.openxmlformats.org/package/2006/relationships"><Relationship Id="rId13" Type="http://schemas.openxmlformats.org/officeDocument/2006/relationships/tags" Target="../tags/tag2474.xml"/><Relationship Id="rId18" Type="http://schemas.openxmlformats.org/officeDocument/2006/relationships/tags" Target="../tags/tag2479.xml"/><Relationship Id="rId26" Type="http://schemas.openxmlformats.org/officeDocument/2006/relationships/tags" Target="../tags/tag2487.xml"/><Relationship Id="rId39" Type="http://schemas.openxmlformats.org/officeDocument/2006/relationships/tags" Target="../tags/tag2500.xml"/><Relationship Id="rId21" Type="http://schemas.openxmlformats.org/officeDocument/2006/relationships/tags" Target="../tags/tag2482.xml"/><Relationship Id="rId34" Type="http://schemas.openxmlformats.org/officeDocument/2006/relationships/tags" Target="../tags/tag2495.xml"/><Relationship Id="rId42" Type="http://schemas.openxmlformats.org/officeDocument/2006/relationships/tags" Target="../tags/tag2503.xml"/><Relationship Id="rId47" Type="http://schemas.openxmlformats.org/officeDocument/2006/relationships/tags" Target="../tags/tag2508.xml"/><Relationship Id="rId50" Type="http://schemas.openxmlformats.org/officeDocument/2006/relationships/tags" Target="../tags/tag2511.xml"/><Relationship Id="rId55" Type="http://schemas.openxmlformats.org/officeDocument/2006/relationships/chart" Target="../charts/chart137.xml"/><Relationship Id="rId7" Type="http://schemas.openxmlformats.org/officeDocument/2006/relationships/tags" Target="../tags/tag2468.xml"/><Relationship Id="rId2" Type="http://schemas.openxmlformats.org/officeDocument/2006/relationships/tags" Target="../tags/tag2463.xml"/><Relationship Id="rId16" Type="http://schemas.openxmlformats.org/officeDocument/2006/relationships/tags" Target="../tags/tag2477.xml"/><Relationship Id="rId29" Type="http://schemas.openxmlformats.org/officeDocument/2006/relationships/tags" Target="../tags/tag2490.xml"/><Relationship Id="rId11" Type="http://schemas.openxmlformats.org/officeDocument/2006/relationships/tags" Target="../tags/tag2472.xml"/><Relationship Id="rId24" Type="http://schemas.openxmlformats.org/officeDocument/2006/relationships/tags" Target="../tags/tag2485.xml"/><Relationship Id="rId32" Type="http://schemas.openxmlformats.org/officeDocument/2006/relationships/tags" Target="../tags/tag2493.xml"/><Relationship Id="rId37" Type="http://schemas.openxmlformats.org/officeDocument/2006/relationships/tags" Target="../tags/tag2498.xml"/><Relationship Id="rId40" Type="http://schemas.openxmlformats.org/officeDocument/2006/relationships/tags" Target="../tags/tag2501.xml"/><Relationship Id="rId45" Type="http://schemas.openxmlformats.org/officeDocument/2006/relationships/tags" Target="../tags/tag2506.xml"/><Relationship Id="rId53" Type="http://schemas.openxmlformats.org/officeDocument/2006/relationships/oleObject" Target="../embeddings/oleObject460.bin"/><Relationship Id="rId58" Type="http://schemas.openxmlformats.org/officeDocument/2006/relationships/chart" Target="../charts/chart140.xml"/><Relationship Id="rId5" Type="http://schemas.openxmlformats.org/officeDocument/2006/relationships/tags" Target="../tags/tag2466.xml"/><Relationship Id="rId19" Type="http://schemas.openxmlformats.org/officeDocument/2006/relationships/tags" Target="../tags/tag2480.xml"/><Relationship Id="rId4" Type="http://schemas.openxmlformats.org/officeDocument/2006/relationships/tags" Target="../tags/tag2465.xml"/><Relationship Id="rId9" Type="http://schemas.openxmlformats.org/officeDocument/2006/relationships/tags" Target="../tags/tag2470.xml"/><Relationship Id="rId14" Type="http://schemas.openxmlformats.org/officeDocument/2006/relationships/tags" Target="../tags/tag2475.xml"/><Relationship Id="rId22" Type="http://schemas.openxmlformats.org/officeDocument/2006/relationships/tags" Target="../tags/tag2483.xml"/><Relationship Id="rId27" Type="http://schemas.openxmlformats.org/officeDocument/2006/relationships/tags" Target="../tags/tag2488.xml"/><Relationship Id="rId30" Type="http://schemas.openxmlformats.org/officeDocument/2006/relationships/tags" Target="../tags/tag2491.xml"/><Relationship Id="rId35" Type="http://schemas.openxmlformats.org/officeDocument/2006/relationships/tags" Target="../tags/tag2496.xml"/><Relationship Id="rId43" Type="http://schemas.openxmlformats.org/officeDocument/2006/relationships/tags" Target="../tags/tag2504.xml"/><Relationship Id="rId48" Type="http://schemas.openxmlformats.org/officeDocument/2006/relationships/tags" Target="../tags/tag2509.xml"/><Relationship Id="rId56" Type="http://schemas.openxmlformats.org/officeDocument/2006/relationships/chart" Target="../charts/chart138.xml"/><Relationship Id="rId8" Type="http://schemas.openxmlformats.org/officeDocument/2006/relationships/tags" Target="../tags/tag2469.xml"/><Relationship Id="rId51" Type="http://schemas.openxmlformats.org/officeDocument/2006/relationships/slideLayout" Target="../slideLayouts/slideLayout4.xml"/><Relationship Id="rId3" Type="http://schemas.openxmlformats.org/officeDocument/2006/relationships/tags" Target="../tags/tag2464.xml"/><Relationship Id="rId12" Type="http://schemas.openxmlformats.org/officeDocument/2006/relationships/tags" Target="../tags/tag2473.xml"/><Relationship Id="rId17" Type="http://schemas.openxmlformats.org/officeDocument/2006/relationships/tags" Target="../tags/tag2478.xml"/><Relationship Id="rId25" Type="http://schemas.openxmlformats.org/officeDocument/2006/relationships/tags" Target="../tags/tag2486.xml"/><Relationship Id="rId33" Type="http://schemas.openxmlformats.org/officeDocument/2006/relationships/tags" Target="../tags/tag2494.xml"/><Relationship Id="rId38" Type="http://schemas.openxmlformats.org/officeDocument/2006/relationships/tags" Target="../tags/tag2499.xml"/><Relationship Id="rId46" Type="http://schemas.openxmlformats.org/officeDocument/2006/relationships/tags" Target="../tags/tag2507.xml"/><Relationship Id="rId20" Type="http://schemas.openxmlformats.org/officeDocument/2006/relationships/tags" Target="../tags/tag2481.xml"/><Relationship Id="rId41" Type="http://schemas.openxmlformats.org/officeDocument/2006/relationships/tags" Target="../tags/tag2502.xml"/><Relationship Id="rId54" Type="http://schemas.openxmlformats.org/officeDocument/2006/relationships/image" Target="../media/image63.emf"/><Relationship Id="rId1" Type="http://schemas.openxmlformats.org/officeDocument/2006/relationships/tags" Target="../tags/tag2462.xml"/><Relationship Id="rId6" Type="http://schemas.openxmlformats.org/officeDocument/2006/relationships/tags" Target="../tags/tag2467.xml"/><Relationship Id="rId15" Type="http://schemas.openxmlformats.org/officeDocument/2006/relationships/tags" Target="../tags/tag2476.xml"/><Relationship Id="rId23" Type="http://schemas.openxmlformats.org/officeDocument/2006/relationships/tags" Target="../tags/tag2484.xml"/><Relationship Id="rId28" Type="http://schemas.openxmlformats.org/officeDocument/2006/relationships/tags" Target="../tags/tag2489.xml"/><Relationship Id="rId36" Type="http://schemas.openxmlformats.org/officeDocument/2006/relationships/tags" Target="../tags/tag2497.xml"/><Relationship Id="rId49" Type="http://schemas.openxmlformats.org/officeDocument/2006/relationships/tags" Target="../tags/tag2510.xml"/><Relationship Id="rId57" Type="http://schemas.openxmlformats.org/officeDocument/2006/relationships/chart" Target="../charts/chart139.xml"/><Relationship Id="rId10" Type="http://schemas.openxmlformats.org/officeDocument/2006/relationships/tags" Target="../tags/tag2471.xml"/><Relationship Id="rId31" Type="http://schemas.openxmlformats.org/officeDocument/2006/relationships/tags" Target="../tags/tag2492.xml"/><Relationship Id="rId44" Type="http://schemas.openxmlformats.org/officeDocument/2006/relationships/tags" Target="../tags/tag2505.xml"/><Relationship Id="rId52" Type="http://schemas.openxmlformats.org/officeDocument/2006/relationships/notesSlide" Target="../notesSlides/notesSlide109.xml"/></Relationships>
</file>

<file path=ppt/slides/_rels/slide116.xml.rels><?xml version="1.0" encoding="UTF-8" standalone="yes"?>
<Relationships xmlns="http://schemas.openxmlformats.org/package/2006/relationships"><Relationship Id="rId13" Type="http://schemas.openxmlformats.org/officeDocument/2006/relationships/tags" Target="../tags/tag2524.xml"/><Relationship Id="rId18" Type="http://schemas.openxmlformats.org/officeDocument/2006/relationships/tags" Target="../tags/tag2529.xml"/><Relationship Id="rId26" Type="http://schemas.openxmlformats.org/officeDocument/2006/relationships/tags" Target="../tags/tag2537.xml"/><Relationship Id="rId39" Type="http://schemas.openxmlformats.org/officeDocument/2006/relationships/oleObject" Target="../embeddings/oleObject461.bin"/><Relationship Id="rId21" Type="http://schemas.openxmlformats.org/officeDocument/2006/relationships/tags" Target="../tags/tag2532.xml"/><Relationship Id="rId34" Type="http://schemas.openxmlformats.org/officeDocument/2006/relationships/tags" Target="../tags/tag2545.xml"/><Relationship Id="rId42" Type="http://schemas.openxmlformats.org/officeDocument/2006/relationships/chart" Target="../charts/chart142.xml"/><Relationship Id="rId7" Type="http://schemas.openxmlformats.org/officeDocument/2006/relationships/tags" Target="../tags/tag2518.xml"/><Relationship Id="rId2" Type="http://schemas.openxmlformats.org/officeDocument/2006/relationships/tags" Target="../tags/tag2513.xml"/><Relationship Id="rId16" Type="http://schemas.openxmlformats.org/officeDocument/2006/relationships/tags" Target="../tags/tag2527.xml"/><Relationship Id="rId20" Type="http://schemas.openxmlformats.org/officeDocument/2006/relationships/tags" Target="../tags/tag2531.xml"/><Relationship Id="rId29" Type="http://schemas.openxmlformats.org/officeDocument/2006/relationships/tags" Target="../tags/tag2540.xml"/><Relationship Id="rId41" Type="http://schemas.openxmlformats.org/officeDocument/2006/relationships/chart" Target="../charts/chart141.xml"/><Relationship Id="rId1" Type="http://schemas.openxmlformats.org/officeDocument/2006/relationships/tags" Target="../tags/tag2512.xml"/><Relationship Id="rId6" Type="http://schemas.openxmlformats.org/officeDocument/2006/relationships/tags" Target="../tags/tag2517.xml"/><Relationship Id="rId11" Type="http://schemas.openxmlformats.org/officeDocument/2006/relationships/tags" Target="../tags/tag2522.xml"/><Relationship Id="rId24" Type="http://schemas.openxmlformats.org/officeDocument/2006/relationships/tags" Target="../tags/tag2535.xml"/><Relationship Id="rId32" Type="http://schemas.openxmlformats.org/officeDocument/2006/relationships/tags" Target="../tags/tag2543.xml"/><Relationship Id="rId37" Type="http://schemas.openxmlformats.org/officeDocument/2006/relationships/slideLayout" Target="../slideLayouts/slideLayout19.xml"/><Relationship Id="rId40" Type="http://schemas.openxmlformats.org/officeDocument/2006/relationships/image" Target="../media/image14.emf"/><Relationship Id="rId5" Type="http://schemas.openxmlformats.org/officeDocument/2006/relationships/tags" Target="../tags/tag2516.xml"/><Relationship Id="rId15" Type="http://schemas.openxmlformats.org/officeDocument/2006/relationships/tags" Target="../tags/tag2526.xml"/><Relationship Id="rId23" Type="http://schemas.openxmlformats.org/officeDocument/2006/relationships/tags" Target="../tags/tag2534.xml"/><Relationship Id="rId28" Type="http://schemas.openxmlformats.org/officeDocument/2006/relationships/tags" Target="../tags/tag2539.xml"/><Relationship Id="rId36" Type="http://schemas.openxmlformats.org/officeDocument/2006/relationships/tags" Target="../tags/tag2547.xml"/><Relationship Id="rId10" Type="http://schemas.openxmlformats.org/officeDocument/2006/relationships/tags" Target="../tags/tag2521.xml"/><Relationship Id="rId19" Type="http://schemas.openxmlformats.org/officeDocument/2006/relationships/tags" Target="../tags/tag2530.xml"/><Relationship Id="rId31" Type="http://schemas.openxmlformats.org/officeDocument/2006/relationships/tags" Target="../tags/tag2542.xml"/><Relationship Id="rId4" Type="http://schemas.openxmlformats.org/officeDocument/2006/relationships/tags" Target="../tags/tag2515.xml"/><Relationship Id="rId9" Type="http://schemas.openxmlformats.org/officeDocument/2006/relationships/tags" Target="../tags/tag2520.xml"/><Relationship Id="rId14" Type="http://schemas.openxmlformats.org/officeDocument/2006/relationships/tags" Target="../tags/tag2525.xml"/><Relationship Id="rId22" Type="http://schemas.openxmlformats.org/officeDocument/2006/relationships/tags" Target="../tags/tag2533.xml"/><Relationship Id="rId27" Type="http://schemas.openxmlformats.org/officeDocument/2006/relationships/tags" Target="../tags/tag2538.xml"/><Relationship Id="rId30" Type="http://schemas.openxmlformats.org/officeDocument/2006/relationships/tags" Target="../tags/tag2541.xml"/><Relationship Id="rId35" Type="http://schemas.openxmlformats.org/officeDocument/2006/relationships/tags" Target="../tags/tag2546.xml"/><Relationship Id="rId43" Type="http://schemas.openxmlformats.org/officeDocument/2006/relationships/chart" Target="../charts/chart143.xml"/><Relationship Id="rId8" Type="http://schemas.openxmlformats.org/officeDocument/2006/relationships/tags" Target="../tags/tag2519.xml"/><Relationship Id="rId3" Type="http://schemas.openxmlformats.org/officeDocument/2006/relationships/tags" Target="../tags/tag2514.xml"/><Relationship Id="rId12" Type="http://schemas.openxmlformats.org/officeDocument/2006/relationships/tags" Target="../tags/tag2523.xml"/><Relationship Id="rId17" Type="http://schemas.openxmlformats.org/officeDocument/2006/relationships/tags" Target="../tags/tag2528.xml"/><Relationship Id="rId25" Type="http://schemas.openxmlformats.org/officeDocument/2006/relationships/tags" Target="../tags/tag2536.xml"/><Relationship Id="rId33" Type="http://schemas.openxmlformats.org/officeDocument/2006/relationships/tags" Target="../tags/tag2544.xml"/><Relationship Id="rId38" Type="http://schemas.openxmlformats.org/officeDocument/2006/relationships/notesSlide" Target="../notesSlides/notesSlide110.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11.xml"/><Relationship Id="rId1" Type="http://schemas.openxmlformats.org/officeDocument/2006/relationships/tags" Target="../tags/tag2548.xml"/><Relationship Id="rId5" Type="http://schemas.openxmlformats.org/officeDocument/2006/relationships/image" Target="../media/image22.emf"/><Relationship Id="rId4" Type="http://schemas.openxmlformats.org/officeDocument/2006/relationships/oleObject" Target="../embeddings/oleObject462.bin"/></Relationships>
</file>

<file path=ppt/slides/_rels/slide118.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notesSlide" Target="../notesSlides/notesSlide112.xml"/><Relationship Id="rId7" Type="http://schemas.openxmlformats.org/officeDocument/2006/relationships/image" Target="../media/image131.png"/><Relationship Id="rId2" Type="http://schemas.openxmlformats.org/officeDocument/2006/relationships/slideLayout" Target="../slideLayouts/slideLayout6.xml"/><Relationship Id="rId1" Type="http://schemas.openxmlformats.org/officeDocument/2006/relationships/tags" Target="../tags/tag2549.xml"/><Relationship Id="rId6" Type="http://schemas.openxmlformats.org/officeDocument/2006/relationships/image" Target="../media/image130.png"/><Relationship Id="rId5" Type="http://schemas.openxmlformats.org/officeDocument/2006/relationships/image" Target="../media/image14.emf"/><Relationship Id="rId4" Type="http://schemas.openxmlformats.org/officeDocument/2006/relationships/oleObject" Target="../embeddings/oleObject463.bin"/><Relationship Id="rId9" Type="http://schemas.openxmlformats.org/officeDocument/2006/relationships/image" Target="../media/image133.png"/></Relationships>
</file>

<file path=ppt/slides/_rels/slide119.xml.rels><?xml version="1.0" encoding="UTF-8" standalone="yes"?>
<Relationships xmlns="http://schemas.openxmlformats.org/package/2006/relationships"><Relationship Id="rId26" Type="http://schemas.openxmlformats.org/officeDocument/2006/relationships/tags" Target="../tags/tag2575.xml"/><Relationship Id="rId21" Type="http://schemas.openxmlformats.org/officeDocument/2006/relationships/tags" Target="../tags/tag2570.xml"/><Relationship Id="rId42" Type="http://schemas.openxmlformats.org/officeDocument/2006/relationships/tags" Target="../tags/tag2591.xml"/><Relationship Id="rId47" Type="http://schemas.openxmlformats.org/officeDocument/2006/relationships/tags" Target="../tags/tag2596.xml"/><Relationship Id="rId63" Type="http://schemas.openxmlformats.org/officeDocument/2006/relationships/tags" Target="../tags/tag2612.xml"/><Relationship Id="rId68" Type="http://schemas.openxmlformats.org/officeDocument/2006/relationships/tags" Target="../tags/tag2617.xml"/><Relationship Id="rId84" Type="http://schemas.openxmlformats.org/officeDocument/2006/relationships/tags" Target="../tags/tag2633.xml"/><Relationship Id="rId89" Type="http://schemas.openxmlformats.org/officeDocument/2006/relationships/tags" Target="../tags/tag2638.xml"/><Relationship Id="rId16" Type="http://schemas.openxmlformats.org/officeDocument/2006/relationships/tags" Target="../tags/tag2565.xml"/><Relationship Id="rId107" Type="http://schemas.openxmlformats.org/officeDocument/2006/relationships/chart" Target="../charts/chart148.xml"/><Relationship Id="rId11" Type="http://schemas.openxmlformats.org/officeDocument/2006/relationships/tags" Target="../tags/tag2560.xml"/><Relationship Id="rId32" Type="http://schemas.openxmlformats.org/officeDocument/2006/relationships/tags" Target="../tags/tag2581.xml"/><Relationship Id="rId37" Type="http://schemas.openxmlformats.org/officeDocument/2006/relationships/tags" Target="../tags/tag2586.xml"/><Relationship Id="rId53" Type="http://schemas.openxmlformats.org/officeDocument/2006/relationships/tags" Target="../tags/tag2602.xml"/><Relationship Id="rId58" Type="http://schemas.openxmlformats.org/officeDocument/2006/relationships/tags" Target="../tags/tag2607.xml"/><Relationship Id="rId74" Type="http://schemas.openxmlformats.org/officeDocument/2006/relationships/tags" Target="../tags/tag2623.xml"/><Relationship Id="rId79" Type="http://schemas.openxmlformats.org/officeDocument/2006/relationships/tags" Target="../tags/tag2628.xml"/><Relationship Id="rId102" Type="http://schemas.openxmlformats.org/officeDocument/2006/relationships/image" Target="../media/image63.emf"/><Relationship Id="rId5" Type="http://schemas.openxmlformats.org/officeDocument/2006/relationships/tags" Target="../tags/tag2554.xml"/><Relationship Id="rId90" Type="http://schemas.openxmlformats.org/officeDocument/2006/relationships/tags" Target="../tags/tag2639.xml"/><Relationship Id="rId95" Type="http://schemas.openxmlformats.org/officeDocument/2006/relationships/tags" Target="../tags/tag2644.xml"/><Relationship Id="rId22" Type="http://schemas.openxmlformats.org/officeDocument/2006/relationships/tags" Target="../tags/tag2571.xml"/><Relationship Id="rId27" Type="http://schemas.openxmlformats.org/officeDocument/2006/relationships/tags" Target="../tags/tag2576.xml"/><Relationship Id="rId43" Type="http://schemas.openxmlformats.org/officeDocument/2006/relationships/tags" Target="../tags/tag2592.xml"/><Relationship Id="rId48" Type="http://schemas.openxmlformats.org/officeDocument/2006/relationships/tags" Target="../tags/tag2597.xml"/><Relationship Id="rId64" Type="http://schemas.openxmlformats.org/officeDocument/2006/relationships/tags" Target="../tags/tag2613.xml"/><Relationship Id="rId69" Type="http://schemas.openxmlformats.org/officeDocument/2006/relationships/tags" Target="../tags/tag2618.xml"/><Relationship Id="rId80" Type="http://schemas.openxmlformats.org/officeDocument/2006/relationships/tags" Target="../tags/tag2629.xml"/><Relationship Id="rId85" Type="http://schemas.openxmlformats.org/officeDocument/2006/relationships/tags" Target="../tags/tag2634.xml"/><Relationship Id="rId12" Type="http://schemas.openxmlformats.org/officeDocument/2006/relationships/tags" Target="../tags/tag2561.xml"/><Relationship Id="rId17" Type="http://schemas.openxmlformats.org/officeDocument/2006/relationships/tags" Target="../tags/tag2566.xml"/><Relationship Id="rId33" Type="http://schemas.openxmlformats.org/officeDocument/2006/relationships/tags" Target="../tags/tag2582.xml"/><Relationship Id="rId38" Type="http://schemas.openxmlformats.org/officeDocument/2006/relationships/tags" Target="../tags/tag2587.xml"/><Relationship Id="rId59" Type="http://schemas.openxmlformats.org/officeDocument/2006/relationships/tags" Target="../tags/tag2608.xml"/><Relationship Id="rId103" Type="http://schemas.openxmlformats.org/officeDocument/2006/relationships/chart" Target="../charts/chart144.xml"/><Relationship Id="rId20" Type="http://schemas.openxmlformats.org/officeDocument/2006/relationships/tags" Target="../tags/tag2569.xml"/><Relationship Id="rId41" Type="http://schemas.openxmlformats.org/officeDocument/2006/relationships/tags" Target="../tags/tag2590.xml"/><Relationship Id="rId54" Type="http://schemas.openxmlformats.org/officeDocument/2006/relationships/tags" Target="../tags/tag2603.xml"/><Relationship Id="rId62" Type="http://schemas.openxmlformats.org/officeDocument/2006/relationships/tags" Target="../tags/tag2611.xml"/><Relationship Id="rId70" Type="http://schemas.openxmlformats.org/officeDocument/2006/relationships/tags" Target="../tags/tag2619.xml"/><Relationship Id="rId75" Type="http://schemas.openxmlformats.org/officeDocument/2006/relationships/tags" Target="../tags/tag2624.xml"/><Relationship Id="rId83" Type="http://schemas.openxmlformats.org/officeDocument/2006/relationships/tags" Target="../tags/tag2632.xml"/><Relationship Id="rId88" Type="http://schemas.openxmlformats.org/officeDocument/2006/relationships/tags" Target="../tags/tag2637.xml"/><Relationship Id="rId91" Type="http://schemas.openxmlformats.org/officeDocument/2006/relationships/tags" Target="../tags/tag2640.xml"/><Relationship Id="rId96" Type="http://schemas.openxmlformats.org/officeDocument/2006/relationships/tags" Target="../tags/tag2645.xml"/><Relationship Id="rId1" Type="http://schemas.openxmlformats.org/officeDocument/2006/relationships/tags" Target="../tags/tag2550.xml"/><Relationship Id="rId6" Type="http://schemas.openxmlformats.org/officeDocument/2006/relationships/tags" Target="../tags/tag2555.xml"/><Relationship Id="rId15" Type="http://schemas.openxmlformats.org/officeDocument/2006/relationships/tags" Target="../tags/tag2564.xml"/><Relationship Id="rId23" Type="http://schemas.openxmlformats.org/officeDocument/2006/relationships/tags" Target="../tags/tag2572.xml"/><Relationship Id="rId28" Type="http://schemas.openxmlformats.org/officeDocument/2006/relationships/tags" Target="../tags/tag2577.xml"/><Relationship Id="rId36" Type="http://schemas.openxmlformats.org/officeDocument/2006/relationships/tags" Target="../tags/tag2585.xml"/><Relationship Id="rId49" Type="http://schemas.openxmlformats.org/officeDocument/2006/relationships/tags" Target="../tags/tag2598.xml"/><Relationship Id="rId57" Type="http://schemas.openxmlformats.org/officeDocument/2006/relationships/tags" Target="../tags/tag2606.xml"/><Relationship Id="rId106" Type="http://schemas.openxmlformats.org/officeDocument/2006/relationships/chart" Target="../charts/chart147.xml"/><Relationship Id="rId10" Type="http://schemas.openxmlformats.org/officeDocument/2006/relationships/tags" Target="../tags/tag2559.xml"/><Relationship Id="rId31" Type="http://schemas.openxmlformats.org/officeDocument/2006/relationships/tags" Target="../tags/tag2580.xml"/><Relationship Id="rId44" Type="http://schemas.openxmlformats.org/officeDocument/2006/relationships/tags" Target="../tags/tag2593.xml"/><Relationship Id="rId52" Type="http://schemas.openxmlformats.org/officeDocument/2006/relationships/tags" Target="../tags/tag2601.xml"/><Relationship Id="rId60" Type="http://schemas.openxmlformats.org/officeDocument/2006/relationships/tags" Target="../tags/tag2609.xml"/><Relationship Id="rId65" Type="http://schemas.openxmlformats.org/officeDocument/2006/relationships/tags" Target="../tags/tag2614.xml"/><Relationship Id="rId73" Type="http://schemas.openxmlformats.org/officeDocument/2006/relationships/tags" Target="../tags/tag2622.xml"/><Relationship Id="rId78" Type="http://schemas.openxmlformats.org/officeDocument/2006/relationships/tags" Target="../tags/tag2627.xml"/><Relationship Id="rId81" Type="http://schemas.openxmlformats.org/officeDocument/2006/relationships/tags" Target="../tags/tag2630.xml"/><Relationship Id="rId86" Type="http://schemas.openxmlformats.org/officeDocument/2006/relationships/tags" Target="../tags/tag2635.xml"/><Relationship Id="rId94" Type="http://schemas.openxmlformats.org/officeDocument/2006/relationships/tags" Target="../tags/tag2643.xml"/><Relationship Id="rId99" Type="http://schemas.openxmlformats.org/officeDocument/2006/relationships/slideLayout" Target="../slideLayouts/slideLayout5.xml"/><Relationship Id="rId101" Type="http://schemas.openxmlformats.org/officeDocument/2006/relationships/oleObject" Target="../embeddings/oleObject464.bin"/><Relationship Id="rId4" Type="http://schemas.openxmlformats.org/officeDocument/2006/relationships/tags" Target="../tags/tag2553.xml"/><Relationship Id="rId9" Type="http://schemas.openxmlformats.org/officeDocument/2006/relationships/tags" Target="../tags/tag2558.xml"/><Relationship Id="rId13" Type="http://schemas.openxmlformats.org/officeDocument/2006/relationships/tags" Target="../tags/tag2562.xml"/><Relationship Id="rId18" Type="http://schemas.openxmlformats.org/officeDocument/2006/relationships/tags" Target="../tags/tag2567.xml"/><Relationship Id="rId39" Type="http://schemas.openxmlformats.org/officeDocument/2006/relationships/tags" Target="../tags/tag2588.xml"/><Relationship Id="rId34" Type="http://schemas.openxmlformats.org/officeDocument/2006/relationships/tags" Target="../tags/tag2583.xml"/><Relationship Id="rId50" Type="http://schemas.openxmlformats.org/officeDocument/2006/relationships/tags" Target="../tags/tag2599.xml"/><Relationship Id="rId55" Type="http://schemas.openxmlformats.org/officeDocument/2006/relationships/tags" Target="../tags/tag2604.xml"/><Relationship Id="rId76" Type="http://schemas.openxmlformats.org/officeDocument/2006/relationships/tags" Target="../tags/tag2625.xml"/><Relationship Id="rId97" Type="http://schemas.openxmlformats.org/officeDocument/2006/relationships/tags" Target="../tags/tag2646.xml"/><Relationship Id="rId104" Type="http://schemas.openxmlformats.org/officeDocument/2006/relationships/chart" Target="../charts/chart145.xml"/><Relationship Id="rId7" Type="http://schemas.openxmlformats.org/officeDocument/2006/relationships/tags" Target="../tags/tag2556.xml"/><Relationship Id="rId71" Type="http://schemas.openxmlformats.org/officeDocument/2006/relationships/tags" Target="../tags/tag2620.xml"/><Relationship Id="rId92" Type="http://schemas.openxmlformats.org/officeDocument/2006/relationships/tags" Target="../tags/tag2641.xml"/><Relationship Id="rId2" Type="http://schemas.openxmlformats.org/officeDocument/2006/relationships/tags" Target="../tags/tag2551.xml"/><Relationship Id="rId29" Type="http://schemas.openxmlformats.org/officeDocument/2006/relationships/tags" Target="../tags/tag2578.xml"/><Relationship Id="rId24" Type="http://schemas.openxmlformats.org/officeDocument/2006/relationships/tags" Target="../tags/tag2573.xml"/><Relationship Id="rId40" Type="http://schemas.openxmlformats.org/officeDocument/2006/relationships/tags" Target="../tags/tag2589.xml"/><Relationship Id="rId45" Type="http://schemas.openxmlformats.org/officeDocument/2006/relationships/tags" Target="../tags/tag2594.xml"/><Relationship Id="rId66" Type="http://schemas.openxmlformats.org/officeDocument/2006/relationships/tags" Target="../tags/tag2615.xml"/><Relationship Id="rId87" Type="http://schemas.openxmlformats.org/officeDocument/2006/relationships/tags" Target="../tags/tag2636.xml"/><Relationship Id="rId61" Type="http://schemas.openxmlformats.org/officeDocument/2006/relationships/tags" Target="../tags/tag2610.xml"/><Relationship Id="rId82" Type="http://schemas.openxmlformats.org/officeDocument/2006/relationships/tags" Target="../tags/tag2631.xml"/><Relationship Id="rId19" Type="http://schemas.openxmlformats.org/officeDocument/2006/relationships/tags" Target="../tags/tag2568.xml"/><Relationship Id="rId14" Type="http://schemas.openxmlformats.org/officeDocument/2006/relationships/tags" Target="../tags/tag2563.xml"/><Relationship Id="rId30" Type="http://schemas.openxmlformats.org/officeDocument/2006/relationships/tags" Target="../tags/tag2579.xml"/><Relationship Id="rId35" Type="http://schemas.openxmlformats.org/officeDocument/2006/relationships/tags" Target="../tags/tag2584.xml"/><Relationship Id="rId56" Type="http://schemas.openxmlformats.org/officeDocument/2006/relationships/tags" Target="../tags/tag2605.xml"/><Relationship Id="rId77" Type="http://schemas.openxmlformats.org/officeDocument/2006/relationships/tags" Target="../tags/tag2626.xml"/><Relationship Id="rId100" Type="http://schemas.openxmlformats.org/officeDocument/2006/relationships/notesSlide" Target="../notesSlides/notesSlide113.xml"/><Relationship Id="rId105" Type="http://schemas.openxmlformats.org/officeDocument/2006/relationships/chart" Target="../charts/chart146.xml"/><Relationship Id="rId8" Type="http://schemas.openxmlformats.org/officeDocument/2006/relationships/tags" Target="../tags/tag2557.xml"/><Relationship Id="rId51" Type="http://schemas.openxmlformats.org/officeDocument/2006/relationships/tags" Target="../tags/tag2600.xml"/><Relationship Id="rId72" Type="http://schemas.openxmlformats.org/officeDocument/2006/relationships/tags" Target="../tags/tag2621.xml"/><Relationship Id="rId93" Type="http://schemas.openxmlformats.org/officeDocument/2006/relationships/tags" Target="../tags/tag2642.xml"/><Relationship Id="rId98" Type="http://schemas.openxmlformats.org/officeDocument/2006/relationships/tags" Target="../tags/tag2647.xml"/><Relationship Id="rId3" Type="http://schemas.openxmlformats.org/officeDocument/2006/relationships/tags" Target="../tags/tag2552.xml"/><Relationship Id="rId25" Type="http://schemas.openxmlformats.org/officeDocument/2006/relationships/tags" Target="../tags/tag2574.xml"/><Relationship Id="rId46" Type="http://schemas.openxmlformats.org/officeDocument/2006/relationships/tags" Target="../tags/tag2595.xml"/><Relationship Id="rId67" Type="http://schemas.openxmlformats.org/officeDocument/2006/relationships/tags" Target="../tags/tag2616.xml"/></Relationships>
</file>

<file path=ppt/slides/_rels/slide12.xml.rels><?xml version="1.0" encoding="UTF-8" standalone="yes"?>
<Relationships xmlns="http://schemas.openxmlformats.org/package/2006/relationships"><Relationship Id="rId8" Type="http://schemas.microsoft.com/office/2018/10/relationships/comments" Target="../comments/modernComment_7FFFF4EE_7006D1B5.xml"/><Relationship Id="rId13" Type="http://schemas.openxmlformats.org/officeDocument/2006/relationships/chart" Target="../charts/chart4.xml"/><Relationship Id="rId3" Type="http://schemas.openxmlformats.org/officeDocument/2006/relationships/tags" Target="../tags/tag393.xml"/><Relationship Id="rId7" Type="http://schemas.openxmlformats.org/officeDocument/2006/relationships/notesSlide" Target="../notesSlides/notesSlide9.xml"/><Relationship Id="rId12" Type="http://schemas.openxmlformats.org/officeDocument/2006/relationships/chart" Target="../charts/chart3.xml"/><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slideLayout" Target="../slideLayouts/slideLayout9.xml"/><Relationship Id="rId11" Type="http://schemas.openxmlformats.org/officeDocument/2006/relationships/chart" Target="../charts/chart2.xml"/><Relationship Id="rId5" Type="http://schemas.openxmlformats.org/officeDocument/2006/relationships/tags" Target="../tags/tag395.xml"/><Relationship Id="rId10" Type="http://schemas.openxmlformats.org/officeDocument/2006/relationships/image" Target="../media/image63.emf"/><Relationship Id="rId4" Type="http://schemas.openxmlformats.org/officeDocument/2006/relationships/tags" Target="../tags/tag394.xml"/><Relationship Id="rId9" Type="http://schemas.openxmlformats.org/officeDocument/2006/relationships/oleObject" Target="../embeddings/oleObject357.bin"/><Relationship Id="rId14" Type="http://schemas.openxmlformats.org/officeDocument/2006/relationships/chart" Target="../charts/chart5.xml"/></Relationships>
</file>

<file path=ppt/slides/_rels/slide120.xml.rels><?xml version="1.0" encoding="UTF-8" standalone="yes"?>
<Relationships xmlns="http://schemas.openxmlformats.org/package/2006/relationships"><Relationship Id="rId26" Type="http://schemas.openxmlformats.org/officeDocument/2006/relationships/tags" Target="../tags/tag2673.xml"/><Relationship Id="rId21" Type="http://schemas.openxmlformats.org/officeDocument/2006/relationships/tags" Target="../tags/tag2668.xml"/><Relationship Id="rId42" Type="http://schemas.openxmlformats.org/officeDocument/2006/relationships/tags" Target="../tags/tag2689.xml"/><Relationship Id="rId47" Type="http://schemas.openxmlformats.org/officeDocument/2006/relationships/tags" Target="../tags/tag2694.xml"/><Relationship Id="rId63" Type="http://schemas.openxmlformats.org/officeDocument/2006/relationships/tags" Target="../tags/tag2710.xml"/><Relationship Id="rId68" Type="http://schemas.openxmlformats.org/officeDocument/2006/relationships/tags" Target="../tags/tag2715.xml"/><Relationship Id="rId84" Type="http://schemas.openxmlformats.org/officeDocument/2006/relationships/chart" Target="../charts/chart149.xml"/><Relationship Id="rId16" Type="http://schemas.openxmlformats.org/officeDocument/2006/relationships/tags" Target="../tags/tag2663.xml"/><Relationship Id="rId11" Type="http://schemas.openxmlformats.org/officeDocument/2006/relationships/tags" Target="../tags/tag2658.xml"/><Relationship Id="rId32" Type="http://schemas.openxmlformats.org/officeDocument/2006/relationships/tags" Target="../tags/tag2679.xml"/><Relationship Id="rId37" Type="http://schemas.openxmlformats.org/officeDocument/2006/relationships/tags" Target="../tags/tag2684.xml"/><Relationship Id="rId53" Type="http://schemas.openxmlformats.org/officeDocument/2006/relationships/tags" Target="../tags/tag2700.xml"/><Relationship Id="rId58" Type="http://schemas.openxmlformats.org/officeDocument/2006/relationships/tags" Target="../tags/tag2705.xml"/><Relationship Id="rId74" Type="http://schemas.openxmlformats.org/officeDocument/2006/relationships/tags" Target="../tags/tag2721.xml"/><Relationship Id="rId79" Type="http://schemas.openxmlformats.org/officeDocument/2006/relationships/tags" Target="../tags/tag2726.xml"/><Relationship Id="rId5" Type="http://schemas.openxmlformats.org/officeDocument/2006/relationships/tags" Target="../tags/tag2652.xml"/><Relationship Id="rId19" Type="http://schemas.openxmlformats.org/officeDocument/2006/relationships/tags" Target="../tags/tag2666.xml"/><Relationship Id="rId14" Type="http://schemas.openxmlformats.org/officeDocument/2006/relationships/tags" Target="../tags/tag2661.xml"/><Relationship Id="rId22" Type="http://schemas.openxmlformats.org/officeDocument/2006/relationships/tags" Target="../tags/tag2669.xml"/><Relationship Id="rId27" Type="http://schemas.openxmlformats.org/officeDocument/2006/relationships/tags" Target="../tags/tag2674.xml"/><Relationship Id="rId30" Type="http://schemas.openxmlformats.org/officeDocument/2006/relationships/tags" Target="../tags/tag2677.xml"/><Relationship Id="rId35" Type="http://schemas.openxmlformats.org/officeDocument/2006/relationships/tags" Target="../tags/tag2682.xml"/><Relationship Id="rId43" Type="http://schemas.openxmlformats.org/officeDocument/2006/relationships/tags" Target="../tags/tag2690.xml"/><Relationship Id="rId48" Type="http://schemas.openxmlformats.org/officeDocument/2006/relationships/tags" Target="../tags/tag2695.xml"/><Relationship Id="rId56" Type="http://schemas.openxmlformats.org/officeDocument/2006/relationships/tags" Target="../tags/tag2703.xml"/><Relationship Id="rId64" Type="http://schemas.openxmlformats.org/officeDocument/2006/relationships/tags" Target="../tags/tag2711.xml"/><Relationship Id="rId69" Type="http://schemas.openxmlformats.org/officeDocument/2006/relationships/tags" Target="../tags/tag2716.xml"/><Relationship Id="rId77" Type="http://schemas.openxmlformats.org/officeDocument/2006/relationships/tags" Target="../tags/tag2724.xml"/><Relationship Id="rId8" Type="http://schemas.openxmlformats.org/officeDocument/2006/relationships/tags" Target="../tags/tag2655.xml"/><Relationship Id="rId51" Type="http://schemas.openxmlformats.org/officeDocument/2006/relationships/tags" Target="../tags/tag2698.xml"/><Relationship Id="rId72" Type="http://schemas.openxmlformats.org/officeDocument/2006/relationships/tags" Target="../tags/tag2719.xml"/><Relationship Id="rId80" Type="http://schemas.openxmlformats.org/officeDocument/2006/relationships/slideLayout" Target="../slideLayouts/slideLayout18.xml"/><Relationship Id="rId85" Type="http://schemas.openxmlformats.org/officeDocument/2006/relationships/chart" Target="../charts/chart150.xml"/><Relationship Id="rId3" Type="http://schemas.openxmlformats.org/officeDocument/2006/relationships/tags" Target="../tags/tag2650.xml"/><Relationship Id="rId12" Type="http://schemas.openxmlformats.org/officeDocument/2006/relationships/tags" Target="../tags/tag2659.xml"/><Relationship Id="rId17" Type="http://schemas.openxmlformats.org/officeDocument/2006/relationships/tags" Target="../tags/tag2664.xml"/><Relationship Id="rId25" Type="http://schemas.openxmlformats.org/officeDocument/2006/relationships/tags" Target="../tags/tag2672.xml"/><Relationship Id="rId33" Type="http://schemas.openxmlformats.org/officeDocument/2006/relationships/tags" Target="../tags/tag2680.xml"/><Relationship Id="rId38" Type="http://schemas.openxmlformats.org/officeDocument/2006/relationships/tags" Target="../tags/tag2685.xml"/><Relationship Id="rId46" Type="http://schemas.openxmlformats.org/officeDocument/2006/relationships/tags" Target="../tags/tag2693.xml"/><Relationship Id="rId59" Type="http://schemas.openxmlformats.org/officeDocument/2006/relationships/tags" Target="../tags/tag2706.xml"/><Relationship Id="rId67" Type="http://schemas.openxmlformats.org/officeDocument/2006/relationships/tags" Target="../tags/tag2714.xml"/><Relationship Id="rId20" Type="http://schemas.openxmlformats.org/officeDocument/2006/relationships/tags" Target="../tags/tag2667.xml"/><Relationship Id="rId41" Type="http://schemas.openxmlformats.org/officeDocument/2006/relationships/tags" Target="../tags/tag2688.xml"/><Relationship Id="rId54" Type="http://schemas.openxmlformats.org/officeDocument/2006/relationships/tags" Target="../tags/tag2701.xml"/><Relationship Id="rId62" Type="http://schemas.openxmlformats.org/officeDocument/2006/relationships/tags" Target="../tags/tag2709.xml"/><Relationship Id="rId70" Type="http://schemas.openxmlformats.org/officeDocument/2006/relationships/tags" Target="../tags/tag2717.xml"/><Relationship Id="rId75" Type="http://schemas.openxmlformats.org/officeDocument/2006/relationships/tags" Target="../tags/tag2722.xml"/><Relationship Id="rId83" Type="http://schemas.openxmlformats.org/officeDocument/2006/relationships/image" Target="../media/image134.emf"/><Relationship Id="rId88" Type="http://schemas.openxmlformats.org/officeDocument/2006/relationships/chart" Target="../charts/chart153.xml"/><Relationship Id="rId1" Type="http://schemas.openxmlformats.org/officeDocument/2006/relationships/tags" Target="../tags/tag2648.xml"/><Relationship Id="rId6" Type="http://schemas.openxmlformats.org/officeDocument/2006/relationships/tags" Target="../tags/tag2653.xml"/><Relationship Id="rId15" Type="http://schemas.openxmlformats.org/officeDocument/2006/relationships/tags" Target="../tags/tag2662.xml"/><Relationship Id="rId23" Type="http://schemas.openxmlformats.org/officeDocument/2006/relationships/tags" Target="../tags/tag2670.xml"/><Relationship Id="rId28" Type="http://schemas.openxmlformats.org/officeDocument/2006/relationships/tags" Target="../tags/tag2675.xml"/><Relationship Id="rId36" Type="http://schemas.openxmlformats.org/officeDocument/2006/relationships/tags" Target="../tags/tag2683.xml"/><Relationship Id="rId49" Type="http://schemas.openxmlformats.org/officeDocument/2006/relationships/tags" Target="../tags/tag2696.xml"/><Relationship Id="rId57" Type="http://schemas.openxmlformats.org/officeDocument/2006/relationships/tags" Target="../tags/tag2704.xml"/><Relationship Id="rId10" Type="http://schemas.openxmlformats.org/officeDocument/2006/relationships/tags" Target="../tags/tag2657.xml"/><Relationship Id="rId31" Type="http://schemas.openxmlformats.org/officeDocument/2006/relationships/tags" Target="../tags/tag2678.xml"/><Relationship Id="rId44" Type="http://schemas.openxmlformats.org/officeDocument/2006/relationships/tags" Target="../tags/tag2691.xml"/><Relationship Id="rId52" Type="http://schemas.openxmlformats.org/officeDocument/2006/relationships/tags" Target="../tags/tag2699.xml"/><Relationship Id="rId60" Type="http://schemas.openxmlformats.org/officeDocument/2006/relationships/tags" Target="../tags/tag2707.xml"/><Relationship Id="rId65" Type="http://schemas.openxmlformats.org/officeDocument/2006/relationships/tags" Target="../tags/tag2712.xml"/><Relationship Id="rId73" Type="http://schemas.openxmlformats.org/officeDocument/2006/relationships/tags" Target="../tags/tag2720.xml"/><Relationship Id="rId78" Type="http://schemas.openxmlformats.org/officeDocument/2006/relationships/tags" Target="../tags/tag2725.xml"/><Relationship Id="rId81" Type="http://schemas.openxmlformats.org/officeDocument/2006/relationships/notesSlide" Target="../notesSlides/notesSlide114.xml"/><Relationship Id="rId86" Type="http://schemas.openxmlformats.org/officeDocument/2006/relationships/chart" Target="../charts/chart151.xml"/><Relationship Id="rId4" Type="http://schemas.openxmlformats.org/officeDocument/2006/relationships/tags" Target="../tags/tag2651.xml"/><Relationship Id="rId9" Type="http://schemas.openxmlformats.org/officeDocument/2006/relationships/tags" Target="../tags/tag2656.xml"/><Relationship Id="rId13" Type="http://schemas.openxmlformats.org/officeDocument/2006/relationships/tags" Target="../tags/tag2660.xml"/><Relationship Id="rId18" Type="http://schemas.openxmlformats.org/officeDocument/2006/relationships/tags" Target="../tags/tag2665.xml"/><Relationship Id="rId39" Type="http://schemas.openxmlformats.org/officeDocument/2006/relationships/tags" Target="../tags/tag2686.xml"/><Relationship Id="rId34" Type="http://schemas.openxmlformats.org/officeDocument/2006/relationships/tags" Target="../tags/tag2681.xml"/><Relationship Id="rId50" Type="http://schemas.openxmlformats.org/officeDocument/2006/relationships/tags" Target="../tags/tag2697.xml"/><Relationship Id="rId55" Type="http://schemas.openxmlformats.org/officeDocument/2006/relationships/tags" Target="../tags/tag2702.xml"/><Relationship Id="rId76" Type="http://schemas.openxmlformats.org/officeDocument/2006/relationships/tags" Target="../tags/tag2723.xml"/><Relationship Id="rId7" Type="http://schemas.openxmlformats.org/officeDocument/2006/relationships/tags" Target="../tags/tag2654.xml"/><Relationship Id="rId71" Type="http://schemas.openxmlformats.org/officeDocument/2006/relationships/tags" Target="../tags/tag2718.xml"/><Relationship Id="rId2" Type="http://schemas.openxmlformats.org/officeDocument/2006/relationships/tags" Target="../tags/tag2649.xml"/><Relationship Id="rId29" Type="http://schemas.openxmlformats.org/officeDocument/2006/relationships/tags" Target="../tags/tag2676.xml"/><Relationship Id="rId24" Type="http://schemas.openxmlformats.org/officeDocument/2006/relationships/tags" Target="../tags/tag2671.xml"/><Relationship Id="rId40" Type="http://schemas.openxmlformats.org/officeDocument/2006/relationships/tags" Target="../tags/tag2687.xml"/><Relationship Id="rId45" Type="http://schemas.openxmlformats.org/officeDocument/2006/relationships/tags" Target="../tags/tag2692.xml"/><Relationship Id="rId66" Type="http://schemas.openxmlformats.org/officeDocument/2006/relationships/tags" Target="../tags/tag2713.xml"/><Relationship Id="rId87" Type="http://schemas.openxmlformats.org/officeDocument/2006/relationships/chart" Target="../charts/chart152.xml"/><Relationship Id="rId61" Type="http://schemas.openxmlformats.org/officeDocument/2006/relationships/tags" Target="../tags/tag2708.xml"/><Relationship Id="rId82" Type="http://schemas.openxmlformats.org/officeDocument/2006/relationships/oleObject" Target="../embeddings/oleObject465.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15.xml"/><Relationship Id="rId7" Type="http://schemas.openxmlformats.org/officeDocument/2006/relationships/image" Target="../media/image136.png"/><Relationship Id="rId2" Type="http://schemas.openxmlformats.org/officeDocument/2006/relationships/slideLayout" Target="../slideLayouts/slideLayout4.xml"/><Relationship Id="rId1" Type="http://schemas.openxmlformats.org/officeDocument/2006/relationships/tags" Target="../tags/tag2727.xml"/><Relationship Id="rId6" Type="http://schemas.openxmlformats.org/officeDocument/2006/relationships/image" Target="../media/image135.png"/><Relationship Id="rId5" Type="http://schemas.openxmlformats.org/officeDocument/2006/relationships/image" Target="../media/image14.emf"/><Relationship Id="rId4" Type="http://schemas.openxmlformats.org/officeDocument/2006/relationships/oleObject" Target="../embeddings/oleObject466.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5.xml"/><Relationship Id="rId1" Type="http://schemas.openxmlformats.org/officeDocument/2006/relationships/tags" Target="../tags/tag2728.xml"/><Relationship Id="rId5" Type="http://schemas.openxmlformats.org/officeDocument/2006/relationships/image" Target="../media/image22.emf"/><Relationship Id="rId4" Type="http://schemas.openxmlformats.org/officeDocument/2006/relationships/oleObject" Target="../embeddings/oleObject467.bin"/></Relationships>
</file>

<file path=ppt/slides/_rels/slide123.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slideLayout" Target="../slideLayouts/slideLayout19.xml"/><Relationship Id="rId7" Type="http://schemas.openxmlformats.org/officeDocument/2006/relationships/image" Target="../media/image137.png"/><Relationship Id="rId2" Type="http://schemas.openxmlformats.org/officeDocument/2006/relationships/tags" Target="../tags/tag2730.xml"/><Relationship Id="rId1" Type="http://schemas.openxmlformats.org/officeDocument/2006/relationships/tags" Target="../tags/tag2729.xml"/><Relationship Id="rId6" Type="http://schemas.openxmlformats.org/officeDocument/2006/relationships/image" Target="../media/image7.emf"/><Relationship Id="rId5" Type="http://schemas.openxmlformats.org/officeDocument/2006/relationships/oleObject" Target="../embeddings/oleObject468.bin"/><Relationship Id="rId10" Type="http://schemas.openxmlformats.org/officeDocument/2006/relationships/image" Target="../media/image140.svg"/><Relationship Id="rId4" Type="http://schemas.openxmlformats.org/officeDocument/2006/relationships/notesSlide" Target="../notesSlides/notesSlide117.xml"/><Relationship Id="rId9" Type="http://schemas.openxmlformats.org/officeDocument/2006/relationships/image" Target="../media/image139.png"/></Relationships>
</file>

<file path=ppt/slides/_rels/slide124.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slideLayout" Target="../slideLayouts/slideLayout289.xml"/><Relationship Id="rId7" Type="http://schemas.openxmlformats.org/officeDocument/2006/relationships/image" Target="../media/image141.png"/><Relationship Id="rId2" Type="http://schemas.openxmlformats.org/officeDocument/2006/relationships/tags" Target="../tags/tag2732.xml"/><Relationship Id="rId1" Type="http://schemas.openxmlformats.org/officeDocument/2006/relationships/tags" Target="../tags/tag2731.xml"/><Relationship Id="rId6" Type="http://schemas.openxmlformats.org/officeDocument/2006/relationships/image" Target="../media/image7.emf"/><Relationship Id="rId5" Type="http://schemas.openxmlformats.org/officeDocument/2006/relationships/oleObject" Target="../embeddings/oleObject469.bin"/><Relationship Id="rId4" Type="http://schemas.openxmlformats.org/officeDocument/2006/relationships/notesSlide" Target="../notesSlides/notesSlide118.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292.xml"/><Relationship Id="rId1" Type="http://schemas.openxmlformats.org/officeDocument/2006/relationships/tags" Target="../tags/tag2733.xml"/><Relationship Id="rId5" Type="http://schemas.openxmlformats.org/officeDocument/2006/relationships/image" Target="../media/image63.emf"/><Relationship Id="rId4" Type="http://schemas.openxmlformats.org/officeDocument/2006/relationships/oleObject" Target="../embeddings/oleObject470.bin"/></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471.bin"/><Relationship Id="rId2" Type="http://schemas.openxmlformats.org/officeDocument/2006/relationships/slideLayout" Target="../slideLayouts/slideLayout38.xml"/><Relationship Id="rId1" Type="http://schemas.openxmlformats.org/officeDocument/2006/relationships/tags" Target="../tags/tag2734.xml"/><Relationship Id="rId6" Type="http://schemas.openxmlformats.org/officeDocument/2006/relationships/hyperlink" Target="mailto:Richard.howard@auroraer.com" TargetMode="External"/><Relationship Id="rId5" Type="http://schemas.openxmlformats.org/officeDocument/2006/relationships/hyperlink" Target="mailto:Eva.zimmerman@auroraer.com" TargetMode="External"/><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8" Type="http://schemas.openxmlformats.org/officeDocument/2006/relationships/tags" Target="../tags/tag403.xml"/><Relationship Id="rId13" Type="http://schemas.openxmlformats.org/officeDocument/2006/relationships/notesSlide" Target="../notesSlides/notesSlide10.xml"/><Relationship Id="rId3" Type="http://schemas.openxmlformats.org/officeDocument/2006/relationships/tags" Target="../tags/tag398.xml"/><Relationship Id="rId7" Type="http://schemas.openxmlformats.org/officeDocument/2006/relationships/tags" Target="../tags/tag402.xml"/><Relationship Id="rId12" Type="http://schemas.openxmlformats.org/officeDocument/2006/relationships/slideLayout" Target="../slideLayouts/slideLayout7.xml"/><Relationship Id="rId17" Type="http://schemas.openxmlformats.org/officeDocument/2006/relationships/chart" Target="../charts/chart6.xml"/><Relationship Id="rId2" Type="http://schemas.openxmlformats.org/officeDocument/2006/relationships/tags" Target="../tags/tag397.xml"/><Relationship Id="rId16" Type="http://schemas.openxmlformats.org/officeDocument/2006/relationships/image" Target="../media/image14.emf"/><Relationship Id="rId1" Type="http://schemas.openxmlformats.org/officeDocument/2006/relationships/tags" Target="../tags/tag396.xml"/><Relationship Id="rId6" Type="http://schemas.openxmlformats.org/officeDocument/2006/relationships/tags" Target="../tags/tag401.xml"/><Relationship Id="rId11" Type="http://schemas.openxmlformats.org/officeDocument/2006/relationships/tags" Target="../tags/tag406.xml"/><Relationship Id="rId5" Type="http://schemas.openxmlformats.org/officeDocument/2006/relationships/tags" Target="../tags/tag400.xml"/><Relationship Id="rId15" Type="http://schemas.openxmlformats.org/officeDocument/2006/relationships/oleObject" Target="../embeddings/oleObject358.bin"/><Relationship Id="rId10" Type="http://schemas.openxmlformats.org/officeDocument/2006/relationships/tags" Target="../tags/tag405.xml"/><Relationship Id="rId4" Type="http://schemas.openxmlformats.org/officeDocument/2006/relationships/tags" Target="../tags/tag399.xml"/><Relationship Id="rId9" Type="http://schemas.openxmlformats.org/officeDocument/2006/relationships/tags" Target="../tags/tag404.xml"/><Relationship Id="rId14" Type="http://schemas.microsoft.com/office/2018/10/relationships/comments" Target="../comments/modernComment_7FFFF4EF_5C61F93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3.emf"/><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oleObject" Target="../embeddings/oleObject359.bin"/><Relationship Id="rId5" Type="http://schemas.microsoft.com/office/2018/10/relationships/comments" Target="../comments/modernComment_7FFFF4F0_707B021.xml"/><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slide" Target="slide15.xml"/><Relationship Id="rId2" Type="http://schemas.openxmlformats.org/officeDocument/2006/relationships/slideLayout" Target="../slideLayouts/slideLayout3.xml"/><Relationship Id="rId1" Type="http://schemas.openxmlformats.org/officeDocument/2006/relationships/tags" Target="../tags/tag409.xml"/><Relationship Id="rId6" Type="http://schemas.openxmlformats.org/officeDocument/2006/relationships/slide" Target="slide27.xml"/><Relationship Id="rId5" Type="http://schemas.openxmlformats.org/officeDocument/2006/relationships/image" Target="../media/image63.emf"/><Relationship Id="rId4" Type="http://schemas.openxmlformats.org/officeDocument/2006/relationships/oleObject" Target="../embeddings/oleObject36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410.xml"/><Relationship Id="rId6" Type="http://schemas.openxmlformats.org/officeDocument/2006/relationships/image" Target="../media/image14.emf"/><Relationship Id="rId5" Type="http://schemas.openxmlformats.org/officeDocument/2006/relationships/oleObject" Target="../embeddings/oleObject361.bin"/><Relationship Id="rId4" Type="http://schemas.microsoft.com/office/2018/10/relationships/comments" Target="../comments/modernComment_7FFFF4D8_3EEE2585.xml"/></Relationships>
</file>

<file path=ppt/slides/_rels/slide17.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3" Type="http://schemas.openxmlformats.org/officeDocument/2006/relationships/notesSlide" Target="../notesSlides/notesSlide14.xml"/><Relationship Id="rId7" Type="http://schemas.openxmlformats.org/officeDocument/2006/relationships/image" Target="../media/image73.png"/><Relationship Id="rId12" Type="http://schemas.openxmlformats.org/officeDocument/2006/relationships/image" Target="../media/image78.svg"/><Relationship Id="rId2" Type="http://schemas.openxmlformats.org/officeDocument/2006/relationships/slideLayout" Target="../slideLayouts/slideLayout7.xml"/><Relationship Id="rId1" Type="http://schemas.openxmlformats.org/officeDocument/2006/relationships/tags" Target="../tags/tag411.xml"/><Relationship Id="rId6" Type="http://schemas.openxmlformats.org/officeDocument/2006/relationships/image" Target="../media/image22.emf"/><Relationship Id="rId11" Type="http://schemas.openxmlformats.org/officeDocument/2006/relationships/image" Target="../media/image77.png"/><Relationship Id="rId5" Type="http://schemas.openxmlformats.org/officeDocument/2006/relationships/oleObject" Target="../embeddings/oleObject362.bin"/><Relationship Id="rId10" Type="http://schemas.openxmlformats.org/officeDocument/2006/relationships/image" Target="../media/image76.svg"/><Relationship Id="rId4" Type="http://schemas.microsoft.com/office/2018/10/relationships/comments" Target="../comments/modernComment_7FFFF48C_33DE4A51.xml"/><Relationship Id="rId9" Type="http://schemas.openxmlformats.org/officeDocument/2006/relationships/image" Target="../media/image75.png"/><Relationship Id="rId14" Type="http://schemas.openxmlformats.org/officeDocument/2006/relationships/image" Target="../media/image80.svg"/></Relationships>
</file>

<file path=ppt/slides/_rels/slide18.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notesSlide" Target="../notesSlides/notesSlide15.xml"/><Relationship Id="rId7" Type="http://schemas.openxmlformats.org/officeDocument/2006/relationships/slide" Target="slide27.xml"/><Relationship Id="rId2" Type="http://schemas.openxmlformats.org/officeDocument/2006/relationships/slideLayout" Target="../slideLayouts/slideLayout3.xml"/><Relationship Id="rId1" Type="http://schemas.openxmlformats.org/officeDocument/2006/relationships/tags" Target="../tags/tag412.xml"/><Relationship Id="rId6" Type="http://schemas.openxmlformats.org/officeDocument/2006/relationships/slide" Target="slide19.xml"/><Relationship Id="rId5" Type="http://schemas.openxmlformats.org/officeDocument/2006/relationships/image" Target="../media/image63.emf"/><Relationship Id="rId4" Type="http://schemas.openxmlformats.org/officeDocument/2006/relationships/oleObject" Target="../embeddings/oleObject36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413.xml"/><Relationship Id="rId6" Type="http://schemas.openxmlformats.org/officeDocument/2006/relationships/image" Target="../media/image63.emf"/><Relationship Id="rId5" Type="http://schemas.openxmlformats.org/officeDocument/2006/relationships/oleObject" Target="../embeddings/oleObject364.bin"/><Relationship Id="rId4" Type="http://schemas.microsoft.com/office/2018/10/relationships/comments" Target="../comments/modernComment_7FF64A25_891D721B.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47.bin"/><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36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emf"/></Relationships>
</file>

<file path=ppt/slides/_rels/slide20.xml.rels><?xml version="1.0" encoding="UTF-8" standalone="yes"?>
<Relationships xmlns="http://schemas.openxmlformats.org/package/2006/relationships"><Relationship Id="rId13" Type="http://schemas.openxmlformats.org/officeDocument/2006/relationships/tags" Target="../tags/tag426.xml"/><Relationship Id="rId18" Type="http://schemas.openxmlformats.org/officeDocument/2006/relationships/tags" Target="../tags/tag431.xml"/><Relationship Id="rId26" Type="http://schemas.openxmlformats.org/officeDocument/2006/relationships/tags" Target="../tags/tag439.xml"/><Relationship Id="rId39" Type="http://schemas.openxmlformats.org/officeDocument/2006/relationships/tags" Target="../tags/tag452.xml"/><Relationship Id="rId21" Type="http://schemas.openxmlformats.org/officeDocument/2006/relationships/tags" Target="../tags/tag434.xml"/><Relationship Id="rId34" Type="http://schemas.openxmlformats.org/officeDocument/2006/relationships/tags" Target="../tags/tag447.xml"/><Relationship Id="rId42" Type="http://schemas.openxmlformats.org/officeDocument/2006/relationships/tags" Target="../tags/tag455.xml"/><Relationship Id="rId47" Type="http://schemas.microsoft.com/office/2018/10/relationships/comments" Target="../comments/modernComment_7FFFF473_99DE832A.xml"/><Relationship Id="rId50" Type="http://schemas.openxmlformats.org/officeDocument/2006/relationships/chart" Target="../charts/chart7.xml"/><Relationship Id="rId7" Type="http://schemas.openxmlformats.org/officeDocument/2006/relationships/tags" Target="../tags/tag420.xml"/><Relationship Id="rId2" Type="http://schemas.openxmlformats.org/officeDocument/2006/relationships/tags" Target="../tags/tag415.xml"/><Relationship Id="rId16" Type="http://schemas.openxmlformats.org/officeDocument/2006/relationships/tags" Target="../tags/tag429.xml"/><Relationship Id="rId29" Type="http://schemas.openxmlformats.org/officeDocument/2006/relationships/tags" Target="../tags/tag442.xml"/><Relationship Id="rId11" Type="http://schemas.openxmlformats.org/officeDocument/2006/relationships/tags" Target="../tags/tag424.xml"/><Relationship Id="rId24" Type="http://schemas.openxmlformats.org/officeDocument/2006/relationships/tags" Target="../tags/tag437.xml"/><Relationship Id="rId32" Type="http://schemas.openxmlformats.org/officeDocument/2006/relationships/tags" Target="../tags/tag445.xml"/><Relationship Id="rId37" Type="http://schemas.openxmlformats.org/officeDocument/2006/relationships/tags" Target="../tags/tag450.xml"/><Relationship Id="rId40" Type="http://schemas.openxmlformats.org/officeDocument/2006/relationships/tags" Target="../tags/tag453.xml"/><Relationship Id="rId45" Type="http://schemas.openxmlformats.org/officeDocument/2006/relationships/slideLayout" Target="../slideLayouts/slideLayout22.xml"/><Relationship Id="rId53" Type="http://schemas.openxmlformats.org/officeDocument/2006/relationships/chart" Target="../charts/chart10.xml"/><Relationship Id="rId5" Type="http://schemas.openxmlformats.org/officeDocument/2006/relationships/tags" Target="../tags/tag418.xml"/><Relationship Id="rId10" Type="http://schemas.openxmlformats.org/officeDocument/2006/relationships/tags" Target="../tags/tag423.xml"/><Relationship Id="rId19" Type="http://schemas.openxmlformats.org/officeDocument/2006/relationships/tags" Target="../tags/tag432.xml"/><Relationship Id="rId31" Type="http://schemas.openxmlformats.org/officeDocument/2006/relationships/tags" Target="../tags/tag444.xml"/><Relationship Id="rId44" Type="http://schemas.openxmlformats.org/officeDocument/2006/relationships/tags" Target="../tags/tag457.xml"/><Relationship Id="rId52" Type="http://schemas.openxmlformats.org/officeDocument/2006/relationships/chart" Target="../charts/chart9.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tags" Target="../tags/tag435.xml"/><Relationship Id="rId27" Type="http://schemas.openxmlformats.org/officeDocument/2006/relationships/tags" Target="../tags/tag440.xml"/><Relationship Id="rId30" Type="http://schemas.openxmlformats.org/officeDocument/2006/relationships/tags" Target="../tags/tag443.xml"/><Relationship Id="rId35" Type="http://schemas.openxmlformats.org/officeDocument/2006/relationships/tags" Target="../tags/tag448.xml"/><Relationship Id="rId43" Type="http://schemas.openxmlformats.org/officeDocument/2006/relationships/tags" Target="../tags/tag456.xml"/><Relationship Id="rId48" Type="http://schemas.openxmlformats.org/officeDocument/2006/relationships/oleObject" Target="../embeddings/oleObject365.bin"/><Relationship Id="rId8" Type="http://schemas.openxmlformats.org/officeDocument/2006/relationships/tags" Target="../tags/tag421.xml"/><Relationship Id="rId51" Type="http://schemas.openxmlformats.org/officeDocument/2006/relationships/chart" Target="../charts/chart8.xml"/><Relationship Id="rId3" Type="http://schemas.openxmlformats.org/officeDocument/2006/relationships/tags" Target="../tags/tag416.xml"/><Relationship Id="rId12" Type="http://schemas.openxmlformats.org/officeDocument/2006/relationships/tags" Target="../tags/tag425.xml"/><Relationship Id="rId17" Type="http://schemas.openxmlformats.org/officeDocument/2006/relationships/tags" Target="../tags/tag430.xml"/><Relationship Id="rId25" Type="http://schemas.openxmlformats.org/officeDocument/2006/relationships/tags" Target="../tags/tag438.xml"/><Relationship Id="rId33" Type="http://schemas.openxmlformats.org/officeDocument/2006/relationships/tags" Target="../tags/tag446.xml"/><Relationship Id="rId38" Type="http://schemas.openxmlformats.org/officeDocument/2006/relationships/tags" Target="../tags/tag451.xml"/><Relationship Id="rId46" Type="http://schemas.openxmlformats.org/officeDocument/2006/relationships/notesSlide" Target="../notesSlides/notesSlide17.xml"/><Relationship Id="rId20" Type="http://schemas.openxmlformats.org/officeDocument/2006/relationships/tags" Target="../tags/tag433.xml"/><Relationship Id="rId41" Type="http://schemas.openxmlformats.org/officeDocument/2006/relationships/tags" Target="../tags/tag454.xml"/><Relationship Id="rId1" Type="http://schemas.openxmlformats.org/officeDocument/2006/relationships/tags" Target="../tags/tag414.xml"/><Relationship Id="rId6" Type="http://schemas.openxmlformats.org/officeDocument/2006/relationships/tags" Target="../tags/tag419.xml"/><Relationship Id="rId15" Type="http://schemas.openxmlformats.org/officeDocument/2006/relationships/tags" Target="../tags/tag428.xml"/><Relationship Id="rId23" Type="http://schemas.openxmlformats.org/officeDocument/2006/relationships/tags" Target="../tags/tag436.xml"/><Relationship Id="rId28" Type="http://schemas.openxmlformats.org/officeDocument/2006/relationships/tags" Target="../tags/tag441.xml"/><Relationship Id="rId36" Type="http://schemas.openxmlformats.org/officeDocument/2006/relationships/tags" Target="../tags/tag449.xml"/><Relationship Id="rId49" Type="http://schemas.openxmlformats.org/officeDocument/2006/relationships/image" Target="../media/image14.emf"/></Relationships>
</file>

<file path=ppt/slides/_rels/slide21.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tags" Target="../tags/tag470.xml"/><Relationship Id="rId18" Type="http://schemas.openxmlformats.org/officeDocument/2006/relationships/tags" Target="../tags/tag475.xml"/><Relationship Id="rId26" Type="http://schemas.openxmlformats.org/officeDocument/2006/relationships/chart" Target="../charts/chart11.xml"/><Relationship Id="rId3" Type="http://schemas.openxmlformats.org/officeDocument/2006/relationships/tags" Target="../tags/tag460.xml"/><Relationship Id="rId21" Type="http://schemas.openxmlformats.org/officeDocument/2006/relationships/slideLayout" Target="../slideLayouts/slideLayout18.xml"/><Relationship Id="rId7" Type="http://schemas.openxmlformats.org/officeDocument/2006/relationships/tags" Target="../tags/tag464.xml"/><Relationship Id="rId12" Type="http://schemas.openxmlformats.org/officeDocument/2006/relationships/tags" Target="../tags/tag469.xml"/><Relationship Id="rId17" Type="http://schemas.openxmlformats.org/officeDocument/2006/relationships/tags" Target="../tags/tag474.xml"/><Relationship Id="rId25" Type="http://schemas.openxmlformats.org/officeDocument/2006/relationships/image" Target="../media/image14.emf"/><Relationship Id="rId2" Type="http://schemas.openxmlformats.org/officeDocument/2006/relationships/tags" Target="../tags/tag459.xml"/><Relationship Id="rId16" Type="http://schemas.openxmlformats.org/officeDocument/2006/relationships/tags" Target="../tags/tag473.xml"/><Relationship Id="rId20" Type="http://schemas.openxmlformats.org/officeDocument/2006/relationships/tags" Target="../tags/tag477.xml"/><Relationship Id="rId1" Type="http://schemas.openxmlformats.org/officeDocument/2006/relationships/tags" Target="../tags/tag458.xml"/><Relationship Id="rId6" Type="http://schemas.openxmlformats.org/officeDocument/2006/relationships/tags" Target="../tags/tag463.xml"/><Relationship Id="rId11" Type="http://schemas.openxmlformats.org/officeDocument/2006/relationships/tags" Target="../tags/tag468.xml"/><Relationship Id="rId24" Type="http://schemas.openxmlformats.org/officeDocument/2006/relationships/oleObject" Target="../embeddings/oleObject366.bin"/><Relationship Id="rId5" Type="http://schemas.openxmlformats.org/officeDocument/2006/relationships/tags" Target="../tags/tag462.xml"/><Relationship Id="rId15" Type="http://schemas.openxmlformats.org/officeDocument/2006/relationships/tags" Target="../tags/tag472.xml"/><Relationship Id="rId23" Type="http://schemas.microsoft.com/office/2018/10/relationships/comments" Target="../comments/modernComment_7FFFF4F7_44FE2FDA.xml"/><Relationship Id="rId10" Type="http://schemas.openxmlformats.org/officeDocument/2006/relationships/tags" Target="../tags/tag467.xml"/><Relationship Id="rId19" Type="http://schemas.openxmlformats.org/officeDocument/2006/relationships/tags" Target="../tags/tag476.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tags" Target="../tags/tag471.xml"/><Relationship Id="rId22"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tags" Target="../tags/tag480.xml"/><Relationship Id="rId7" Type="http://schemas.openxmlformats.org/officeDocument/2006/relationships/oleObject" Target="../embeddings/oleObject367.bin"/><Relationship Id="rId2" Type="http://schemas.openxmlformats.org/officeDocument/2006/relationships/tags" Target="../tags/tag479.xml"/><Relationship Id="rId1" Type="http://schemas.openxmlformats.org/officeDocument/2006/relationships/tags" Target="../tags/tag478.xml"/><Relationship Id="rId6" Type="http://schemas.microsoft.com/office/2018/10/relationships/comments" Target="../comments/modernComment_7FFFF4DF_B2A920E0.xml"/><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6" Type="http://schemas.openxmlformats.org/officeDocument/2006/relationships/tags" Target="../tags/tag506.xml"/><Relationship Id="rId21" Type="http://schemas.openxmlformats.org/officeDocument/2006/relationships/tags" Target="../tags/tag501.xml"/><Relationship Id="rId34" Type="http://schemas.openxmlformats.org/officeDocument/2006/relationships/tags" Target="../tags/tag514.xml"/><Relationship Id="rId42" Type="http://schemas.openxmlformats.org/officeDocument/2006/relationships/tags" Target="../tags/tag522.xml"/><Relationship Id="rId47" Type="http://schemas.openxmlformats.org/officeDocument/2006/relationships/tags" Target="../tags/tag527.xml"/><Relationship Id="rId50" Type="http://schemas.openxmlformats.org/officeDocument/2006/relationships/tags" Target="../tags/tag530.xml"/><Relationship Id="rId55" Type="http://schemas.openxmlformats.org/officeDocument/2006/relationships/tags" Target="../tags/tag535.xml"/><Relationship Id="rId63" Type="http://schemas.openxmlformats.org/officeDocument/2006/relationships/chart" Target="../charts/chart14.xml"/><Relationship Id="rId7" Type="http://schemas.openxmlformats.org/officeDocument/2006/relationships/tags" Target="../tags/tag487.xml"/><Relationship Id="rId2" Type="http://schemas.openxmlformats.org/officeDocument/2006/relationships/tags" Target="../tags/tag482.xml"/><Relationship Id="rId16" Type="http://schemas.openxmlformats.org/officeDocument/2006/relationships/tags" Target="../tags/tag496.xml"/><Relationship Id="rId29" Type="http://schemas.openxmlformats.org/officeDocument/2006/relationships/tags" Target="../tags/tag509.xml"/><Relationship Id="rId11" Type="http://schemas.openxmlformats.org/officeDocument/2006/relationships/tags" Target="../tags/tag491.xml"/><Relationship Id="rId24" Type="http://schemas.openxmlformats.org/officeDocument/2006/relationships/tags" Target="../tags/tag504.xml"/><Relationship Id="rId32" Type="http://schemas.openxmlformats.org/officeDocument/2006/relationships/tags" Target="../tags/tag512.xml"/><Relationship Id="rId37" Type="http://schemas.openxmlformats.org/officeDocument/2006/relationships/tags" Target="../tags/tag517.xml"/><Relationship Id="rId40" Type="http://schemas.openxmlformats.org/officeDocument/2006/relationships/tags" Target="../tags/tag520.xml"/><Relationship Id="rId45" Type="http://schemas.openxmlformats.org/officeDocument/2006/relationships/tags" Target="../tags/tag525.xml"/><Relationship Id="rId53" Type="http://schemas.openxmlformats.org/officeDocument/2006/relationships/tags" Target="../tags/tag533.xml"/><Relationship Id="rId58" Type="http://schemas.microsoft.com/office/2018/10/relationships/comments" Target="../comments/modernComment_7FFFF47E_CC4FD94F.xml"/><Relationship Id="rId66" Type="http://schemas.openxmlformats.org/officeDocument/2006/relationships/chart" Target="../charts/chart17.xml"/><Relationship Id="rId5" Type="http://schemas.openxmlformats.org/officeDocument/2006/relationships/tags" Target="../tags/tag485.xml"/><Relationship Id="rId61" Type="http://schemas.openxmlformats.org/officeDocument/2006/relationships/chart" Target="../charts/chart12.xml"/><Relationship Id="rId19" Type="http://schemas.openxmlformats.org/officeDocument/2006/relationships/tags" Target="../tags/tag499.xml"/><Relationship Id="rId14" Type="http://schemas.openxmlformats.org/officeDocument/2006/relationships/tags" Target="../tags/tag494.xml"/><Relationship Id="rId22" Type="http://schemas.openxmlformats.org/officeDocument/2006/relationships/tags" Target="../tags/tag502.xml"/><Relationship Id="rId27" Type="http://schemas.openxmlformats.org/officeDocument/2006/relationships/tags" Target="../tags/tag507.xml"/><Relationship Id="rId30" Type="http://schemas.openxmlformats.org/officeDocument/2006/relationships/tags" Target="../tags/tag510.xml"/><Relationship Id="rId35" Type="http://schemas.openxmlformats.org/officeDocument/2006/relationships/tags" Target="../tags/tag515.xml"/><Relationship Id="rId43" Type="http://schemas.openxmlformats.org/officeDocument/2006/relationships/tags" Target="../tags/tag523.xml"/><Relationship Id="rId48" Type="http://schemas.openxmlformats.org/officeDocument/2006/relationships/tags" Target="../tags/tag528.xml"/><Relationship Id="rId56" Type="http://schemas.openxmlformats.org/officeDocument/2006/relationships/slideLayout" Target="../slideLayouts/slideLayout5.xml"/><Relationship Id="rId64" Type="http://schemas.openxmlformats.org/officeDocument/2006/relationships/chart" Target="../charts/chart15.xml"/><Relationship Id="rId8" Type="http://schemas.openxmlformats.org/officeDocument/2006/relationships/tags" Target="../tags/tag488.xml"/><Relationship Id="rId51" Type="http://schemas.openxmlformats.org/officeDocument/2006/relationships/tags" Target="../tags/tag531.xml"/><Relationship Id="rId3" Type="http://schemas.openxmlformats.org/officeDocument/2006/relationships/tags" Target="../tags/tag483.xml"/><Relationship Id="rId12" Type="http://schemas.openxmlformats.org/officeDocument/2006/relationships/tags" Target="../tags/tag492.xml"/><Relationship Id="rId17" Type="http://schemas.openxmlformats.org/officeDocument/2006/relationships/tags" Target="../tags/tag497.xml"/><Relationship Id="rId25" Type="http://schemas.openxmlformats.org/officeDocument/2006/relationships/tags" Target="../tags/tag505.xml"/><Relationship Id="rId33" Type="http://schemas.openxmlformats.org/officeDocument/2006/relationships/tags" Target="../tags/tag513.xml"/><Relationship Id="rId38" Type="http://schemas.openxmlformats.org/officeDocument/2006/relationships/tags" Target="../tags/tag518.xml"/><Relationship Id="rId46" Type="http://schemas.openxmlformats.org/officeDocument/2006/relationships/tags" Target="../tags/tag526.xml"/><Relationship Id="rId59" Type="http://schemas.openxmlformats.org/officeDocument/2006/relationships/oleObject" Target="../embeddings/oleObject368.bin"/><Relationship Id="rId20" Type="http://schemas.openxmlformats.org/officeDocument/2006/relationships/tags" Target="../tags/tag500.xml"/><Relationship Id="rId41" Type="http://schemas.openxmlformats.org/officeDocument/2006/relationships/tags" Target="../tags/tag521.xml"/><Relationship Id="rId54" Type="http://schemas.openxmlformats.org/officeDocument/2006/relationships/tags" Target="../tags/tag534.xml"/><Relationship Id="rId62" Type="http://schemas.openxmlformats.org/officeDocument/2006/relationships/chart" Target="../charts/chart13.xml"/><Relationship Id="rId1" Type="http://schemas.openxmlformats.org/officeDocument/2006/relationships/tags" Target="../tags/tag481.xml"/><Relationship Id="rId6" Type="http://schemas.openxmlformats.org/officeDocument/2006/relationships/tags" Target="../tags/tag486.xml"/><Relationship Id="rId15" Type="http://schemas.openxmlformats.org/officeDocument/2006/relationships/tags" Target="../tags/tag495.xml"/><Relationship Id="rId23" Type="http://schemas.openxmlformats.org/officeDocument/2006/relationships/tags" Target="../tags/tag503.xml"/><Relationship Id="rId28" Type="http://schemas.openxmlformats.org/officeDocument/2006/relationships/tags" Target="../tags/tag508.xml"/><Relationship Id="rId36" Type="http://schemas.openxmlformats.org/officeDocument/2006/relationships/tags" Target="../tags/tag516.xml"/><Relationship Id="rId49" Type="http://schemas.openxmlformats.org/officeDocument/2006/relationships/tags" Target="../tags/tag529.xml"/><Relationship Id="rId57" Type="http://schemas.openxmlformats.org/officeDocument/2006/relationships/notesSlide" Target="../notesSlides/notesSlide20.xml"/><Relationship Id="rId10" Type="http://schemas.openxmlformats.org/officeDocument/2006/relationships/tags" Target="../tags/tag490.xml"/><Relationship Id="rId31" Type="http://schemas.openxmlformats.org/officeDocument/2006/relationships/tags" Target="../tags/tag511.xml"/><Relationship Id="rId44" Type="http://schemas.openxmlformats.org/officeDocument/2006/relationships/tags" Target="../tags/tag524.xml"/><Relationship Id="rId52" Type="http://schemas.openxmlformats.org/officeDocument/2006/relationships/tags" Target="../tags/tag532.xml"/><Relationship Id="rId60" Type="http://schemas.openxmlformats.org/officeDocument/2006/relationships/image" Target="../media/image14.emf"/><Relationship Id="rId65" Type="http://schemas.openxmlformats.org/officeDocument/2006/relationships/chart" Target="../charts/chart16.xml"/><Relationship Id="rId4" Type="http://schemas.openxmlformats.org/officeDocument/2006/relationships/tags" Target="../tags/tag484.xml"/><Relationship Id="rId9" Type="http://schemas.openxmlformats.org/officeDocument/2006/relationships/tags" Target="../tags/tag489.xml"/><Relationship Id="rId13" Type="http://schemas.openxmlformats.org/officeDocument/2006/relationships/tags" Target="../tags/tag493.xml"/><Relationship Id="rId18" Type="http://schemas.openxmlformats.org/officeDocument/2006/relationships/tags" Target="../tags/tag498.xml"/><Relationship Id="rId39" Type="http://schemas.openxmlformats.org/officeDocument/2006/relationships/tags" Target="../tags/tag51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536.xml"/><Relationship Id="rId5" Type="http://schemas.openxmlformats.org/officeDocument/2006/relationships/image" Target="../media/image14.emf"/><Relationship Id="rId4" Type="http://schemas.openxmlformats.org/officeDocument/2006/relationships/oleObject" Target="../embeddings/oleObject369.bin"/></Relationships>
</file>

<file path=ppt/slides/_rels/slide25.xml.rels><?xml version="1.0" encoding="UTF-8" standalone="yes"?>
<Relationships xmlns="http://schemas.openxmlformats.org/package/2006/relationships"><Relationship Id="rId13" Type="http://schemas.openxmlformats.org/officeDocument/2006/relationships/tags" Target="../tags/tag549.xml"/><Relationship Id="rId18" Type="http://schemas.openxmlformats.org/officeDocument/2006/relationships/tags" Target="../tags/tag554.xml"/><Relationship Id="rId26" Type="http://schemas.openxmlformats.org/officeDocument/2006/relationships/tags" Target="../tags/tag562.xml"/><Relationship Id="rId39" Type="http://schemas.openxmlformats.org/officeDocument/2006/relationships/tags" Target="../tags/tag575.xml"/><Relationship Id="rId21" Type="http://schemas.openxmlformats.org/officeDocument/2006/relationships/tags" Target="../tags/tag557.xml"/><Relationship Id="rId34" Type="http://schemas.openxmlformats.org/officeDocument/2006/relationships/tags" Target="../tags/tag570.xml"/><Relationship Id="rId42" Type="http://schemas.openxmlformats.org/officeDocument/2006/relationships/tags" Target="../tags/tag578.xml"/><Relationship Id="rId47" Type="http://schemas.microsoft.com/office/2018/10/relationships/comments" Target="../comments/modernComment_7FFFF4FF_A91B2345.xml"/><Relationship Id="rId50" Type="http://schemas.openxmlformats.org/officeDocument/2006/relationships/chart" Target="../charts/chart18.xml"/><Relationship Id="rId7" Type="http://schemas.openxmlformats.org/officeDocument/2006/relationships/tags" Target="../tags/tag543.xml"/><Relationship Id="rId2" Type="http://schemas.openxmlformats.org/officeDocument/2006/relationships/tags" Target="../tags/tag538.xml"/><Relationship Id="rId16" Type="http://schemas.openxmlformats.org/officeDocument/2006/relationships/tags" Target="../tags/tag552.xml"/><Relationship Id="rId29" Type="http://schemas.openxmlformats.org/officeDocument/2006/relationships/tags" Target="../tags/tag565.xml"/><Relationship Id="rId11" Type="http://schemas.openxmlformats.org/officeDocument/2006/relationships/tags" Target="../tags/tag547.xml"/><Relationship Id="rId24" Type="http://schemas.openxmlformats.org/officeDocument/2006/relationships/tags" Target="../tags/tag560.xml"/><Relationship Id="rId32" Type="http://schemas.openxmlformats.org/officeDocument/2006/relationships/tags" Target="../tags/tag568.xml"/><Relationship Id="rId37" Type="http://schemas.openxmlformats.org/officeDocument/2006/relationships/tags" Target="../tags/tag573.xml"/><Relationship Id="rId40" Type="http://schemas.openxmlformats.org/officeDocument/2006/relationships/tags" Target="../tags/tag576.xml"/><Relationship Id="rId45" Type="http://schemas.openxmlformats.org/officeDocument/2006/relationships/slideLayout" Target="../slideLayouts/slideLayout18.xml"/><Relationship Id="rId5" Type="http://schemas.openxmlformats.org/officeDocument/2006/relationships/tags" Target="../tags/tag541.xml"/><Relationship Id="rId15" Type="http://schemas.openxmlformats.org/officeDocument/2006/relationships/tags" Target="../tags/tag551.xml"/><Relationship Id="rId23" Type="http://schemas.openxmlformats.org/officeDocument/2006/relationships/tags" Target="../tags/tag559.xml"/><Relationship Id="rId28" Type="http://schemas.openxmlformats.org/officeDocument/2006/relationships/tags" Target="../tags/tag564.xml"/><Relationship Id="rId36" Type="http://schemas.openxmlformats.org/officeDocument/2006/relationships/tags" Target="../tags/tag572.xml"/><Relationship Id="rId49" Type="http://schemas.openxmlformats.org/officeDocument/2006/relationships/image" Target="../media/image14.emf"/><Relationship Id="rId10" Type="http://schemas.openxmlformats.org/officeDocument/2006/relationships/tags" Target="../tags/tag546.xml"/><Relationship Id="rId19" Type="http://schemas.openxmlformats.org/officeDocument/2006/relationships/tags" Target="../tags/tag555.xml"/><Relationship Id="rId31" Type="http://schemas.openxmlformats.org/officeDocument/2006/relationships/tags" Target="../tags/tag567.xml"/><Relationship Id="rId44" Type="http://schemas.openxmlformats.org/officeDocument/2006/relationships/tags" Target="../tags/tag580.xml"/><Relationship Id="rId4" Type="http://schemas.openxmlformats.org/officeDocument/2006/relationships/tags" Target="../tags/tag540.xml"/><Relationship Id="rId9" Type="http://schemas.openxmlformats.org/officeDocument/2006/relationships/tags" Target="../tags/tag545.xml"/><Relationship Id="rId14" Type="http://schemas.openxmlformats.org/officeDocument/2006/relationships/tags" Target="../tags/tag550.xml"/><Relationship Id="rId22" Type="http://schemas.openxmlformats.org/officeDocument/2006/relationships/tags" Target="../tags/tag558.xml"/><Relationship Id="rId27" Type="http://schemas.openxmlformats.org/officeDocument/2006/relationships/tags" Target="../tags/tag563.xml"/><Relationship Id="rId30" Type="http://schemas.openxmlformats.org/officeDocument/2006/relationships/tags" Target="../tags/tag566.xml"/><Relationship Id="rId35" Type="http://schemas.openxmlformats.org/officeDocument/2006/relationships/tags" Target="../tags/tag571.xml"/><Relationship Id="rId43" Type="http://schemas.openxmlformats.org/officeDocument/2006/relationships/tags" Target="../tags/tag579.xml"/><Relationship Id="rId48" Type="http://schemas.openxmlformats.org/officeDocument/2006/relationships/oleObject" Target="../embeddings/oleObject370.bin"/><Relationship Id="rId8" Type="http://schemas.openxmlformats.org/officeDocument/2006/relationships/tags" Target="../tags/tag544.xml"/><Relationship Id="rId51" Type="http://schemas.openxmlformats.org/officeDocument/2006/relationships/chart" Target="../charts/chart19.xml"/><Relationship Id="rId3" Type="http://schemas.openxmlformats.org/officeDocument/2006/relationships/tags" Target="../tags/tag539.xml"/><Relationship Id="rId12" Type="http://schemas.openxmlformats.org/officeDocument/2006/relationships/tags" Target="../tags/tag548.xml"/><Relationship Id="rId17" Type="http://schemas.openxmlformats.org/officeDocument/2006/relationships/tags" Target="../tags/tag553.xml"/><Relationship Id="rId25" Type="http://schemas.openxmlformats.org/officeDocument/2006/relationships/tags" Target="../tags/tag561.xml"/><Relationship Id="rId33" Type="http://schemas.openxmlformats.org/officeDocument/2006/relationships/tags" Target="../tags/tag569.xml"/><Relationship Id="rId38" Type="http://schemas.openxmlformats.org/officeDocument/2006/relationships/tags" Target="../tags/tag574.xml"/><Relationship Id="rId46" Type="http://schemas.openxmlformats.org/officeDocument/2006/relationships/notesSlide" Target="../notesSlides/notesSlide22.xml"/><Relationship Id="rId20" Type="http://schemas.openxmlformats.org/officeDocument/2006/relationships/tags" Target="../tags/tag556.xml"/><Relationship Id="rId41" Type="http://schemas.openxmlformats.org/officeDocument/2006/relationships/tags" Target="../tags/tag577.xml"/><Relationship Id="rId1" Type="http://schemas.openxmlformats.org/officeDocument/2006/relationships/tags" Target="../tags/tag537.xml"/><Relationship Id="rId6" Type="http://schemas.openxmlformats.org/officeDocument/2006/relationships/tags" Target="../tags/tag542.xml"/></Relationships>
</file>

<file path=ppt/slides/_rels/slide26.xml.rels><?xml version="1.0" encoding="UTF-8" standalone="yes"?>
<Relationships xmlns="http://schemas.openxmlformats.org/package/2006/relationships"><Relationship Id="rId8" Type="http://schemas.openxmlformats.org/officeDocument/2006/relationships/tags" Target="../tags/tag588.xml"/><Relationship Id="rId13" Type="http://schemas.openxmlformats.org/officeDocument/2006/relationships/image" Target="../media/image63.emf"/><Relationship Id="rId3" Type="http://schemas.openxmlformats.org/officeDocument/2006/relationships/tags" Target="../tags/tag583.xml"/><Relationship Id="rId7" Type="http://schemas.openxmlformats.org/officeDocument/2006/relationships/tags" Target="../tags/tag587.xml"/><Relationship Id="rId12" Type="http://schemas.openxmlformats.org/officeDocument/2006/relationships/oleObject" Target="../embeddings/oleObject371.bin"/><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tags" Target="../tags/tag586.xml"/><Relationship Id="rId11" Type="http://schemas.microsoft.com/office/2018/10/relationships/comments" Target="../comments/modernComment_7FFFF47D_407F13F2.xml"/><Relationship Id="rId5" Type="http://schemas.openxmlformats.org/officeDocument/2006/relationships/tags" Target="../tags/tag585.xml"/><Relationship Id="rId10" Type="http://schemas.openxmlformats.org/officeDocument/2006/relationships/notesSlide" Target="../notesSlides/notesSlide23.xml"/><Relationship Id="rId4" Type="http://schemas.openxmlformats.org/officeDocument/2006/relationships/tags" Target="../tags/tag584.xml"/><Relationship Id="rId9" Type="http://schemas.openxmlformats.org/officeDocument/2006/relationships/slideLayout" Target="../slideLayouts/slideLayout19.xml"/><Relationship Id="rId14" Type="http://schemas.openxmlformats.org/officeDocument/2006/relationships/chart" Target="../charts/chart20.xml"/></Relationships>
</file>

<file path=ppt/slides/_rels/slide27.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notesSlide" Target="../notesSlides/notesSlide24.xml"/><Relationship Id="rId7" Type="http://schemas.openxmlformats.org/officeDocument/2006/relationships/slide" Target="slide19.xml"/><Relationship Id="rId2" Type="http://schemas.openxmlformats.org/officeDocument/2006/relationships/slideLayout" Target="../slideLayouts/slideLayout3.xml"/><Relationship Id="rId1" Type="http://schemas.openxmlformats.org/officeDocument/2006/relationships/tags" Target="../tags/tag589.xml"/><Relationship Id="rId6" Type="http://schemas.openxmlformats.org/officeDocument/2006/relationships/slide" Target="slide117.xml"/><Relationship Id="rId5" Type="http://schemas.openxmlformats.org/officeDocument/2006/relationships/image" Target="../media/image63.emf"/><Relationship Id="rId4" Type="http://schemas.openxmlformats.org/officeDocument/2006/relationships/oleObject" Target="../embeddings/oleObject372.bin"/><Relationship Id="rId9" Type="http://schemas.openxmlformats.org/officeDocument/2006/relationships/slide" Target="slide15.xml"/></Relationships>
</file>

<file path=ppt/slides/_rels/slide28.xml.rels><?xml version="1.0" encoding="UTF-8" standalone="yes"?>
<Relationships xmlns="http://schemas.openxmlformats.org/package/2006/relationships"><Relationship Id="rId13" Type="http://schemas.openxmlformats.org/officeDocument/2006/relationships/tags" Target="../tags/tag602.xml"/><Relationship Id="rId18" Type="http://schemas.openxmlformats.org/officeDocument/2006/relationships/tags" Target="../tags/tag607.xml"/><Relationship Id="rId26" Type="http://schemas.openxmlformats.org/officeDocument/2006/relationships/tags" Target="../tags/tag615.xml"/><Relationship Id="rId39" Type="http://schemas.openxmlformats.org/officeDocument/2006/relationships/tags" Target="../tags/tag628.xml"/><Relationship Id="rId21" Type="http://schemas.openxmlformats.org/officeDocument/2006/relationships/tags" Target="../tags/tag610.xml"/><Relationship Id="rId34" Type="http://schemas.openxmlformats.org/officeDocument/2006/relationships/tags" Target="../tags/tag623.xml"/><Relationship Id="rId42" Type="http://schemas.openxmlformats.org/officeDocument/2006/relationships/tags" Target="../tags/tag631.xml"/><Relationship Id="rId47" Type="http://schemas.openxmlformats.org/officeDocument/2006/relationships/tags" Target="../tags/tag636.xml"/><Relationship Id="rId50" Type="http://schemas.openxmlformats.org/officeDocument/2006/relationships/tags" Target="../tags/tag639.xml"/><Relationship Id="rId55" Type="http://schemas.microsoft.com/office/2018/10/relationships/comments" Target="../comments/modernComment_7FFFF481_FAB6806A.xml"/><Relationship Id="rId7" Type="http://schemas.openxmlformats.org/officeDocument/2006/relationships/tags" Target="../tags/tag596.xml"/><Relationship Id="rId2" Type="http://schemas.openxmlformats.org/officeDocument/2006/relationships/tags" Target="../tags/tag591.xml"/><Relationship Id="rId16" Type="http://schemas.openxmlformats.org/officeDocument/2006/relationships/tags" Target="../tags/tag605.xml"/><Relationship Id="rId29" Type="http://schemas.openxmlformats.org/officeDocument/2006/relationships/tags" Target="../tags/tag618.xml"/><Relationship Id="rId11" Type="http://schemas.openxmlformats.org/officeDocument/2006/relationships/tags" Target="../tags/tag600.xml"/><Relationship Id="rId24" Type="http://schemas.openxmlformats.org/officeDocument/2006/relationships/tags" Target="../tags/tag613.xml"/><Relationship Id="rId32" Type="http://schemas.openxmlformats.org/officeDocument/2006/relationships/tags" Target="../tags/tag621.xml"/><Relationship Id="rId37" Type="http://schemas.openxmlformats.org/officeDocument/2006/relationships/tags" Target="../tags/tag626.xml"/><Relationship Id="rId40" Type="http://schemas.openxmlformats.org/officeDocument/2006/relationships/tags" Target="../tags/tag629.xml"/><Relationship Id="rId45" Type="http://schemas.openxmlformats.org/officeDocument/2006/relationships/tags" Target="../tags/tag634.xml"/><Relationship Id="rId53" Type="http://schemas.openxmlformats.org/officeDocument/2006/relationships/slideLayout" Target="../slideLayouts/slideLayout6.xml"/><Relationship Id="rId5" Type="http://schemas.openxmlformats.org/officeDocument/2006/relationships/tags" Target="../tags/tag594.xml"/><Relationship Id="rId19" Type="http://schemas.openxmlformats.org/officeDocument/2006/relationships/tags" Target="../tags/tag608.xml"/><Relationship Id="rId4" Type="http://schemas.openxmlformats.org/officeDocument/2006/relationships/tags" Target="../tags/tag593.xml"/><Relationship Id="rId9" Type="http://schemas.openxmlformats.org/officeDocument/2006/relationships/tags" Target="../tags/tag598.xml"/><Relationship Id="rId14" Type="http://schemas.openxmlformats.org/officeDocument/2006/relationships/tags" Target="../tags/tag603.xml"/><Relationship Id="rId22" Type="http://schemas.openxmlformats.org/officeDocument/2006/relationships/tags" Target="../tags/tag611.xml"/><Relationship Id="rId27" Type="http://schemas.openxmlformats.org/officeDocument/2006/relationships/tags" Target="../tags/tag616.xml"/><Relationship Id="rId30" Type="http://schemas.openxmlformats.org/officeDocument/2006/relationships/tags" Target="../tags/tag619.xml"/><Relationship Id="rId35" Type="http://schemas.openxmlformats.org/officeDocument/2006/relationships/tags" Target="../tags/tag624.xml"/><Relationship Id="rId43" Type="http://schemas.openxmlformats.org/officeDocument/2006/relationships/tags" Target="../tags/tag632.xml"/><Relationship Id="rId48" Type="http://schemas.openxmlformats.org/officeDocument/2006/relationships/tags" Target="../tags/tag637.xml"/><Relationship Id="rId56" Type="http://schemas.openxmlformats.org/officeDocument/2006/relationships/oleObject" Target="../embeddings/oleObject373.bin"/><Relationship Id="rId8" Type="http://schemas.openxmlformats.org/officeDocument/2006/relationships/tags" Target="../tags/tag597.xml"/><Relationship Id="rId51" Type="http://schemas.openxmlformats.org/officeDocument/2006/relationships/tags" Target="../tags/tag640.xml"/><Relationship Id="rId3" Type="http://schemas.openxmlformats.org/officeDocument/2006/relationships/tags" Target="../tags/tag592.xml"/><Relationship Id="rId12" Type="http://schemas.openxmlformats.org/officeDocument/2006/relationships/tags" Target="../tags/tag601.xml"/><Relationship Id="rId17" Type="http://schemas.openxmlformats.org/officeDocument/2006/relationships/tags" Target="../tags/tag606.xml"/><Relationship Id="rId25" Type="http://schemas.openxmlformats.org/officeDocument/2006/relationships/tags" Target="../tags/tag614.xml"/><Relationship Id="rId33" Type="http://schemas.openxmlformats.org/officeDocument/2006/relationships/tags" Target="../tags/tag622.xml"/><Relationship Id="rId38" Type="http://schemas.openxmlformats.org/officeDocument/2006/relationships/tags" Target="../tags/tag627.xml"/><Relationship Id="rId46" Type="http://schemas.openxmlformats.org/officeDocument/2006/relationships/tags" Target="../tags/tag635.xml"/><Relationship Id="rId20" Type="http://schemas.openxmlformats.org/officeDocument/2006/relationships/tags" Target="../tags/tag609.xml"/><Relationship Id="rId41" Type="http://schemas.openxmlformats.org/officeDocument/2006/relationships/tags" Target="../tags/tag630.xml"/><Relationship Id="rId54" Type="http://schemas.openxmlformats.org/officeDocument/2006/relationships/notesSlide" Target="../notesSlides/notesSlide25.xml"/><Relationship Id="rId1" Type="http://schemas.openxmlformats.org/officeDocument/2006/relationships/tags" Target="../tags/tag590.xml"/><Relationship Id="rId6" Type="http://schemas.openxmlformats.org/officeDocument/2006/relationships/tags" Target="../tags/tag595.xml"/><Relationship Id="rId15" Type="http://schemas.openxmlformats.org/officeDocument/2006/relationships/tags" Target="../tags/tag604.xml"/><Relationship Id="rId23" Type="http://schemas.openxmlformats.org/officeDocument/2006/relationships/tags" Target="../tags/tag612.xml"/><Relationship Id="rId28" Type="http://schemas.openxmlformats.org/officeDocument/2006/relationships/tags" Target="../tags/tag617.xml"/><Relationship Id="rId36" Type="http://schemas.openxmlformats.org/officeDocument/2006/relationships/tags" Target="../tags/tag625.xml"/><Relationship Id="rId49" Type="http://schemas.openxmlformats.org/officeDocument/2006/relationships/tags" Target="../tags/tag638.xml"/><Relationship Id="rId57" Type="http://schemas.openxmlformats.org/officeDocument/2006/relationships/image" Target="../media/image81.emf"/><Relationship Id="rId10" Type="http://schemas.openxmlformats.org/officeDocument/2006/relationships/tags" Target="../tags/tag599.xml"/><Relationship Id="rId31" Type="http://schemas.openxmlformats.org/officeDocument/2006/relationships/tags" Target="../tags/tag620.xml"/><Relationship Id="rId44" Type="http://schemas.openxmlformats.org/officeDocument/2006/relationships/tags" Target="../tags/tag633.xml"/><Relationship Id="rId52" Type="http://schemas.openxmlformats.org/officeDocument/2006/relationships/tags" Target="../tags/tag641.xml"/></Relationships>
</file>

<file path=ppt/slides/_rels/slide29.xml.rels><?xml version="1.0" encoding="UTF-8" standalone="yes"?>
<Relationships xmlns="http://schemas.openxmlformats.org/package/2006/relationships"><Relationship Id="rId8" Type="http://schemas.openxmlformats.org/officeDocument/2006/relationships/tags" Target="../tags/tag649.xml"/><Relationship Id="rId13" Type="http://schemas.openxmlformats.org/officeDocument/2006/relationships/tags" Target="../tags/tag654.xml"/><Relationship Id="rId18" Type="http://schemas.openxmlformats.org/officeDocument/2006/relationships/tags" Target="../tags/tag659.xml"/><Relationship Id="rId26" Type="http://schemas.openxmlformats.org/officeDocument/2006/relationships/tags" Target="../tags/tag667.xml"/><Relationship Id="rId3" Type="http://schemas.openxmlformats.org/officeDocument/2006/relationships/tags" Target="../tags/tag644.xml"/><Relationship Id="rId21" Type="http://schemas.openxmlformats.org/officeDocument/2006/relationships/tags" Target="../tags/tag662.xml"/><Relationship Id="rId7" Type="http://schemas.openxmlformats.org/officeDocument/2006/relationships/tags" Target="../tags/tag648.xml"/><Relationship Id="rId12" Type="http://schemas.openxmlformats.org/officeDocument/2006/relationships/tags" Target="../tags/tag653.xml"/><Relationship Id="rId17" Type="http://schemas.openxmlformats.org/officeDocument/2006/relationships/tags" Target="../tags/tag658.xml"/><Relationship Id="rId25" Type="http://schemas.openxmlformats.org/officeDocument/2006/relationships/tags" Target="../tags/tag666.xml"/><Relationship Id="rId2" Type="http://schemas.openxmlformats.org/officeDocument/2006/relationships/tags" Target="../tags/tag643.xml"/><Relationship Id="rId16" Type="http://schemas.openxmlformats.org/officeDocument/2006/relationships/tags" Target="../tags/tag657.xml"/><Relationship Id="rId20" Type="http://schemas.openxmlformats.org/officeDocument/2006/relationships/tags" Target="../tags/tag661.xml"/><Relationship Id="rId29" Type="http://schemas.microsoft.com/office/2018/10/relationships/comments" Target="../comments/modernComment_7FFFF4B3_E8E48C67.xml"/><Relationship Id="rId1" Type="http://schemas.openxmlformats.org/officeDocument/2006/relationships/tags" Target="../tags/tag642.xml"/><Relationship Id="rId6" Type="http://schemas.openxmlformats.org/officeDocument/2006/relationships/tags" Target="../tags/tag647.xml"/><Relationship Id="rId11" Type="http://schemas.openxmlformats.org/officeDocument/2006/relationships/tags" Target="../tags/tag652.xml"/><Relationship Id="rId24" Type="http://schemas.openxmlformats.org/officeDocument/2006/relationships/tags" Target="../tags/tag665.xml"/><Relationship Id="rId32" Type="http://schemas.openxmlformats.org/officeDocument/2006/relationships/chart" Target="../charts/chart21.xml"/><Relationship Id="rId5" Type="http://schemas.openxmlformats.org/officeDocument/2006/relationships/tags" Target="../tags/tag646.xml"/><Relationship Id="rId15" Type="http://schemas.openxmlformats.org/officeDocument/2006/relationships/tags" Target="../tags/tag656.xml"/><Relationship Id="rId23" Type="http://schemas.openxmlformats.org/officeDocument/2006/relationships/tags" Target="../tags/tag664.xml"/><Relationship Id="rId28" Type="http://schemas.openxmlformats.org/officeDocument/2006/relationships/notesSlide" Target="../notesSlides/notesSlide26.xml"/><Relationship Id="rId10" Type="http://schemas.openxmlformats.org/officeDocument/2006/relationships/tags" Target="../tags/tag651.xml"/><Relationship Id="rId19" Type="http://schemas.openxmlformats.org/officeDocument/2006/relationships/tags" Target="../tags/tag660.xml"/><Relationship Id="rId31" Type="http://schemas.openxmlformats.org/officeDocument/2006/relationships/image" Target="../media/image22.emf"/><Relationship Id="rId4" Type="http://schemas.openxmlformats.org/officeDocument/2006/relationships/tags" Target="../tags/tag645.xml"/><Relationship Id="rId9" Type="http://schemas.openxmlformats.org/officeDocument/2006/relationships/tags" Target="../tags/tag650.xml"/><Relationship Id="rId14" Type="http://schemas.openxmlformats.org/officeDocument/2006/relationships/tags" Target="../tags/tag655.xml"/><Relationship Id="rId22" Type="http://schemas.openxmlformats.org/officeDocument/2006/relationships/tags" Target="../tags/tag663.xml"/><Relationship Id="rId27" Type="http://schemas.openxmlformats.org/officeDocument/2006/relationships/slideLayout" Target="../slideLayouts/slideLayout54.xml"/><Relationship Id="rId30" Type="http://schemas.openxmlformats.org/officeDocument/2006/relationships/oleObject" Target="../embeddings/oleObject37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image" Target="../media/image18.emf"/><Relationship Id="rId5" Type="http://schemas.openxmlformats.org/officeDocument/2006/relationships/oleObject" Target="../embeddings/oleObject348.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69.xml"/><Relationship Id="rId1" Type="http://schemas.openxmlformats.org/officeDocument/2006/relationships/tags" Target="../tags/tag668.xml"/><Relationship Id="rId6" Type="http://schemas.openxmlformats.org/officeDocument/2006/relationships/image" Target="../media/image81.emf"/><Relationship Id="rId5" Type="http://schemas.openxmlformats.org/officeDocument/2006/relationships/oleObject" Target="../embeddings/oleObject375.bin"/><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26" Type="http://schemas.openxmlformats.org/officeDocument/2006/relationships/tags" Target="../tags/tag695.xml"/><Relationship Id="rId21" Type="http://schemas.openxmlformats.org/officeDocument/2006/relationships/tags" Target="../tags/tag690.xml"/><Relationship Id="rId42" Type="http://schemas.openxmlformats.org/officeDocument/2006/relationships/tags" Target="../tags/tag711.xml"/><Relationship Id="rId47" Type="http://schemas.openxmlformats.org/officeDocument/2006/relationships/tags" Target="../tags/tag716.xml"/><Relationship Id="rId63" Type="http://schemas.openxmlformats.org/officeDocument/2006/relationships/tags" Target="../tags/tag732.xml"/><Relationship Id="rId68" Type="http://schemas.openxmlformats.org/officeDocument/2006/relationships/tags" Target="../tags/tag737.xml"/><Relationship Id="rId84" Type="http://schemas.openxmlformats.org/officeDocument/2006/relationships/tags" Target="../tags/tag753.xml"/><Relationship Id="rId89" Type="http://schemas.openxmlformats.org/officeDocument/2006/relationships/tags" Target="../tags/tag758.xml"/><Relationship Id="rId112" Type="http://schemas.openxmlformats.org/officeDocument/2006/relationships/chart" Target="../charts/chart23.xml"/><Relationship Id="rId16" Type="http://schemas.openxmlformats.org/officeDocument/2006/relationships/tags" Target="../tags/tag685.xml"/><Relationship Id="rId107" Type="http://schemas.openxmlformats.org/officeDocument/2006/relationships/slideLayout" Target="../slideLayouts/slideLayout7.xml"/><Relationship Id="rId11" Type="http://schemas.openxmlformats.org/officeDocument/2006/relationships/tags" Target="../tags/tag680.xml"/><Relationship Id="rId32" Type="http://schemas.openxmlformats.org/officeDocument/2006/relationships/tags" Target="../tags/tag701.xml"/><Relationship Id="rId37" Type="http://schemas.openxmlformats.org/officeDocument/2006/relationships/tags" Target="../tags/tag706.xml"/><Relationship Id="rId53" Type="http://schemas.openxmlformats.org/officeDocument/2006/relationships/tags" Target="../tags/tag722.xml"/><Relationship Id="rId58" Type="http://schemas.openxmlformats.org/officeDocument/2006/relationships/tags" Target="../tags/tag727.xml"/><Relationship Id="rId74" Type="http://schemas.openxmlformats.org/officeDocument/2006/relationships/tags" Target="../tags/tag743.xml"/><Relationship Id="rId79" Type="http://schemas.openxmlformats.org/officeDocument/2006/relationships/tags" Target="../tags/tag748.xml"/><Relationship Id="rId102" Type="http://schemas.openxmlformats.org/officeDocument/2006/relationships/tags" Target="../tags/tag771.xml"/><Relationship Id="rId5" Type="http://schemas.openxmlformats.org/officeDocument/2006/relationships/tags" Target="../tags/tag674.xml"/><Relationship Id="rId90" Type="http://schemas.openxmlformats.org/officeDocument/2006/relationships/tags" Target="../tags/tag759.xml"/><Relationship Id="rId95" Type="http://schemas.openxmlformats.org/officeDocument/2006/relationships/tags" Target="../tags/tag764.xml"/><Relationship Id="rId22" Type="http://schemas.openxmlformats.org/officeDocument/2006/relationships/tags" Target="../tags/tag691.xml"/><Relationship Id="rId27" Type="http://schemas.openxmlformats.org/officeDocument/2006/relationships/tags" Target="../tags/tag696.xml"/><Relationship Id="rId43" Type="http://schemas.openxmlformats.org/officeDocument/2006/relationships/tags" Target="../tags/tag712.xml"/><Relationship Id="rId48" Type="http://schemas.openxmlformats.org/officeDocument/2006/relationships/tags" Target="../tags/tag717.xml"/><Relationship Id="rId64" Type="http://schemas.openxmlformats.org/officeDocument/2006/relationships/tags" Target="../tags/tag733.xml"/><Relationship Id="rId69" Type="http://schemas.openxmlformats.org/officeDocument/2006/relationships/tags" Target="../tags/tag738.xml"/><Relationship Id="rId113" Type="http://schemas.openxmlformats.org/officeDocument/2006/relationships/chart" Target="../charts/chart24.xml"/><Relationship Id="rId80" Type="http://schemas.openxmlformats.org/officeDocument/2006/relationships/tags" Target="../tags/tag749.xml"/><Relationship Id="rId85" Type="http://schemas.openxmlformats.org/officeDocument/2006/relationships/tags" Target="../tags/tag754.xml"/><Relationship Id="rId12" Type="http://schemas.openxmlformats.org/officeDocument/2006/relationships/tags" Target="../tags/tag681.xml"/><Relationship Id="rId17" Type="http://schemas.openxmlformats.org/officeDocument/2006/relationships/tags" Target="../tags/tag686.xml"/><Relationship Id="rId33" Type="http://schemas.openxmlformats.org/officeDocument/2006/relationships/tags" Target="../tags/tag702.xml"/><Relationship Id="rId38" Type="http://schemas.openxmlformats.org/officeDocument/2006/relationships/tags" Target="../tags/tag707.xml"/><Relationship Id="rId59" Type="http://schemas.openxmlformats.org/officeDocument/2006/relationships/tags" Target="../tags/tag728.xml"/><Relationship Id="rId103" Type="http://schemas.openxmlformats.org/officeDocument/2006/relationships/tags" Target="../tags/tag772.xml"/><Relationship Id="rId108" Type="http://schemas.openxmlformats.org/officeDocument/2006/relationships/notesSlide" Target="../notesSlides/notesSlide28.xml"/><Relationship Id="rId54" Type="http://schemas.openxmlformats.org/officeDocument/2006/relationships/tags" Target="../tags/tag723.xml"/><Relationship Id="rId70" Type="http://schemas.openxmlformats.org/officeDocument/2006/relationships/tags" Target="../tags/tag739.xml"/><Relationship Id="rId75" Type="http://schemas.openxmlformats.org/officeDocument/2006/relationships/tags" Target="../tags/tag744.xml"/><Relationship Id="rId91" Type="http://schemas.openxmlformats.org/officeDocument/2006/relationships/tags" Target="../tags/tag760.xml"/><Relationship Id="rId96" Type="http://schemas.openxmlformats.org/officeDocument/2006/relationships/tags" Target="../tags/tag765.xml"/><Relationship Id="rId1" Type="http://schemas.openxmlformats.org/officeDocument/2006/relationships/tags" Target="../tags/tag670.xml"/><Relationship Id="rId6" Type="http://schemas.openxmlformats.org/officeDocument/2006/relationships/tags" Target="../tags/tag675.xml"/><Relationship Id="rId15" Type="http://schemas.openxmlformats.org/officeDocument/2006/relationships/tags" Target="../tags/tag684.xml"/><Relationship Id="rId23" Type="http://schemas.openxmlformats.org/officeDocument/2006/relationships/tags" Target="../tags/tag692.xml"/><Relationship Id="rId28" Type="http://schemas.openxmlformats.org/officeDocument/2006/relationships/tags" Target="../tags/tag697.xml"/><Relationship Id="rId36" Type="http://schemas.openxmlformats.org/officeDocument/2006/relationships/tags" Target="../tags/tag705.xml"/><Relationship Id="rId49" Type="http://schemas.openxmlformats.org/officeDocument/2006/relationships/tags" Target="../tags/tag718.xml"/><Relationship Id="rId57" Type="http://schemas.openxmlformats.org/officeDocument/2006/relationships/tags" Target="../tags/tag726.xml"/><Relationship Id="rId106" Type="http://schemas.openxmlformats.org/officeDocument/2006/relationships/tags" Target="../tags/tag775.xml"/><Relationship Id="rId114" Type="http://schemas.openxmlformats.org/officeDocument/2006/relationships/chart" Target="../charts/chart25.xml"/><Relationship Id="rId10" Type="http://schemas.openxmlformats.org/officeDocument/2006/relationships/tags" Target="../tags/tag679.xml"/><Relationship Id="rId31" Type="http://schemas.openxmlformats.org/officeDocument/2006/relationships/tags" Target="../tags/tag700.xml"/><Relationship Id="rId44" Type="http://schemas.openxmlformats.org/officeDocument/2006/relationships/tags" Target="../tags/tag713.xml"/><Relationship Id="rId52" Type="http://schemas.openxmlformats.org/officeDocument/2006/relationships/tags" Target="../tags/tag721.xml"/><Relationship Id="rId60" Type="http://schemas.openxmlformats.org/officeDocument/2006/relationships/tags" Target="../tags/tag729.xml"/><Relationship Id="rId65" Type="http://schemas.openxmlformats.org/officeDocument/2006/relationships/tags" Target="../tags/tag734.xml"/><Relationship Id="rId73" Type="http://schemas.openxmlformats.org/officeDocument/2006/relationships/tags" Target="../tags/tag742.xml"/><Relationship Id="rId78" Type="http://schemas.openxmlformats.org/officeDocument/2006/relationships/tags" Target="../tags/tag747.xml"/><Relationship Id="rId81" Type="http://schemas.openxmlformats.org/officeDocument/2006/relationships/tags" Target="../tags/tag750.xml"/><Relationship Id="rId86" Type="http://schemas.openxmlformats.org/officeDocument/2006/relationships/tags" Target="../tags/tag755.xml"/><Relationship Id="rId94" Type="http://schemas.openxmlformats.org/officeDocument/2006/relationships/tags" Target="../tags/tag763.xml"/><Relationship Id="rId99" Type="http://schemas.openxmlformats.org/officeDocument/2006/relationships/tags" Target="../tags/tag768.xml"/><Relationship Id="rId101" Type="http://schemas.openxmlformats.org/officeDocument/2006/relationships/tags" Target="../tags/tag770.xml"/><Relationship Id="rId4" Type="http://schemas.openxmlformats.org/officeDocument/2006/relationships/tags" Target="../tags/tag673.xml"/><Relationship Id="rId9" Type="http://schemas.openxmlformats.org/officeDocument/2006/relationships/tags" Target="../tags/tag678.xml"/><Relationship Id="rId13" Type="http://schemas.openxmlformats.org/officeDocument/2006/relationships/tags" Target="../tags/tag682.xml"/><Relationship Id="rId18" Type="http://schemas.openxmlformats.org/officeDocument/2006/relationships/tags" Target="../tags/tag687.xml"/><Relationship Id="rId39" Type="http://schemas.openxmlformats.org/officeDocument/2006/relationships/tags" Target="../tags/tag708.xml"/><Relationship Id="rId109" Type="http://schemas.openxmlformats.org/officeDocument/2006/relationships/oleObject" Target="../embeddings/oleObject376.bin"/><Relationship Id="rId34" Type="http://schemas.openxmlformats.org/officeDocument/2006/relationships/tags" Target="../tags/tag703.xml"/><Relationship Id="rId50" Type="http://schemas.openxmlformats.org/officeDocument/2006/relationships/tags" Target="../tags/tag719.xml"/><Relationship Id="rId55" Type="http://schemas.openxmlformats.org/officeDocument/2006/relationships/tags" Target="../tags/tag724.xml"/><Relationship Id="rId76" Type="http://schemas.openxmlformats.org/officeDocument/2006/relationships/tags" Target="../tags/tag745.xml"/><Relationship Id="rId97" Type="http://schemas.openxmlformats.org/officeDocument/2006/relationships/tags" Target="../tags/tag766.xml"/><Relationship Id="rId104" Type="http://schemas.openxmlformats.org/officeDocument/2006/relationships/tags" Target="../tags/tag773.xml"/><Relationship Id="rId7" Type="http://schemas.openxmlformats.org/officeDocument/2006/relationships/tags" Target="../tags/tag676.xml"/><Relationship Id="rId71" Type="http://schemas.openxmlformats.org/officeDocument/2006/relationships/tags" Target="../tags/tag740.xml"/><Relationship Id="rId92" Type="http://schemas.openxmlformats.org/officeDocument/2006/relationships/tags" Target="../tags/tag761.xml"/><Relationship Id="rId2" Type="http://schemas.openxmlformats.org/officeDocument/2006/relationships/tags" Target="../tags/tag671.xml"/><Relationship Id="rId29" Type="http://schemas.openxmlformats.org/officeDocument/2006/relationships/tags" Target="../tags/tag698.xml"/><Relationship Id="rId24" Type="http://schemas.openxmlformats.org/officeDocument/2006/relationships/tags" Target="../tags/tag693.xml"/><Relationship Id="rId40" Type="http://schemas.openxmlformats.org/officeDocument/2006/relationships/tags" Target="../tags/tag709.xml"/><Relationship Id="rId45" Type="http://schemas.openxmlformats.org/officeDocument/2006/relationships/tags" Target="../tags/tag714.xml"/><Relationship Id="rId66" Type="http://schemas.openxmlformats.org/officeDocument/2006/relationships/tags" Target="../tags/tag735.xml"/><Relationship Id="rId87" Type="http://schemas.openxmlformats.org/officeDocument/2006/relationships/tags" Target="../tags/tag756.xml"/><Relationship Id="rId110" Type="http://schemas.openxmlformats.org/officeDocument/2006/relationships/image" Target="../media/image63.emf"/><Relationship Id="rId115" Type="http://schemas.openxmlformats.org/officeDocument/2006/relationships/chart" Target="../charts/chart26.xml"/><Relationship Id="rId61" Type="http://schemas.openxmlformats.org/officeDocument/2006/relationships/tags" Target="../tags/tag730.xml"/><Relationship Id="rId82" Type="http://schemas.openxmlformats.org/officeDocument/2006/relationships/tags" Target="../tags/tag751.xml"/><Relationship Id="rId19" Type="http://schemas.openxmlformats.org/officeDocument/2006/relationships/tags" Target="../tags/tag688.xml"/><Relationship Id="rId14" Type="http://schemas.openxmlformats.org/officeDocument/2006/relationships/tags" Target="../tags/tag683.xml"/><Relationship Id="rId30" Type="http://schemas.openxmlformats.org/officeDocument/2006/relationships/tags" Target="../tags/tag699.xml"/><Relationship Id="rId35" Type="http://schemas.openxmlformats.org/officeDocument/2006/relationships/tags" Target="../tags/tag704.xml"/><Relationship Id="rId56" Type="http://schemas.openxmlformats.org/officeDocument/2006/relationships/tags" Target="../tags/tag725.xml"/><Relationship Id="rId77" Type="http://schemas.openxmlformats.org/officeDocument/2006/relationships/tags" Target="../tags/tag746.xml"/><Relationship Id="rId100" Type="http://schemas.openxmlformats.org/officeDocument/2006/relationships/tags" Target="../tags/tag769.xml"/><Relationship Id="rId105" Type="http://schemas.openxmlformats.org/officeDocument/2006/relationships/tags" Target="../tags/tag774.xml"/><Relationship Id="rId8" Type="http://schemas.openxmlformats.org/officeDocument/2006/relationships/tags" Target="../tags/tag677.xml"/><Relationship Id="rId51" Type="http://schemas.openxmlformats.org/officeDocument/2006/relationships/tags" Target="../tags/tag720.xml"/><Relationship Id="rId72" Type="http://schemas.openxmlformats.org/officeDocument/2006/relationships/tags" Target="../tags/tag741.xml"/><Relationship Id="rId93" Type="http://schemas.openxmlformats.org/officeDocument/2006/relationships/tags" Target="../tags/tag762.xml"/><Relationship Id="rId98" Type="http://schemas.openxmlformats.org/officeDocument/2006/relationships/tags" Target="../tags/tag767.xml"/><Relationship Id="rId3" Type="http://schemas.openxmlformats.org/officeDocument/2006/relationships/tags" Target="../tags/tag672.xml"/><Relationship Id="rId25" Type="http://schemas.openxmlformats.org/officeDocument/2006/relationships/tags" Target="../tags/tag694.xml"/><Relationship Id="rId46" Type="http://schemas.openxmlformats.org/officeDocument/2006/relationships/tags" Target="../tags/tag715.xml"/><Relationship Id="rId67" Type="http://schemas.openxmlformats.org/officeDocument/2006/relationships/tags" Target="../tags/tag736.xml"/><Relationship Id="rId20" Type="http://schemas.openxmlformats.org/officeDocument/2006/relationships/tags" Target="../tags/tag689.xml"/><Relationship Id="rId41" Type="http://schemas.openxmlformats.org/officeDocument/2006/relationships/tags" Target="../tags/tag710.xml"/><Relationship Id="rId62" Type="http://schemas.openxmlformats.org/officeDocument/2006/relationships/tags" Target="../tags/tag731.xml"/><Relationship Id="rId83" Type="http://schemas.openxmlformats.org/officeDocument/2006/relationships/tags" Target="../tags/tag752.xml"/><Relationship Id="rId88" Type="http://schemas.openxmlformats.org/officeDocument/2006/relationships/tags" Target="../tags/tag757.xml"/><Relationship Id="rId111" Type="http://schemas.openxmlformats.org/officeDocument/2006/relationships/chart" Target="../charts/chart22.xml"/></Relationships>
</file>

<file path=ppt/slides/_rels/slide32.xml.rels><?xml version="1.0" encoding="UTF-8" standalone="yes"?>
<Relationships xmlns="http://schemas.openxmlformats.org/package/2006/relationships"><Relationship Id="rId8" Type="http://schemas.openxmlformats.org/officeDocument/2006/relationships/image" Target="../media/image82.emf"/><Relationship Id="rId3" Type="http://schemas.openxmlformats.org/officeDocument/2006/relationships/tags" Target="../tags/tag778.xml"/><Relationship Id="rId7" Type="http://schemas.openxmlformats.org/officeDocument/2006/relationships/oleObject" Target="../embeddings/oleObject377.bin"/><Relationship Id="rId12" Type="http://schemas.openxmlformats.org/officeDocument/2006/relationships/image" Target="../media/image85.png"/><Relationship Id="rId2" Type="http://schemas.openxmlformats.org/officeDocument/2006/relationships/tags" Target="../tags/tag777.xml"/><Relationship Id="rId1" Type="http://schemas.openxmlformats.org/officeDocument/2006/relationships/tags" Target="../tags/tag776.xml"/><Relationship Id="rId6" Type="http://schemas.openxmlformats.org/officeDocument/2006/relationships/notesSlide" Target="../notesSlides/notesSlide29.xml"/><Relationship Id="rId11" Type="http://schemas.openxmlformats.org/officeDocument/2006/relationships/image" Target="../media/image84.png"/><Relationship Id="rId5" Type="http://schemas.openxmlformats.org/officeDocument/2006/relationships/slideLayout" Target="../slideLayouts/slideLayout4.xml"/><Relationship Id="rId10" Type="http://schemas.openxmlformats.org/officeDocument/2006/relationships/image" Target="../media/image83.png"/><Relationship Id="rId4" Type="http://schemas.openxmlformats.org/officeDocument/2006/relationships/tags" Target="../tags/tag779.xml"/><Relationship Id="rId9" Type="http://schemas.openxmlformats.org/officeDocument/2006/relationships/chart" Target="../charts/chart2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07.xml"/><Relationship Id="rId1" Type="http://schemas.openxmlformats.org/officeDocument/2006/relationships/tags" Target="../tags/tag780.xml"/><Relationship Id="rId5" Type="http://schemas.openxmlformats.org/officeDocument/2006/relationships/image" Target="../media/image7.emf"/><Relationship Id="rId4" Type="http://schemas.openxmlformats.org/officeDocument/2006/relationships/oleObject" Target="../embeddings/oleObject378.bin"/></Relationships>
</file>

<file path=ppt/slides/_rels/slide34.xml.rels><?xml version="1.0" encoding="UTF-8" standalone="yes"?>
<Relationships xmlns="http://schemas.openxmlformats.org/package/2006/relationships"><Relationship Id="rId13" Type="http://schemas.openxmlformats.org/officeDocument/2006/relationships/tags" Target="../tags/tag793.xml"/><Relationship Id="rId18" Type="http://schemas.openxmlformats.org/officeDocument/2006/relationships/tags" Target="../tags/tag798.xml"/><Relationship Id="rId26" Type="http://schemas.openxmlformats.org/officeDocument/2006/relationships/tags" Target="../tags/tag806.xml"/><Relationship Id="rId39" Type="http://schemas.openxmlformats.org/officeDocument/2006/relationships/slideLayout" Target="../slideLayouts/slideLayout8.xml"/><Relationship Id="rId21" Type="http://schemas.openxmlformats.org/officeDocument/2006/relationships/tags" Target="../tags/tag801.xml"/><Relationship Id="rId34" Type="http://schemas.openxmlformats.org/officeDocument/2006/relationships/tags" Target="../tags/tag814.xml"/><Relationship Id="rId42" Type="http://schemas.openxmlformats.org/officeDocument/2006/relationships/oleObject" Target="../embeddings/oleObject379.bin"/><Relationship Id="rId7" Type="http://schemas.openxmlformats.org/officeDocument/2006/relationships/tags" Target="../tags/tag787.xml"/><Relationship Id="rId2" Type="http://schemas.openxmlformats.org/officeDocument/2006/relationships/tags" Target="../tags/tag782.xml"/><Relationship Id="rId16" Type="http://schemas.openxmlformats.org/officeDocument/2006/relationships/tags" Target="../tags/tag796.xml"/><Relationship Id="rId29" Type="http://schemas.openxmlformats.org/officeDocument/2006/relationships/tags" Target="../tags/tag809.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tags" Target="../tags/tag791.xml"/><Relationship Id="rId24" Type="http://schemas.openxmlformats.org/officeDocument/2006/relationships/tags" Target="../tags/tag804.xml"/><Relationship Id="rId32" Type="http://schemas.openxmlformats.org/officeDocument/2006/relationships/tags" Target="../tags/tag812.xml"/><Relationship Id="rId37" Type="http://schemas.openxmlformats.org/officeDocument/2006/relationships/tags" Target="../tags/tag817.xml"/><Relationship Id="rId40" Type="http://schemas.openxmlformats.org/officeDocument/2006/relationships/notesSlide" Target="../notesSlides/notesSlide31.xml"/><Relationship Id="rId45" Type="http://schemas.openxmlformats.org/officeDocument/2006/relationships/chart" Target="../charts/chart29.xml"/><Relationship Id="rId5" Type="http://schemas.openxmlformats.org/officeDocument/2006/relationships/tags" Target="../tags/tag785.xml"/><Relationship Id="rId15" Type="http://schemas.openxmlformats.org/officeDocument/2006/relationships/tags" Target="../tags/tag795.xml"/><Relationship Id="rId23" Type="http://schemas.openxmlformats.org/officeDocument/2006/relationships/tags" Target="../tags/tag803.xml"/><Relationship Id="rId28" Type="http://schemas.openxmlformats.org/officeDocument/2006/relationships/tags" Target="../tags/tag808.xml"/><Relationship Id="rId36" Type="http://schemas.openxmlformats.org/officeDocument/2006/relationships/tags" Target="../tags/tag816.xml"/><Relationship Id="rId10" Type="http://schemas.openxmlformats.org/officeDocument/2006/relationships/tags" Target="../tags/tag790.xml"/><Relationship Id="rId19" Type="http://schemas.openxmlformats.org/officeDocument/2006/relationships/tags" Target="../tags/tag799.xml"/><Relationship Id="rId31" Type="http://schemas.openxmlformats.org/officeDocument/2006/relationships/tags" Target="../tags/tag811.xml"/><Relationship Id="rId44" Type="http://schemas.openxmlformats.org/officeDocument/2006/relationships/chart" Target="../charts/chart28.xml"/><Relationship Id="rId4" Type="http://schemas.openxmlformats.org/officeDocument/2006/relationships/tags" Target="../tags/tag784.xml"/><Relationship Id="rId9" Type="http://schemas.openxmlformats.org/officeDocument/2006/relationships/tags" Target="../tags/tag789.xml"/><Relationship Id="rId14" Type="http://schemas.openxmlformats.org/officeDocument/2006/relationships/tags" Target="../tags/tag794.xml"/><Relationship Id="rId22" Type="http://schemas.openxmlformats.org/officeDocument/2006/relationships/tags" Target="../tags/tag802.xml"/><Relationship Id="rId27" Type="http://schemas.openxmlformats.org/officeDocument/2006/relationships/tags" Target="../tags/tag807.xml"/><Relationship Id="rId30" Type="http://schemas.openxmlformats.org/officeDocument/2006/relationships/tags" Target="../tags/tag810.xml"/><Relationship Id="rId35" Type="http://schemas.openxmlformats.org/officeDocument/2006/relationships/tags" Target="../tags/tag815.xml"/><Relationship Id="rId43" Type="http://schemas.openxmlformats.org/officeDocument/2006/relationships/image" Target="../media/image63.emf"/><Relationship Id="rId8" Type="http://schemas.openxmlformats.org/officeDocument/2006/relationships/tags" Target="../tags/tag788.xml"/><Relationship Id="rId3" Type="http://schemas.openxmlformats.org/officeDocument/2006/relationships/tags" Target="../tags/tag783.xml"/><Relationship Id="rId12" Type="http://schemas.openxmlformats.org/officeDocument/2006/relationships/tags" Target="../tags/tag792.xml"/><Relationship Id="rId17" Type="http://schemas.openxmlformats.org/officeDocument/2006/relationships/tags" Target="../tags/tag797.xml"/><Relationship Id="rId25" Type="http://schemas.openxmlformats.org/officeDocument/2006/relationships/tags" Target="../tags/tag805.xml"/><Relationship Id="rId33" Type="http://schemas.openxmlformats.org/officeDocument/2006/relationships/tags" Target="../tags/tag813.xml"/><Relationship Id="rId38" Type="http://schemas.openxmlformats.org/officeDocument/2006/relationships/tags" Target="../tags/tag818.xml"/><Relationship Id="rId46" Type="http://schemas.openxmlformats.org/officeDocument/2006/relationships/chart" Target="../charts/chart30.xml"/><Relationship Id="rId20" Type="http://schemas.openxmlformats.org/officeDocument/2006/relationships/tags" Target="../tags/tag800.xml"/><Relationship Id="rId41" Type="http://schemas.microsoft.com/office/2018/10/relationships/comments" Target="../comments/modernComment_7FFFF4F2_BD10C353.xml"/></Relationships>
</file>

<file path=ppt/slides/_rels/slide35.xml.rels><?xml version="1.0" encoding="UTF-8" standalone="yes"?>
<Relationships xmlns="http://schemas.openxmlformats.org/package/2006/relationships"><Relationship Id="rId13" Type="http://schemas.openxmlformats.org/officeDocument/2006/relationships/tags" Target="../tags/tag831.xml"/><Relationship Id="rId18" Type="http://schemas.openxmlformats.org/officeDocument/2006/relationships/tags" Target="../tags/tag836.xml"/><Relationship Id="rId26" Type="http://schemas.openxmlformats.org/officeDocument/2006/relationships/tags" Target="../tags/tag844.xml"/><Relationship Id="rId21" Type="http://schemas.openxmlformats.org/officeDocument/2006/relationships/tags" Target="../tags/tag839.xml"/><Relationship Id="rId34" Type="http://schemas.openxmlformats.org/officeDocument/2006/relationships/oleObject" Target="../embeddings/oleObject380.bin"/><Relationship Id="rId7" Type="http://schemas.openxmlformats.org/officeDocument/2006/relationships/tags" Target="../tags/tag825.xml"/><Relationship Id="rId12" Type="http://schemas.openxmlformats.org/officeDocument/2006/relationships/tags" Target="../tags/tag830.xml"/><Relationship Id="rId17" Type="http://schemas.openxmlformats.org/officeDocument/2006/relationships/tags" Target="../tags/tag835.xml"/><Relationship Id="rId25" Type="http://schemas.openxmlformats.org/officeDocument/2006/relationships/tags" Target="../tags/tag843.xml"/><Relationship Id="rId33" Type="http://schemas.openxmlformats.org/officeDocument/2006/relationships/notesSlide" Target="../notesSlides/notesSlide32.xml"/><Relationship Id="rId38" Type="http://schemas.openxmlformats.org/officeDocument/2006/relationships/chart" Target="../charts/chart33.xml"/><Relationship Id="rId2" Type="http://schemas.openxmlformats.org/officeDocument/2006/relationships/tags" Target="../tags/tag820.xml"/><Relationship Id="rId16" Type="http://schemas.openxmlformats.org/officeDocument/2006/relationships/tags" Target="../tags/tag834.xml"/><Relationship Id="rId20" Type="http://schemas.openxmlformats.org/officeDocument/2006/relationships/tags" Target="../tags/tag838.xml"/><Relationship Id="rId29" Type="http://schemas.openxmlformats.org/officeDocument/2006/relationships/tags" Target="../tags/tag847.xml"/><Relationship Id="rId1" Type="http://schemas.openxmlformats.org/officeDocument/2006/relationships/tags" Target="../tags/tag819.xml"/><Relationship Id="rId6" Type="http://schemas.openxmlformats.org/officeDocument/2006/relationships/tags" Target="../tags/tag824.xml"/><Relationship Id="rId11" Type="http://schemas.openxmlformats.org/officeDocument/2006/relationships/tags" Target="../tags/tag829.xml"/><Relationship Id="rId24" Type="http://schemas.openxmlformats.org/officeDocument/2006/relationships/tags" Target="../tags/tag842.xml"/><Relationship Id="rId32" Type="http://schemas.openxmlformats.org/officeDocument/2006/relationships/slideLayout" Target="../slideLayouts/slideLayout5.xml"/><Relationship Id="rId37" Type="http://schemas.openxmlformats.org/officeDocument/2006/relationships/chart" Target="../charts/chart32.xml"/><Relationship Id="rId5" Type="http://schemas.openxmlformats.org/officeDocument/2006/relationships/tags" Target="../tags/tag823.xml"/><Relationship Id="rId15" Type="http://schemas.openxmlformats.org/officeDocument/2006/relationships/tags" Target="../tags/tag833.xml"/><Relationship Id="rId23" Type="http://schemas.openxmlformats.org/officeDocument/2006/relationships/tags" Target="../tags/tag841.xml"/><Relationship Id="rId28" Type="http://schemas.openxmlformats.org/officeDocument/2006/relationships/tags" Target="../tags/tag846.xml"/><Relationship Id="rId36" Type="http://schemas.openxmlformats.org/officeDocument/2006/relationships/chart" Target="../charts/chart31.xml"/><Relationship Id="rId10" Type="http://schemas.openxmlformats.org/officeDocument/2006/relationships/tags" Target="../tags/tag828.xml"/><Relationship Id="rId19" Type="http://schemas.openxmlformats.org/officeDocument/2006/relationships/tags" Target="../tags/tag837.xml"/><Relationship Id="rId31" Type="http://schemas.openxmlformats.org/officeDocument/2006/relationships/tags" Target="../tags/tag849.xml"/><Relationship Id="rId4" Type="http://schemas.openxmlformats.org/officeDocument/2006/relationships/tags" Target="../tags/tag822.xml"/><Relationship Id="rId9" Type="http://schemas.openxmlformats.org/officeDocument/2006/relationships/tags" Target="../tags/tag827.xml"/><Relationship Id="rId14" Type="http://schemas.openxmlformats.org/officeDocument/2006/relationships/tags" Target="../tags/tag832.xml"/><Relationship Id="rId22" Type="http://schemas.openxmlformats.org/officeDocument/2006/relationships/tags" Target="../tags/tag840.xml"/><Relationship Id="rId27" Type="http://schemas.openxmlformats.org/officeDocument/2006/relationships/tags" Target="../tags/tag845.xml"/><Relationship Id="rId30" Type="http://schemas.openxmlformats.org/officeDocument/2006/relationships/tags" Target="../tags/tag848.xml"/><Relationship Id="rId35" Type="http://schemas.openxmlformats.org/officeDocument/2006/relationships/image" Target="../media/image14.emf"/><Relationship Id="rId8" Type="http://schemas.openxmlformats.org/officeDocument/2006/relationships/tags" Target="../tags/tag826.xml"/><Relationship Id="rId3" Type="http://schemas.openxmlformats.org/officeDocument/2006/relationships/tags" Target="../tags/tag821.xml"/></Relationships>
</file>

<file path=ppt/slides/_rels/slide36.xml.rels><?xml version="1.0" encoding="UTF-8" standalone="yes"?>
<Relationships xmlns="http://schemas.openxmlformats.org/package/2006/relationships"><Relationship Id="rId13" Type="http://schemas.openxmlformats.org/officeDocument/2006/relationships/tags" Target="../tags/tag862.xml"/><Relationship Id="rId18" Type="http://schemas.openxmlformats.org/officeDocument/2006/relationships/tags" Target="../tags/tag867.xml"/><Relationship Id="rId26" Type="http://schemas.openxmlformats.org/officeDocument/2006/relationships/tags" Target="../tags/tag875.xml"/><Relationship Id="rId39" Type="http://schemas.openxmlformats.org/officeDocument/2006/relationships/image" Target="../media/image81.emf"/><Relationship Id="rId21" Type="http://schemas.openxmlformats.org/officeDocument/2006/relationships/tags" Target="../tags/tag870.xml"/><Relationship Id="rId34" Type="http://schemas.openxmlformats.org/officeDocument/2006/relationships/tags" Target="../tags/tag883.xml"/><Relationship Id="rId7" Type="http://schemas.openxmlformats.org/officeDocument/2006/relationships/tags" Target="../tags/tag856.xml"/><Relationship Id="rId12" Type="http://schemas.openxmlformats.org/officeDocument/2006/relationships/tags" Target="../tags/tag861.xml"/><Relationship Id="rId17" Type="http://schemas.openxmlformats.org/officeDocument/2006/relationships/tags" Target="../tags/tag866.xml"/><Relationship Id="rId25" Type="http://schemas.openxmlformats.org/officeDocument/2006/relationships/tags" Target="../tags/tag874.xml"/><Relationship Id="rId33" Type="http://schemas.openxmlformats.org/officeDocument/2006/relationships/tags" Target="../tags/tag882.xml"/><Relationship Id="rId38" Type="http://schemas.openxmlformats.org/officeDocument/2006/relationships/oleObject" Target="../embeddings/oleObject381.bin"/><Relationship Id="rId2" Type="http://schemas.openxmlformats.org/officeDocument/2006/relationships/tags" Target="../tags/tag851.xml"/><Relationship Id="rId16" Type="http://schemas.openxmlformats.org/officeDocument/2006/relationships/tags" Target="../tags/tag865.xml"/><Relationship Id="rId20" Type="http://schemas.openxmlformats.org/officeDocument/2006/relationships/tags" Target="../tags/tag869.xml"/><Relationship Id="rId29" Type="http://schemas.openxmlformats.org/officeDocument/2006/relationships/tags" Target="../tags/tag878.xml"/><Relationship Id="rId1" Type="http://schemas.openxmlformats.org/officeDocument/2006/relationships/tags" Target="../tags/tag850.xml"/><Relationship Id="rId6" Type="http://schemas.openxmlformats.org/officeDocument/2006/relationships/tags" Target="../tags/tag855.xml"/><Relationship Id="rId11" Type="http://schemas.openxmlformats.org/officeDocument/2006/relationships/tags" Target="../tags/tag860.xml"/><Relationship Id="rId24" Type="http://schemas.openxmlformats.org/officeDocument/2006/relationships/tags" Target="../tags/tag873.xml"/><Relationship Id="rId32" Type="http://schemas.openxmlformats.org/officeDocument/2006/relationships/tags" Target="../tags/tag881.xml"/><Relationship Id="rId37" Type="http://schemas.openxmlformats.org/officeDocument/2006/relationships/notesSlide" Target="../notesSlides/notesSlide33.xml"/><Relationship Id="rId40" Type="http://schemas.openxmlformats.org/officeDocument/2006/relationships/chart" Target="../charts/chart34.xml"/><Relationship Id="rId5" Type="http://schemas.openxmlformats.org/officeDocument/2006/relationships/tags" Target="../tags/tag854.xml"/><Relationship Id="rId15" Type="http://schemas.openxmlformats.org/officeDocument/2006/relationships/tags" Target="../tags/tag864.xml"/><Relationship Id="rId23" Type="http://schemas.openxmlformats.org/officeDocument/2006/relationships/tags" Target="../tags/tag872.xml"/><Relationship Id="rId28" Type="http://schemas.openxmlformats.org/officeDocument/2006/relationships/tags" Target="../tags/tag877.xml"/><Relationship Id="rId36" Type="http://schemas.openxmlformats.org/officeDocument/2006/relationships/slideLayout" Target="../slideLayouts/slideLayout20.xml"/><Relationship Id="rId10" Type="http://schemas.openxmlformats.org/officeDocument/2006/relationships/tags" Target="../tags/tag859.xml"/><Relationship Id="rId19" Type="http://schemas.openxmlformats.org/officeDocument/2006/relationships/tags" Target="../tags/tag868.xml"/><Relationship Id="rId31" Type="http://schemas.openxmlformats.org/officeDocument/2006/relationships/tags" Target="../tags/tag880.xml"/><Relationship Id="rId4" Type="http://schemas.openxmlformats.org/officeDocument/2006/relationships/tags" Target="../tags/tag853.xml"/><Relationship Id="rId9" Type="http://schemas.openxmlformats.org/officeDocument/2006/relationships/tags" Target="../tags/tag858.xml"/><Relationship Id="rId14" Type="http://schemas.openxmlformats.org/officeDocument/2006/relationships/tags" Target="../tags/tag863.xml"/><Relationship Id="rId22" Type="http://schemas.openxmlformats.org/officeDocument/2006/relationships/tags" Target="../tags/tag871.xml"/><Relationship Id="rId27" Type="http://schemas.openxmlformats.org/officeDocument/2006/relationships/tags" Target="../tags/tag876.xml"/><Relationship Id="rId30" Type="http://schemas.openxmlformats.org/officeDocument/2006/relationships/tags" Target="../tags/tag879.xml"/><Relationship Id="rId35" Type="http://schemas.openxmlformats.org/officeDocument/2006/relationships/tags" Target="../tags/tag884.xml"/><Relationship Id="rId8" Type="http://schemas.openxmlformats.org/officeDocument/2006/relationships/tags" Target="../tags/tag857.xml"/><Relationship Id="rId3" Type="http://schemas.openxmlformats.org/officeDocument/2006/relationships/tags" Target="../tags/tag85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slide" Target="slide37.xml"/><Relationship Id="rId2" Type="http://schemas.openxmlformats.org/officeDocument/2006/relationships/slideLayout" Target="../slideLayouts/slideLayout3.xml"/><Relationship Id="rId1" Type="http://schemas.openxmlformats.org/officeDocument/2006/relationships/tags" Target="../tags/tag885.xml"/><Relationship Id="rId6" Type="http://schemas.openxmlformats.org/officeDocument/2006/relationships/slide" Target="slide45.xml"/><Relationship Id="rId5" Type="http://schemas.openxmlformats.org/officeDocument/2006/relationships/image" Target="../media/image63.emf"/><Relationship Id="rId4" Type="http://schemas.openxmlformats.org/officeDocument/2006/relationships/oleObject" Target="../embeddings/oleObject38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7.xml"/><Relationship Id="rId1" Type="http://schemas.openxmlformats.org/officeDocument/2006/relationships/tags" Target="../tags/tag886.xml"/><Relationship Id="rId6" Type="http://schemas.openxmlformats.org/officeDocument/2006/relationships/image" Target="../media/image86.png"/><Relationship Id="rId5" Type="http://schemas.openxmlformats.org/officeDocument/2006/relationships/image" Target="../media/image14.emf"/><Relationship Id="rId4" Type="http://schemas.openxmlformats.org/officeDocument/2006/relationships/oleObject" Target="../embeddings/oleObject383.bin"/></Relationships>
</file>

<file path=ppt/slides/_rels/slide39.xml.rels><?xml version="1.0" encoding="UTF-8" standalone="yes"?>
<Relationships xmlns="http://schemas.openxmlformats.org/package/2006/relationships"><Relationship Id="rId8" Type="http://schemas.openxmlformats.org/officeDocument/2006/relationships/tags" Target="../tags/tag894.xml"/><Relationship Id="rId13" Type="http://schemas.openxmlformats.org/officeDocument/2006/relationships/image" Target="../media/image14.emf"/><Relationship Id="rId3" Type="http://schemas.openxmlformats.org/officeDocument/2006/relationships/tags" Target="../tags/tag889.xml"/><Relationship Id="rId7" Type="http://schemas.openxmlformats.org/officeDocument/2006/relationships/tags" Target="../tags/tag893.xml"/><Relationship Id="rId12" Type="http://schemas.openxmlformats.org/officeDocument/2006/relationships/oleObject" Target="../embeddings/oleObject384.bin"/><Relationship Id="rId2" Type="http://schemas.openxmlformats.org/officeDocument/2006/relationships/tags" Target="../tags/tag888.xml"/><Relationship Id="rId1" Type="http://schemas.openxmlformats.org/officeDocument/2006/relationships/tags" Target="../tags/tag887.xml"/><Relationship Id="rId6" Type="http://schemas.openxmlformats.org/officeDocument/2006/relationships/tags" Target="../tags/tag892.xml"/><Relationship Id="rId11" Type="http://schemas.openxmlformats.org/officeDocument/2006/relationships/notesSlide" Target="../notesSlides/notesSlide36.xml"/><Relationship Id="rId5" Type="http://schemas.openxmlformats.org/officeDocument/2006/relationships/tags" Target="../tags/tag891.xml"/><Relationship Id="rId10" Type="http://schemas.openxmlformats.org/officeDocument/2006/relationships/slideLayout" Target="../slideLayouts/slideLayout9.xml"/><Relationship Id="rId4" Type="http://schemas.openxmlformats.org/officeDocument/2006/relationships/tags" Target="../tags/tag890.xml"/><Relationship Id="rId9" Type="http://schemas.openxmlformats.org/officeDocument/2006/relationships/tags" Target="../tags/tag895.xml"/><Relationship Id="rId14" Type="http://schemas.openxmlformats.org/officeDocument/2006/relationships/chart" Target="../charts/chart35.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2.xml"/><Relationship Id="rId7" Type="http://schemas.openxmlformats.org/officeDocument/2006/relationships/image" Target="../media/image20.svg"/><Relationship Id="rId2" Type="http://schemas.openxmlformats.org/officeDocument/2006/relationships/slideLayout" Target="../slideLayouts/slideLayout4.xml"/><Relationship Id="rId1" Type="http://schemas.openxmlformats.org/officeDocument/2006/relationships/tags" Target="../tags/tag372.xml"/><Relationship Id="rId6" Type="http://schemas.openxmlformats.org/officeDocument/2006/relationships/image" Target="../media/image19.png"/><Relationship Id="rId5" Type="http://schemas.openxmlformats.org/officeDocument/2006/relationships/image" Target="../media/image14.emf"/><Relationship Id="rId4" Type="http://schemas.openxmlformats.org/officeDocument/2006/relationships/oleObject" Target="../embeddings/oleObject349.bin"/><Relationship Id="rId9" Type="http://schemas.microsoft.com/office/2007/relationships/hdphoto" Target="../media/hdphoto1.wdp"/></Relationships>
</file>

<file path=ppt/slides/_rels/slide40.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notesSlide" Target="../notesSlides/notesSlide37.xml"/><Relationship Id="rId7" Type="http://schemas.openxmlformats.org/officeDocument/2006/relationships/slide" Target="slide45.xml"/><Relationship Id="rId2" Type="http://schemas.openxmlformats.org/officeDocument/2006/relationships/slideLayout" Target="../slideLayouts/slideLayout3.xml"/><Relationship Id="rId1" Type="http://schemas.openxmlformats.org/officeDocument/2006/relationships/tags" Target="../tags/tag896.xml"/><Relationship Id="rId6" Type="http://schemas.openxmlformats.org/officeDocument/2006/relationships/slide" Target="slide117.xml"/><Relationship Id="rId5" Type="http://schemas.openxmlformats.org/officeDocument/2006/relationships/image" Target="../media/image63.emf"/><Relationship Id="rId4" Type="http://schemas.openxmlformats.org/officeDocument/2006/relationships/oleObject" Target="../embeddings/oleObject385.bin"/></Relationships>
</file>

<file path=ppt/slides/_rels/slide41.xml.rels><?xml version="1.0" encoding="UTF-8" standalone="yes"?>
<Relationships xmlns="http://schemas.openxmlformats.org/package/2006/relationships"><Relationship Id="rId117" Type="http://schemas.openxmlformats.org/officeDocument/2006/relationships/tags" Target="../tags/tag1013.xml"/><Relationship Id="rId21" Type="http://schemas.openxmlformats.org/officeDocument/2006/relationships/tags" Target="../tags/tag917.xml"/><Relationship Id="rId42" Type="http://schemas.openxmlformats.org/officeDocument/2006/relationships/tags" Target="../tags/tag938.xml"/><Relationship Id="rId63" Type="http://schemas.openxmlformats.org/officeDocument/2006/relationships/tags" Target="../tags/tag959.xml"/><Relationship Id="rId84" Type="http://schemas.openxmlformats.org/officeDocument/2006/relationships/tags" Target="../tags/tag980.xml"/><Relationship Id="rId138" Type="http://schemas.openxmlformats.org/officeDocument/2006/relationships/tags" Target="../tags/tag1034.xml"/><Relationship Id="rId107" Type="http://schemas.openxmlformats.org/officeDocument/2006/relationships/tags" Target="../tags/tag1003.xml"/><Relationship Id="rId11" Type="http://schemas.openxmlformats.org/officeDocument/2006/relationships/tags" Target="../tags/tag907.xml"/><Relationship Id="rId32" Type="http://schemas.openxmlformats.org/officeDocument/2006/relationships/tags" Target="../tags/tag928.xml"/><Relationship Id="rId53" Type="http://schemas.openxmlformats.org/officeDocument/2006/relationships/tags" Target="../tags/tag949.xml"/><Relationship Id="rId74" Type="http://schemas.openxmlformats.org/officeDocument/2006/relationships/tags" Target="../tags/tag970.xml"/><Relationship Id="rId128" Type="http://schemas.openxmlformats.org/officeDocument/2006/relationships/tags" Target="../tags/tag1024.xml"/><Relationship Id="rId149" Type="http://schemas.openxmlformats.org/officeDocument/2006/relationships/chart" Target="../charts/chart37.xml"/><Relationship Id="rId5" Type="http://schemas.openxmlformats.org/officeDocument/2006/relationships/tags" Target="../tags/tag901.xml"/><Relationship Id="rId95" Type="http://schemas.openxmlformats.org/officeDocument/2006/relationships/tags" Target="../tags/tag991.xml"/><Relationship Id="rId22" Type="http://schemas.openxmlformats.org/officeDocument/2006/relationships/tags" Target="../tags/tag918.xml"/><Relationship Id="rId27" Type="http://schemas.openxmlformats.org/officeDocument/2006/relationships/tags" Target="../tags/tag923.xml"/><Relationship Id="rId43" Type="http://schemas.openxmlformats.org/officeDocument/2006/relationships/tags" Target="../tags/tag939.xml"/><Relationship Id="rId48" Type="http://schemas.openxmlformats.org/officeDocument/2006/relationships/tags" Target="../tags/tag944.xml"/><Relationship Id="rId64" Type="http://schemas.openxmlformats.org/officeDocument/2006/relationships/tags" Target="../tags/tag960.xml"/><Relationship Id="rId69" Type="http://schemas.openxmlformats.org/officeDocument/2006/relationships/tags" Target="../tags/tag965.xml"/><Relationship Id="rId113" Type="http://schemas.openxmlformats.org/officeDocument/2006/relationships/tags" Target="../tags/tag1009.xml"/><Relationship Id="rId118" Type="http://schemas.openxmlformats.org/officeDocument/2006/relationships/tags" Target="../tags/tag1014.xml"/><Relationship Id="rId134" Type="http://schemas.openxmlformats.org/officeDocument/2006/relationships/tags" Target="../tags/tag1030.xml"/><Relationship Id="rId139" Type="http://schemas.openxmlformats.org/officeDocument/2006/relationships/tags" Target="../tags/tag1035.xml"/><Relationship Id="rId80" Type="http://schemas.openxmlformats.org/officeDocument/2006/relationships/tags" Target="../tags/tag976.xml"/><Relationship Id="rId85" Type="http://schemas.openxmlformats.org/officeDocument/2006/relationships/tags" Target="../tags/tag981.xml"/><Relationship Id="rId12" Type="http://schemas.openxmlformats.org/officeDocument/2006/relationships/tags" Target="../tags/tag908.xml"/><Relationship Id="rId17" Type="http://schemas.openxmlformats.org/officeDocument/2006/relationships/tags" Target="../tags/tag913.xml"/><Relationship Id="rId33" Type="http://schemas.openxmlformats.org/officeDocument/2006/relationships/tags" Target="../tags/tag929.xml"/><Relationship Id="rId38" Type="http://schemas.openxmlformats.org/officeDocument/2006/relationships/tags" Target="../tags/tag934.xml"/><Relationship Id="rId59" Type="http://schemas.openxmlformats.org/officeDocument/2006/relationships/tags" Target="../tags/tag955.xml"/><Relationship Id="rId103" Type="http://schemas.openxmlformats.org/officeDocument/2006/relationships/tags" Target="../tags/tag999.xml"/><Relationship Id="rId108" Type="http://schemas.openxmlformats.org/officeDocument/2006/relationships/tags" Target="../tags/tag1004.xml"/><Relationship Id="rId124" Type="http://schemas.openxmlformats.org/officeDocument/2006/relationships/tags" Target="../tags/tag1020.xml"/><Relationship Id="rId129" Type="http://schemas.openxmlformats.org/officeDocument/2006/relationships/tags" Target="../tags/tag1025.xml"/><Relationship Id="rId54" Type="http://schemas.openxmlformats.org/officeDocument/2006/relationships/tags" Target="../tags/tag950.xml"/><Relationship Id="rId70" Type="http://schemas.openxmlformats.org/officeDocument/2006/relationships/tags" Target="../tags/tag966.xml"/><Relationship Id="rId75" Type="http://schemas.openxmlformats.org/officeDocument/2006/relationships/tags" Target="../tags/tag971.xml"/><Relationship Id="rId91" Type="http://schemas.openxmlformats.org/officeDocument/2006/relationships/tags" Target="../tags/tag987.xml"/><Relationship Id="rId96" Type="http://schemas.openxmlformats.org/officeDocument/2006/relationships/tags" Target="../tags/tag992.xml"/><Relationship Id="rId140" Type="http://schemas.openxmlformats.org/officeDocument/2006/relationships/tags" Target="../tags/tag1036.xml"/><Relationship Id="rId145" Type="http://schemas.microsoft.com/office/2018/10/relationships/comments" Target="../comments/modernComment_7FFFF4D2_74610D2.xml"/><Relationship Id="rId1" Type="http://schemas.openxmlformats.org/officeDocument/2006/relationships/tags" Target="../tags/tag897.xml"/><Relationship Id="rId6" Type="http://schemas.openxmlformats.org/officeDocument/2006/relationships/tags" Target="../tags/tag902.xml"/><Relationship Id="rId23" Type="http://schemas.openxmlformats.org/officeDocument/2006/relationships/tags" Target="../tags/tag919.xml"/><Relationship Id="rId28" Type="http://schemas.openxmlformats.org/officeDocument/2006/relationships/tags" Target="../tags/tag924.xml"/><Relationship Id="rId49" Type="http://schemas.openxmlformats.org/officeDocument/2006/relationships/tags" Target="../tags/tag945.xml"/><Relationship Id="rId114" Type="http://schemas.openxmlformats.org/officeDocument/2006/relationships/tags" Target="../tags/tag1010.xml"/><Relationship Id="rId119" Type="http://schemas.openxmlformats.org/officeDocument/2006/relationships/tags" Target="../tags/tag1015.xml"/><Relationship Id="rId44" Type="http://schemas.openxmlformats.org/officeDocument/2006/relationships/tags" Target="../tags/tag940.xml"/><Relationship Id="rId60" Type="http://schemas.openxmlformats.org/officeDocument/2006/relationships/tags" Target="../tags/tag956.xml"/><Relationship Id="rId65" Type="http://schemas.openxmlformats.org/officeDocument/2006/relationships/tags" Target="../tags/tag961.xml"/><Relationship Id="rId81" Type="http://schemas.openxmlformats.org/officeDocument/2006/relationships/tags" Target="../tags/tag977.xml"/><Relationship Id="rId86" Type="http://schemas.openxmlformats.org/officeDocument/2006/relationships/tags" Target="../tags/tag982.xml"/><Relationship Id="rId130" Type="http://schemas.openxmlformats.org/officeDocument/2006/relationships/tags" Target="../tags/tag1026.xml"/><Relationship Id="rId135" Type="http://schemas.openxmlformats.org/officeDocument/2006/relationships/tags" Target="../tags/tag1031.xml"/><Relationship Id="rId13" Type="http://schemas.openxmlformats.org/officeDocument/2006/relationships/tags" Target="../tags/tag909.xml"/><Relationship Id="rId18" Type="http://schemas.openxmlformats.org/officeDocument/2006/relationships/tags" Target="../tags/tag914.xml"/><Relationship Id="rId39" Type="http://schemas.openxmlformats.org/officeDocument/2006/relationships/tags" Target="../tags/tag935.xml"/><Relationship Id="rId109" Type="http://schemas.openxmlformats.org/officeDocument/2006/relationships/tags" Target="../tags/tag1005.xml"/><Relationship Id="rId34" Type="http://schemas.openxmlformats.org/officeDocument/2006/relationships/tags" Target="../tags/tag930.xml"/><Relationship Id="rId50" Type="http://schemas.openxmlformats.org/officeDocument/2006/relationships/tags" Target="../tags/tag946.xml"/><Relationship Id="rId55" Type="http://schemas.openxmlformats.org/officeDocument/2006/relationships/tags" Target="../tags/tag951.xml"/><Relationship Id="rId76" Type="http://schemas.openxmlformats.org/officeDocument/2006/relationships/tags" Target="../tags/tag972.xml"/><Relationship Id="rId97" Type="http://schemas.openxmlformats.org/officeDocument/2006/relationships/tags" Target="../tags/tag993.xml"/><Relationship Id="rId104" Type="http://schemas.openxmlformats.org/officeDocument/2006/relationships/tags" Target="../tags/tag1000.xml"/><Relationship Id="rId120" Type="http://schemas.openxmlformats.org/officeDocument/2006/relationships/tags" Target="../tags/tag1016.xml"/><Relationship Id="rId125" Type="http://schemas.openxmlformats.org/officeDocument/2006/relationships/tags" Target="../tags/tag1021.xml"/><Relationship Id="rId141" Type="http://schemas.openxmlformats.org/officeDocument/2006/relationships/tags" Target="../tags/tag1037.xml"/><Relationship Id="rId146" Type="http://schemas.openxmlformats.org/officeDocument/2006/relationships/oleObject" Target="../embeddings/oleObject386.bin"/><Relationship Id="rId7" Type="http://schemas.openxmlformats.org/officeDocument/2006/relationships/tags" Target="../tags/tag903.xml"/><Relationship Id="rId71" Type="http://schemas.openxmlformats.org/officeDocument/2006/relationships/tags" Target="../tags/tag967.xml"/><Relationship Id="rId92" Type="http://schemas.openxmlformats.org/officeDocument/2006/relationships/tags" Target="../tags/tag988.xml"/><Relationship Id="rId2" Type="http://schemas.openxmlformats.org/officeDocument/2006/relationships/tags" Target="../tags/tag898.xml"/><Relationship Id="rId29" Type="http://schemas.openxmlformats.org/officeDocument/2006/relationships/tags" Target="../tags/tag925.xml"/><Relationship Id="rId24" Type="http://schemas.openxmlformats.org/officeDocument/2006/relationships/tags" Target="../tags/tag920.xml"/><Relationship Id="rId40" Type="http://schemas.openxmlformats.org/officeDocument/2006/relationships/tags" Target="../tags/tag936.xml"/><Relationship Id="rId45" Type="http://schemas.openxmlformats.org/officeDocument/2006/relationships/tags" Target="../tags/tag941.xml"/><Relationship Id="rId66" Type="http://schemas.openxmlformats.org/officeDocument/2006/relationships/tags" Target="../tags/tag962.xml"/><Relationship Id="rId87" Type="http://schemas.openxmlformats.org/officeDocument/2006/relationships/tags" Target="../tags/tag983.xml"/><Relationship Id="rId110" Type="http://schemas.openxmlformats.org/officeDocument/2006/relationships/tags" Target="../tags/tag1006.xml"/><Relationship Id="rId115" Type="http://schemas.openxmlformats.org/officeDocument/2006/relationships/tags" Target="../tags/tag1011.xml"/><Relationship Id="rId131" Type="http://schemas.openxmlformats.org/officeDocument/2006/relationships/tags" Target="../tags/tag1027.xml"/><Relationship Id="rId136" Type="http://schemas.openxmlformats.org/officeDocument/2006/relationships/tags" Target="../tags/tag1032.xml"/><Relationship Id="rId61" Type="http://schemas.openxmlformats.org/officeDocument/2006/relationships/tags" Target="../tags/tag957.xml"/><Relationship Id="rId82" Type="http://schemas.openxmlformats.org/officeDocument/2006/relationships/tags" Target="../tags/tag978.xml"/><Relationship Id="rId19" Type="http://schemas.openxmlformats.org/officeDocument/2006/relationships/tags" Target="../tags/tag915.xml"/><Relationship Id="rId14" Type="http://schemas.openxmlformats.org/officeDocument/2006/relationships/tags" Target="../tags/tag910.xml"/><Relationship Id="rId30" Type="http://schemas.openxmlformats.org/officeDocument/2006/relationships/tags" Target="../tags/tag926.xml"/><Relationship Id="rId35" Type="http://schemas.openxmlformats.org/officeDocument/2006/relationships/tags" Target="../tags/tag931.xml"/><Relationship Id="rId56" Type="http://schemas.openxmlformats.org/officeDocument/2006/relationships/tags" Target="../tags/tag952.xml"/><Relationship Id="rId77" Type="http://schemas.openxmlformats.org/officeDocument/2006/relationships/tags" Target="../tags/tag973.xml"/><Relationship Id="rId100" Type="http://schemas.openxmlformats.org/officeDocument/2006/relationships/tags" Target="../tags/tag996.xml"/><Relationship Id="rId105" Type="http://schemas.openxmlformats.org/officeDocument/2006/relationships/tags" Target="../tags/tag1001.xml"/><Relationship Id="rId126" Type="http://schemas.openxmlformats.org/officeDocument/2006/relationships/tags" Target="../tags/tag1022.xml"/><Relationship Id="rId147" Type="http://schemas.openxmlformats.org/officeDocument/2006/relationships/image" Target="../media/image87.emf"/><Relationship Id="rId8" Type="http://schemas.openxmlformats.org/officeDocument/2006/relationships/tags" Target="../tags/tag904.xml"/><Relationship Id="rId51" Type="http://schemas.openxmlformats.org/officeDocument/2006/relationships/tags" Target="../tags/tag947.xml"/><Relationship Id="rId72" Type="http://schemas.openxmlformats.org/officeDocument/2006/relationships/tags" Target="../tags/tag968.xml"/><Relationship Id="rId93" Type="http://schemas.openxmlformats.org/officeDocument/2006/relationships/tags" Target="../tags/tag989.xml"/><Relationship Id="rId98" Type="http://schemas.openxmlformats.org/officeDocument/2006/relationships/tags" Target="../tags/tag994.xml"/><Relationship Id="rId121" Type="http://schemas.openxmlformats.org/officeDocument/2006/relationships/tags" Target="../tags/tag1017.xml"/><Relationship Id="rId142" Type="http://schemas.openxmlformats.org/officeDocument/2006/relationships/tags" Target="../tags/tag1038.xml"/><Relationship Id="rId3" Type="http://schemas.openxmlformats.org/officeDocument/2006/relationships/tags" Target="../tags/tag899.xml"/><Relationship Id="rId25" Type="http://schemas.openxmlformats.org/officeDocument/2006/relationships/tags" Target="../tags/tag921.xml"/><Relationship Id="rId46" Type="http://schemas.openxmlformats.org/officeDocument/2006/relationships/tags" Target="../tags/tag942.xml"/><Relationship Id="rId67" Type="http://schemas.openxmlformats.org/officeDocument/2006/relationships/tags" Target="../tags/tag963.xml"/><Relationship Id="rId116" Type="http://schemas.openxmlformats.org/officeDocument/2006/relationships/tags" Target="../tags/tag1012.xml"/><Relationship Id="rId137" Type="http://schemas.openxmlformats.org/officeDocument/2006/relationships/tags" Target="../tags/tag1033.xml"/><Relationship Id="rId20" Type="http://schemas.openxmlformats.org/officeDocument/2006/relationships/tags" Target="../tags/tag916.xml"/><Relationship Id="rId41" Type="http://schemas.openxmlformats.org/officeDocument/2006/relationships/tags" Target="../tags/tag937.xml"/><Relationship Id="rId62" Type="http://schemas.openxmlformats.org/officeDocument/2006/relationships/tags" Target="../tags/tag958.xml"/><Relationship Id="rId83" Type="http://schemas.openxmlformats.org/officeDocument/2006/relationships/tags" Target="../tags/tag979.xml"/><Relationship Id="rId88" Type="http://schemas.openxmlformats.org/officeDocument/2006/relationships/tags" Target="../tags/tag984.xml"/><Relationship Id="rId111" Type="http://schemas.openxmlformats.org/officeDocument/2006/relationships/tags" Target="../tags/tag1007.xml"/><Relationship Id="rId132" Type="http://schemas.openxmlformats.org/officeDocument/2006/relationships/tags" Target="../tags/tag1028.xml"/><Relationship Id="rId15" Type="http://schemas.openxmlformats.org/officeDocument/2006/relationships/tags" Target="../tags/tag911.xml"/><Relationship Id="rId36" Type="http://schemas.openxmlformats.org/officeDocument/2006/relationships/tags" Target="../tags/tag932.xml"/><Relationship Id="rId57" Type="http://schemas.openxmlformats.org/officeDocument/2006/relationships/tags" Target="../tags/tag953.xml"/><Relationship Id="rId106" Type="http://schemas.openxmlformats.org/officeDocument/2006/relationships/tags" Target="../tags/tag1002.xml"/><Relationship Id="rId127" Type="http://schemas.openxmlformats.org/officeDocument/2006/relationships/tags" Target="../tags/tag1023.xml"/><Relationship Id="rId10" Type="http://schemas.openxmlformats.org/officeDocument/2006/relationships/tags" Target="../tags/tag906.xml"/><Relationship Id="rId31" Type="http://schemas.openxmlformats.org/officeDocument/2006/relationships/tags" Target="../tags/tag927.xml"/><Relationship Id="rId52" Type="http://schemas.openxmlformats.org/officeDocument/2006/relationships/tags" Target="../tags/tag948.xml"/><Relationship Id="rId73" Type="http://schemas.openxmlformats.org/officeDocument/2006/relationships/tags" Target="../tags/tag969.xml"/><Relationship Id="rId78" Type="http://schemas.openxmlformats.org/officeDocument/2006/relationships/tags" Target="../tags/tag974.xml"/><Relationship Id="rId94" Type="http://schemas.openxmlformats.org/officeDocument/2006/relationships/tags" Target="../tags/tag990.xml"/><Relationship Id="rId99" Type="http://schemas.openxmlformats.org/officeDocument/2006/relationships/tags" Target="../tags/tag995.xml"/><Relationship Id="rId101" Type="http://schemas.openxmlformats.org/officeDocument/2006/relationships/tags" Target="../tags/tag997.xml"/><Relationship Id="rId122" Type="http://schemas.openxmlformats.org/officeDocument/2006/relationships/tags" Target="../tags/tag1018.xml"/><Relationship Id="rId143" Type="http://schemas.openxmlformats.org/officeDocument/2006/relationships/slideLayout" Target="../slideLayouts/slideLayout4.xml"/><Relationship Id="rId148" Type="http://schemas.openxmlformats.org/officeDocument/2006/relationships/chart" Target="../charts/chart36.xml"/><Relationship Id="rId4" Type="http://schemas.openxmlformats.org/officeDocument/2006/relationships/tags" Target="../tags/tag900.xml"/><Relationship Id="rId9" Type="http://schemas.openxmlformats.org/officeDocument/2006/relationships/tags" Target="../tags/tag905.xml"/><Relationship Id="rId26" Type="http://schemas.openxmlformats.org/officeDocument/2006/relationships/tags" Target="../tags/tag922.xml"/><Relationship Id="rId47" Type="http://schemas.openxmlformats.org/officeDocument/2006/relationships/tags" Target="../tags/tag943.xml"/><Relationship Id="rId68" Type="http://schemas.openxmlformats.org/officeDocument/2006/relationships/tags" Target="../tags/tag964.xml"/><Relationship Id="rId89" Type="http://schemas.openxmlformats.org/officeDocument/2006/relationships/tags" Target="../tags/tag985.xml"/><Relationship Id="rId112" Type="http://schemas.openxmlformats.org/officeDocument/2006/relationships/tags" Target="../tags/tag1008.xml"/><Relationship Id="rId133" Type="http://schemas.openxmlformats.org/officeDocument/2006/relationships/tags" Target="../tags/tag1029.xml"/><Relationship Id="rId16" Type="http://schemas.openxmlformats.org/officeDocument/2006/relationships/tags" Target="../tags/tag912.xml"/><Relationship Id="rId37" Type="http://schemas.openxmlformats.org/officeDocument/2006/relationships/tags" Target="../tags/tag933.xml"/><Relationship Id="rId58" Type="http://schemas.openxmlformats.org/officeDocument/2006/relationships/tags" Target="../tags/tag954.xml"/><Relationship Id="rId79" Type="http://schemas.openxmlformats.org/officeDocument/2006/relationships/tags" Target="../tags/tag975.xml"/><Relationship Id="rId102" Type="http://schemas.openxmlformats.org/officeDocument/2006/relationships/tags" Target="../tags/tag998.xml"/><Relationship Id="rId123" Type="http://schemas.openxmlformats.org/officeDocument/2006/relationships/tags" Target="../tags/tag1019.xml"/><Relationship Id="rId144" Type="http://schemas.openxmlformats.org/officeDocument/2006/relationships/notesSlide" Target="../notesSlides/notesSlide38.xml"/><Relationship Id="rId90" Type="http://schemas.openxmlformats.org/officeDocument/2006/relationships/tags" Target="../tags/tag986.xml"/></Relationships>
</file>

<file path=ppt/slides/_rels/slide42.xml.rels><?xml version="1.0" encoding="UTF-8" standalone="yes"?>
<Relationships xmlns="http://schemas.openxmlformats.org/package/2006/relationships"><Relationship Id="rId13" Type="http://schemas.openxmlformats.org/officeDocument/2006/relationships/tags" Target="../tags/tag1051.xml"/><Relationship Id="rId18" Type="http://schemas.openxmlformats.org/officeDocument/2006/relationships/tags" Target="../tags/tag1056.xml"/><Relationship Id="rId26" Type="http://schemas.openxmlformats.org/officeDocument/2006/relationships/tags" Target="../tags/tag1064.xml"/><Relationship Id="rId39" Type="http://schemas.openxmlformats.org/officeDocument/2006/relationships/tags" Target="../tags/tag1077.xml"/><Relationship Id="rId21" Type="http://schemas.openxmlformats.org/officeDocument/2006/relationships/tags" Target="../tags/tag1059.xml"/><Relationship Id="rId34" Type="http://schemas.openxmlformats.org/officeDocument/2006/relationships/tags" Target="../tags/tag1072.xml"/><Relationship Id="rId42" Type="http://schemas.openxmlformats.org/officeDocument/2006/relationships/tags" Target="../tags/tag1080.xml"/><Relationship Id="rId47" Type="http://schemas.openxmlformats.org/officeDocument/2006/relationships/tags" Target="../tags/tag1085.xml"/><Relationship Id="rId50" Type="http://schemas.openxmlformats.org/officeDocument/2006/relationships/tags" Target="../tags/tag1088.xml"/><Relationship Id="rId55" Type="http://schemas.openxmlformats.org/officeDocument/2006/relationships/tags" Target="../tags/tag1093.xml"/><Relationship Id="rId63" Type="http://schemas.openxmlformats.org/officeDocument/2006/relationships/chart" Target="../charts/chart38.xml"/><Relationship Id="rId7" Type="http://schemas.openxmlformats.org/officeDocument/2006/relationships/tags" Target="../tags/tag1045.xml"/><Relationship Id="rId2" Type="http://schemas.openxmlformats.org/officeDocument/2006/relationships/tags" Target="../tags/tag1040.xml"/><Relationship Id="rId16" Type="http://schemas.openxmlformats.org/officeDocument/2006/relationships/tags" Target="../tags/tag1054.xml"/><Relationship Id="rId29" Type="http://schemas.openxmlformats.org/officeDocument/2006/relationships/tags" Target="../tags/tag1067.xml"/><Relationship Id="rId11" Type="http://schemas.openxmlformats.org/officeDocument/2006/relationships/tags" Target="../tags/tag1049.xml"/><Relationship Id="rId24" Type="http://schemas.openxmlformats.org/officeDocument/2006/relationships/tags" Target="../tags/tag1062.xml"/><Relationship Id="rId32" Type="http://schemas.openxmlformats.org/officeDocument/2006/relationships/tags" Target="../tags/tag1070.xml"/><Relationship Id="rId37" Type="http://schemas.openxmlformats.org/officeDocument/2006/relationships/tags" Target="../tags/tag1075.xml"/><Relationship Id="rId40" Type="http://schemas.openxmlformats.org/officeDocument/2006/relationships/tags" Target="../tags/tag1078.xml"/><Relationship Id="rId45" Type="http://schemas.openxmlformats.org/officeDocument/2006/relationships/tags" Target="../tags/tag1083.xml"/><Relationship Id="rId53" Type="http://schemas.openxmlformats.org/officeDocument/2006/relationships/tags" Target="../tags/tag1091.xml"/><Relationship Id="rId58" Type="http://schemas.openxmlformats.org/officeDocument/2006/relationships/slideLayout" Target="../slideLayouts/slideLayout4.xml"/><Relationship Id="rId5" Type="http://schemas.openxmlformats.org/officeDocument/2006/relationships/tags" Target="../tags/tag1043.xml"/><Relationship Id="rId61" Type="http://schemas.openxmlformats.org/officeDocument/2006/relationships/oleObject" Target="../embeddings/oleObject387.bin"/><Relationship Id="rId19" Type="http://schemas.openxmlformats.org/officeDocument/2006/relationships/tags" Target="../tags/tag1057.xml"/><Relationship Id="rId14" Type="http://schemas.openxmlformats.org/officeDocument/2006/relationships/tags" Target="../tags/tag1052.xml"/><Relationship Id="rId22" Type="http://schemas.openxmlformats.org/officeDocument/2006/relationships/tags" Target="../tags/tag1060.xml"/><Relationship Id="rId27" Type="http://schemas.openxmlformats.org/officeDocument/2006/relationships/tags" Target="../tags/tag1065.xml"/><Relationship Id="rId30" Type="http://schemas.openxmlformats.org/officeDocument/2006/relationships/tags" Target="../tags/tag1068.xml"/><Relationship Id="rId35" Type="http://schemas.openxmlformats.org/officeDocument/2006/relationships/tags" Target="../tags/tag1073.xml"/><Relationship Id="rId43" Type="http://schemas.openxmlformats.org/officeDocument/2006/relationships/tags" Target="../tags/tag1081.xml"/><Relationship Id="rId48" Type="http://schemas.openxmlformats.org/officeDocument/2006/relationships/tags" Target="../tags/tag1086.xml"/><Relationship Id="rId56" Type="http://schemas.openxmlformats.org/officeDocument/2006/relationships/tags" Target="../tags/tag1094.xml"/><Relationship Id="rId8" Type="http://schemas.openxmlformats.org/officeDocument/2006/relationships/tags" Target="../tags/tag1046.xml"/><Relationship Id="rId51" Type="http://schemas.openxmlformats.org/officeDocument/2006/relationships/tags" Target="../tags/tag1089.xml"/><Relationship Id="rId3" Type="http://schemas.openxmlformats.org/officeDocument/2006/relationships/tags" Target="../tags/tag1041.xml"/><Relationship Id="rId12" Type="http://schemas.openxmlformats.org/officeDocument/2006/relationships/tags" Target="../tags/tag1050.xml"/><Relationship Id="rId17" Type="http://schemas.openxmlformats.org/officeDocument/2006/relationships/tags" Target="../tags/tag1055.xml"/><Relationship Id="rId25" Type="http://schemas.openxmlformats.org/officeDocument/2006/relationships/tags" Target="../tags/tag1063.xml"/><Relationship Id="rId33" Type="http://schemas.openxmlformats.org/officeDocument/2006/relationships/tags" Target="../tags/tag1071.xml"/><Relationship Id="rId38" Type="http://schemas.openxmlformats.org/officeDocument/2006/relationships/tags" Target="../tags/tag1076.xml"/><Relationship Id="rId46" Type="http://schemas.openxmlformats.org/officeDocument/2006/relationships/tags" Target="../tags/tag1084.xml"/><Relationship Id="rId59" Type="http://schemas.openxmlformats.org/officeDocument/2006/relationships/notesSlide" Target="../notesSlides/notesSlide39.xml"/><Relationship Id="rId20" Type="http://schemas.openxmlformats.org/officeDocument/2006/relationships/tags" Target="../tags/tag1058.xml"/><Relationship Id="rId41" Type="http://schemas.openxmlformats.org/officeDocument/2006/relationships/tags" Target="../tags/tag1079.xml"/><Relationship Id="rId54" Type="http://schemas.openxmlformats.org/officeDocument/2006/relationships/tags" Target="../tags/tag1092.xml"/><Relationship Id="rId62" Type="http://schemas.openxmlformats.org/officeDocument/2006/relationships/image" Target="../media/image14.emf"/><Relationship Id="rId1" Type="http://schemas.openxmlformats.org/officeDocument/2006/relationships/tags" Target="../tags/tag1039.xml"/><Relationship Id="rId6" Type="http://schemas.openxmlformats.org/officeDocument/2006/relationships/tags" Target="../tags/tag1044.xml"/><Relationship Id="rId15" Type="http://schemas.openxmlformats.org/officeDocument/2006/relationships/tags" Target="../tags/tag1053.xml"/><Relationship Id="rId23" Type="http://schemas.openxmlformats.org/officeDocument/2006/relationships/tags" Target="../tags/tag1061.xml"/><Relationship Id="rId28" Type="http://schemas.openxmlformats.org/officeDocument/2006/relationships/tags" Target="../tags/tag1066.xml"/><Relationship Id="rId36" Type="http://schemas.openxmlformats.org/officeDocument/2006/relationships/tags" Target="../tags/tag1074.xml"/><Relationship Id="rId49" Type="http://schemas.openxmlformats.org/officeDocument/2006/relationships/tags" Target="../tags/tag1087.xml"/><Relationship Id="rId57" Type="http://schemas.openxmlformats.org/officeDocument/2006/relationships/tags" Target="../tags/tag1095.xml"/><Relationship Id="rId10" Type="http://schemas.openxmlformats.org/officeDocument/2006/relationships/tags" Target="../tags/tag1048.xml"/><Relationship Id="rId31" Type="http://schemas.openxmlformats.org/officeDocument/2006/relationships/tags" Target="../tags/tag1069.xml"/><Relationship Id="rId44" Type="http://schemas.openxmlformats.org/officeDocument/2006/relationships/tags" Target="../tags/tag1082.xml"/><Relationship Id="rId52" Type="http://schemas.openxmlformats.org/officeDocument/2006/relationships/tags" Target="../tags/tag1090.xml"/><Relationship Id="rId60" Type="http://schemas.microsoft.com/office/2018/10/relationships/comments" Target="../comments/modernComment_7FFFF4DE_AFD94CB4.xml"/><Relationship Id="rId4" Type="http://schemas.openxmlformats.org/officeDocument/2006/relationships/tags" Target="../tags/tag1042.xml"/><Relationship Id="rId9" Type="http://schemas.openxmlformats.org/officeDocument/2006/relationships/tags" Target="../tags/tag1047.xml"/></Relationships>
</file>

<file path=ppt/slides/_rels/slide43.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tags" Target="../tags/tag1098.xml"/><Relationship Id="rId7" Type="http://schemas.openxmlformats.org/officeDocument/2006/relationships/image" Target="../media/image14.emf"/><Relationship Id="rId2" Type="http://schemas.openxmlformats.org/officeDocument/2006/relationships/tags" Target="../tags/tag1097.xml"/><Relationship Id="rId1" Type="http://schemas.openxmlformats.org/officeDocument/2006/relationships/tags" Target="../tags/tag1096.xml"/><Relationship Id="rId6" Type="http://schemas.openxmlformats.org/officeDocument/2006/relationships/oleObject" Target="../embeddings/oleObject388.bin"/><Relationship Id="rId5" Type="http://schemas.openxmlformats.org/officeDocument/2006/relationships/notesSlide" Target="../notesSlides/notesSlide40.xml"/><Relationship Id="rId4" Type="http://schemas.openxmlformats.org/officeDocument/2006/relationships/slideLayout" Target="../slideLayouts/slideLayout56.xml"/><Relationship Id="rId9" Type="http://schemas.openxmlformats.org/officeDocument/2006/relationships/chart" Target="../charts/chart4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59.xml"/><Relationship Id="rId1" Type="http://schemas.openxmlformats.org/officeDocument/2006/relationships/tags" Target="../tags/tag1099.xml"/><Relationship Id="rId5" Type="http://schemas.openxmlformats.org/officeDocument/2006/relationships/image" Target="../media/image22.emf"/><Relationship Id="rId4" Type="http://schemas.openxmlformats.org/officeDocument/2006/relationships/oleObject" Target="../embeddings/oleObject389.bin"/></Relationships>
</file>

<file path=ppt/slides/_rels/slide45.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notesSlide" Target="../notesSlides/notesSlide42.xml"/><Relationship Id="rId7" Type="http://schemas.openxmlformats.org/officeDocument/2006/relationships/slide" Target="slide45.xml"/><Relationship Id="rId2" Type="http://schemas.openxmlformats.org/officeDocument/2006/relationships/slideLayout" Target="../slideLayouts/slideLayout3.xml"/><Relationship Id="rId1" Type="http://schemas.openxmlformats.org/officeDocument/2006/relationships/tags" Target="../tags/tag1100.xml"/><Relationship Id="rId6" Type="http://schemas.openxmlformats.org/officeDocument/2006/relationships/slide" Target="slide117.xml"/><Relationship Id="rId5" Type="http://schemas.openxmlformats.org/officeDocument/2006/relationships/image" Target="../media/image63.emf"/><Relationship Id="rId4" Type="http://schemas.openxmlformats.org/officeDocument/2006/relationships/oleObject" Target="../embeddings/oleObject390.bin"/></Relationships>
</file>

<file path=ppt/slides/_rels/slide46.xml.rels><?xml version="1.0" encoding="UTF-8" standalone="yes"?>
<Relationships xmlns="http://schemas.openxmlformats.org/package/2006/relationships"><Relationship Id="rId13" Type="http://schemas.openxmlformats.org/officeDocument/2006/relationships/tags" Target="../tags/tag1113.xml"/><Relationship Id="rId18" Type="http://schemas.openxmlformats.org/officeDocument/2006/relationships/tags" Target="../tags/tag1118.xml"/><Relationship Id="rId26" Type="http://schemas.openxmlformats.org/officeDocument/2006/relationships/tags" Target="../tags/tag1126.xml"/><Relationship Id="rId21" Type="http://schemas.openxmlformats.org/officeDocument/2006/relationships/tags" Target="../tags/tag1121.xml"/><Relationship Id="rId34" Type="http://schemas.microsoft.com/office/2018/10/relationships/comments" Target="../comments/modernComment_7FFFF4E0_3EC8F708.xml"/><Relationship Id="rId7" Type="http://schemas.openxmlformats.org/officeDocument/2006/relationships/tags" Target="../tags/tag1107.xml"/><Relationship Id="rId12" Type="http://schemas.openxmlformats.org/officeDocument/2006/relationships/tags" Target="../tags/tag1112.xml"/><Relationship Id="rId17" Type="http://schemas.openxmlformats.org/officeDocument/2006/relationships/tags" Target="../tags/tag1117.xml"/><Relationship Id="rId25" Type="http://schemas.openxmlformats.org/officeDocument/2006/relationships/tags" Target="../tags/tag1125.xml"/><Relationship Id="rId33" Type="http://schemas.openxmlformats.org/officeDocument/2006/relationships/notesSlide" Target="../notesSlides/notesSlide43.xml"/><Relationship Id="rId2" Type="http://schemas.openxmlformats.org/officeDocument/2006/relationships/tags" Target="../tags/tag1102.xml"/><Relationship Id="rId16" Type="http://schemas.openxmlformats.org/officeDocument/2006/relationships/tags" Target="../tags/tag1116.xml"/><Relationship Id="rId20" Type="http://schemas.openxmlformats.org/officeDocument/2006/relationships/tags" Target="../tags/tag1120.xml"/><Relationship Id="rId29" Type="http://schemas.openxmlformats.org/officeDocument/2006/relationships/tags" Target="../tags/tag1129.xml"/><Relationship Id="rId1" Type="http://schemas.openxmlformats.org/officeDocument/2006/relationships/tags" Target="../tags/tag1101.xml"/><Relationship Id="rId6" Type="http://schemas.openxmlformats.org/officeDocument/2006/relationships/tags" Target="../tags/tag1106.xml"/><Relationship Id="rId11" Type="http://schemas.openxmlformats.org/officeDocument/2006/relationships/tags" Target="../tags/tag1111.xml"/><Relationship Id="rId24" Type="http://schemas.openxmlformats.org/officeDocument/2006/relationships/tags" Target="../tags/tag1124.xml"/><Relationship Id="rId32" Type="http://schemas.openxmlformats.org/officeDocument/2006/relationships/slideLayout" Target="../slideLayouts/slideLayout19.xml"/><Relationship Id="rId37" Type="http://schemas.openxmlformats.org/officeDocument/2006/relationships/chart" Target="../charts/chart41.xml"/><Relationship Id="rId5" Type="http://schemas.openxmlformats.org/officeDocument/2006/relationships/tags" Target="../tags/tag1105.xml"/><Relationship Id="rId15" Type="http://schemas.openxmlformats.org/officeDocument/2006/relationships/tags" Target="../tags/tag1115.xml"/><Relationship Id="rId23" Type="http://schemas.openxmlformats.org/officeDocument/2006/relationships/tags" Target="../tags/tag1123.xml"/><Relationship Id="rId28" Type="http://schemas.openxmlformats.org/officeDocument/2006/relationships/tags" Target="../tags/tag1128.xml"/><Relationship Id="rId36" Type="http://schemas.openxmlformats.org/officeDocument/2006/relationships/image" Target="../media/image14.emf"/><Relationship Id="rId10" Type="http://schemas.openxmlformats.org/officeDocument/2006/relationships/tags" Target="../tags/tag1110.xml"/><Relationship Id="rId19" Type="http://schemas.openxmlformats.org/officeDocument/2006/relationships/tags" Target="../tags/tag1119.xml"/><Relationship Id="rId31" Type="http://schemas.openxmlformats.org/officeDocument/2006/relationships/tags" Target="../tags/tag1131.xml"/><Relationship Id="rId4" Type="http://schemas.openxmlformats.org/officeDocument/2006/relationships/tags" Target="../tags/tag1104.xml"/><Relationship Id="rId9" Type="http://schemas.openxmlformats.org/officeDocument/2006/relationships/tags" Target="../tags/tag1109.xml"/><Relationship Id="rId14" Type="http://schemas.openxmlformats.org/officeDocument/2006/relationships/tags" Target="../tags/tag1114.xml"/><Relationship Id="rId22" Type="http://schemas.openxmlformats.org/officeDocument/2006/relationships/tags" Target="../tags/tag1122.xml"/><Relationship Id="rId27" Type="http://schemas.openxmlformats.org/officeDocument/2006/relationships/tags" Target="../tags/tag1127.xml"/><Relationship Id="rId30" Type="http://schemas.openxmlformats.org/officeDocument/2006/relationships/tags" Target="../tags/tag1130.xml"/><Relationship Id="rId35" Type="http://schemas.openxmlformats.org/officeDocument/2006/relationships/oleObject" Target="../embeddings/oleObject391.bin"/><Relationship Id="rId8" Type="http://schemas.openxmlformats.org/officeDocument/2006/relationships/tags" Target="../tags/tag1108.xml"/><Relationship Id="rId3" Type="http://schemas.openxmlformats.org/officeDocument/2006/relationships/tags" Target="../tags/tag1103.xml"/></Relationships>
</file>

<file path=ppt/slides/_rels/slide47.xml.rels><?xml version="1.0" encoding="UTF-8" standalone="yes"?>
<Relationships xmlns="http://schemas.openxmlformats.org/package/2006/relationships"><Relationship Id="rId26" Type="http://schemas.openxmlformats.org/officeDocument/2006/relationships/tags" Target="../tags/tag1157.xml"/><Relationship Id="rId21" Type="http://schemas.openxmlformats.org/officeDocument/2006/relationships/tags" Target="../tags/tag1152.xml"/><Relationship Id="rId42" Type="http://schemas.openxmlformats.org/officeDocument/2006/relationships/tags" Target="../tags/tag1173.xml"/><Relationship Id="rId47" Type="http://schemas.openxmlformats.org/officeDocument/2006/relationships/tags" Target="../tags/tag1178.xml"/><Relationship Id="rId63" Type="http://schemas.openxmlformats.org/officeDocument/2006/relationships/tags" Target="../tags/tag1194.xml"/><Relationship Id="rId68" Type="http://schemas.openxmlformats.org/officeDocument/2006/relationships/chart" Target="../charts/chart42.xml"/><Relationship Id="rId7" Type="http://schemas.openxmlformats.org/officeDocument/2006/relationships/tags" Target="../tags/tag1138.xml"/><Relationship Id="rId2" Type="http://schemas.openxmlformats.org/officeDocument/2006/relationships/tags" Target="../tags/tag1133.xml"/><Relationship Id="rId16" Type="http://schemas.openxmlformats.org/officeDocument/2006/relationships/tags" Target="../tags/tag1147.xml"/><Relationship Id="rId29" Type="http://schemas.openxmlformats.org/officeDocument/2006/relationships/tags" Target="../tags/tag1160.xml"/><Relationship Id="rId11" Type="http://schemas.openxmlformats.org/officeDocument/2006/relationships/tags" Target="../tags/tag1142.xml"/><Relationship Id="rId24" Type="http://schemas.openxmlformats.org/officeDocument/2006/relationships/tags" Target="../tags/tag1155.xml"/><Relationship Id="rId32" Type="http://schemas.openxmlformats.org/officeDocument/2006/relationships/tags" Target="../tags/tag1163.xml"/><Relationship Id="rId37" Type="http://schemas.openxmlformats.org/officeDocument/2006/relationships/tags" Target="../tags/tag1168.xml"/><Relationship Id="rId40" Type="http://schemas.openxmlformats.org/officeDocument/2006/relationships/tags" Target="../tags/tag1171.xml"/><Relationship Id="rId45" Type="http://schemas.openxmlformats.org/officeDocument/2006/relationships/tags" Target="../tags/tag1176.xml"/><Relationship Id="rId53" Type="http://schemas.openxmlformats.org/officeDocument/2006/relationships/tags" Target="../tags/tag1184.xml"/><Relationship Id="rId58" Type="http://schemas.openxmlformats.org/officeDocument/2006/relationships/tags" Target="../tags/tag1189.xml"/><Relationship Id="rId66" Type="http://schemas.openxmlformats.org/officeDocument/2006/relationships/oleObject" Target="../embeddings/oleObject392.bin"/><Relationship Id="rId5" Type="http://schemas.openxmlformats.org/officeDocument/2006/relationships/tags" Target="../tags/tag1136.xml"/><Relationship Id="rId61" Type="http://schemas.openxmlformats.org/officeDocument/2006/relationships/tags" Target="../tags/tag1192.xml"/><Relationship Id="rId19" Type="http://schemas.openxmlformats.org/officeDocument/2006/relationships/tags" Target="../tags/tag1150.xml"/><Relationship Id="rId14" Type="http://schemas.openxmlformats.org/officeDocument/2006/relationships/tags" Target="../tags/tag1145.xml"/><Relationship Id="rId22" Type="http://schemas.openxmlformats.org/officeDocument/2006/relationships/tags" Target="../tags/tag1153.xml"/><Relationship Id="rId27" Type="http://schemas.openxmlformats.org/officeDocument/2006/relationships/tags" Target="../tags/tag1158.xml"/><Relationship Id="rId30" Type="http://schemas.openxmlformats.org/officeDocument/2006/relationships/tags" Target="../tags/tag1161.xml"/><Relationship Id="rId35" Type="http://schemas.openxmlformats.org/officeDocument/2006/relationships/tags" Target="../tags/tag1166.xml"/><Relationship Id="rId43" Type="http://schemas.openxmlformats.org/officeDocument/2006/relationships/tags" Target="../tags/tag1174.xml"/><Relationship Id="rId48" Type="http://schemas.openxmlformats.org/officeDocument/2006/relationships/tags" Target="../tags/tag1179.xml"/><Relationship Id="rId56" Type="http://schemas.openxmlformats.org/officeDocument/2006/relationships/tags" Target="../tags/tag1187.xml"/><Relationship Id="rId64" Type="http://schemas.openxmlformats.org/officeDocument/2006/relationships/slideLayout" Target="../slideLayouts/slideLayout19.xml"/><Relationship Id="rId69" Type="http://schemas.openxmlformats.org/officeDocument/2006/relationships/chart" Target="../charts/chart43.xml"/><Relationship Id="rId8" Type="http://schemas.openxmlformats.org/officeDocument/2006/relationships/tags" Target="../tags/tag1139.xml"/><Relationship Id="rId51" Type="http://schemas.openxmlformats.org/officeDocument/2006/relationships/tags" Target="../tags/tag1182.xml"/><Relationship Id="rId3" Type="http://schemas.openxmlformats.org/officeDocument/2006/relationships/tags" Target="../tags/tag1134.xml"/><Relationship Id="rId12" Type="http://schemas.openxmlformats.org/officeDocument/2006/relationships/tags" Target="../tags/tag1143.xml"/><Relationship Id="rId17" Type="http://schemas.openxmlformats.org/officeDocument/2006/relationships/tags" Target="../tags/tag1148.xml"/><Relationship Id="rId25" Type="http://schemas.openxmlformats.org/officeDocument/2006/relationships/tags" Target="../tags/tag1156.xml"/><Relationship Id="rId33" Type="http://schemas.openxmlformats.org/officeDocument/2006/relationships/tags" Target="../tags/tag1164.xml"/><Relationship Id="rId38" Type="http://schemas.openxmlformats.org/officeDocument/2006/relationships/tags" Target="../tags/tag1169.xml"/><Relationship Id="rId46" Type="http://schemas.openxmlformats.org/officeDocument/2006/relationships/tags" Target="../tags/tag1177.xml"/><Relationship Id="rId59" Type="http://schemas.openxmlformats.org/officeDocument/2006/relationships/tags" Target="../tags/tag1190.xml"/><Relationship Id="rId67" Type="http://schemas.openxmlformats.org/officeDocument/2006/relationships/image" Target="../media/image14.emf"/><Relationship Id="rId20" Type="http://schemas.openxmlformats.org/officeDocument/2006/relationships/tags" Target="../tags/tag1151.xml"/><Relationship Id="rId41" Type="http://schemas.openxmlformats.org/officeDocument/2006/relationships/tags" Target="../tags/tag1172.xml"/><Relationship Id="rId54" Type="http://schemas.openxmlformats.org/officeDocument/2006/relationships/tags" Target="../tags/tag1185.xml"/><Relationship Id="rId62" Type="http://schemas.openxmlformats.org/officeDocument/2006/relationships/tags" Target="../tags/tag1193.xml"/><Relationship Id="rId1" Type="http://schemas.openxmlformats.org/officeDocument/2006/relationships/tags" Target="../tags/tag1132.xml"/><Relationship Id="rId6" Type="http://schemas.openxmlformats.org/officeDocument/2006/relationships/tags" Target="../tags/tag1137.xml"/><Relationship Id="rId15" Type="http://schemas.openxmlformats.org/officeDocument/2006/relationships/tags" Target="../tags/tag1146.xml"/><Relationship Id="rId23" Type="http://schemas.openxmlformats.org/officeDocument/2006/relationships/tags" Target="../tags/tag1154.xml"/><Relationship Id="rId28" Type="http://schemas.openxmlformats.org/officeDocument/2006/relationships/tags" Target="../tags/tag1159.xml"/><Relationship Id="rId36" Type="http://schemas.openxmlformats.org/officeDocument/2006/relationships/tags" Target="../tags/tag1167.xml"/><Relationship Id="rId49" Type="http://schemas.openxmlformats.org/officeDocument/2006/relationships/tags" Target="../tags/tag1180.xml"/><Relationship Id="rId57" Type="http://schemas.openxmlformats.org/officeDocument/2006/relationships/tags" Target="../tags/tag1188.xml"/><Relationship Id="rId10" Type="http://schemas.openxmlformats.org/officeDocument/2006/relationships/tags" Target="../tags/tag1141.xml"/><Relationship Id="rId31" Type="http://schemas.openxmlformats.org/officeDocument/2006/relationships/tags" Target="../tags/tag1162.xml"/><Relationship Id="rId44" Type="http://schemas.openxmlformats.org/officeDocument/2006/relationships/tags" Target="../tags/tag1175.xml"/><Relationship Id="rId52" Type="http://schemas.openxmlformats.org/officeDocument/2006/relationships/tags" Target="../tags/tag1183.xml"/><Relationship Id="rId60" Type="http://schemas.openxmlformats.org/officeDocument/2006/relationships/tags" Target="../tags/tag1191.xml"/><Relationship Id="rId65" Type="http://schemas.openxmlformats.org/officeDocument/2006/relationships/notesSlide" Target="../notesSlides/notesSlide44.xml"/><Relationship Id="rId4" Type="http://schemas.openxmlformats.org/officeDocument/2006/relationships/tags" Target="../tags/tag1135.xml"/><Relationship Id="rId9" Type="http://schemas.openxmlformats.org/officeDocument/2006/relationships/tags" Target="../tags/tag1140.xml"/><Relationship Id="rId13" Type="http://schemas.openxmlformats.org/officeDocument/2006/relationships/tags" Target="../tags/tag1144.xml"/><Relationship Id="rId18" Type="http://schemas.openxmlformats.org/officeDocument/2006/relationships/tags" Target="../tags/tag1149.xml"/><Relationship Id="rId39" Type="http://schemas.openxmlformats.org/officeDocument/2006/relationships/tags" Target="../tags/tag1170.xml"/><Relationship Id="rId34" Type="http://schemas.openxmlformats.org/officeDocument/2006/relationships/tags" Target="../tags/tag1165.xml"/><Relationship Id="rId50" Type="http://schemas.openxmlformats.org/officeDocument/2006/relationships/tags" Target="../tags/tag1181.xml"/><Relationship Id="rId55" Type="http://schemas.openxmlformats.org/officeDocument/2006/relationships/tags" Target="../tags/tag1186.xml"/></Relationships>
</file>

<file path=ppt/slides/_rels/slide48.xml.rels><?xml version="1.0" encoding="UTF-8" standalone="yes"?>
<Relationships xmlns="http://schemas.openxmlformats.org/package/2006/relationships"><Relationship Id="rId13" Type="http://schemas.openxmlformats.org/officeDocument/2006/relationships/tags" Target="../tags/tag1207.xml"/><Relationship Id="rId18" Type="http://schemas.openxmlformats.org/officeDocument/2006/relationships/tags" Target="../tags/tag1212.xml"/><Relationship Id="rId26" Type="http://schemas.openxmlformats.org/officeDocument/2006/relationships/notesSlide" Target="../notesSlides/notesSlide45.xml"/><Relationship Id="rId3" Type="http://schemas.openxmlformats.org/officeDocument/2006/relationships/tags" Target="../tags/tag1197.xml"/><Relationship Id="rId21" Type="http://schemas.openxmlformats.org/officeDocument/2006/relationships/tags" Target="../tags/tag1215.xml"/><Relationship Id="rId34" Type="http://schemas.openxmlformats.org/officeDocument/2006/relationships/chart" Target="../charts/chart49.xml"/><Relationship Id="rId7" Type="http://schemas.openxmlformats.org/officeDocument/2006/relationships/tags" Target="../tags/tag1201.xml"/><Relationship Id="rId12" Type="http://schemas.openxmlformats.org/officeDocument/2006/relationships/tags" Target="../tags/tag1206.xml"/><Relationship Id="rId17" Type="http://schemas.openxmlformats.org/officeDocument/2006/relationships/tags" Target="../tags/tag1211.xml"/><Relationship Id="rId25" Type="http://schemas.openxmlformats.org/officeDocument/2006/relationships/slideLayout" Target="../slideLayouts/slideLayout10.xml"/><Relationship Id="rId33" Type="http://schemas.openxmlformats.org/officeDocument/2006/relationships/chart" Target="../charts/chart48.xml"/><Relationship Id="rId2" Type="http://schemas.openxmlformats.org/officeDocument/2006/relationships/tags" Target="../tags/tag1196.xml"/><Relationship Id="rId16" Type="http://schemas.openxmlformats.org/officeDocument/2006/relationships/tags" Target="../tags/tag1210.xml"/><Relationship Id="rId20" Type="http://schemas.openxmlformats.org/officeDocument/2006/relationships/tags" Target="../tags/tag1214.xml"/><Relationship Id="rId29" Type="http://schemas.openxmlformats.org/officeDocument/2006/relationships/chart" Target="../charts/chart44.xml"/><Relationship Id="rId1" Type="http://schemas.openxmlformats.org/officeDocument/2006/relationships/tags" Target="../tags/tag1195.xml"/><Relationship Id="rId6" Type="http://schemas.openxmlformats.org/officeDocument/2006/relationships/tags" Target="../tags/tag1200.xml"/><Relationship Id="rId11" Type="http://schemas.openxmlformats.org/officeDocument/2006/relationships/tags" Target="../tags/tag1205.xml"/><Relationship Id="rId24" Type="http://schemas.openxmlformats.org/officeDocument/2006/relationships/tags" Target="../tags/tag1218.xml"/><Relationship Id="rId32" Type="http://schemas.openxmlformats.org/officeDocument/2006/relationships/chart" Target="../charts/chart47.xml"/><Relationship Id="rId5" Type="http://schemas.openxmlformats.org/officeDocument/2006/relationships/tags" Target="../tags/tag1199.xml"/><Relationship Id="rId15" Type="http://schemas.openxmlformats.org/officeDocument/2006/relationships/tags" Target="../tags/tag1209.xml"/><Relationship Id="rId23" Type="http://schemas.openxmlformats.org/officeDocument/2006/relationships/tags" Target="../tags/tag1217.xml"/><Relationship Id="rId28" Type="http://schemas.openxmlformats.org/officeDocument/2006/relationships/image" Target="../media/image14.emf"/><Relationship Id="rId10" Type="http://schemas.openxmlformats.org/officeDocument/2006/relationships/tags" Target="../tags/tag1204.xml"/><Relationship Id="rId19" Type="http://schemas.openxmlformats.org/officeDocument/2006/relationships/tags" Target="../tags/tag1213.xml"/><Relationship Id="rId31" Type="http://schemas.openxmlformats.org/officeDocument/2006/relationships/chart" Target="../charts/chart46.xml"/><Relationship Id="rId4" Type="http://schemas.openxmlformats.org/officeDocument/2006/relationships/tags" Target="../tags/tag1198.xml"/><Relationship Id="rId9" Type="http://schemas.openxmlformats.org/officeDocument/2006/relationships/tags" Target="../tags/tag1203.xml"/><Relationship Id="rId14" Type="http://schemas.openxmlformats.org/officeDocument/2006/relationships/tags" Target="../tags/tag1208.xml"/><Relationship Id="rId22" Type="http://schemas.openxmlformats.org/officeDocument/2006/relationships/tags" Target="../tags/tag1216.xml"/><Relationship Id="rId27" Type="http://schemas.openxmlformats.org/officeDocument/2006/relationships/oleObject" Target="../embeddings/oleObject393.bin"/><Relationship Id="rId30" Type="http://schemas.openxmlformats.org/officeDocument/2006/relationships/chart" Target="../charts/chart45.xml"/><Relationship Id="rId8" Type="http://schemas.openxmlformats.org/officeDocument/2006/relationships/tags" Target="../tags/tag1202.xml"/></Relationships>
</file>

<file path=ppt/slides/_rels/slide49.xml.rels><?xml version="1.0" encoding="UTF-8" standalone="yes"?>
<Relationships xmlns="http://schemas.openxmlformats.org/package/2006/relationships"><Relationship Id="rId8" Type="http://schemas.openxmlformats.org/officeDocument/2006/relationships/tags" Target="../tags/tag1226.xml"/><Relationship Id="rId13" Type="http://schemas.openxmlformats.org/officeDocument/2006/relationships/tags" Target="../tags/tag1231.xml"/><Relationship Id="rId18" Type="http://schemas.openxmlformats.org/officeDocument/2006/relationships/tags" Target="../tags/tag1236.xml"/><Relationship Id="rId26" Type="http://schemas.openxmlformats.org/officeDocument/2006/relationships/image" Target="../media/image14.emf"/><Relationship Id="rId3" Type="http://schemas.openxmlformats.org/officeDocument/2006/relationships/tags" Target="../tags/tag1221.xml"/><Relationship Id="rId21" Type="http://schemas.openxmlformats.org/officeDocument/2006/relationships/tags" Target="../tags/tag1239.xml"/><Relationship Id="rId7" Type="http://schemas.openxmlformats.org/officeDocument/2006/relationships/tags" Target="../tags/tag1225.xml"/><Relationship Id="rId12" Type="http://schemas.openxmlformats.org/officeDocument/2006/relationships/tags" Target="../tags/tag1230.xml"/><Relationship Id="rId17" Type="http://schemas.openxmlformats.org/officeDocument/2006/relationships/tags" Target="../tags/tag1235.xml"/><Relationship Id="rId25" Type="http://schemas.openxmlformats.org/officeDocument/2006/relationships/oleObject" Target="../embeddings/oleObject394.bin"/><Relationship Id="rId2" Type="http://schemas.openxmlformats.org/officeDocument/2006/relationships/tags" Target="../tags/tag1220.xml"/><Relationship Id="rId16" Type="http://schemas.openxmlformats.org/officeDocument/2006/relationships/tags" Target="../tags/tag1234.xml"/><Relationship Id="rId20" Type="http://schemas.openxmlformats.org/officeDocument/2006/relationships/tags" Target="../tags/tag1238.xml"/><Relationship Id="rId1" Type="http://schemas.openxmlformats.org/officeDocument/2006/relationships/tags" Target="../tags/tag1219.xml"/><Relationship Id="rId6" Type="http://schemas.openxmlformats.org/officeDocument/2006/relationships/tags" Target="../tags/tag1224.xml"/><Relationship Id="rId11" Type="http://schemas.openxmlformats.org/officeDocument/2006/relationships/tags" Target="../tags/tag1229.xml"/><Relationship Id="rId24" Type="http://schemas.openxmlformats.org/officeDocument/2006/relationships/notesSlide" Target="../notesSlides/notesSlide46.xml"/><Relationship Id="rId5" Type="http://schemas.openxmlformats.org/officeDocument/2006/relationships/tags" Target="../tags/tag1223.xml"/><Relationship Id="rId15" Type="http://schemas.openxmlformats.org/officeDocument/2006/relationships/tags" Target="../tags/tag1233.xml"/><Relationship Id="rId23" Type="http://schemas.openxmlformats.org/officeDocument/2006/relationships/slideLayout" Target="../slideLayouts/slideLayout19.xml"/><Relationship Id="rId28" Type="http://schemas.openxmlformats.org/officeDocument/2006/relationships/chart" Target="../charts/chart51.xml"/><Relationship Id="rId10" Type="http://schemas.openxmlformats.org/officeDocument/2006/relationships/tags" Target="../tags/tag1228.xml"/><Relationship Id="rId19" Type="http://schemas.openxmlformats.org/officeDocument/2006/relationships/tags" Target="../tags/tag1237.xml"/><Relationship Id="rId4" Type="http://schemas.openxmlformats.org/officeDocument/2006/relationships/tags" Target="../tags/tag1222.xml"/><Relationship Id="rId9" Type="http://schemas.openxmlformats.org/officeDocument/2006/relationships/tags" Target="../tags/tag1227.xml"/><Relationship Id="rId14" Type="http://schemas.openxmlformats.org/officeDocument/2006/relationships/tags" Target="../tags/tag1232.xml"/><Relationship Id="rId22" Type="http://schemas.openxmlformats.org/officeDocument/2006/relationships/tags" Target="../tags/tag1240.xml"/><Relationship Id="rId27" Type="http://schemas.openxmlformats.org/officeDocument/2006/relationships/chart" Target="../charts/chart50.xml"/></Relationships>
</file>

<file path=ppt/slides/_rels/slide5.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9" Type="http://schemas.openxmlformats.org/officeDocument/2006/relationships/image" Target="../media/image57.png"/><Relationship Id="rId21" Type="http://schemas.openxmlformats.org/officeDocument/2006/relationships/image" Target="../media/image39.jpeg"/><Relationship Id="rId34" Type="http://schemas.openxmlformats.org/officeDocument/2006/relationships/image" Target="../media/image52.jpeg"/><Relationship Id="rId42" Type="http://schemas.openxmlformats.org/officeDocument/2006/relationships/image" Target="../media/image60.jpeg"/><Relationship Id="rId7" Type="http://schemas.openxmlformats.org/officeDocument/2006/relationships/image" Target="../media/image25.png"/><Relationship Id="rId2" Type="http://schemas.openxmlformats.org/officeDocument/2006/relationships/slideLayout" Target="../slideLayouts/slideLayout46.xml"/><Relationship Id="rId16" Type="http://schemas.openxmlformats.org/officeDocument/2006/relationships/image" Target="../media/image34.png"/><Relationship Id="rId20" Type="http://schemas.openxmlformats.org/officeDocument/2006/relationships/image" Target="../media/image38.jpeg"/><Relationship Id="rId29" Type="http://schemas.openxmlformats.org/officeDocument/2006/relationships/image" Target="../media/image47.png"/><Relationship Id="rId41" Type="http://schemas.openxmlformats.org/officeDocument/2006/relationships/image" Target="../media/image59.png"/><Relationship Id="rId1" Type="http://schemas.openxmlformats.org/officeDocument/2006/relationships/tags" Target="../tags/tag373.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42.jpeg"/><Relationship Id="rId32" Type="http://schemas.openxmlformats.org/officeDocument/2006/relationships/image" Target="../media/image50.png"/><Relationship Id="rId37" Type="http://schemas.openxmlformats.org/officeDocument/2006/relationships/image" Target="../media/image55.png"/><Relationship Id="rId40" Type="http://schemas.openxmlformats.org/officeDocument/2006/relationships/image" Target="../media/image58.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36" Type="http://schemas.openxmlformats.org/officeDocument/2006/relationships/image" Target="../media/image54.png"/><Relationship Id="rId10" Type="http://schemas.openxmlformats.org/officeDocument/2006/relationships/image" Target="../media/image28.png"/><Relationship Id="rId19" Type="http://schemas.openxmlformats.org/officeDocument/2006/relationships/image" Target="../media/image37.png"/><Relationship Id="rId31" Type="http://schemas.openxmlformats.org/officeDocument/2006/relationships/image" Target="../media/image49.png"/><Relationship Id="rId44" Type="http://schemas.openxmlformats.org/officeDocument/2006/relationships/image" Target="../media/image62.jpeg"/><Relationship Id="rId4" Type="http://schemas.openxmlformats.org/officeDocument/2006/relationships/image" Target="../media/image22.emf"/><Relationship Id="rId9" Type="http://schemas.openxmlformats.org/officeDocument/2006/relationships/image" Target="../media/image27.jpeg"/><Relationship Id="rId14" Type="http://schemas.openxmlformats.org/officeDocument/2006/relationships/image" Target="../media/image32.png"/><Relationship Id="rId22" Type="http://schemas.openxmlformats.org/officeDocument/2006/relationships/image" Target="../media/image40.jpeg"/><Relationship Id="rId27" Type="http://schemas.openxmlformats.org/officeDocument/2006/relationships/image" Target="../media/image45.png"/><Relationship Id="rId30" Type="http://schemas.openxmlformats.org/officeDocument/2006/relationships/image" Target="../media/image48.png"/><Relationship Id="rId35" Type="http://schemas.openxmlformats.org/officeDocument/2006/relationships/image" Target="../media/image53.png"/><Relationship Id="rId43" Type="http://schemas.openxmlformats.org/officeDocument/2006/relationships/image" Target="../media/image61.png"/><Relationship Id="rId8" Type="http://schemas.openxmlformats.org/officeDocument/2006/relationships/image" Target="../media/image26.png"/><Relationship Id="rId3" Type="http://schemas.openxmlformats.org/officeDocument/2006/relationships/oleObject" Target="../embeddings/oleObject350.bin"/><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jpeg"/><Relationship Id="rId33" Type="http://schemas.openxmlformats.org/officeDocument/2006/relationships/image" Target="../media/image51.png"/><Relationship Id="rId38" Type="http://schemas.openxmlformats.org/officeDocument/2006/relationships/image" Target="../media/image56.gif"/></Relationships>
</file>

<file path=ppt/slides/_rels/slide50.xml.rels><?xml version="1.0" encoding="UTF-8" standalone="yes"?>
<Relationships xmlns="http://schemas.openxmlformats.org/package/2006/relationships"><Relationship Id="rId13" Type="http://schemas.openxmlformats.org/officeDocument/2006/relationships/tags" Target="../tags/tag1253.xml"/><Relationship Id="rId18" Type="http://schemas.openxmlformats.org/officeDocument/2006/relationships/tags" Target="../tags/tag1258.xml"/><Relationship Id="rId26" Type="http://schemas.openxmlformats.org/officeDocument/2006/relationships/tags" Target="../tags/tag1266.xml"/><Relationship Id="rId39" Type="http://schemas.openxmlformats.org/officeDocument/2006/relationships/tags" Target="../tags/tag1279.xml"/><Relationship Id="rId21" Type="http://schemas.openxmlformats.org/officeDocument/2006/relationships/tags" Target="../tags/tag1261.xml"/><Relationship Id="rId34" Type="http://schemas.openxmlformats.org/officeDocument/2006/relationships/tags" Target="../tags/tag1274.xml"/><Relationship Id="rId42" Type="http://schemas.openxmlformats.org/officeDocument/2006/relationships/tags" Target="../tags/tag1282.xml"/><Relationship Id="rId47" Type="http://schemas.openxmlformats.org/officeDocument/2006/relationships/chart" Target="../charts/chart52.xml"/><Relationship Id="rId7" Type="http://schemas.openxmlformats.org/officeDocument/2006/relationships/tags" Target="../tags/tag1247.xml"/><Relationship Id="rId2" Type="http://schemas.openxmlformats.org/officeDocument/2006/relationships/tags" Target="../tags/tag1242.xml"/><Relationship Id="rId16" Type="http://schemas.openxmlformats.org/officeDocument/2006/relationships/tags" Target="../tags/tag1256.xml"/><Relationship Id="rId29" Type="http://schemas.openxmlformats.org/officeDocument/2006/relationships/tags" Target="../tags/tag1269.xml"/><Relationship Id="rId11" Type="http://schemas.openxmlformats.org/officeDocument/2006/relationships/tags" Target="../tags/tag1251.xml"/><Relationship Id="rId24" Type="http://schemas.openxmlformats.org/officeDocument/2006/relationships/tags" Target="../tags/tag1264.xml"/><Relationship Id="rId32" Type="http://schemas.openxmlformats.org/officeDocument/2006/relationships/tags" Target="../tags/tag1272.xml"/><Relationship Id="rId37" Type="http://schemas.openxmlformats.org/officeDocument/2006/relationships/tags" Target="../tags/tag1277.xml"/><Relationship Id="rId40" Type="http://schemas.openxmlformats.org/officeDocument/2006/relationships/tags" Target="../tags/tag1280.xml"/><Relationship Id="rId45" Type="http://schemas.openxmlformats.org/officeDocument/2006/relationships/oleObject" Target="../embeddings/oleObject395.bin"/><Relationship Id="rId5" Type="http://schemas.openxmlformats.org/officeDocument/2006/relationships/tags" Target="../tags/tag1245.xml"/><Relationship Id="rId15" Type="http://schemas.openxmlformats.org/officeDocument/2006/relationships/tags" Target="../tags/tag1255.xml"/><Relationship Id="rId23" Type="http://schemas.openxmlformats.org/officeDocument/2006/relationships/tags" Target="../tags/tag1263.xml"/><Relationship Id="rId28" Type="http://schemas.openxmlformats.org/officeDocument/2006/relationships/tags" Target="../tags/tag1268.xml"/><Relationship Id="rId36" Type="http://schemas.openxmlformats.org/officeDocument/2006/relationships/tags" Target="../tags/tag1276.xml"/><Relationship Id="rId49" Type="http://schemas.openxmlformats.org/officeDocument/2006/relationships/chart" Target="../charts/chart54.xml"/><Relationship Id="rId10" Type="http://schemas.openxmlformats.org/officeDocument/2006/relationships/tags" Target="../tags/tag1250.xml"/><Relationship Id="rId19" Type="http://schemas.openxmlformats.org/officeDocument/2006/relationships/tags" Target="../tags/tag1259.xml"/><Relationship Id="rId31" Type="http://schemas.openxmlformats.org/officeDocument/2006/relationships/tags" Target="../tags/tag1271.xml"/><Relationship Id="rId44" Type="http://schemas.openxmlformats.org/officeDocument/2006/relationships/notesSlide" Target="../notesSlides/notesSlide47.xml"/><Relationship Id="rId4" Type="http://schemas.openxmlformats.org/officeDocument/2006/relationships/tags" Target="../tags/tag1244.xml"/><Relationship Id="rId9" Type="http://schemas.openxmlformats.org/officeDocument/2006/relationships/tags" Target="../tags/tag1249.xml"/><Relationship Id="rId14" Type="http://schemas.openxmlformats.org/officeDocument/2006/relationships/tags" Target="../tags/tag1254.xml"/><Relationship Id="rId22" Type="http://schemas.openxmlformats.org/officeDocument/2006/relationships/tags" Target="../tags/tag1262.xml"/><Relationship Id="rId27" Type="http://schemas.openxmlformats.org/officeDocument/2006/relationships/tags" Target="../tags/tag1267.xml"/><Relationship Id="rId30" Type="http://schemas.openxmlformats.org/officeDocument/2006/relationships/tags" Target="../tags/tag1270.xml"/><Relationship Id="rId35" Type="http://schemas.openxmlformats.org/officeDocument/2006/relationships/tags" Target="../tags/tag1275.xml"/><Relationship Id="rId43" Type="http://schemas.openxmlformats.org/officeDocument/2006/relationships/slideLayout" Target="../slideLayouts/slideLayout19.xml"/><Relationship Id="rId48" Type="http://schemas.openxmlformats.org/officeDocument/2006/relationships/chart" Target="../charts/chart53.xml"/><Relationship Id="rId8" Type="http://schemas.openxmlformats.org/officeDocument/2006/relationships/tags" Target="../tags/tag1248.xml"/><Relationship Id="rId3" Type="http://schemas.openxmlformats.org/officeDocument/2006/relationships/tags" Target="../tags/tag1243.xml"/><Relationship Id="rId12" Type="http://schemas.openxmlformats.org/officeDocument/2006/relationships/tags" Target="../tags/tag1252.xml"/><Relationship Id="rId17" Type="http://schemas.openxmlformats.org/officeDocument/2006/relationships/tags" Target="../tags/tag1257.xml"/><Relationship Id="rId25" Type="http://schemas.openxmlformats.org/officeDocument/2006/relationships/tags" Target="../tags/tag1265.xml"/><Relationship Id="rId33" Type="http://schemas.openxmlformats.org/officeDocument/2006/relationships/tags" Target="../tags/tag1273.xml"/><Relationship Id="rId38" Type="http://schemas.openxmlformats.org/officeDocument/2006/relationships/tags" Target="../tags/tag1278.xml"/><Relationship Id="rId46" Type="http://schemas.openxmlformats.org/officeDocument/2006/relationships/image" Target="../media/image14.emf"/><Relationship Id="rId20" Type="http://schemas.openxmlformats.org/officeDocument/2006/relationships/tags" Target="../tags/tag1260.xml"/><Relationship Id="rId41" Type="http://schemas.openxmlformats.org/officeDocument/2006/relationships/tags" Target="../tags/tag1281.xml"/><Relationship Id="rId1" Type="http://schemas.openxmlformats.org/officeDocument/2006/relationships/tags" Target="../tags/tag1241.xml"/><Relationship Id="rId6" Type="http://schemas.openxmlformats.org/officeDocument/2006/relationships/tags" Target="../tags/tag1246.xml"/></Relationships>
</file>

<file path=ppt/slides/_rels/slide51.xml.rels><?xml version="1.0" encoding="UTF-8" standalone="yes"?>
<Relationships xmlns="http://schemas.openxmlformats.org/package/2006/relationships"><Relationship Id="rId8" Type="http://schemas.openxmlformats.org/officeDocument/2006/relationships/slide" Target="slide51.xml"/><Relationship Id="rId3" Type="http://schemas.openxmlformats.org/officeDocument/2006/relationships/notesSlide" Target="../notesSlides/notesSlide48.xml"/><Relationship Id="rId7" Type="http://schemas.openxmlformats.org/officeDocument/2006/relationships/slide" Target="slide78.xml"/><Relationship Id="rId2" Type="http://schemas.openxmlformats.org/officeDocument/2006/relationships/slideLayout" Target="../slideLayouts/slideLayout3.xml"/><Relationship Id="rId1" Type="http://schemas.openxmlformats.org/officeDocument/2006/relationships/tags" Target="../tags/tag1283.xml"/><Relationship Id="rId6" Type="http://schemas.openxmlformats.org/officeDocument/2006/relationships/slide" Target="slide110.xml"/><Relationship Id="rId5" Type="http://schemas.openxmlformats.org/officeDocument/2006/relationships/image" Target="../media/image63.emf"/><Relationship Id="rId4" Type="http://schemas.openxmlformats.org/officeDocument/2006/relationships/oleObject" Target="../embeddings/oleObject396.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7.xml"/><Relationship Id="rId1" Type="http://schemas.openxmlformats.org/officeDocument/2006/relationships/tags" Target="../tags/tag1284.xml"/><Relationship Id="rId5" Type="http://schemas.openxmlformats.org/officeDocument/2006/relationships/image" Target="../media/image14.emf"/><Relationship Id="rId4" Type="http://schemas.openxmlformats.org/officeDocument/2006/relationships/oleObject" Target="../embeddings/oleObject397.bin"/></Relationships>
</file>

<file path=ppt/slides/_rels/slide53.xml.rels><?xml version="1.0" encoding="UTF-8" standalone="yes"?>
<Relationships xmlns="http://schemas.openxmlformats.org/package/2006/relationships"><Relationship Id="rId8" Type="http://schemas.openxmlformats.org/officeDocument/2006/relationships/tags" Target="../tags/tag1292.xml"/><Relationship Id="rId13" Type="http://schemas.openxmlformats.org/officeDocument/2006/relationships/tags" Target="../tags/tag1297.xml"/><Relationship Id="rId18" Type="http://schemas.openxmlformats.org/officeDocument/2006/relationships/chart" Target="../charts/chart55.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tags" Target="../tags/tag1296.xml"/><Relationship Id="rId17" Type="http://schemas.openxmlformats.org/officeDocument/2006/relationships/image" Target="../media/image14.emf"/><Relationship Id="rId2" Type="http://schemas.openxmlformats.org/officeDocument/2006/relationships/tags" Target="../tags/tag1286.xml"/><Relationship Id="rId16" Type="http://schemas.openxmlformats.org/officeDocument/2006/relationships/oleObject" Target="../embeddings/oleObject398.bin"/><Relationship Id="rId1" Type="http://schemas.openxmlformats.org/officeDocument/2006/relationships/tags" Target="../tags/tag1285.xml"/><Relationship Id="rId6" Type="http://schemas.openxmlformats.org/officeDocument/2006/relationships/tags" Target="../tags/tag1290.xml"/><Relationship Id="rId11" Type="http://schemas.openxmlformats.org/officeDocument/2006/relationships/tags" Target="../tags/tag1295.xml"/><Relationship Id="rId5" Type="http://schemas.openxmlformats.org/officeDocument/2006/relationships/tags" Target="../tags/tag1289.xml"/><Relationship Id="rId15" Type="http://schemas.openxmlformats.org/officeDocument/2006/relationships/notesSlide" Target="../notesSlides/notesSlide50.xml"/><Relationship Id="rId10" Type="http://schemas.openxmlformats.org/officeDocument/2006/relationships/tags" Target="../tags/tag1294.xml"/><Relationship Id="rId4" Type="http://schemas.openxmlformats.org/officeDocument/2006/relationships/tags" Target="../tags/tag1288.xml"/><Relationship Id="rId9" Type="http://schemas.openxmlformats.org/officeDocument/2006/relationships/tags" Target="../tags/tag1293.xml"/><Relationship Id="rId14"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8" Type="http://schemas.openxmlformats.org/officeDocument/2006/relationships/slide" Target="slide78.xml"/><Relationship Id="rId3" Type="http://schemas.openxmlformats.org/officeDocument/2006/relationships/notesSlide" Target="../notesSlides/notesSlide51.xml"/><Relationship Id="rId7" Type="http://schemas.openxmlformats.org/officeDocument/2006/relationships/slide" Target="slide110.xml"/><Relationship Id="rId2" Type="http://schemas.openxmlformats.org/officeDocument/2006/relationships/slideLayout" Target="../slideLayouts/slideLayout3.xml"/><Relationship Id="rId1" Type="http://schemas.openxmlformats.org/officeDocument/2006/relationships/tags" Target="../tags/tag1298.xml"/><Relationship Id="rId6" Type="http://schemas.openxmlformats.org/officeDocument/2006/relationships/slide" Target="slide88.xml"/><Relationship Id="rId5" Type="http://schemas.openxmlformats.org/officeDocument/2006/relationships/image" Target="../media/image63.emf"/><Relationship Id="rId4" Type="http://schemas.openxmlformats.org/officeDocument/2006/relationships/oleObject" Target="../embeddings/oleObject399.bin"/><Relationship Id="rId9" Type="http://schemas.openxmlformats.org/officeDocument/2006/relationships/slide" Target="slide51.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5.xml"/><Relationship Id="rId1" Type="http://schemas.openxmlformats.org/officeDocument/2006/relationships/tags" Target="../tags/tag1299.xml"/><Relationship Id="rId5" Type="http://schemas.openxmlformats.org/officeDocument/2006/relationships/image" Target="../media/image63.emf"/><Relationship Id="rId4" Type="http://schemas.openxmlformats.org/officeDocument/2006/relationships/oleObject" Target="../embeddings/oleObject400.bin"/></Relationships>
</file>

<file path=ppt/slides/_rels/slide56.xml.rels><?xml version="1.0" encoding="UTF-8" standalone="yes"?>
<Relationships xmlns="http://schemas.openxmlformats.org/package/2006/relationships"><Relationship Id="rId26" Type="http://schemas.openxmlformats.org/officeDocument/2006/relationships/tags" Target="../tags/tag1325.xml"/><Relationship Id="rId21" Type="http://schemas.openxmlformats.org/officeDocument/2006/relationships/tags" Target="../tags/tag1320.xml"/><Relationship Id="rId42" Type="http://schemas.openxmlformats.org/officeDocument/2006/relationships/tags" Target="../tags/tag1341.xml"/><Relationship Id="rId47" Type="http://schemas.openxmlformats.org/officeDocument/2006/relationships/tags" Target="../tags/tag1346.xml"/><Relationship Id="rId63" Type="http://schemas.openxmlformats.org/officeDocument/2006/relationships/tags" Target="../tags/tag1362.xml"/><Relationship Id="rId68" Type="http://schemas.openxmlformats.org/officeDocument/2006/relationships/tags" Target="../tags/tag1367.xml"/><Relationship Id="rId84" Type="http://schemas.openxmlformats.org/officeDocument/2006/relationships/tags" Target="../tags/tag1383.xml"/><Relationship Id="rId89" Type="http://schemas.openxmlformats.org/officeDocument/2006/relationships/tags" Target="../tags/tag1388.xml"/><Relationship Id="rId16" Type="http://schemas.openxmlformats.org/officeDocument/2006/relationships/tags" Target="../tags/tag1315.xml"/><Relationship Id="rId11" Type="http://schemas.openxmlformats.org/officeDocument/2006/relationships/tags" Target="../tags/tag1310.xml"/><Relationship Id="rId32" Type="http://schemas.openxmlformats.org/officeDocument/2006/relationships/tags" Target="../tags/tag1331.xml"/><Relationship Id="rId37" Type="http://schemas.openxmlformats.org/officeDocument/2006/relationships/tags" Target="../tags/tag1336.xml"/><Relationship Id="rId53" Type="http://schemas.openxmlformats.org/officeDocument/2006/relationships/tags" Target="../tags/tag1352.xml"/><Relationship Id="rId58" Type="http://schemas.openxmlformats.org/officeDocument/2006/relationships/tags" Target="../tags/tag1357.xml"/><Relationship Id="rId74" Type="http://schemas.openxmlformats.org/officeDocument/2006/relationships/tags" Target="../tags/tag1373.xml"/><Relationship Id="rId79" Type="http://schemas.openxmlformats.org/officeDocument/2006/relationships/tags" Target="../tags/tag1378.xml"/><Relationship Id="rId5" Type="http://schemas.openxmlformats.org/officeDocument/2006/relationships/tags" Target="../tags/tag1304.xml"/><Relationship Id="rId90" Type="http://schemas.openxmlformats.org/officeDocument/2006/relationships/slideLayout" Target="../slideLayouts/slideLayout24.xml"/><Relationship Id="rId95" Type="http://schemas.openxmlformats.org/officeDocument/2006/relationships/chart" Target="../charts/chart56.xml"/><Relationship Id="rId22" Type="http://schemas.openxmlformats.org/officeDocument/2006/relationships/tags" Target="../tags/tag1321.xml"/><Relationship Id="rId27" Type="http://schemas.openxmlformats.org/officeDocument/2006/relationships/tags" Target="../tags/tag1326.xml"/><Relationship Id="rId43" Type="http://schemas.openxmlformats.org/officeDocument/2006/relationships/tags" Target="../tags/tag1342.xml"/><Relationship Id="rId48" Type="http://schemas.openxmlformats.org/officeDocument/2006/relationships/tags" Target="../tags/tag1347.xml"/><Relationship Id="rId64" Type="http://schemas.openxmlformats.org/officeDocument/2006/relationships/tags" Target="../tags/tag1363.xml"/><Relationship Id="rId69" Type="http://schemas.openxmlformats.org/officeDocument/2006/relationships/tags" Target="../tags/tag1368.xml"/><Relationship Id="rId80" Type="http://schemas.openxmlformats.org/officeDocument/2006/relationships/tags" Target="../tags/tag1379.xml"/><Relationship Id="rId85" Type="http://schemas.openxmlformats.org/officeDocument/2006/relationships/tags" Target="../tags/tag1384.xml"/><Relationship Id="rId3" Type="http://schemas.openxmlformats.org/officeDocument/2006/relationships/tags" Target="../tags/tag1302.xml"/><Relationship Id="rId12" Type="http://schemas.openxmlformats.org/officeDocument/2006/relationships/tags" Target="../tags/tag1311.xml"/><Relationship Id="rId17" Type="http://schemas.openxmlformats.org/officeDocument/2006/relationships/tags" Target="../tags/tag1316.xml"/><Relationship Id="rId25" Type="http://schemas.openxmlformats.org/officeDocument/2006/relationships/tags" Target="../tags/tag1324.xml"/><Relationship Id="rId33" Type="http://schemas.openxmlformats.org/officeDocument/2006/relationships/tags" Target="../tags/tag1332.xml"/><Relationship Id="rId38" Type="http://schemas.openxmlformats.org/officeDocument/2006/relationships/tags" Target="../tags/tag1337.xml"/><Relationship Id="rId46" Type="http://schemas.openxmlformats.org/officeDocument/2006/relationships/tags" Target="../tags/tag1345.xml"/><Relationship Id="rId59" Type="http://schemas.openxmlformats.org/officeDocument/2006/relationships/tags" Target="../tags/tag1358.xml"/><Relationship Id="rId67" Type="http://schemas.openxmlformats.org/officeDocument/2006/relationships/tags" Target="../tags/tag1366.xml"/><Relationship Id="rId20" Type="http://schemas.openxmlformats.org/officeDocument/2006/relationships/tags" Target="../tags/tag1319.xml"/><Relationship Id="rId41" Type="http://schemas.openxmlformats.org/officeDocument/2006/relationships/tags" Target="../tags/tag1340.xml"/><Relationship Id="rId54" Type="http://schemas.openxmlformats.org/officeDocument/2006/relationships/tags" Target="../tags/tag1353.xml"/><Relationship Id="rId62" Type="http://schemas.openxmlformats.org/officeDocument/2006/relationships/tags" Target="../tags/tag1361.xml"/><Relationship Id="rId70" Type="http://schemas.openxmlformats.org/officeDocument/2006/relationships/tags" Target="../tags/tag1369.xml"/><Relationship Id="rId75" Type="http://schemas.openxmlformats.org/officeDocument/2006/relationships/tags" Target="../tags/tag1374.xml"/><Relationship Id="rId83" Type="http://schemas.openxmlformats.org/officeDocument/2006/relationships/tags" Target="../tags/tag1382.xml"/><Relationship Id="rId88" Type="http://schemas.openxmlformats.org/officeDocument/2006/relationships/tags" Target="../tags/tag1387.xml"/><Relationship Id="rId91" Type="http://schemas.openxmlformats.org/officeDocument/2006/relationships/notesSlide" Target="../notesSlides/notesSlide53.xml"/><Relationship Id="rId96" Type="http://schemas.openxmlformats.org/officeDocument/2006/relationships/chart" Target="../charts/chart57.xml"/><Relationship Id="rId1" Type="http://schemas.openxmlformats.org/officeDocument/2006/relationships/tags" Target="../tags/tag1300.xml"/><Relationship Id="rId6" Type="http://schemas.openxmlformats.org/officeDocument/2006/relationships/tags" Target="../tags/tag1305.xml"/><Relationship Id="rId15" Type="http://schemas.openxmlformats.org/officeDocument/2006/relationships/tags" Target="../tags/tag1314.xml"/><Relationship Id="rId23" Type="http://schemas.openxmlformats.org/officeDocument/2006/relationships/tags" Target="../tags/tag1322.xml"/><Relationship Id="rId28" Type="http://schemas.openxmlformats.org/officeDocument/2006/relationships/tags" Target="../tags/tag1327.xml"/><Relationship Id="rId36" Type="http://schemas.openxmlformats.org/officeDocument/2006/relationships/tags" Target="../tags/tag1335.xml"/><Relationship Id="rId49" Type="http://schemas.openxmlformats.org/officeDocument/2006/relationships/tags" Target="../tags/tag1348.xml"/><Relationship Id="rId57" Type="http://schemas.openxmlformats.org/officeDocument/2006/relationships/tags" Target="../tags/tag1356.xml"/><Relationship Id="rId10" Type="http://schemas.openxmlformats.org/officeDocument/2006/relationships/tags" Target="../tags/tag1309.xml"/><Relationship Id="rId31" Type="http://schemas.openxmlformats.org/officeDocument/2006/relationships/tags" Target="../tags/tag1330.xml"/><Relationship Id="rId44" Type="http://schemas.openxmlformats.org/officeDocument/2006/relationships/tags" Target="../tags/tag1343.xml"/><Relationship Id="rId52" Type="http://schemas.openxmlformats.org/officeDocument/2006/relationships/tags" Target="../tags/tag1351.xml"/><Relationship Id="rId60" Type="http://schemas.openxmlformats.org/officeDocument/2006/relationships/tags" Target="../tags/tag1359.xml"/><Relationship Id="rId65" Type="http://schemas.openxmlformats.org/officeDocument/2006/relationships/tags" Target="../tags/tag1364.xml"/><Relationship Id="rId73" Type="http://schemas.openxmlformats.org/officeDocument/2006/relationships/tags" Target="../tags/tag1372.xml"/><Relationship Id="rId78" Type="http://schemas.openxmlformats.org/officeDocument/2006/relationships/tags" Target="../tags/tag1377.xml"/><Relationship Id="rId81" Type="http://schemas.openxmlformats.org/officeDocument/2006/relationships/tags" Target="../tags/tag1380.xml"/><Relationship Id="rId86" Type="http://schemas.openxmlformats.org/officeDocument/2006/relationships/tags" Target="../tags/tag1385.xml"/><Relationship Id="rId94" Type="http://schemas.openxmlformats.org/officeDocument/2006/relationships/image" Target="../media/image63.emf"/><Relationship Id="rId4" Type="http://schemas.openxmlformats.org/officeDocument/2006/relationships/tags" Target="../tags/tag1303.xml"/><Relationship Id="rId9" Type="http://schemas.openxmlformats.org/officeDocument/2006/relationships/tags" Target="../tags/tag1308.xml"/><Relationship Id="rId13" Type="http://schemas.openxmlformats.org/officeDocument/2006/relationships/tags" Target="../tags/tag1312.xml"/><Relationship Id="rId18" Type="http://schemas.openxmlformats.org/officeDocument/2006/relationships/tags" Target="../tags/tag1317.xml"/><Relationship Id="rId39" Type="http://schemas.openxmlformats.org/officeDocument/2006/relationships/tags" Target="../tags/tag1338.xml"/><Relationship Id="rId34" Type="http://schemas.openxmlformats.org/officeDocument/2006/relationships/tags" Target="../tags/tag1333.xml"/><Relationship Id="rId50" Type="http://schemas.openxmlformats.org/officeDocument/2006/relationships/tags" Target="../tags/tag1349.xml"/><Relationship Id="rId55" Type="http://schemas.openxmlformats.org/officeDocument/2006/relationships/tags" Target="../tags/tag1354.xml"/><Relationship Id="rId76" Type="http://schemas.openxmlformats.org/officeDocument/2006/relationships/tags" Target="../tags/tag1375.xml"/><Relationship Id="rId97" Type="http://schemas.openxmlformats.org/officeDocument/2006/relationships/chart" Target="../charts/chart58.xml"/><Relationship Id="rId7" Type="http://schemas.openxmlformats.org/officeDocument/2006/relationships/tags" Target="../tags/tag1306.xml"/><Relationship Id="rId71" Type="http://schemas.openxmlformats.org/officeDocument/2006/relationships/tags" Target="../tags/tag1370.xml"/><Relationship Id="rId92" Type="http://schemas.microsoft.com/office/2018/10/relationships/comments" Target="../comments/modernComment_7FFFF4C2_9069F386.xml"/><Relationship Id="rId2" Type="http://schemas.openxmlformats.org/officeDocument/2006/relationships/tags" Target="../tags/tag1301.xml"/><Relationship Id="rId29" Type="http://schemas.openxmlformats.org/officeDocument/2006/relationships/tags" Target="../tags/tag1328.xml"/><Relationship Id="rId24" Type="http://schemas.openxmlformats.org/officeDocument/2006/relationships/tags" Target="../tags/tag1323.xml"/><Relationship Id="rId40" Type="http://schemas.openxmlformats.org/officeDocument/2006/relationships/tags" Target="../tags/tag1339.xml"/><Relationship Id="rId45" Type="http://schemas.openxmlformats.org/officeDocument/2006/relationships/tags" Target="../tags/tag1344.xml"/><Relationship Id="rId66" Type="http://schemas.openxmlformats.org/officeDocument/2006/relationships/tags" Target="../tags/tag1365.xml"/><Relationship Id="rId87" Type="http://schemas.openxmlformats.org/officeDocument/2006/relationships/tags" Target="../tags/tag1386.xml"/><Relationship Id="rId61" Type="http://schemas.openxmlformats.org/officeDocument/2006/relationships/tags" Target="../tags/tag1360.xml"/><Relationship Id="rId82" Type="http://schemas.openxmlformats.org/officeDocument/2006/relationships/tags" Target="../tags/tag1381.xml"/><Relationship Id="rId19" Type="http://schemas.openxmlformats.org/officeDocument/2006/relationships/tags" Target="../tags/tag1318.xml"/><Relationship Id="rId14" Type="http://schemas.openxmlformats.org/officeDocument/2006/relationships/tags" Target="../tags/tag1313.xml"/><Relationship Id="rId30" Type="http://schemas.openxmlformats.org/officeDocument/2006/relationships/tags" Target="../tags/tag1329.xml"/><Relationship Id="rId35" Type="http://schemas.openxmlformats.org/officeDocument/2006/relationships/tags" Target="../tags/tag1334.xml"/><Relationship Id="rId56" Type="http://schemas.openxmlformats.org/officeDocument/2006/relationships/tags" Target="../tags/tag1355.xml"/><Relationship Id="rId77" Type="http://schemas.openxmlformats.org/officeDocument/2006/relationships/tags" Target="../tags/tag1376.xml"/><Relationship Id="rId8" Type="http://schemas.openxmlformats.org/officeDocument/2006/relationships/tags" Target="../tags/tag1307.xml"/><Relationship Id="rId51" Type="http://schemas.openxmlformats.org/officeDocument/2006/relationships/tags" Target="../tags/tag1350.xml"/><Relationship Id="rId72" Type="http://schemas.openxmlformats.org/officeDocument/2006/relationships/tags" Target="../tags/tag1371.xml"/><Relationship Id="rId93" Type="http://schemas.openxmlformats.org/officeDocument/2006/relationships/oleObject" Target="../embeddings/oleObject401.bin"/></Relationships>
</file>

<file path=ppt/slides/_rels/slide57.xml.rels><?xml version="1.0" encoding="UTF-8" standalone="yes"?>
<Relationships xmlns="http://schemas.openxmlformats.org/package/2006/relationships"><Relationship Id="rId8" Type="http://schemas.openxmlformats.org/officeDocument/2006/relationships/hyperlink" Target="https://energy.ec.europa.eu/topics/research-and-technology/energy-storage/recommendations-energy-storage_en#:~:text=The%20Commission%20adopted%20in%20March,and%20best%20practices%20for%20its" TargetMode="External"/><Relationship Id="rId3" Type="http://schemas.openxmlformats.org/officeDocument/2006/relationships/tags" Target="../tags/tag1391.xml"/><Relationship Id="rId7" Type="http://schemas.openxmlformats.org/officeDocument/2006/relationships/image" Target="../media/image63.emf"/><Relationship Id="rId2" Type="http://schemas.openxmlformats.org/officeDocument/2006/relationships/tags" Target="../tags/tag1390.xml"/><Relationship Id="rId1" Type="http://schemas.openxmlformats.org/officeDocument/2006/relationships/tags" Target="../tags/tag1389.xml"/><Relationship Id="rId6" Type="http://schemas.openxmlformats.org/officeDocument/2006/relationships/oleObject" Target="../embeddings/oleObject402.bin"/><Relationship Id="rId5" Type="http://schemas.openxmlformats.org/officeDocument/2006/relationships/notesSlide" Target="../notesSlides/notesSlide54.xml"/><Relationship Id="rId4" Type="http://schemas.openxmlformats.org/officeDocument/2006/relationships/slideLayout" Target="../slideLayouts/slideLayout48.xml"/></Relationships>
</file>

<file path=ppt/slides/_rels/slide58.xml.rels><?xml version="1.0" encoding="UTF-8" standalone="yes"?>
<Relationships xmlns="http://schemas.openxmlformats.org/package/2006/relationships"><Relationship Id="rId8" Type="http://schemas.openxmlformats.org/officeDocument/2006/relationships/tags" Target="../tags/tag1399.xml"/><Relationship Id="rId13" Type="http://schemas.openxmlformats.org/officeDocument/2006/relationships/slideLayout" Target="../slideLayouts/slideLayout5.xml"/><Relationship Id="rId18" Type="http://schemas.openxmlformats.org/officeDocument/2006/relationships/chart" Target="../charts/chart59.xml"/><Relationship Id="rId3" Type="http://schemas.openxmlformats.org/officeDocument/2006/relationships/tags" Target="../tags/tag1394.xml"/><Relationship Id="rId7" Type="http://schemas.openxmlformats.org/officeDocument/2006/relationships/tags" Target="../tags/tag1398.xml"/><Relationship Id="rId12" Type="http://schemas.openxmlformats.org/officeDocument/2006/relationships/tags" Target="../tags/tag1403.xml"/><Relationship Id="rId17" Type="http://schemas.openxmlformats.org/officeDocument/2006/relationships/image" Target="../media/image7.emf"/><Relationship Id="rId2" Type="http://schemas.openxmlformats.org/officeDocument/2006/relationships/tags" Target="../tags/tag1393.xml"/><Relationship Id="rId16" Type="http://schemas.openxmlformats.org/officeDocument/2006/relationships/oleObject" Target="../embeddings/oleObject403.bin"/><Relationship Id="rId1" Type="http://schemas.openxmlformats.org/officeDocument/2006/relationships/tags" Target="../tags/tag1392.xml"/><Relationship Id="rId6" Type="http://schemas.openxmlformats.org/officeDocument/2006/relationships/tags" Target="../tags/tag1397.xml"/><Relationship Id="rId11" Type="http://schemas.openxmlformats.org/officeDocument/2006/relationships/tags" Target="../tags/tag1402.xml"/><Relationship Id="rId5" Type="http://schemas.openxmlformats.org/officeDocument/2006/relationships/tags" Target="../tags/tag1396.xml"/><Relationship Id="rId15" Type="http://schemas.microsoft.com/office/2018/10/relationships/comments" Target="../comments/modernComment_7FFFF4D4_F9D22838.xml"/><Relationship Id="rId10" Type="http://schemas.openxmlformats.org/officeDocument/2006/relationships/tags" Target="../tags/tag1401.xml"/><Relationship Id="rId4" Type="http://schemas.openxmlformats.org/officeDocument/2006/relationships/tags" Target="../tags/tag1395.xml"/><Relationship Id="rId9" Type="http://schemas.openxmlformats.org/officeDocument/2006/relationships/tags" Target="../tags/tag1400.xml"/><Relationship Id="rId14" Type="http://schemas.openxmlformats.org/officeDocument/2006/relationships/notesSlide" Target="../notesSlides/notesSlide55.xml"/></Relationships>
</file>

<file path=ppt/slides/_rels/slide59.xml.rels><?xml version="1.0" encoding="UTF-8" standalone="yes"?>
<Relationships xmlns="http://schemas.openxmlformats.org/package/2006/relationships"><Relationship Id="rId13" Type="http://schemas.openxmlformats.org/officeDocument/2006/relationships/tags" Target="../tags/tag1416.xml"/><Relationship Id="rId18" Type="http://schemas.openxmlformats.org/officeDocument/2006/relationships/tags" Target="../tags/tag1421.xml"/><Relationship Id="rId26" Type="http://schemas.openxmlformats.org/officeDocument/2006/relationships/tags" Target="../tags/tag1429.xml"/><Relationship Id="rId39" Type="http://schemas.openxmlformats.org/officeDocument/2006/relationships/tags" Target="../tags/tag1442.xml"/><Relationship Id="rId21" Type="http://schemas.openxmlformats.org/officeDocument/2006/relationships/tags" Target="../tags/tag1424.xml"/><Relationship Id="rId34" Type="http://schemas.openxmlformats.org/officeDocument/2006/relationships/tags" Target="../tags/tag1437.xml"/><Relationship Id="rId42" Type="http://schemas.openxmlformats.org/officeDocument/2006/relationships/tags" Target="../tags/tag1445.xml"/><Relationship Id="rId47" Type="http://schemas.openxmlformats.org/officeDocument/2006/relationships/tags" Target="../tags/tag1450.xml"/><Relationship Id="rId50" Type="http://schemas.openxmlformats.org/officeDocument/2006/relationships/tags" Target="../tags/tag1453.xml"/><Relationship Id="rId55" Type="http://schemas.openxmlformats.org/officeDocument/2006/relationships/notesSlide" Target="../notesSlides/notesSlide56.xml"/><Relationship Id="rId7" Type="http://schemas.openxmlformats.org/officeDocument/2006/relationships/tags" Target="../tags/tag1410.xml"/><Relationship Id="rId2" Type="http://schemas.openxmlformats.org/officeDocument/2006/relationships/tags" Target="../tags/tag1405.xml"/><Relationship Id="rId16" Type="http://schemas.openxmlformats.org/officeDocument/2006/relationships/tags" Target="../tags/tag1419.xml"/><Relationship Id="rId29" Type="http://schemas.openxmlformats.org/officeDocument/2006/relationships/tags" Target="../tags/tag1432.xml"/><Relationship Id="rId11" Type="http://schemas.openxmlformats.org/officeDocument/2006/relationships/tags" Target="../tags/tag1414.xml"/><Relationship Id="rId24" Type="http://schemas.openxmlformats.org/officeDocument/2006/relationships/tags" Target="../tags/tag1427.xml"/><Relationship Id="rId32" Type="http://schemas.openxmlformats.org/officeDocument/2006/relationships/tags" Target="../tags/tag1435.xml"/><Relationship Id="rId37" Type="http://schemas.openxmlformats.org/officeDocument/2006/relationships/tags" Target="../tags/tag1440.xml"/><Relationship Id="rId40" Type="http://schemas.openxmlformats.org/officeDocument/2006/relationships/tags" Target="../tags/tag1443.xml"/><Relationship Id="rId45" Type="http://schemas.openxmlformats.org/officeDocument/2006/relationships/tags" Target="../tags/tag1448.xml"/><Relationship Id="rId53" Type="http://schemas.openxmlformats.org/officeDocument/2006/relationships/tags" Target="../tags/tag1456.xml"/><Relationship Id="rId58" Type="http://schemas.openxmlformats.org/officeDocument/2006/relationships/image" Target="../media/image22.emf"/><Relationship Id="rId5" Type="http://schemas.openxmlformats.org/officeDocument/2006/relationships/tags" Target="../tags/tag1408.xml"/><Relationship Id="rId61" Type="http://schemas.openxmlformats.org/officeDocument/2006/relationships/chart" Target="../charts/chart62.xml"/><Relationship Id="rId19" Type="http://schemas.openxmlformats.org/officeDocument/2006/relationships/tags" Target="../tags/tag1422.xml"/><Relationship Id="rId14" Type="http://schemas.openxmlformats.org/officeDocument/2006/relationships/tags" Target="../tags/tag1417.xml"/><Relationship Id="rId22" Type="http://schemas.openxmlformats.org/officeDocument/2006/relationships/tags" Target="../tags/tag1425.xml"/><Relationship Id="rId27" Type="http://schemas.openxmlformats.org/officeDocument/2006/relationships/tags" Target="../tags/tag1430.xml"/><Relationship Id="rId30" Type="http://schemas.openxmlformats.org/officeDocument/2006/relationships/tags" Target="../tags/tag1433.xml"/><Relationship Id="rId35" Type="http://schemas.openxmlformats.org/officeDocument/2006/relationships/tags" Target="../tags/tag1438.xml"/><Relationship Id="rId43" Type="http://schemas.openxmlformats.org/officeDocument/2006/relationships/tags" Target="../tags/tag1446.xml"/><Relationship Id="rId48" Type="http://schemas.openxmlformats.org/officeDocument/2006/relationships/tags" Target="../tags/tag1451.xml"/><Relationship Id="rId56" Type="http://schemas.microsoft.com/office/2018/10/relationships/comments" Target="../comments/modernComment_7FFFF4C8_91F1C206.xml"/><Relationship Id="rId8" Type="http://schemas.openxmlformats.org/officeDocument/2006/relationships/tags" Target="../tags/tag1411.xml"/><Relationship Id="rId51" Type="http://schemas.openxmlformats.org/officeDocument/2006/relationships/tags" Target="../tags/tag1454.xml"/><Relationship Id="rId3" Type="http://schemas.openxmlformats.org/officeDocument/2006/relationships/tags" Target="../tags/tag1406.xml"/><Relationship Id="rId12" Type="http://schemas.openxmlformats.org/officeDocument/2006/relationships/tags" Target="../tags/tag1415.xml"/><Relationship Id="rId17" Type="http://schemas.openxmlformats.org/officeDocument/2006/relationships/tags" Target="../tags/tag1420.xml"/><Relationship Id="rId25" Type="http://schemas.openxmlformats.org/officeDocument/2006/relationships/tags" Target="../tags/tag1428.xml"/><Relationship Id="rId33" Type="http://schemas.openxmlformats.org/officeDocument/2006/relationships/tags" Target="../tags/tag1436.xml"/><Relationship Id="rId38" Type="http://schemas.openxmlformats.org/officeDocument/2006/relationships/tags" Target="../tags/tag1441.xml"/><Relationship Id="rId46" Type="http://schemas.openxmlformats.org/officeDocument/2006/relationships/tags" Target="../tags/tag1449.xml"/><Relationship Id="rId59" Type="http://schemas.openxmlformats.org/officeDocument/2006/relationships/chart" Target="../charts/chart60.xml"/><Relationship Id="rId20" Type="http://schemas.openxmlformats.org/officeDocument/2006/relationships/tags" Target="../tags/tag1423.xml"/><Relationship Id="rId41" Type="http://schemas.openxmlformats.org/officeDocument/2006/relationships/tags" Target="../tags/tag1444.xml"/><Relationship Id="rId54" Type="http://schemas.openxmlformats.org/officeDocument/2006/relationships/slideLayout" Target="../slideLayouts/slideLayout13.xml"/><Relationship Id="rId62" Type="http://schemas.openxmlformats.org/officeDocument/2006/relationships/chart" Target="../charts/chart63.xml"/><Relationship Id="rId1" Type="http://schemas.openxmlformats.org/officeDocument/2006/relationships/tags" Target="../tags/tag1404.xml"/><Relationship Id="rId6" Type="http://schemas.openxmlformats.org/officeDocument/2006/relationships/tags" Target="../tags/tag1409.xml"/><Relationship Id="rId15" Type="http://schemas.openxmlformats.org/officeDocument/2006/relationships/tags" Target="../tags/tag1418.xml"/><Relationship Id="rId23" Type="http://schemas.openxmlformats.org/officeDocument/2006/relationships/tags" Target="../tags/tag1426.xml"/><Relationship Id="rId28" Type="http://schemas.openxmlformats.org/officeDocument/2006/relationships/tags" Target="../tags/tag1431.xml"/><Relationship Id="rId36" Type="http://schemas.openxmlformats.org/officeDocument/2006/relationships/tags" Target="../tags/tag1439.xml"/><Relationship Id="rId49" Type="http://schemas.openxmlformats.org/officeDocument/2006/relationships/tags" Target="../tags/tag1452.xml"/><Relationship Id="rId57" Type="http://schemas.openxmlformats.org/officeDocument/2006/relationships/oleObject" Target="../embeddings/oleObject404.bin"/><Relationship Id="rId10" Type="http://schemas.openxmlformats.org/officeDocument/2006/relationships/tags" Target="../tags/tag1413.xml"/><Relationship Id="rId31" Type="http://schemas.openxmlformats.org/officeDocument/2006/relationships/tags" Target="../tags/tag1434.xml"/><Relationship Id="rId44" Type="http://schemas.openxmlformats.org/officeDocument/2006/relationships/tags" Target="../tags/tag1447.xml"/><Relationship Id="rId52" Type="http://schemas.openxmlformats.org/officeDocument/2006/relationships/tags" Target="../tags/tag1455.xml"/><Relationship Id="rId60" Type="http://schemas.openxmlformats.org/officeDocument/2006/relationships/chart" Target="../charts/chart61.xml"/><Relationship Id="rId4" Type="http://schemas.openxmlformats.org/officeDocument/2006/relationships/tags" Target="../tags/tag1407.xml"/><Relationship Id="rId9" Type="http://schemas.openxmlformats.org/officeDocument/2006/relationships/tags" Target="../tags/tag1412.xml"/></Relationships>
</file>

<file path=ppt/slides/_rels/slide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3.xml"/><Relationship Id="rId7" Type="http://schemas.openxmlformats.org/officeDocument/2006/relationships/image" Target="../media/image65.jpeg"/><Relationship Id="rId2" Type="http://schemas.openxmlformats.org/officeDocument/2006/relationships/slideLayout" Target="../slideLayouts/slideLayout25.xml"/><Relationship Id="rId1" Type="http://schemas.openxmlformats.org/officeDocument/2006/relationships/tags" Target="../tags/tag374.xml"/><Relationship Id="rId6" Type="http://schemas.openxmlformats.org/officeDocument/2006/relationships/image" Target="../media/image64.png"/><Relationship Id="rId5" Type="http://schemas.openxmlformats.org/officeDocument/2006/relationships/image" Target="../media/image63.emf"/><Relationship Id="rId10" Type="http://schemas.openxmlformats.org/officeDocument/2006/relationships/image" Target="../media/image68.png"/><Relationship Id="rId4" Type="http://schemas.openxmlformats.org/officeDocument/2006/relationships/oleObject" Target="../embeddings/oleObject351.bin"/><Relationship Id="rId9" Type="http://schemas.openxmlformats.org/officeDocument/2006/relationships/image" Target="../media/image67.jpeg"/></Relationships>
</file>

<file path=ppt/slides/_rels/slide60.xml.rels><?xml version="1.0" encoding="UTF-8" standalone="yes"?>
<Relationships xmlns="http://schemas.openxmlformats.org/package/2006/relationships"><Relationship Id="rId8" Type="http://schemas.openxmlformats.org/officeDocument/2006/relationships/tags" Target="../tags/tag1464.xml"/><Relationship Id="rId13" Type="http://schemas.openxmlformats.org/officeDocument/2006/relationships/tags" Target="../tags/tag1469.xml"/><Relationship Id="rId18" Type="http://schemas.openxmlformats.org/officeDocument/2006/relationships/image" Target="../media/image22.emf"/><Relationship Id="rId3" Type="http://schemas.openxmlformats.org/officeDocument/2006/relationships/tags" Target="../tags/tag1459.xml"/><Relationship Id="rId21" Type="http://schemas.openxmlformats.org/officeDocument/2006/relationships/chart" Target="../charts/chart66.xml"/><Relationship Id="rId7" Type="http://schemas.openxmlformats.org/officeDocument/2006/relationships/tags" Target="../tags/tag1463.xml"/><Relationship Id="rId12" Type="http://schemas.openxmlformats.org/officeDocument/2006/relationships/tags" Target="../tags/tag1468.xml"/><Relationship Id="rId17" Type="http://schemas.openxmlformats.org/officeDocument/2006/relationships/oleObject" Target="../embeddings/oleObject405.bin"/><Relationship Id="rId2" Type="http://schemas.openxmlformats.org/officeDocument/2006/relationships/tags" Target="../tags/tag1458.xml"/><Relationship Id="rId16" Type="http://schemas.openxmlformats.org/officeDocument/2006/relationships/slideLayout" Target="../slideLayouts/slideLayout113.xml"/><Relationship Id="rId20" Type="http://schemas.openxmlformats.org/officeDocument/2006/relationships/chart" Target="../charts/chart65.xml"/><Relationship Id="rId1" Type="http://schemas.openxmlformats.org/officeDocument/2006/relationships/tags" Target="../tags/tag1457.xml"/><Relationship Id="rId6" Type="http://schemas.openxmlformats.org/officeDocument/2006/relationships/tags" Target="../tags/tag1462.xml"/><Relationship Id="rId11" Type="http://schemas.openxmlformats.org/officeDocument/2006/relationships/tags" Target="../tags/tag1467.xml"/><Relationship Id="rId5" Type="http://schemas.openxmlformats.org/officeDocument/2006/relationships/tags" Target="../tags/tag1461.xml"/><Relationship Id="rId15" Type="http://schemas.openxmlformats.org/officeDocument/2006/relationships/tags" Target="../tags/tag1471.xml"/><Relationship Id="rId23" Type="http://schemas.openxmlformats.org/officeDocument/2006/relationships/chart" Target="../charts/chart68.xml"/><Relationship Id="rId10" Type="http://schemas.openxmlformats.org/officeDocument/2006/relationships/tags" Target="../tags/tag1466.xml"/><Relationship Id="rId19" Type="http://schemas.openxmlformats.org/officeDocument/2006/relationships/chart" Target="../charts/chart64.xml"/><Relationship Id="rId4" Type="http://schemas.openxmlformats.org/officeDocument/2006/relationships/tags" Target="../tags/tag1460.xml"/><Relationship Id="rId9" Type="http://schemas.openxmlformats.org/officeDocument/2006/relationships/tags" Target="../tags/tag1465.xml"/><Relationship Id="rId14" Type="http://schemas.openxmlformats.org/officeDocument/2006/relationships/tags" Target="../tags/tag1470.xml"/><Relationship Id="rId22" Type="http://schemas.openxmlformats.org/officeDocument/2006/relationships/chart" Target="../charts/chart67.xml"/></Relationships>
</file>

<file path=ppt/slides/_rels/slide61.xml.rels><?xml version="1.0" encoding="UTF-8" standalone="yes"?>
<Relationships xmlns="http://schemas.openxmlformats.org/package/2006/relationships"><Relationship Id="rId8" Type="http://schemas.openxmlformats.org/officeDocument/2006/relationships/slide" Target="slide51.xml"/><Relationship Id="rId3" Type="http://schemas.openxmlformats.org/officeDocument/2006/relationships/notesSlide" Target="../notesSlides/notesSlide57.xml"/><Relationship Id="rId7" Type="http://schemas.openxmlformats.org/officeDocument/2006/relationships/slide" Target="slide65.xml"/><Relationship Id="rId2" Type="http://schemas.openxmlformats.org/officeDocument/2006/relationships/slideLayout" Target="../slideLayouts/slideLayout3.xml"/><Relationship Id="rId1" Type="http://schemas.openxmlformats.org/officeDocument/2006/relationships/tags" Target="../tags/tag1472.xml"/><Relationship Id="rId6" Type="http://schemas.openxmlformats.org/officeDocument/2006/relationships/slide" Target="slide102.xml"/><Relationship Id="rId5" Type="http://schemas.openxmlformats.org/officeDocument/2006/relationships/image" Target="../media/image63.emf"/><Relationship Id="rId4" Type="http://schemas.openxmlformats.org/officeDocument/2006/relationships/oleObject" Target="../embeddings/oleObject406.bin"/></Relationships>
</file>

<file path=ppt/slides/_rels/slide62.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svg"/><Relationship Id="rId3" Type="http://schemas.openxmlformats.org/officeDocument/2006/relationships/notesSlide" Target="../notesSlides/notesSlide58.xml"/><Relationship Id="rId7" Type="http://schemas.openxmlformats.org/officeDocument/2006/relationships/image" Target="../media/image89.svg"/><Relationship Id="rId12" Type="http://schemas.openxmlformats.org/officeDocument/2006/relationships/image" Target="../media/image94.png"/><Relationship Id="rId2" Type="http://schemas.openxmlformats.org/officeDocument/2006/relationships/slideLayout" Target="../slideLayouts/slideLayout6.xml"/><Relationship Id="rId1" Type="http://schemas.openxmlformats.org/officeDocument/2006/relationships/tags" Target="../tags/tag1473.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14.emf"/><Relationship Id="rId10" Type="http://schemas.openxmlformats.org/officeDocument/2006/relationships/image" Target="../media/image92.png"/><Relationship Id="rId4" Type="http://schemas.openxmlformats.org/officeDocument/2006/relationships/oleObject" Target="../embeddings/oleObject407.bin"/><Relationship Id="rId9" Type="http://schemas.openxmlformats.org/officeDocument/2006/relationships/image" Target="../media/image91.svg"/></Relationships>
</file>

<file path=ppt/slides/_rels/slide63.xml.rels><?xml version="1.0" encoding="UTF-8" standalone="yes"?>
<Relationships xmlns="http://schemas.openxmlformats.org/package/2006/relationships"><Relationship Id="rId8" Type="http://schemas.openxmlformats.org/officeDocument/2006/relationships/tags" Target="../tags/tag1481.xml"/><Relationship Id="rId13" Type="http://schemas.openxmlformats.org/officeDocument/2006/relationships/tags" Target="../tags/tag1486.xml"/><Relationship Id="rId18" Type="http://schemas.openxmlformats.org/officeDocument/2006/relationships/tags" Target="../tags/tag1491.xml"/><Relationship Id="rId26" Type="http://schemas.openxmlformats.org/officeDocument/2006/relationships/tags" Target="../tags/tag1499.xml"/><Relationship Id="rId3" Type="http://schemas.openxmlformats.org/officeDocument/2006/relationships/tags" Target="../tags/tag1476.xml"/><Relationship Id="rId21" Type="http://schemas.openxmlformats.org/officeDocument/2006/relationships/tags" Target="../tags/tag1494.xml"/><Relationship Id="rId7" Type="http://schemas.openxmlformats.org/officeDocument/2006/relationships/tags" Target="../tags/tag1480.xml"/><Relationship Id="rId12" Type="http://schemas.openxmlformats.org/officeDocument/2006/relationships/tags" Target="../tags/tag1485.xml"/><Relationship Id="rId17" Type="http://schemas.openxmlformats.org/officeDocument/2006/relationships/tags" Target="../tags/tag1490.xml"/><Relationship Id="rId25" Type="http://schemas.openxmlformats.org/officeDocument/2006/relationships/tags" Target="../tags/tag1498.xml"/><Relationship Id="rId2" Type="http://schemas.openxmlformats.org/officeDocument/2006/relationships/tags" Target="../tags/tag1475.xml"/><Relationship Id="rId16" Type="http://schemas.openxmlformats.org/officeDocument/2006/relationships/tags" Target="../tags/tag1489.xml"/><Relationship Id="rId20" Type="http://schemas.openxmlformats.org/officeDocument/2006/relationships/tags" Target="../tags/tag1493.xml"/><Relationship Id="rId29" Type="http://schemas.openxmlformats.org/officeDocument/2006/relationships/slideLayout" Target="../slideLayouts/slideLayout53.xml"/><Relationship Id="rId1" Type="http://schemas.openxmlformats.org/officeDocument/2006/relationships/tags" Target="../tags/tag1474.xml"/><Relationship Id="rId6" Type="http://schemas.openxmlformats.org/officeDocument/2006/relationships/tags" Target="../tags/tag1479.xml"/><Relationship Id="rId11" Type="http://schemas.openxmlformats.org/officeDocument/2006/relationships/tags" Target="../tags/tag1484.xml"/><Relationship Id="rId24" Type="http://schemas.openxmlformats.org/officeDocument/2006/relationships/tags" Target="../tags/tag1497.xml"/><Relationship Id="rId32" Type="http://schemas.openxmlformats.org/officeDocument/2006/relationships/image" Target="../media/image96.emf"/><Relationship Id="rId5" Type="http://schemas.openxmlformats.org/officeDocument/2006/relationships/tags" Target="../tags/tag1478.xml"/><Relationship Id="rId15" Type="http://schemas.openxmlformats.org/officeDocument/2006/relationships/tags" Target="../tags/tag1488.xml"/><Relationship Id="rId23" Type="http://schemas.openxmlformats.org/officeDocument/2006/relationships/tags" Target="../tags/tag1496.xml"/><Relationship Id="rId28" Type="http://schemas.openxmlformats.org/officeDocument/2006/relationships/tags" Target="../tags/tag1501.xml"/><Relationship Id="rId10" Type="http://schemas.openxmlformats.org/officeDocument/2006/relationships/tags" Target="../tags/tag1483.xml"/><Relationship Id="rId19" Type="http://schemas.openxmlformats.org/officeDocument/2006/relationships/tags" Target="../tags/tag1492.xml"/><Relationship Id="rId31" Type="http://schemas.openxmlformats.org/officeDocument/2006/relationships/oleObject" Target="../embeddings/oleObject408.bin"/><Relationship Id="rId4" Type="http://schemas.openxmlformats.org/officeDocument/2006/relationships/tags" Target="../tags/tag1477.xml"/><Relationship Id="rId9" Type="http://schemas.openxmlformats.org/officeDocument/2006/relationships/tags" Target="../tags/tag1482.xml"/><Relationship Id="rId14" Type="http://schemas.openxmlformats.org/officeDocument/2006/relationships/tags" Target="../tags/tag1487.xml"/><Relationship Id="rId22" Type="http://schemas.openxmlformats.org/officeDocument/2006/relationships/tags" Target="../tags/tag1495.xml"/><Relationship Id="rId27" Type="http://schemas.openxmlformats.org/officeDocument/2006/relationships/tags" Target="../tags/tag1500.xml"/><Relationship Id="rId30" Type="http://schemas.openxmlformats.org/officeDocument/2006/relationships/notesSlide" Target="../notesSlides/notesSlide59.xml"/></Relationships>
</file>

<file path=ppt/slides/_rels/slide64.xml.rels><?xml version="1.0" encoding="UTF-8" standalone="yes"?>
<Relationships xmlns="http://schemas.openxmlformats.org/package/2006/relationships"><Relationship Id="rId8" Type="http://schemas.openxmlformats.org/officeDocument/2006/relationships/tags" Target="../tags/tag1509.xml"/><Relationship Id="rId13" Type="http://schemas.openxmlformats.org/officeDocument/2006/relationships/tags" Target="../tags/tag1514.xml"/><Relationship Id="rId18" Type="http://schemas.openxmlformats.org/officeDocument/2006/relationships/tags" Target="../tags/tag1519.xml"/><Relationship Id="rId26" Type="http://schemas.openxmlformats.org/officeDocument/2006/relationships/notesSlide" Target="../notesSlides/notesSlide60.xml"/><Relationship Id="rId3" Type="http://schemas.openxmlformats.org/officeDocument/2006/relationships/tags" Target="../tags/tag1504.xml"/><Relationship Id="rId21" Type="http://schemas.openxmlformats.org/officeDocument/2006/relationships/tags" Target="../tags/tag1522.xml"/><Relationship Id="rId7" Type="http://schemas.openxmlformats.org/officeDocument/2006/relationships/tags" Target="../tags/tag1508.xml"/><Relationship Id="rId12" Type="http://schemas.openxmlformats.org/officeDocument/2006/relationships/tags" Target="../tags/tag1513.xml"/><Relationship Id="rId17" Type="http://schemas.openxmlformats.org/officeDocument/2006/relationships/tags" Target="../tags/tag1518.xml"/><Relationship Id="rId25" Type="http://schemas.openxmlformats.org/officeDocument/2006/relationships/slideLayout" Target="../slideLayouts/slideLayout53.xml"/><Relationship Id="rId2" Type="http://schemas.openxmlformats.org/officeDocument/2006/relationships/tags" Target="../tags/tag1503.xml"/><Relationship Id="rId16" Type="http://schemas.openxmlformats.org/officeDocument/2006/relationships/tags" Target="../tags/tag1517.xml"/><Relationship Id="rId20" Type="http://schemas.openxmlformats.org/officeDocument/2006/relationships/tags" Target="../tags/tag1521.xml"/><Relationship Id="rId1" Type="http://schemas.openxmlformats.org/officeDocument/2006/relationships/tags" Target="../tags/tag1502.xml"/><Relationship Id="rId6" Type="http://schemas.openxmlformats.org/officeDocument/2006/relationships/tags" Target="../tags/tag1507.xml"/><Relationship Id="rId11" Type="http://schemas.openxmlformats.org/officeDocument/2006/relationships/tags" Target="../tags/tag1512.xml"/><Relationship Id="rId24" Type="http://schemas.openxmlformats.org/officeDocument/2006/relationships/tags" Target="../tags/tag1525.xml"/><Relationship Id="rId5" Type="http://schemas.openxmlformats.org/officeDocument/2006/relationships/tags" Target="../tags/tag1506.xml"/><Relationship Id="rId15" Type="http://schemas.openxmlformats.org/officeDocument/2006/relationships/tags" Target="../tags/tag1516.xml"/><Relationship Id="rId23" Type="http://schemas.openxmlformats.org/officeDocument/2006/relationships/tags" Target="../tags/tag1524.xml"/><Relationship Id="rId28" Type="http://schemas.openxmlformats.org/officeDocument/2006/relationships/image" Target="../media/image96.emf"/><Relationship Id="rId10" Type="http://schemas.openxmlformats.org/officeDocument/2006/relationships/tags" Target="../tags/tag1511.xml"/><Relationship Id="rId19" Type="http://schemas.openxmlformats.org/officeDocument/2006/relationships/tags" Target="../tags/tag1520.xml"/><Relationship Id="rId4" Type="http://schemas.openxmlformats.org/officeDocument/2006/relationships/tags" Target="../tags/tag1505.xml"/><Relationship Id="rId9" Type="http://schemas.openxmlformats.org/officeDocument/2006/relationships/tags" Target="../tags/tag1510.xml"/><Relationship Id="rId14" Type="http://schemas.openxmlformats.org/officeDocument/2006/relationships/tags" Target="../tags/tag1515.xml"/><Relationship Id="rId22" Type="http://schemas.openxmlformats.org/officeDocument/2006/relationships/tags" Target="../tags/tag1523.xml"/><Relationship Id="rId27" Type="http://schemas.openxmlformats.org/officeDocument/2006/relationships/oleObject" Target="../embeddings/oleObject409.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Layout" Target="../slideLayouts/slideLayout76.xml"/><Relationship Id="rId1" Type="http://schemas.openxmlformats.org/officeDocument/2006/relationships/tags" Target="../tags/tag1526.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22.emf"/></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1.xml"/><Relationship Id="rId1" Type="http://schemas.openxmlformats.org/officeDocument/2006/relationships/tags" Target="../tags/tag1527.xml"/><Relationship Id="rId5" Type="http://schemas.openxmlformats.org/officeDocument/2006/relationships/image" Target="../media/image22.emf"/><Relationship Id="rId4" Type="http://schemas.openxmlformats.org/officeDocument/2006/relationships/oleObject" Target="../embeddings/oleObject411.bin"/></Relationships>
</file>

<file path=ppt/slides/_rels/slide67.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62.xml"/><Relationship Id="rId7" Type="http://schemas.openxmlformats.org/officeDocument/2006/relationships/image" Target="../media/image100.svg"/><Relationship Id="rId2" Type="http://schemas.openxmlformats.org/officeDocument/2006/relationships/slideLayout" Target="../slideLayouts/slideLayout53.xml"/><Relationship Id="rId1" Type="http://schemas.openxmlformats.org/officeDocument/2006/relationships/tags" Target="../tags/tag1528.xml"/><Relationship Id="rId6" Type="http://schemas.openxmlformats.org/officeDocument/2006/relationships/image" Target="../media/image99.png"/><Relationship Id="rId5" Type="http://schemas.openxmlformats.org/officeDocument/2006/relationships/image" Target="../media/image22.emf"/><Relationship Id="rId4" Type="http://schemas.openxmlformats.org/officeDocument/2006/relationships/oleObject" Target="../embeddings/oleObject412.bin"/><Relationship Id="rId9" Type="http://schemas.openxmlformats.org/officeDocument/2006/relationships/image" Target="../media/image102.sv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0.xml"/><Relationship Id="rId1" Type="http://schemas.openxmlformats.org/officeDocument/2006/relationships/tags" Target="../tags/tag1529.xml"/><Relationship Id="rId5" Type="http://schemas.openxmlformats.org/officeDocument/2006/relationships/image" Target="../media/image22.emf"/><Relationship Id="rId4" Type="http://schemas.openxmlformats.org/officeDocument/2006/relationships/oleObject" Target="../embeddings/oleObject413.bin"/></Relationships>
</file>

<file path=ppt/slides/_rels/slide69.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notesSlide" Target="../notesSlides/notesSlide64.xml"/><Relationship Id="rId7" Type="http://schemas.openxmlformats.org/officeDocument/2006/relationships/slide" Target="slide102.xml"/><Relationship Id="rId2" Type="http://schemas.openxmlformats.org/officeDocument/2006/relationships/slideLayout" Target="../slideLayouts/slideLayout3.xml"/><Relationship Id="rId1" Type="http://schemas.openxmlformats.org/officeDocument/2006/relationships/tags" Target="../tags/tag1530.xml"/><Relationship Id="rId6" Type="http://schemas.openxmlformats.org/officeDocument/2006/relationships/slide" Target="slide110.xml"/><Relationship Id="rId5" Type="http://schemas.openxmlformats.org/officeDocument/2006/relationships/image" Target="../media/image63.emf"/><Relationship Id="rId4" Type="http://schemas.openxmlformats.org/officeDocument/2006/relationships/oleObject" Target="../embeddings/oleObject414.bin"/><Relationship Id="rId9" Type="http://schemas.openxmlformats.org/officeDocument/2006/relationships/slide" Target="slide51.xml"/></Relationships>
</file>

<file path=ppt/slides/_rels/slide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4.xml"/><Relationship Id="rId7" Type="http://schemas.openxmlformats.org/officeDocument/2006/relationships/image" Target="../media/image70.png"/><Relationship Id="rId2" Type="http://schemas.openxmlformats.org/officeDocument/2006/relationships/slideLayout" Target="../slideLayouts/slideLayout5.xml"/><Relationship Id="rId1" Type="http://schemas.openxmlformats.org/officeDocument/2006/relationships/tags" Target="../tags/tag375.xml"/><Relationship Id="rId6" Type="http://schemas.openxmlformats.org/officeDocument/2006/relationships/image" Target="../media/image69.png"/><Relationship Id="rId5" Type="http://schemas.openxmlformats.org/officeDocument/2006/relationships/image" Target="../media/image14.emf"/><Relationship Id="rId4" Type="http://schemas.openxmlformats.org/officeDocument/2006/relationships/oleObject" Target="../embeddings/oleObject352.bin"/><Relationship Id="rId9" Type="http://schemas.openxmlformats.org/officeDocument/2006/relationships/image" Target="../media/image72.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32.xml"/><Relationship Id="rId1" Type="http://schemas.openxmlformats.org/officeDocument/2006/relationships/tags" Target="../tags/tag1531.xml"/><Relationship Id="rId6" Type="http://schemas.openxmlformats.org/officeDocument/2006/relationships/image" Target="../media/image14.emf"/><Relationship Id="rId5" Type="http://schemas.openxmlformats.org/officeDocument/2006/relationships/oleObject" Target="../embeddings/oleObject415.bin"/><Relationship Id="rId4" Type="http://schemas.openxmlformats.org/officeDocument/2006/relationships/notesSlide" Target="../notesSlides/notesSlide65.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03.png"/><Relationship Id="rId2" Type="http://schemas.openxmlformats.org/officeDocument/2006/relationships/tags" Target="../tags/tag1534.xml"/><Relationship Id="rId1" Type="http://schemas.openxmlformats.org/officeDocument/2006/relationships/tags" Target="../tags/tag1533.xml"/><Relationship Id="rId6" Type="http://schemas.openxmlformats.org/officeDocument/2006/relationships/image" Target="../media/image14.emf"/><Relationship Id="rId5" Type="http://schemas.openxmlformats.org/officeDocument/2006/relationships/oleObject" Target="../embeddings/oleObject416.bin"/><Relationship Id="rId4" Type="http://schemas.openxmlformats.org/officeDocument/2006/relationships/notesSlide" Target="../notesSlides/notesSlide66.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03.png"/><Relationship Id="rId2" Type="http://schemas.openxmlformats.org/officeDocument/2006/relationships/tags" Target="../tags/tag1536.xml"/><Relationship Id="rId1" Type="http://schemas.openxmlformats.org/officeDocument/2006/relationships/tags" Target="../tags/tag1535.xml"/><Relationship Id="rId6" Type="http://schemas.openxmlformats.org/officeDocument/2006/relationships/image" Target="../media/image14.emf"/><Relationship Id="rId5" Type="http://schemas.openxmlformats.org/officeDocument/2006/relationships/oleObject" Target="../embeddings/oleObject417.bin"/><Relationship Id="rId4" Type="http://schemas.openxmlformats.org/officeDocument/2006/relationships/notesSlide" Target="../notesSlides/notesSlide67.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xml"/><Relationship Id="rId1" Type="http://schemas.openxmlformats.org/officeDocument/2006/relationships/tags" Target="../tags/tag1537.xml"/><Relationship Id="rId5" Type="http://schemas.openxmlformats.org/officeDocument/2006/relationships/image" Target="../media/image14.emf"/><Relationship Id="rId4" Type="http://schemas.openxmlformats.org/officeDocument/2006/relationships/oleObject" Target="../embeddings/oleObject418.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4.xml"/><Relationship Id="rId1" Type="http://schemas.openxmlformats.org/officeDocument/2006/relationships/tags" Target="../tags/tag1538.xml"/><Relationship Id="rId5" Type="http://schemas.openxmlformats.org/officeDocument/2006/relationships/image" Target="../media/image14.emf"/><Relationship Id="rId4" Type="http://schemas.openxmlformats.org/officeDocument/2006/relationships/oleObject" Target="../embeddings/oleObject419.bin"/></Relationships>
</file>

<file path=ppt/slides/_rels/slide75.xml.rels><?xml version="1.0" encoding="UTF-8" standalone="yes"?>
<Relationships xmlns="http://schemas.openxmlformats.org/package/2006/relationships"><Relationship Id="rId8" Type="http://schemas.openxmlformats.org/officeDocument/2006/relationships/image" Target="../media/image106.svg"/><Relationship Id="rId3" Type="http://schemas.microsoft.com/office/2018/10/relationships/comments" Target="../comments/modernComment_7FFFF4F1_9F79F2CD.xml"/><Relationship Id="rId7" Type="http://schemas.openxmlformats.org/officeDocument/2006/relationships/image" Target="../media/image105.png"/><Relationship Id="rId2" Type="http://schemas.openxmlformats.org/officeDocument/2006/relationships/slideLayout" Target="../slideLayouts/slideLayout36.xml"/><Relationship Id="rId1" Type="http://schemas.openxmlformats.org/officeDocument/2006/relationships/tags" Target="../tags/tag1539.xml"/><Relationship Id="rId6" Type="http://schemas.openxmlformats.org/officeDocument/2006/relationships/image" Target="../media/image104.png"/><Relationship Id="rId5" Type="http://schemas.openxmlformats.org/officeDocument/2006/relationships/image" Target="../media/image22.emf"/><Relationship Id="rId4" Type="http://schemas.openxmlformats.org/officeDocument/2006/relationships/oleObject" Target="../embeddings/oleObject420.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1540.xml"/><Relationship Id="rId5" Type="http://schemas.openxmlformats.org/officeDocument/2006/relationships/image" Target="../media/image63.emf"/><Relationship Id="rId4" Type="http://schemas.openxmlformats.org/officeDocument/2006/relationships/oleObject" Target="../embeddings/oleObject421.bin"/></Relationships>
</file>

<file path=ppt/slides/_rels/slide77.xml.rels><?xml version="1.0" encoding="UTF-8" standalone="yes"?>
<Relationships xmlns="http://schemas.openxmlformats.org/package/2006/relationships"><Relationship Id="rId8" Type="http://schemas.openxmlformats.org/officeDocument/2006/relationships/image" Target="../media/image108.svg"/><Relationship Id="rId13" Type="http://schemas.openxmlformats.org/officeDocument/2006/relationships/image" Target="../media/image113.png"/><Relationship Id="rId3" Type="http://schemas.openxmlformats.org/officeDocument/2006/relationships/slideLayout" Target="../slideLayouts/slideLayout9.xml"/><Relationship Id="rId7" Type="http://schemas.openxmlformats.org/officeDocument/2006/relationships/image" Target="../media/image107.png"/><Relationship Id="rId12" Type="http://schemas.openxmlformats.org/officeDocument/2006/relationships/image" Target="../media/image112.svg"/><Relationship Id="rId2" Type="http://schemas.openxmlformats.org/officeDocument/2006/relationships/tags" Target="../tags/tag1542.xml"/><Relationship Id="rId1" Type="http://schemas.openxmlformats.org/officeDocument/2006/relationships/tags" Target="../tags/tag1541.xml"/><Relationship Id="rId6" Type="http://schemas.openxmlformats.org/officeDocument/2006/relationships/image" Target="../media/image14.emf"/><Relationship Id="rId11" Type="http://schemas.openxmlformats.org/officeDocument/2006/relationships/image" Target="../media/image111.png"/><Relationship Id="rId5" Type="http://schemas.openxmlformats.org/officeDocument/2006/relationships/oleObject" Target="../embeddings/oleObject422.bin"/><Relationship Id="rId10" Type="http://schemas.openxmlformats.org/officeDocument/2006/relationships/image" Target="../media/image110.svg"/><Relationship Id="rId4" Type="http://schemas.openxmlformats.org/officeDocument/2006/relationships/notesSlide" Target="../notesSlides/notesSlide71.xml"/><Relationship Id="rId9" Type="http://schemas.openxmlformats.org/officeDocument/2006/relationships/image" Target="../media/image109.png"/><Relationship Id="rId14" Type="http://schemas.openxmlformats.org/officeDocument/2006/relationships/image" Target="../media/image114.sv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slide" Target="slide44.xml"/><Relationship Id="rId2" Type="http://schemas.openxmlformats.org/officeDocument/2006/relationships/slideLayout" Target="../slideLayouts/slideLayout3.xml"/><Relationship Id="rId1" Type="http://schemas.openxmlformats.org/officeDocument/2006/relationships/tags" Target="../tags/tag1543.xml"/><Relationship Id="rId6" Type="http://schemas.openxmlformats.org/officeDocument/2006/relationships/slide" Target="slide87.xml"/><Relationship Id="rId5" Type="http://schemas.openxmlformats.org/officeDocument/2006/relationships/image" Target="../media/image63.emf"/><Relationship Id="rId4" Type="http://schemas.openxmlformats.org/officeDocument/2006/relationships/oleObject" Target="../embeddings/oleObject423.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47.xml"/><Relationship Id="rId1" Type="http://schemas.openxmlformats.org/officeDocument/2006/relationships/tags" Target="../tags/tag1544.xml"/><Relationship Id="rId5" Type="http://schemas.openxmlformats.org/officeDocument/2006/relationships/image" Target="../media/image14.emf"/><Relationship Id="rId4" Type="http://schemas.openxmlformats.org/officeDocument/2006/relationships/oleObject" Target="../embeddings/oleObject42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76.xml"/><Relationship Id="rId6" Type="http://schemas.openxmlformats.org/officeDocument/2006/relationships/slide" Target="slide8.xml"/><Relationship Id="rId5" Type="http://schemas.openxmlformats.org/officeDocument/2006/relationships/image" Target="../media/image63.emf"/><Relationship Id="rId4" Type="http://schemas.openxmlformats.org/officeDocument/2006/relationships/oleObject" Target="../embeddings/oleObject353.bin"/></Relationships>
</file>

<file path=ppt/slides/_rels/slide80.xml.rels><?xml version="1.0" encoding="UTF-8" standalone="yes"?>
<Relationships xmlns="http://schemas.openxmlformats.org/package/2006/relationships"><Relationship Id="rId8" Type="http://schemas.openxmlformats.org/officeDocument/2006/relationships/tags" Target="../tags/tag1552.xml"/><Relationship Id="rId13" Type="http://schemas.openxmlformats.org/officeDocument/2006/relationships/image" Target="../media/image14.emf"/><Relationship Id="rId3" Type="http://schemas.openxmlformats.org/officeDocument/2006/relationships/tags" Target="../tags/tag1547.xml"/><Relationship Id="rId7" Type="http://schemas.openxmlformats.org/officeDocument/2006/relationships/tags" Target="../tags/tag1551.xml"/><Relationship Id="rId12" Type="http://schemas.openxmlformats.org/officeDocument/2006/relationships/oleObject" Target="../embeddings/oleObject425.bin"/><Relationship Id="rId2" Type="http://schemas.openxmlformats.org/officeDocument/2006/relationships/tags" Target="../tags/tag1546.xml"/><Relationship Id="rId1" Type="http://schemas.openxmlformats.org/officeDocument/2006/relationships/tags" Target="../tags/tag1545.xml"/><Relationship Id="rId6" Type="http://schemas.openxmlformats.org/officeDocument/2006/relationships/tags" Target="../tags/tag1550.xml"/><Relationship Id="rId11" Type="http://schemas.openxmlformats.org/officeDocument/2006/relationships/notesSlide" Target="../notesSlides/notesSlide74.xml"/><Relationship Id="rId5" Type="http://schemas.openxmlformats.org/officeDocument/2006/relationships/tags" Target="../tags/tag1549.xml"/><Relationship Id="rId10" Type="http://schemas.openxmlformats.org/officeDocument/2006/relationships/slideLayout" Target="../slideLayouts/slideLayout4.xml"/><Relationship Id="rId4" Type="http://schemas.openxmlformats.org/officeDocument/2006/relationships/tags" Target="../tags/tag1548.xml"/><Relationship Id="rId9" Type="http://schemas.openxmlformats.org/officeDocument/2006/relationships/tags" Target="../tags/tag1553.xml"/><Relationship Id="rId14" Type="http://schemas.openxmlformats.org/officeDocument/2006/relationships/chart" Target="../charts/chart69.xml"/></Relationships>
</file>

<file path=ppt/slides/_rels/slide81.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notesSlide" Target="../notesSlides/notesSlide75.xml"/><Relationship Id="rId7" Type="http://schemas.openxmlformats.org/officeDocument/2006/relationships/slide" Target="slide87.xml"/><Relationship Id="rId2" Type="http://schemas.openxmlformats.org/officeDocument/2006/relationships/slideLayout" Target="../slideLayouts/slideLayout3.xml"/><Relationship Id="rId1" Type="http://schemas.openxmlformats.org/officeDocument/2006/relationships/tags" Target="../tags/tag1554.xml"/><Relationship Id="rId6" Type="http://schemas.openxmlformats.org/officeDocument/2006/relationships/slide" Target="slide82.xml"/><Relationship Id="rId5" Type="http://schemas.openxmlformats.org/officeDocument/2006/relationships/image" Target="../media/image63.emf"/><Relationship Id="rId4" Type="http://schemas.openxmlformats.org/officeDocument/2006/relationships/oleObject" Target="../embeddings/oleObject426.bin"/><Relationship Id="rId9" Type="http://schemas.openxmlformats.org/officeDocument/2006/relationships/slide" Target="slide102.xml"/></Relationships>
</file>

<file path=ppt/slides/_rels/slide82.xml.rels><?xml version="1.0" encoding="UTF-8" standalone="yes"?>
<Relationships xmlns="http://schemas.openxmlformats.org/package/2006/relationships"><Relationship Id="rId26" Type="http://schemas.openxmlformats.org/officeDocument/2006/relationships/tags" Target="../tags/tag1580.xml"/><Relationship Id="rId21" Type="http://schemas.openxmlformats.org/officeDocument/2006/relationships/tags" Target="../tags/tag1575.xml"/><Relationship Id="rId42" Type="http://schemas.openxmlformats.org/officeDocument/2006/relationships/tags" Target="../tags/tag1596.xml"/><Relationship Id="rId47" Type="http://schemas.openxmlformats.org/officeDocument/2006/relationships/tags" Target="../tags/tag1601.xml"/><Relationship Id="rId63" Type="http://schemas.openxmlformats.org/officeDocument/2006/relationships/tags" Target="../tags/tag1617.xml"/><Relationship Id="rId68" Type="http://schemas.openxmlformats.org/officeDocument/2006/relationships/tags" Target="../tags/tag1622.xml"/><Relationship Id="rId84" Type="http://schemas.openxmlformats.org/officeDocument/2006/relationships/tags" Target="../tags/tag1638.xml"/><Relationship Id="rId89" Type="http://schemas.openxmlformats.org/officeDocument/2006/relationships/tags" Target="../tags/tag1643.xml"/><Relationship Id="rId112" Type="http://schemas.openxmlformats.org/officeDocument/2006/relationships/chart" Target="../charts/chart72.xml"/><Relationship Id="rId16" Type="http://schemas.openxmlformats.org/officeDocument/2006/relationships/tags" Target="../tags/tag1570.xml"/><Relationship Id="rId107" Type="http://schemas.microsoft.com/office/2018/10/relationships/comments" Target="../comments/modernComment_7FF65012_2139C9E3.xml"/><Relationship Id="rId11" Type="http://schemas.openxmlformats.org/officeDocument/2006/relationships/tags" Target="../tags/tag1565.xml"/><Relationship Id="rId32" Type="http://schemas.openxmlformats.org/officeDocument/2006/relationships/tags" Target="../tags/tag1586.xml"/><Relationship Id="rId37" Type="http://schemas.openxmlformats.org/officeDocument/2006/relationships/tags" Target="../tags/tag1591.xml"/><Relationship Id="rId53" Type="http://schemas.openxmlformats.org/officeDocument/2006/relationships/tags" Target="../tags/tag1607.xml"/><Relationship Id="rId58" Type="http://schemas.openxmlformats.org/officeDocument/2006/relationships/tags" Target="../tags/tag1612.xml"/><Relationship Id="rId74" Type="http://schemas.openxmlformats.org/officeDocument/2006/relationships/tags" Target="../tags/tag1628.xml"/><Relationship Id="rId79" Type="http://schemas.openxmlformats.org/officeDocument/2006/relationships/tags" Target="../tags/tag1633.xml"/><Relationship Id="rId102" Type="http://schemas.openxmlformats.org/officeDocument/2006/relationships/tags" Target="../tags/tag1656.xml"/><Relationship Id="rId5" Type="http://schemas.openxmlformats.org/officeDocument/2006/relationships/tags" Target="../tags/tag1559.xml"/><Relationship Id="rId90" Type="http://schemas.openxmlformats.org/officeDocument/2006/relationships/tags" Target="../tags/tag1644.xml"/><Relationship Id="rId95" Type="http://schemas.openxmlformats.org/officeDocument/2006/relationships/tags" Target="../tags/tag1649.xml"/><Relationship Id="rId22" Type="http://schemas.openxmlformats.org/officeDocument/2006/relationships/tags" Target="../tags/tag1576.xml"/><Relationship Id="rId27" Type="http://schemas.openxmlformats.org/officeDocument/2006/relationships/tags" Target="../tags/tag1581.xml"/><Relationship Id="rId43" Type="http://schemas.openxmlformats.org/officeDocument/2006/relationships/tags" Target="../tags/tag1597.xml"/><Relationship Id="rId48" Type="http://schemas.openxmlformats.org/officeDocument/2006/relationships/tags" Target="../tags/tag1602.xml"/><Relationship Id="rId64" Type="http://schemas.openxmlformats.org/officeDocument/2006/relationships/tags" Target="../tags/tag1618.xml"/><Relationship Id="rId69" Type="http://schemas.openxmlformats.org/officeDocument/2006/relationships/tags" Target="../tags/tag1623.xml"/><Relationship Id="rId80" Type="http://schemas.openxmlformats.org/officeDocument/2006/relationships/tags" Target="../tags/tag1634.xml"/><Relationship Id="rId85" Type="http://schemas.openxmlformats.org/officeDocument/2006/relationships/tags" Target="../tags/tag1639.xml"/><Relationship Id="rId12" Type="http://schemas.openxmlformats.org/officeDocument/2006/relationships/tags" Target="../tags/tag1566.xml"/><Relationship Id="rId17" Type="http://schemas.openxmlformats.org/officeDocument/2006/relationships/tags" Target="../tags/tag1571.xml"/><Relationship Id="rId33" Type="http://schemas.openxmlformats.org/officeDocument/2006/relationships/tags" Target="../tags/tag1587.xml"/><Relationship Id="rId38" Type="http://schemas.openxmlformats.org/officeDocument/2006/relationships/tags" Target="../tags/tag1592.xml"/><Relationship Id="rId59" Type="http://schemas.openxmlformats.org/officeDocument/2006/relationships/tags" Target="../tags/tag1613.xml"/><Relationship Id="rId103" Type="http://schemas.openxmlformats.org/officeDocument/2006/relationships/tags" Target="../tags/tag1657.xml"/><Relationship Id="rId108" Type="http://schemas.openxmlformats.org/officeDocument/2006/relationships/oleObject" Target="../embeddings/oleObject427.bin"/><Relationship Id="rId54" Type="http://schemas.openxmlformats.org/officeDocument/2006/relationships/tags" Target="../tags/tag1608.xml"/><Relationship Id="rId70" Type="http://schemas.openxmlformats.org/officeDocument/2006/relationships/tags" Target="../tags/tag1624.xml"/><Relationship Id="rId75" Type="http://schemas.openxmlformats.org/officeDocument/2006/relationships/tags" Target="../tags/tag1629.xml"/><Relationship Id="rId91" Type="http://schemas.openxmlformats.org/officeDocument/2006/relationships/tags" Target="../tags/tag1645.xml"/><Relationship Id="rId96" Type="http://schemas.openxmlformats.org/officeDocument/2006/relationships/tags" Target="../tags/tag1650.xml"/><Relationship Id="rId1" Type="http://schemas.openxmlformats.org/officeDocument/2006/relationships/tags" Target="../tags/tag1555.xml"/><Relationship Id="rId6" Type="http://schemas.openxmlformats.org/officeDocument/2006/relationships/tags" Target="../tags/tag1560.xml"/><Relationship Id="rId15" Type="http://schemas.openxmlformats.org/officeDocument/2006/relationships/tags" Target="../tags/tag1569.xml"/><Relationship Id="rId23" Type="http://schemas.openxmlformats.org/officeDocument/2006/relationships/tags" Target="../tags/tag1577.xml"/><Relationship Id="rId28" Type="http://schemas.openxmlformats.org/officeDocument/2006/relationships/tags" Target="../tags/tag1582.xml"/><Relationship Id="rId36" Type="http://schemas.openxmlformats.org/officeDocument/2006/relationships/tags" Target="../tags/tag1590.xml"/><Relationship Id="rId49" Type="http://schemas.openxmlformats.org/officeDocument/2006/relationships/tags" Target="../tags/tag1603.xml"/><Relationship Id="rId57" Type="http://schemas.openxmlformats.org/officeDocument/2006/relationships/tags" Target="../tags/tag1611.xml"/><Relationship Id="rId106" Type="http://schemas.openxmlformats.org/officeDocument/2006/relationships/notesSlide" Target="../notesSlides/notesSlide76.xml"/><Relationship Id="rId10" Type="http://schemas.openxmlformats.org/officeDocument/2006/relationships/tags" Target="../tags/tag1564.xml"/><Relationship Id="rId31" Type="http://schemas.openxmlformats.org/officeDocument/2006/relationships/tags" Target="../tags/tag1585.xml"/><Relationship Id="rId44" Type="http://schemas.openxmlformats.org/officeDocument/2006/relationships/tags" Target="../tags/tag1598.xml"/><Relationship Id="rId52" Type="http://schemas.openxmlformats.org/officeDocument/2006/relationships/tags" Target="../tags/tag1606.xml"/><Relationship Id="rId60" Type="http://schemas.openxmlformats.org/officeDocument/2006/relationships/tags" Target="../tags/tag1614.xml"/><Relationship Id="rId65" Type="http://schemas.openxmlformats.org/officeDocument/2006/relationships/tags" Target="../tags/tag1619.xml"/><Relationship Id="rId73" Type="http://schemas.openxmlformats.org/officeDocument/2006/relationships/tags" Target="../tags/tag1627.xml"/><Relationship Id="rId78" Type="http://schemas.openxmlformats.org/officeDocument/2006/relationships/tags" Target="../tags/tag1632.xml"/><Relationship Id="rId81" Type="http://schemas.openxmlformats.org/officeDocument/2006/relationships/tags" Target="../tags/tag1635.xml"/><Relationship Id="rId86" Type="http://schemas.openxmlformats.org/officeDocument/2006/relationships/tags" Target="../tags/tag1640.xml"/><Relationship Id="rId94" Type="http://schemas.openxmlformats.org/officeDocument/2006/relationships/tags" Target="../tags/tag1648.xml"/><Relationship Id="rId99" Type="http://schemas.openxmlformats.org/officeDocument/2006/relationships/tags" Target="../tags/tag1653.xml"/><Relationship Id="rId101" Type="http://schemas.openxmlformats.org/officeDocument/2006/relationships/tags" Target="../tags/tag1655.xml"/><Relationship Id="rId4" Type="http://schemas.openxmlformats.org/officeDocument/2006/relationships/tags" Target="../tags/tag1558.xml"/><Relationship Id="rId9" Type="http://schemas.openxmlformats.org/officeDocument/2006/relationships/tags" Target="../tags/tag1563.xml"/><Relationship Id="rId13" Type="http://schemas.openxmlformats.org/officeDocument/2006/relationships/tags" Target="../tags/tag1567.xml"/><Relationship Id="rId18" Type="http://schemas.openxmlformats.org/officeDocument/2006/relationships/tags" Target="../tags/tag1572.xml"/><Relationship Id="rId39" Type="http://schemas.openxmlformats.org/officeDocument/2006/relationships/tags" Target="../tags/tag1593.xml"/><Relationship Id="rId109" Type="http://schemas.openxmlformats.org/officeDocument/2006/relationships/image" Target="../media/image63.emf"/><Relationship Id="rId34" Type="http://schemas.openxmlformats.org/officeDocument/2006/relationships/tags" Target="../tags/tag1588.xml"/><Relationship Id="rId50" Type="http://schemas.openxmlformats.org/officeDocument/2006/relationships/tags" Target="../tags/tag1604.xml"/><Relationship Id="rId55" Type="http://schemas.openxmlformats.org/officeDocument/2006/relationships/tags" Target="../tags/tag1609.xml"/><Relationship Id="rId76" Type="http://schemas.openxmlformats.org/officeDocument/2006/relationships/tags" Target="../tags/tag1630.xml"/><Relationship Id="rId97" Type="http://schemas.openxmlformats.org/officeDocument/2006/relationships/tags" Target="../tags/tag1651.xml"/><Relationship Id="rId104" Type="http://schemas.openxmlformats.org/officeDocument/2006/relationships/tags" Target="../tags/tag1658.xml"/><Relationship Id="rId7" Type="http://schemas.openxmlformats.org/officeDocument/2006/relationships/tags" Target="../tags/tag1561.xml"/><Relationship Id="rId71" Type="http://schemas.openxmlformats.org/officeDocument/2006/relationships/tags" Target="../tags/tag1625.xml"/><Relationship Id="rId92" Type="http://schemas.openxmlformats.org/officeDocument/2006/relationships/tags" Target="../tags/tag1646.xml"/><Relationship Id="rId2" Type="http://schemas.openxmlformats.org/officeDocument/2006/relationships/tags" Target="../tags/tag1556.xml"/><Relationship Id="rId29" Type="http://schemas.openxmlformats.org/officeDocument/2006/relationships/tags" Target="../tags/tag1583.xml"/><Relationship Id="rId24" Type="http://schemas.openxmlformats.org/officeDocument/2006/relationships/tags" Target="../tags/tag1578.xml"/><Relationship Id="rId40" Type="http://schemas.openxmlformats.org/officeDocument/2006/relationships/tags" Target="../tags/tag1594.xml"/><Relationship Id="rId45" Type="http://schemas.openxmlformats.org/officeDocument/2006/relationships/tags" Target="../tags/tag1599.xml"/><Relationship Id="rId66" Type="http://schemas.openxmlformats.org/officeDocument/2006/relationships/tags" Target="../tags/tag1620.xml"/><Relationship Id="rId87" Type="http://schemas.openxmlformats.org/officeDocument/2006/relationships/tags" Target="../tags/tag1641.xml"/><Relationship Id="rId110" Type="http://schemas.openxmlformats.org/officeDocument/2006/relationships/chart" Target="../charts/chart70.xml"/><Relationship Id="rId61" Type="http://schemas.openxmlformats.org/officeDocument/2006/relationships/tags" Target="../tags/tag1615.xml"/><Relationship Id="rId82" Type="http://schemas.openxmlformats.org/officeDocument/2006/relationships/tags" Target="../tags/tag1636.xml"/><Relationship Id="rId19" Type="http://schemas.openxmlformats.org/officeDocument/2006/relationships/tags" Target="../tags/tag1573.xml"/><Relationship Id="rId14" Type="http://schemas.openxmlformats.org/officeDocument/2006/relationships/tags" Target="../tags/tag1568.xml"/><Relationship Id="rId30" Type="http://schemas.openxmlformats.org/officeDocument/2006/relationships/tags" Target="../tags/tag1584.xml"/><Relationship Id="rId35" Type="http://schemas.openxmlformats.org/officeDocument/2006/relationships/tags" Target="../tags/tag1589.xml"/><Relationship Id="rId56" Type="http://schemas.openxmlformats.org/officeDocument/2006/relationships/tags" Target="../tags/tag1610.xml"/><Relationship Id="rId77" Type="http://schemas.openxmlformats.org/officeDocument/2006/relationships/tags" Target="../tags/tag1631.xml"/><Relationship Id="rId100" Type="http://schemas.openxmlformats.org/officeDocument/2006/relationships/tags" Target="../tags/tag1654.xml"/><Relationship Id="rId105" Type="http://schemas.openxmlformats.org/officeDocument/2006/relationships/slideLayout" Target="../slideLayouts/slideLayout18.xml"/><Relationship Id="rId8" Type="http://schemas.openxmlformats.org/officeDocument/2006/relationships/tags" Target="../tags/tag1562.xml"/><Relationship Id="rId51" Type="http://schemas.openxmlformats.org/officeDocument/2006/relationships/tags" Target="../tags/tag1605.xml"/><Relationship Id="rId72" Type="http://schemas.openxmlformats.org/officeDocument/2006/relationships/tags" Target="../tags/tag1626.xml"/><Relationship Id="rId93" Type="http://schemas.openxmlformats.org/officeDocument/2006/relationships/tags" Target="../tags/tag1647.xml"/><Relationship Id="rId98" Type="http://schemas.openxmlformats.org/officeDocument/2006/relationships/tags" Target="../tags/tag1652.xml"/><Relationship Id="rId3" Type="http://schemas.openxmlformats.org/officeDocument/2006/relationships/tags" Target="../tags/tag1557.xml"/><Relationship Id="rId25" Type="http://schemas.openxmlformats.org/officeDocument/2006/relationships/tags" Target="../tags/tag1579.xml"/><Relationship Id="rId46" Type="http://schemas.openxmlformats.org/officeDocument/2006/relationships/tags" Target="../tags/tag1600.xml"/><Relationship Id="rId67" Type="http://schemas.openxmlformats.org/officeDocument/2006/relationships/tags" Target="../tags/tag1621.xml"/><Relationship Id="rId20" Type="http://schemas.openxmlformats.org/officeDocument/2006/relationships/tags" Target="../tags/tag1574.xml"/><Relationship Id="rId41" Type="http://schemas.openxmlformats.org/officeDocument/2006/relationships/tags" Target="../tags/tag1595.xml"/><Relationship Id="rId62" Type="http://schemas.openxmlformats.org/officeDocument/2006/relationships/tags" Target="../tags/tag1616.xml"/><Relationship Id="rId83" Type="http://schemas.openxmlformats.org/officeDocument/2006/relationships/tags" Target="../tags/tag1637.xml"/><Relationship Id="rId88" Type="http://schemas.openxmlformats.org/officeDocument/2006/relationships/tags" Target="../tags/tag1642.xml"/><Relationship Id="rId111" Type="http://schemas.openxmlformats.org/officeDocument/2006/relationships/chart" Target="../charts/chart71.xml"/></Relationships>
</file>

<file path=ppt/slides/_rels/slide83.xml.rels><?xml version="1.0" encoding="UTF-8" standalone="yes"?>
<Relationships xmlns="http://schemas.openxmlformats.org/package/2006/relationships"><Relationship Id="rId13" Type="http://schemas.openxmlformats.org/officeDocument/2006/relationships/tags" Target="../tags/tag1671.xml"/><Relationship Id="rId18" Type="http://schemas.openxmlformats.org/officeDocument/2006/relationships/tags" Target="../tags/tag1676.xml"/><Relationship Id="rId26" Type="http://schemas.openxmlformats.org/officeDocument/2006/relationships/tags" Target="../tags/tag1684.xml"/><Relationship Id="rId39" Type="http://schemas.openxmlformats.org/officeDocument/2006/relationships/tags" Target="../tags/tag1697.xml"/><Relationship Id="rId21" Type="http://schemas.openxmlformats.org/officeDocument/2006/relationships/tags" Target="../tags/tag1679.xml"/><Relationship Id="rId34" Type="http://schemas.openxmlformats.org/officeDocument/2006/relationships/tags" Target="../tags/tag1692.xml"/><Relationship Id="rId42" Type="http://schemas.openxmlformats.org/officeDocument/2006/relationships/tags" Target="../tags/tag1700.xml"/><Relationship Id="rId47" Type="http://schemas.openxmlformats.org/officeDocument/2006/relationships/tags" Target="../tags/tag1705.xml"/><Relationship Id="rId50" Type="http://schemas.openxmlformats.org/officeDocument/2006/relationships/tags" Target="../tags/tag1708.xml"/><Relationship Id="rId55" Type="http://schemas.openxmlformats.org/officeDocument/2006/relationships/image" Target="../media/image14.emf"/><Relationship Id="rId7" Type="http://schemas.openxmlformats.org/officeDocument/2006/relationships/tags" Target="../tags/tag1665.xml"/><Relationship Id="rId2" Type="http://schemas.openxmlformats.org/officeDocument/2006/relationships/tags" Target="../tags/tag1660.xml"/><Relationship Id="rId16" Type="http://schemas.openxmlformats.org/officeDocument/2006/relationships/tags" Target="../tags/tag1674.xml"/><Relationship Id="rId29" Type="http://schemas.openxmlformats.org/officeDocument/2006/relationships/tags" Target="../tags/tag1687.xml"/><Relationship Id="rId11" Type="http://schemas.openxmlformats.org/officeDocument/2006/relationships/tags" Target="../tags/tag1669.xml"/><Relationship Id="rId24" Type="http://schemas.openxmlformats.org/officeDocument/2006/relationships/tags" Target="../tags/tag1682.xml"/><Relationship Id="rId32" Type="http://schemas.openxmlformats.org/officeDocument/2006/relationships/tags" Target="../tags/tag1690.xml"/><Relationship Id="rId37" Type="http://schemas.openxmlformats.org/officeDocument/2006/relationships/tags" Target="../tags/tag1695.xml"/><Relationship Id="rId40" Type="http://schemas.openxmlformats.org/officeDocument/2006/relationships/tags" Target="../tags/tag1698.xml"/><Relationship Id="rId45" Type="http://schemas.openxmlformats.org/officeDocument/2006/relationships/tags" Target="../tags/tag1703.xml"/><Relationship Id="rId53" Type="http://schemas.microsoft.com/office/2018/10/relationships/comments" Target="../comments/modernComment_7FF65013_EBD82E30.xml"/><Relationship Id="rId5" Type="http://schemas.openxmlformats.org/officeDocument/2006/relationships/tags" Target="../tags/tag1663.xml"/><Relationship Id="rId10" Type="http://schemas.openxmlformats.org/officeDocument/2006/relationships/tags" Target="../tags/tag1668.xml"/><Relationship Id="rId19" Type="http://schemas.openxmlformats.org/officeDocument/2006/relationships/tags" Target="../tags/tag1677.xml"/><Relationship Id="rId31" Type="http://schemas.openxmlformats.org/officeDocument/2006/relationships/tags" Target="../tags/tag1689.xml"/><Relationship Id="rId44" Type="http://schemas.openxmlformats.org/officeDocument/2006/relationships/tags" Target="../tags/tag1702.xml"/><Relationship Id="rId52" Type="http://schemas.openxmlformats.org/officeDocument/2006/relationships/notesSlide" Target="../notesSlides/notesSlide77.xml"/><Relationship Id="rId4" Type="http://schemas.openxmlformats.org/officeDocument/2006/relationships/tags" Target="../tags/tag1662.xml"/><Relationship Id="rId9" Type="http://schemas.openxmlformats.org/officeDocument/2006/relationships/tags" Target="../tags/tag1667.xml"/><Relationship Id="rId14" Type="http://schemas.openxmlformats.org/officeDocument/2006/relationships/tags" Target="../tags/tag1672.xml"/><Relationship Id="rId22" Type="http://schemas.openxmlformats.org/officeDocument/2006/relationships/tags" Target="../tags/tag1680.xml"/><Relationship Id="rId27" Type="http://schemas.openxmlformats.org/officeDocument/2006/relationships/tags" Target="../tags/tag1685.xml"/><Relationship Id="rId30" Type="http://schemas.openxmlformats.org/officeDocument/2006/relationships/tags" Target="../tags/tag1688.xml"/><Relationship Id="rId35" Type="http://schemas.openxmlformats.org/officeDocument/2006/relationships/tags" Target="../tags/tag1693.xml"/><Relationship Id="rId43" Type="http://schemas.openxmlformats.org/officeDocument/2006/relationships/tags" Target="../tags/tag1701.xml"/><Relationship Id="rId48" Type="http://schemas.openxmlformats.org/officeDocument/2006/relationships/tags" Target="../tags/tag1706.xml"/><Relationship Id="rId56" Type="http://schemas.openxmlformats.org/officeDocument/2006/relationships/chart" Target="../charts/chart73.xml"/><Relationship Id="rId8" Type="http://schemas.openxmlformats.org/officeDocument/2006/relationships/tags" Target="../tags/tag1666.xml"/><Relationship Id="rId51" Type="http://schemas.openxmlformats.org/officeDocument/2006/relationships/slideLayout" Target="../slideLayouts/slideLayout19.xml"/><Relationship Id="rId3" Type="http://schemas.openxmlformats.org/officeDocument/2006/relationships/tags" Target="../tags/tag1661.xml"/><Relationship Id="rId12" Type="http://schemas.openxmlformats.org/officeDocument/2006/relationships/tags" Target="../tags/tag1670.xml"/><Relationship Id="rId17" Type="http://schemas.openxmlformats.org/officeDocument/2006/relationships/tags" Target="../tags/tag1675.xml"/><Relationship Id="rId25" Type="http://schemas.openxmlformats.org/officeDocument/2006/relationships/tags" Target="../tags/tag1683.xml"/><Relationship Id="rId33" Type="http://schemas.openxmlformats.org/officeDocument/2006/relationships/tags" Target="../tags/tag1691.xml"/><Relationship Id="rId38" Type="http://schemas.openxmlformats.org/officeDocument/2006/relationships/tags" Target="../tags/tag1696.xml"/><Relationship Id="rId46" Type="http://schemas.openxmlformats.org/officeDocument/2006/relationships/tags" Target="../tags/tag1704.xml"/><Relationship Id="rId20" Type="http://schemas.openxmlformats.org/officeDocument/2006/relationships/tags" Target="../tags/tag1678.xml"/><Relationship Id="rId41" Type="http://schemas.openxmlformats.org/officeDocument/2006/relationships/tags" Target="../tags/tag1699.xml"/><Relationship Id="rId54" Type="http://schemas.openxmlformats.org/officeDocument/2006/relationships/oleObject" Target="../embeddings/oleObject428.bin"/><Relationship Id="rId1" Type="http://schemas.openxmlformats.org/officeDocument/2006/relationships/tags" Target="../tags/tag1659.xml"/><Relationship Id="rId6" Type="http://schemas.openxmlformats.org/officeDocument/2006/relationships/tags" Target="../tags/tag1664.xml"/><Relationship Id="rId15" Type="http://schemas.openxmlformats.org/officeDocument/2006/relationships/tags" Target="../tags/tag1673.xml"/><Relationship Id="rId23" Type="http://schemas.openxmlformats.org/officeDocument/2006/relationships/tags" Target="../tags/tag1681.xml"/><Relationship Id="rId28" Type="http://schemas.openxmlformats.org/officeDocument/2006/relationships/tags" Target="../tags/tag1686.xml"/><Relationship Id="rId36" Type="http://schemas.openxmlformats.org/officeDocument/2006/relationships/tags" Target="../tags/tag1694.xml"/><Relationship Id="rId49" Type="http://schemas.openxmlformats.org/officeDocument/2006/relationships/tags" Target="../tags/tag1707.xml"/></Relationships>
</file>

<file path=ppt/slides/_rels/slide84.xml.rels><?xml version="1.0" encoding="UTF-8" standalone="yes"?>
<Relationships xmlns="http://schemas.openxmlformats.org/package/2006/relationships"><Relationship Id="rId26" Type="http://schemas.openxmlformats.org/officeDocument/2006/relationships/tags" Target="../tags/tag1734.xml"/><Relationship Id="rId21" Type="http://schemas.openxmlformats.org/officeDocument/2006/relationships/tags" Target="../tags/tag1729.xml"/><Relationship Id="rId42" Type="http://schemas.openxmlformats.org/officeDocument/2006/relationships/tags" Target="../tags/tag1750.xml"/><Relationship Id="rId47" Type="http://schemas.openxmlformats.org/officeDocument/2006/relationships/tags" Target="../tags/tag1755.xml"/><Relationship Id="rId63" Type="http://schemas.openxmlformats.org/officeDocument/2006/relationships/tags" Target="../tags/tag1771.xml"/><Relationship Id="rId68" Type="http://schemas.openxmlformats.org/officeDocument/2006/relationships/notesSlide" Target="../notesSlides/notesSlide78.xml"/><Relationship Id="rId7" Type="http://schemas.openxmlformats.org/officeDocument/2006/relationships/tags" Target="../tags/tag1715.xml"/><Relationship Id="rId71" Type="http://schemas.openxmlformats.org/officeDocument/2006/relationships/image" Target="../media/image14.emf"/><Relationship Id="rId2" Type="http://schemas.openxmlformats.org/officeDocument/2006/relationships/tags" Target="../tags/tag1710.xml"/><Relationship Id="rId16" Type="http://schemas.openxmlformats.org/officeDocument/2006/relationships/tags" Target="../tags/tag1724.xml"/><Relationship Id="rId29" Type="http://schemas.openxmlformats.org/officeDocument/2006/relationships/tags" Target="../tags/tag1737.xml"/><Relationship Id="rId11" Type="http://schemas.openxmlformats.org/officeDocument/2006/relationships/tags" Target="../tags/tag1719.xml"/><Relationship Id="rId24" Type="http://schemas.openxmlformats.org/officeDocument/2006/relationships/tags" Target="../tags/tag1732.xml"/><Relationship Id="rId32" Type="http://schemas.openxmlformats.org/officeDocument/2006/relationships/tags" Target="../tags/tag1740.xml"/><Relationship Id="rId37" Type="http://schemas.openxmlformats.org/officeDocument/2006/relationships/tags" Target="../tags/tag1745.xml"/><Relationship Id="rId40" Type="http://schemas.openxmlformats.org/officeDocument/2006/relationships/tags" Target="../tags/tag1748.xml"/><Relationship Id="rId45" Type="http://schemas.openxmlformats.org/officeDocument/2006/relationships/tags" Target="../tags/tag1753.xml"/><Relationship Id="rId53" Type="http://schemas.openxmlformats.org/officeDocument/2006/relationships/tags" Target="../tags/tag1761.xml"/><Relationship Id="rId58" Type="http://schemas.openxmlformats.org/officeDocument/2006/relationships/tags" Target="../tags/tag1766.xml"/><Relationship Id="rId66" Type="http://schemas.openxmlformats.org/officeDocument/2006/relationships/tags" Target="../tags/tag1774.xml"/><Relationship Id="rId5" Type="http://schemas.openxmlformats.org/officeDocument/2006/relationships/tags" Target="../tags/tag1713.xml"/><Relationship Id="rId61" Type="http://schemas.openxmlformats.org/officeDocument/2006/relationships/tags" Target="../tags/tag1769.xml"/><Relationship Id="rId19" Type="http://schemas.openxmlformats.org/officeDocument/2006/relationships/tags" Target="../tags/tag1727.xml"/><Relationship Id="rId14" Type="http://schemas.openxmlformats.org/officeDocument/2006/relationships/tags" Target="../tags/tag1722.xml"/><Relationship Id="rId22" Type="http://schemas.openxmlformats.org/officeDocument/2006/relationships/tags" Target="../tags/tag1730.xml"/><Relationship Id="rId27" Type="http://schemas.openxmlformats.org/officeDocument/2006/relationships/tags" Target="../tags/tag1735.xml"/><Relationship Id="rId30" Type="http://schemas.openxmlformats.org/officeDocument/2006/relationships/tags" Target="../tags/tag1738.xml"/><Relationship Id="rId35" Type="http://schemas.openxmlformats.org/officeDocument/2006/relationships/tags" Target="../tags/tag1743.xml"/><Relationship Id="rId43" Type="http://schemas.openxmlformats.org/officeDocument/2006/relationships/tags" Target="../tags/tag1751.xml"/><Relationship Id="rId48" Type="http://schemas.openxmlformats.org/officeDocument/2006/relationships/tags" Target="../tags/tag1756.xml"/><Relationship Id="rId56" Type="http://schemas.openxmlformats.org/officeDocument/2006/relationships/tags" Target="../tags/tag1764.xml"/><Relationship Id="rId64" Type="http://schemas.openxmlformats.org/officeDocument/2006/relationships/tags" Target="../tags/tag1772.xml"/><Relationship Id="rId69" Type="http://schemas.microsoft.com/office/2018/10/relationships/comments" Target="../comments/modernComment_7FF65014_652D2412.xml"/><Relationship Id="rId8" Type="http://schemas.openxmlformats.org/officeDocument/2006/relationships/tags" Target="../tags/tag1716.xml"/><Relationship Id="rId51" Type="http://schemas.openxmlformats.org/officeDocument/2006/relationships/tags" Target="../tags/tag1759.xml"/><Relationship Id="rId72" Type="http://schemas.openxmlformats.org/officeDocument/2006/relationships/chart" Target="../charts/chart74.xml"/><Relationship Id="rId3" Type="http://schemas.openxmlformats.org/officeDocument/2006/relationships/tags" Target="../tags/tag1711.xml"/><Relationship Id="rId12" Type="http://schemas.openxmlformats.org/officeDocument/2006/relationships/tags" Target="../tags/tag1720.xml"/><Relationship Id="rId17" Type="http://schemas.openxmlformats.org/officeDocument/2006/relationships/tags" Target="../tags/tag1725.xml"/><Relationship Id="rId25" Type="http://schemas.openxmlformats.org/officeDocument/2006/relationships/tags" Target="../tags/tag1733.xml"/><Relationship Id="rId33" Type="http://schemas.openxmlformats.org/officeDocument/2006/relationships/tags" Target="../tags/tag1741.xml"/><Relationship Id="rId38" Type="http://schemas.openxmlformats.org/officeDocument/2006/relationships/tags" Target="../tags/tag1746.xml"/><Relationship Id="rId46" Type="http://schemas.openxmlformats.org/officeDocument/2006/relationships/tags" Target="../tags/tag1754.xml"/><Relationship Id="rId59" Type="http://schemas.openxmlformats.org/officeDocument/2006/relationships/tags" Target="../tags/tag1767.xml"/><Relationship Id="rId67" Type="http://schemas.openxmlformats.org/officeDocument/2006/relationships/slideLayout" Target="../slideLayouts/slideLayout19.xml"/><Relationship Id="rId20" Type="http://schemas.openxmlformats.org/officeDocument/2006/relationships/tags" Target="../tags/tag1728.xml"/><Relationship Id="rId41" Type="http://schemas.openxmlformats.org/officeDocument/2006/relationships/tags" Target="../tags/tag1749.xml"/><Relationship Id="rId54" Type="http://schemas.openxmlformats.org/officeDocument/2006/relationships/tags" Target="../tags/tag1762.xml"/><Relationship Id="rId62" Type="http://schemas.openxmlformats.org/officeDocument/2006/relationships/tags" Target="../tags/tag1770.xml"/><Relationship Id="rId70" Type="http://schemas.openxmlformats.org/officeDocument/2006/relationships/oleObject" Target="../embeddings/oleObject429.bin"/><Relationship Id="rId1" Type="http://schemas.openxmlformats.org/officeDocument/2006/relationships/tags" Target="../tags/tag1709.xml"/><Relationship Id="rId6" Type="http://schemas.openxmlformats.org/officeDocument/2006/relationships/tags" Target="../tags/tag1714.xml"/><Relationship Id="rId15" Type="http://schemas.openxmlformats.org/officeDocument/2006/relationships/tags" Target="../tags/tag1723.xml"/><Relationship Id="rId23" Type="http://schemas.openxmlformats.org/officeDocument/2006/relationships/tags" Target="../tags/tag1731.xml"/><Relationship Id="rId28" Type="http://schemas.openxmlformats.org/officeDocument/2006/relationships/tags" Target="../tags/tag1736.xml"/><Relationship Id="rId36" Type="http://schemas.openxmlformats.org/officeDocument/2006/relationships/tags" Target="../tags/tag1744.xml"/><Relationship Id="rId49" Type="http://schemas.openxmlformats.org/officeDocument/2006/relationships/tags" Target="../tags/tag1757.xml"/><Relationship Id="rId57" Type="http://schemas.openxmlformats.org/officeDocument/2006/relationships/tags" Target="../tags/tag1765.xml"/><Relationship Id="rId10" Type="http://schemas.openxmlformats.org/officeDocument/2006/relationships/tags" Target="../tags/tag1718.xml"/><Relationship Id="rId31" Type="http://schemas.openxmlformats.org/officeDocument/2006/relationships/tags" Target="../tags/tag1739.xml"/><Relationship Id="rId44" Type="http://schemas.openxmlformats.org/officeDocument/2006/relationships/tags" Target="../tags/tag1752.xml"/><Relationship Id="rId52" Type="http://schemas.openxmlformats.org/officeDocument/2006/relationships/tags" Target="../tags/tag1760.xml"/><Relationship Id="rId60" Type="http://schemas.openxmlformats.org/officeDocument/2006/relationships/tags" Target="../tags/tag1768.xml"/><Relationship Id="rId65" Type="http://schemas.openxmlformats.org/officeDocument/2006/relationships/tags" Target="../tags/tag1773.xml"/><Relationship Id="rId4" Type="http://schemas.openxmlformats.org/officeDocument/2006/relationships/tags" Target="../tags/tag1712.xml"/><Relationship Id="rId9" Type="http://schemas.openxmlformats.org/officeDocument/2006/relationships/tags" Target="../tags/tag1717.xml"/><Relationship Id="rId13" Type="http://schemas.openxmlformats.org/officeDocument/2006/relationships/tags" Target="../tags/tag1721.xml"/><Relationship Id="rId18" Type="http://schemas.openxmlformats.org/officeDocument/2006/relationships/tags" Target="../tags/tag1726.xml"/><Relationship Id="rId39" Type="http://schemas.openxmlformats.org/officeDocument/2006/relationships/tags" Target="../tags/tag1747.xml"/><Relationship Id="rId34" Type="http://schemas.openxmlformats.org/officeDocument/2006/relationships/tags" Target="../tags/tag1742.xml"/><Relationship Id="rId50" Type="http://schemas.openxmlformats.org/officeDocument/2006/relationships/tags" Target="../tags/tag1758.xml"/><Relationship Id="rId55" Type="http://schemas.openxmlformats.org/officeDocument/2006/relationships/tags" Target="../tags/tag1763.xml"/></Relationships>
</file>

<file path=ppt/slides/_rels/slide85.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notesSlide" Target="../notesSlides/notesSlide79.xml"/><Relationship Id="rId7" Type="http://schemas.openxmlformats.org/officeDocument/2006/relationships/slide" Target="slide87.xml"/><Relationship Id="rId2" Type="http://schemas.openxmlformats.org/officeDocument/2006/relationships/slideLayout" Target="../slideLayouts/slideLayout3.xml"/><Relationship Id="rId1" Type="http://schemas.openxmlformats.org/officeDocument/2006/relationships/tags" Target="../tags/tag1775.xml"/><Relationship Id="rId6" Type="http://schemas.openxmlformats.org/officeDocument/2006/relationships/slide" Target="slide82.xml"/><Relationship Id="rId5" Type="http://schemas.openxmlformats.org/officeDocument/2006/relationships/image" Target="../media/image63.emf"/><Relationship Id="rId4" Type="http://schemas.openxmlformats.org/officeDocument/2006/relationships/oleObject" Target="../embeddings/oleObject430.bin"/><Relationship Id="rId9" Type="http://schemas.openxmlformats.org/officeDocument/2006/relationships/slide" Target="slide102.xml"/></Relationships>
</file>

<file path=ppt/slides/_rels/slide86.xml.rels><?xml version="1.0" encoding="UTF-8" standalone="yes"?>
<Relationships xmlns="http://schemas.openxmlformats.org/package/2006/relationships"><Relationship Id="rId13" Type="http://schemas.openxmlformats.org/officeDocument/2006/relationships/tags" Target="../tags/tag1788.xml"/><Relationship Id="rId18" Type="http://schemas.openxmlformats.org/officeDocument/2006/relationships/tags" Target="../tags/tag1793.xml"/><Relationship Id="rId26" Type="http://schemas.openxmlformats.org/officeDocument/2006/relationships/tags" Target="../tags/tag1801.xml"/><Relationship Id="rId39" Type="http://schemas.openxmlformats.org/officeDocument/2006/relationships/tags" Target="../tags/tag1814.xml"/><Relationship Id="rId21" Type="http://schemas.openxmlformats.org/officeDocument/2006/relationships/tags" Target="../tags/tag1796.xml"/><Relationship Id="rId34" Type="http://schemas.openxmlformats.org/officeDocument/2006/relationships/tags" Target="../tags/tag1809.xml"/><Relationship Id="rId42" Type="http://schemas.microsoft.com/office/2018/10/relationships/comments" Target="../comments/modernComment_7FF6501A_C3306628.xml"/><Relationship Id="rId7" Type="http://schemas.openxmlformats.org/officeDocument/2006/relationships/tags" Target="../tags/tag1782.xml"/><Relationship Id="rId2" Type="http://schemas.openxmlformats.org/officeDocument/2006/relationships/tags" Target="../tags/tag1777.xml"/><Relationship Id="rId16" Type="http://schemas.openxmlformats.org/officeDocument/2006/relationships/tags" Target="../tags/tag1791.xml"/><Relationship Id="rId29" Type="http://schemas.openxmlformats.org/officeDocument/2006/relationships/tags" Target="../tags/tag1804.xml"/><Relationship Id="rId1" Type="http://schemas.openxmlformats.org/officeDocument/2006/relationships/tags" Target="../tags/tag1776.xml"/><Relationship Id="rId6" Type="http://schemas.openxmlformats.org/officeDocument/2006/relationships/tags" Target="../tags/tag1781.xml"/><Relationship Id="rId11" Type="http://schemas.openxmlformats.org/officeDocument/2006/relationships/tags" Target="../tags/tag1786.xml"/><Relationship Id="rId24" Type="http://schemas.openxmlformats.org/officeDocument/2006/relationships/tags" Target="../tags/tag1799.xml"/><Relationship Id="rId32" Type="http://schemas.openxmlformats.org/officeDocument/2006/relationships/tags" Target="../tags/tag1807.xml"/><Relationship Id="rId37" Type="http://schemas.openxmlformats.org/officeDocument/2006/relationships/tags" Target="../tags/tag1812.xml"/><Relationship Id="rId40" Type="http://schemas.openxmlformats.org/officeDocument/2006/relationships/slideLayout" Target="../slideLayouts/slideLayout18.xml"/><Relationship Id="rId45" Type="http://schemas.openxmlformats.org/officeDocument/2006/relationships/chart" Target="../charts/chart75.xml"/><Relationship Id="rId5" Type="http://schemas.openxmlformats.org/officeDocument/2006/relationships/tags" Target="../tags/tag1780.xml"/><Relationship Id="rId15" Type="http://schemas.openxmlformats.org/officeDocument/2006/relationships/tags" Target="../tags/tag1790.xml"/><Relationship Id="rId23" Type="http://schemas.openxmlformats.org/officeDocument/2006/relationships/tags" Target="../tags/tag1798.xml"/><Relationship Id="rId28" Type="http://schemas.openxmlformats.org/officeDocument/2006/relationships/tags" Target="../tags/tag1803.xml"/><Relationship Id="rId36" Type="http://schemas.openxmlformats.org/officeDocument/2006/relationships/tags" Target="../tags/tag1811.xml"/><Relationship Id="rId10" Type="http://schemas.openxmlformats.org/officeDocument/2006/relationships/tags" Target="../tags/tag1785.xml"/><Relationship Id="rId19" Type="http://schemas.openxmlformats.org/officeDocument/2006/relationships/tags" Target="../tags/tag1794.xml"/><Relationship Id="rId31" Type="http://schemas.openxmlformats.org/officeDocument/2006/relationships/tags" Target="../tags/tag1806.xml"/><Relationship Id="rId44" Type="http://schemas.openxmlformats.org/officeDocument/2006/relationships/image" Target="../media/image96.emf"/><Relationship Id="rId4" Type="http://schemas.openxmlformats.org/officeDocument/2006/relationships/tags" Target="../tags/tag1779.xml"/><Relationship Id="rId9" Type="http://schemas.openxmlformats.org/officeDocument/2006/relationships/tags" Target="../tags/tag1784.xml"/><Relationship Id="rId14" Type="http://schemas.openxmlformats.org/officeDocument/2006/relationships/tags" Target="../tags/tag1789.xml"/><Relationship Id="rId22" Type="http://schemas.openxmlformats.org/officeDocument/2006/relationships/tags" Target="../tags/tag1797.xml"/><Relationship Id="rId27" Type="http://schemas.openxmlformats.org/officeDocument/2006/relationships/tags" Target="../tags/tag1802.xml"/><Relationship Id="rId30" Type="http://schemas.openxmlformats.org/officeDocument/2006/relationships/tags" Target="../tags/tag1805.xml"/><Relationship Id="rId35" Type="http://schemas.openxmlformats.org/officeDocument/2006/relationships/tags" Target="../tags/tag1810.xml"/><Relationship Id="rId43" Type="http://schemas.openxmlformats.org/officeDocument/2006/relationships/oleObject" Target="../embeddings/oleObject431.bin"/><Relationship Id="rId8" Type="http://schemas.openxmlformats.org/officeDocument/2006/relationships/tags" Target="../tags/tag1783.xml"/><Relationship Id="rId3" Type="http://schemas.openxmlformats.org/officeDocument/2006/relationships/tags" Target="../tags/tag1778.xml"/><Relationship Id="rId12" Type="http://schemas.openxmlformats.org/officeDocument/2006/relationships/tags" Target="../tags/tag1787.xml"/><Relationship Id="rId17" Type="http://schemas.openxmlformats.org/officeDocument/2006/relationships/tags" Target="../tags/tag1792.xml"/><Relationship Id="rId25" Type="http://schemas.openxmlformats.org/officeDocument/2006/relationships/tags" Target="../tags/tag1800.xml"/><Relationship Id="rId33" Type="http://schemas.openxmlformats.org/officeDocument/2006/relationships/tags" Target="../tags/tag1808.xml"/><Relationship Id="rId38" Type="http://schemas.openxmlformats.org/officeDocument/2006/relationships/tags" Target="../tags/tag1813.xml"/><Relationship Id="rId20" Type="http://schemas.openxmlformats.org/officeDocument/2006/relationships/tags" Target="../tags/tag1795.xml"/><Relationship Id="rId41" Type="http://schemas.openxmlformats.org/officeDocument/2006/relationships/notesSlide" Target="../notesSlides/notesSlide80.xml"/></Relationships>
</file>

<file path=ppt/slides/_rels/slide87.xml.rels><?xml version="1.0" encoding="UTF-8" standalone="yes"?>
<Relationships xmlns="http://schemas.openxmlformats.org/package/2006/relationships"><Relationship Id="rId26" Type="http://schemas.openxmlformats.org/officeDocument/2006/relationships/tags" Target="../tags/tag1840.xml"/><Relationship Id="rId21" Type="http://schemas.openxmlformats.org/officeDocument/2006/relationships/tags" Target="../tags/tag1835.xml"/><Relationship Id="rId42" Type="http://schemas.openxmlformats.org/officeDocument/2006/relationships/tags" Target="../tags/tag1856.xml"/><Relationship Id="rId47" Type="http://schemas.openxmlformats.org/officeDocument/2006/relationships/tags" Target="../tags/tag1861.xml"/><Relationship Id="rId63" Type="http://schemas.openxmlformats.org/officeDocument/2006/relationships/tags" Target="../tags/tag1877.xml"/><Relationship Id="rId68" Type="http://schemas.openxmlformats.org/officeDocument/2006/relationships/tags" Target="../tags/tag1882.xml"/><Relationship Id="rId2" Type="http://schemas.openxmlformats.org/officeDocument/2006/relationships/tags" Target="../tags/tag1816.xml"/><Relationship Id="rId16" Type="http://schemas.openxmlformats.org/officeDocument/2006/relationships/tags" Target="../tags/tag1830.xml"/><Relationship Id="rId29" Type="http://schemas.openxmlformats.org/officeDocument/2006/relationships/tags" Target="../tags/tag1843.xml"/><Relationship Id="rId11" Type="http://schemas.openxmlformats.org/officeDocument/2006/relationships/tags" Target="../tags/tag1825.xml"/><Relationship Id="rId24" Type="http://schemas.openxmlformats.org/officeDocument/2006/relationships/tags" Target="../tags/tag1838.xml"/><Relationship Id="rId32" Type="http://schemas.openxmlformats.org/officeDocument/2006/relationships/tags" Target="../tags/tag1846.xml"/><Relationship Id="rId37" Type="http://schemas.openxmlformats.org/officeDocument/2006/relationships/tags" Target="../tags/tag1851.xml"/><Relationship Id="rId40" Type="http://schemas.openxmlformats.org/officeDocument/2006/relationships/tags" Target="../tags/tag1854.xml"/><Relationship Id="rId45" Type="http://schemas.openxmlformats.org/officeDocument/2006/relationships/tags" Target="../tags/tag1859.xml"/><Relationship Id="rId53" Type="http://schemas.openxmlformats.org/officeDocument/2006/relationships/tags" Target="../tags/tag1867.xml"/><Relationship Id="rId58" Type="http://schemas.openxmlformats.org/officeDocument/2006/relationships/tags" Target="../tags/tag1872.xml"/><Relationship Id="rId66" Type="http://schemas.openxmlformats.org/officeDocument/2006/relationships/tags" Target="../tags/tag1880.xml"/><Relationship Id="rId74" Type="http://schemas.openxmlformats.org/officeDocument/2006/relationships/oleObject" Target="../embeddings/oleObject432.bin"/><Relationship Id="rId5" Type="http://schemas.openxmlformats.org/officeDocument/2006/relationships/tags" Target="../tags/tag1819.xml"/><Relationship Id="rId61" Type="http://schemas.openxmlformats.org/officeDocument/2006/relationships/tags" Target="../tags/tag1875.xml"/><Relationship Id="rId19" Type="http://schemas.openxmlformats.org/officeDocument/2006/relationships/tags" Target="../tags/tag1833.xml"/><Relationship Id="rId14" Type="http://schemas.openxmlformats.org/officeDocument/2006/relationships/tags" Target="../tags/tag1828.xml"/><Relationship Id="rId22" Type="http://schemas.openxmlformats.org/officeDocument/2006/relationships/tags" Target="../tags/tag1836.xml"/><Relationship Id="rId27" Type="http://schemas.openxmlformats.org/officeDocument/2006/relationships/tags" Target="../tags/tag1841.xml"/><Relationship Id="rId30" Type="http://schemas.openxmlformats.org/officeDocument/2006/relationships/tags" Target="../tags/tag1844.xml"/><Relationship Id="rId35" Type="http://schemas.openxmlformats.org/officeDocument/2006/relationships/tags" Target="../tags/tag1849.xml"/><Relationship Id="rId43" Type="http://schemas.openxmlformats.org/officeDocument/2006/relationships/tags" Target="../tags/tag1857.xml"/><Relationship Id="rId48" Type="http://schemas.openxmlformats.org/officeDocument/2006/relationships/tags" Target="../tags/tag1862.xml"/><Relationship Id="rId56" Type="http://schemas.openxmlformats.org/officeDocument/2006/relationships/tags" Target="../tags/tag1870.xml"/><Relationship Id="rId64" Type="http://schemas.openxmlformats.org/officeDocument/2006/relationships/tags" Target="../tags/tag1878.xml"/><Relationship Id="rId69" Type="http://schemas.openxmlformats.org/officeDocument/2006/relationships/tags" Target="../tags/tag1883.xml"/><Relationship Id="rId8" Type="http://schemas.openxmlformats.org/officeDocument/2006/relationships/tags" Target="../tags/tag1822.xml"/><Relationship Id="rId51" Type="http://schemas.openxmlformats.org/officeDocument/2006/relationships/tags" Target="../tags/tag1865.xml"/><Relationship Id="rId72" Type="http://schemas.openxmlformats.org/officeDocument/2006/relationships/slideLayout" Target="../slideLayouts/slideLayout18.xml"/><Relationship Id="rId3" Type="http://schemas.openxmlformats.org/officeDocument/2006/relationships/tags" Target="../tags/tag1817.xml"/><Relationship Id="rId12" Type="http://schemas.openxmlformats.org/officeDocument/2006/relationships/tags" Target="../tags/tag1826.xml"/><Relationship Id="rId17" Type="http://schemas.openxmlformats.org/officeDocument/2006/relationships/tags" Target="../tags/tag1831.xml"/><Relationship Id="rId25" Type="http://schemas.openxmlformats.org/officeDocument/2006/relationships/tags" Target="../tags/tag1839.xml"/><Relationship Id="rId33" Type="http://schemas.openxmlformats.org/officeDocument/2006/relationships/tags" Target="../tags/tag1847.xml"/><Relationship Id="rId38" Type="http://schemas.openxmlformats.org/officeDocument/2006/relationships/tags" Target="../tags/tag1852.xml"/><Relationship Id="rId46" Type="http://schemas.openxmlformats.org/officeDocument/2006/relationships/tags" Target="../tags/tag1860.xml"/><Relationship Id="rId59" Type="http://schemas.openxmlformats.org/officeDocument/2006/relationships/tags" Target="../tags/tag1873.xml"/><Relationship Id="rId67" Type="http://schemas.openxmlformats.org/officeDocument/2006/relationships/tags" Target="../tags/tag1881.xml"/><Relationship Id="rId20" Type="http://schemas.openxmlformats.org/officeDocument/2006/relationships/tags" Target="../tags/tag1834.xml"/><Relationship Id="rId41" Type="http://schemas.openxmlformats.org/officeDocument/2006/relationships/tags" Target="../tags/tag1855.xml"/><Relationship Id="rId54" Type="http://schemas.openxmlformats.org/officeDocument/2006/relationships/tags" Target="../tags/tag1868.xml"/><Relationship Id="rId62" Type="http://schemas.openxmlformats.org/officeDocument/2006/relationships/tags" Target="../tags/tag1876.xml"/><Relationship Id="rId70" Type="http://schemas.openxmlformats.org/officeDocument/2006/relationships/tags" Target="../tags/tag1884.xml"/><Relationship Id="rId75" Type="http://schemas.openxmlformats.org/officeDocument/2006/relationships/image" Target="../media/image96.emf"/><Relationship Id="rId1" Type="http://schemas.openxmlformats.org/officeDocument/2006/relationships/tags" Target="../tags/tag1815.xml"/><Relationship Id="rId6" Type="http://schemas.openxmlformats.org/officeDocument/2006/relationships/tags" Target="../tags/tag1820.xml"/><Relationship Id="rId15" Type="http://schemas.openxmlformats.org/officeDocument/2006/relationships/tags" Target="../tags/tag1829.xml"/><Relationship Id="rId23" Type="http://schemas.openxmlformats.org/officeDocument/2006/relationships/tags" Target="../tags/tag1837.xml"/><Relationship Id="rId28" Type="http://schemas.openxmlformats.org/officeDocument/2006/relationships/tags" Target="../tags/tag1842.xml"/><Relationship Id="rId36" Type="http://schemas.openxmlformats.org/officeDocument/2006/relationships/tags" Target="../tags/tag1850.xml"/><Relationship Id="rId49" Type="http://schemas.openxmlformats.org/officeDocument/2006/relationships/tags" Target="../tags/tag1863.xml"/><Relationship Id="rId57" Type="http://schemas.openxmlformats.org/officeDocument/2006/relationships/tags" Target="../tags/tag1871.xml"/><Relationship Id="rId10" Type="http://schemas.openxmlformats.org/officeDocument/2006/relationships/tags" Target="../tags/tag1824.xml"/><Relationship Id="rId31" Type="http://schemas.openxmlformats.org/officeDocument/2006/relationships/tags" Target="../tags/tag1845.xml"/><Relationship Id="rId44" Type="http://schemas.openxmlformats.org/officeDocument/2006/relationships/tags" Target="../tags/tag1858.xml"/><Relationship Id="rId52" Type="http://schemas.openxmlformats.org/officeDocument/2006/relationships/tags" Target="../tags/tag1866.xml"/><Relationship Id="rId60" Type="http://schemas.openxmlformats.org/officeDocument/2006/relationships/tags" Target="../tags/tag1874.xml"/><Relationship Id="rId65" Type="http://schemas.openxmlformats.org/officeDocument/2006/relationships/tags" Target="../tags/tag1879.xml"/><Relationship Id="rId73" Type="http://schemas.openxmlformats.org/officeDocument/2006/relationships/notesSlide" Target="../notesSlides/notesSlide81.xml"/><Relationship Id="rId4" Type="http://schemas.openxmlformats.org/officeDocument/2006/relationships/tags" Target="../tags/tag1818.xml"/><Relationship Id="rId9" Type="http://schemas.openxmlformats.org/officeDocument/2006/relationships/tags" Target="../tags/tag1823.xml"/><Relationship Id="rId13" Type="http://schemas.openxmlformats.org/officeDocument/2006/relationships/tags" Target="../tags/tag1827.xml"/><Relationship Id="rId18" Type="http://schemas.openxmlformats.org/officeDocument/2006/relationships/tags" Target="../tags/tag1832.xml"/><Relationship Id="rId39" Type="http://schemas.openxmlformats.org/officeDocument/2006/relationships/tags" Target="../tags/tag1853.xml"/><Relationship Id="rId34" Type="http://schemas.openxmlformats.org/officeDocument/2006/relationships/tags" Target="../tags/tag1848.xml"/><Relationship Id="rId50" Type="http://schemas.openxmlformats.org/officeDocument/2006/relationships/tags" Target="../tags/tag1864.xml"/><Relationship Id="rId55" Type="http://schemas.openxmlformats.org/officeDocument/2006/relationships/tags" Target="../tags/tag1869.xml"/><Relationship Id="rId7" Type="http://schemas.openxmlformats.org/officeDocument/2006/relationships/tags" Target="../tags/tag1821.xml"/><Relationship Id="rId71" Type="http://schemas.openxmlformats.org/officeDocument/2006/relationships/tags" Target="../tags/tag1885.xml"/></Relationships>
</file>

<file path=ppt/slides/_rels/slide88.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svg"/><Relationship Id="rId18" Type="http://schemas.openxmlformats.org/officeDocument/2006/relationships/image" Target="../media/image127.png"/><Relationship Id="rId3" Type="http://schemas.openxmlformats.org/officeDocument/2006/relationships/notesSlide" Target="../notesSlides/notesSlide82.xml"/><Relationship Id="rId7" Type="http://schemas.openxmlformats.org/officeDocument/2006/relationships/image" Target="../media/image116.svg"/><Relationship Id="rId12" Type="http://schemas.openxmlformats.org/officeDocument/2006/relationships/image" Target="../media/image121.png"/><Relationship Id="rId17" Type="http://schemas.openxmlformats.org/officeDocument/2006/relationships/image" Target="../media/image126.png"/><Relationship Id="rId2" Type="http://schemas.openxmlformats.org/officeDocument/2006/relationships/slideLayout" Target="../slideLayouts/slideLayout9.xml"/><Relationship Id="rId16" Type="http://schemas.openxmlformats.org/officeDocument/2006/relationships/image" Target="../media/image125.png"/><Relationship Id="rId1" Type="http://schemas.openxmlformats.org/officeDocument/2006/relationships/tags" Target="../tags/tag1886.xml"/><Relationship Id="rId6" Type="http://schemas.openxmlformats.org/officeDocument/2006/relationships/image" Target="../media/image115.png"/><Relationship Id="rId11" Type="http://schemas.openxmlformats.org/officeDocument/2006/relationships/image" Target="../media/image120.svg"/><Relationship Id="rId5" Type="http://schemas.openxmlformats.org/officeDocument/2006/relationships/image" Target="../media/image87.emf"/><Relationship Id="rId15" Type="http://schemas.openxmlformats.org/officeDocument/2006/relationships/image" Target="../media/image124.svg"/><Relationship Id="rId10" Type="http://schemas.openxmlformats.org/officeDocument/2006/relationships/image" Target="../media/image119.png"/><Relationship Id="rId19" Type="http://schemas.openxmlformats.org/officeDocument/2006/relationships/image" Target="../media/image128.png"/><Relationship Id="rId4" Type="http://schemas.openxmlformats.org/officeDocument/2006/relationships/oleObject" Target="../embeddings/oleObject433.bin"/><Relationship Id="rId9" Type="http://schemas.openxmlformats.org/officeDocument/2006/relationships/image" Target="../media/image118.svg"/><Relationship Id="rId14" Type="http://schemas.openxmlformats.org/officeDocument/2006/relationships/image" Target="../media/image123.pn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image" Target="../media/image126.png"/><Relationship Id="rId2" Type="http://schemas.openxmlformats.org/officeDocument/2006/relationships/slideLayout" Target="../slideLayouts/slideLayout9.xml"/><Relationship Id="rId1" Type="http://schemas.openxmlformats.org/officeDocument/2006/relationships/tags" Target="../tags/tag1887.xml"/><Relationship Id="rId6" Type="http://schemas.openxmlformats.org/officeDocument/2006/relationships/image" Target="../media/image125.png"/><Relationship Id="rId5" Type="http://schemas.openxmlformats.org/officeDocument/2006/relationships/image" Target="../media/image87.emf"/><Relationship Id="rId4" Type="http://schemas.openxmlformats.org/officeDocument/2006/relationships/oleObject" Target="../embeddings/oleObject434.bin"/></Relationships>
</file>

<file path=ppt/slides/_rels/slide9.xml.rels><?xml version="1.0" encoding="UTF-8" standalone="yes"?>
<Relationships xmlns="http://schemas.openxmlformats.org/package/2006/relationships"><Relationship Id="rId8" Type="http://schemas.openxmlformats.org/officeDocument/2006/relationships/hyperlink" Target="mailto:shakti.singh@auroraer.com" TargetMode="External"/><Relationship Id="rId3" Type="http://schemas.openxmlformats.org/officeDocument/2006/relationships/notesSlide" Target="../notesSlides/notesSlide6.xml"/><Relationship Id="rId7" Type="http://schemas.openxmlformats.org/officeDocument/2006/relationships/hyperlink" Target="https://auroraer.com/analytics/" TargetMode="External"/><Relationship Id="rId2" Type="http://schemas.openxmlformats.org/officeDocument/2006/relationships/slideLayout" Target="../slideLayouts/slideLayout14.xml"/><Relationship Id="rId1" Type="http://schemas.openxmlformats.org/officeDocument/2006/relationships/tags" Target="../tags/tag377.xml"/><Relationship Id="rId6" Type="http://schemas.openxmlformats.org/officeDocument/2006/relationships/image" Target="../media/image14.emf"/><Relationship Id="rId5" Type="http://schemas.openxmlformats.org/officeDocument/2006/relationships/oleObject" Target="../embeddings/oleObject354.bin"/><Relationship Id="rId4" Type="http://schemas.microsoft.com/office/2018/10/relationships/comments" Target="../comments/modernComment_7FFFF4EC_8F84B32C.xml"/></Relationships>
</file>

<file path=ppt/slides/_rels/slide90.xml.rels><?xml version="1.0" encoding="UTF-8" standalone="yes"?>
<Relationships xmlns="http://schemas.openxmlformats.org/package/2006/relationships"><Relationship Id="rId13" Type="http://schemas.openxmlformats.org/officeDocument/2006/relationships/tags" Target="../tags/tag1900.xml"/><Relationship Id="rId18" Type="http://schemas.openxmlformats.org/officeDocument/2006/relationships/tags" Target="../tags/tag1905.xml"/><Relationship Id="rId26" Type="http://schemas.openxmlformats.org/officeDocument/2006/relationships/tags" Target="../tags/tag1913.xml"/><Relationship Id="rId39" Type="http://schemas.openxmlformats.org/officeDocument/2006/relationships/tags" Target="../tags/tag1926.xml"/><Relationship Id="rId21" Type="http://schemas.openxmlformats.org/officeDocument/2006/relationships/tags" Target="../tags/tag1908.xml"/><Relationship Id="rId34" Type="http://schemas.openxmlformats.org/officeDocument/2006/relationships/tags" Target="../tags/tag1921.xml"/><Relationship Id="rId42" Type="http://schemas.openxmlformats.org/officeDocument/2006/relationships/tags" Target="../tags/tag1929.xml"/><Relationship Id="rId47" Type="http://schemas.openxmlformats.org/officeDocument/2006/relationships/tags" Target="../tags/tag1934.xml"/><Relationship Id="rId50" Type="http://schemas.microsoft.com/office/2018/10/relationships/comments" Target="../comments/modernComment_7FF6501E_FEC3EF10.xml"/><Relationship Id="rId55" Type="http://schemas.openxmlformats.org/officeDocument/2006/relationships/chart" Target="../charts/chart78.xml"/><Relationship Id="rId7" Type="http://schemas.openxmlformats.org/officeDocument/2006/relationships/tags" Target="../tags/tag1894.xml"/><Relationship Id="rId2" Type="http://schemas.openxmlformats.org/officeDocument/2006/relationships/tags" Target="../tags/tag1889.xml"/><Relationship Id="rId16" Type="http://schemas.openxmlformats.org/officeDocument/2006/relationships/tags" Target="../tags/tag1903.xml"/><Relationship Id="rId29" Type="http://schemas.openxmlformats.org/officeDocument/2006/relationships/tags" Target="../tags/tag1916.xml"/><Relationship Id="rId11" Type="http://schemas.openxmlformats.org/officeDocument/2006/relationships/tags" Target="../tags/tag1898.xml"/><Relationship Id="rId24" Type="http://schemas.openxmlformats.org/officeDocument/2006/relationships/tags" Target="../tags/tag1911.xml"/><Relationship Id="rId32" Type="http://schemas.openxmlformats.org/officeDocument/2006/relationships/tags" Target="../tags/tag1919.xml"/><Relationship Id="rId37" Type="http://schemas.openxmlformats.org/officeDocument/2006/relationships/tags" Target="../tags/tag1924.xml"/><Relationship Id="rId40" Type="http://schemas.openxmlformats.org/officeDocument/2006/relationships/tags" Target="../tags/tag1927.xml"/><Relationship Id="rId45" Type="http://schemas.openxmlformats.org/officeDocument/2006/relationships/tags" Target="../tags/tag1932.xml"/><Relationship Id="rId53" Type="http://schemas.openxmlformats.org/officeDocument/2006/relationships/chart" Target="../charts/chart76.xml"/><Relationship Id="rId5" Type="http://schemas.openxmlformats.org/officeDocument/2006/relationships/tags" Target="../tags/tag1892.xml"/><Relationship Id="rId10" Type="http://schemas.openxmlformats.org/officeDocument/2006/relationships/tags" Target="../tags/tag1897.xml"/><Relationship Id="rId19" Type="http://schemas.openxmlformats.org/officeDocument/2006/relationships/tags" Target="../tags/tag1906.xml"/><Relationship Id="rId31" Type="http://schemas.openxmlformats.org/officeDocument/2006/relationships/tags" Target="../tags/tag1918.xml"/><Relationship Id="rId44" Type="http://schemas.openxmlformats.org/officeDocument/2006/relationships/tags" Target="../tags/tag1931.xml"/><Relationship Id="rId52" Type="http://schemas.openxmlformats.org/officeDocument/2006/relationships/image" Target="../media/image14.emf"/><Relationship Id="rId4" Type="http://schemas.openxmlformats.org/officeDocument/2006/relationships/tags" Target="../tags/tag1891.xml"/><Relationship Id="rId9" Type="http://schemas.openxmlformats.org/officeDocument/2006/relationships/tags" Target="../tags/tag1896.xml"/><Relationship Id="rId14" Type="http://schemas.openxmlformats.org/officeDocument/2006/relationships/tags" Target="../tags/tag1901.xml"/><Relationship Id="rId22" Type="http://schemas.openxmlformats.org/officeDocument/2006/relationships/tags" Target="../tags/tag1909.xml"/><Relationship Id="rId27" Type="http://schemas.openxmlformats.org/officeDocument/2006/relationships/tags" Target="../tags/tag1914.xml"/><Relationship Id="rId30" Type="http://schemas.openxmlformats.org/officeDocument/2006/relationships/tags" Target="../tags/tag1917.xml"/><Relationship Id="rId35" Type="http://schemas.openxmlformats.org/officeDocument/2006/relationships/tags" Target="../tags/tag1922.xml"/><Relationship Id="rId43" Type="http://schemas.openxmlformats.org/officeDocument/2006/relationships/tags" Target="../tags/tag1930.xml"/><Relationship Id="rId48" Type="http://schemas.openxmlformats.org/officeDocument/2006/relationships/slideLayout" Target="../slideLayouts/slideLayout4.xml"/><Relationship Id="rId8" Type="http://schemas.openxmlformats.org/officeDocument/2006/relationships/tags" Target="../tags/tag1895.xml"/><Relationship Id="rId51" Type="http://schemas.openxmlformats.org/officeDocument/2006/relationships/oleObject" Target="../embeddings/oleObject435.bin"/><Relationship Id="rId3" Type="http://schemas.openxmlformats.org/officeDocument/2006/relationships/tags" Target="../tags/tag1890.xml"/><Relationship Id="rId12" Type="http://schemas.openxmlformats.org/officeDocument/2006/relationships/tags" Target="../tags/tag1899.xml"/><Relationship Id="rId17" Type="http://schemas.openxmlformats.org/officeDocument/2006/relationships/tags" Target="../tags/tag1904.xml"/><Relationship Id="rId25" Type="http://schemas.openxmlformats.org/officeDocument/2006/relationships/tags" Target="../tags/tag1912.xml"/><Relationship Id="rId33" Type="http://schemas.openxmlformats.org/officeDocument/2006/relationships/tags" Target="../tags/tag1920.xml"/><Relationship Id="rId38" Type="http://schemas.openxmlformats.org/officeDocument/2006/relationships/tags" Target="../tags/tag1925.xml"/><Relationship Id="rId46" Type="http://schemas.openxmlformats.org/officeDocument/2006/relationships/tags" Target="../tags/tag1933.xml"/><Relationship Id="rId20" Type="http://schemas.openxmlformats.org/officeDocument/2006/relationships/tags" Target="../tags/tag1907.xml"/><Relationship Id="rId41" Type="http://schemas.openxmlformats.org/officeDocument/2006/relationships/tags" Target="../tags/tag1928.xml"/><Relationship Id="rId54" Type="http://schemas.openxmlformats.org/officeDocument/2006/relationships/chart" Target="../charts/chart77.xml"/><Relationship Id="rId1" Type="http://schemas.openxmlformats.org/officeDocument/2006/relationships/tags" Target="../tags/tag1888.xml"/><Relationship Id="rId6" Type="http://schemas.openxmlformats.org/officeDocument/2006/relationships/tags" Target="../tags/tag1893.xml"/><Relationship Id="rId15" Type="http://schemas.openxmlformats.org/officeDocument/2006/relationships/tags" Target="../tags/tag1902.xml"/><Relationship Id="rId23" Type="http://schemas.openxmlformats.org/officeDocument/2006/relationships/tags" Target="../tags/tag1910.xml"/><Relationship Id="rId28" Type="http://schemas.openxmlformats.org/officeDocument/2006/relationships/tags" Target="../tags/tag1915.xml"/><Relationship Id="rId36" Type="http://schemas.openxmlformats.org/officeDocument/2006/relationships/tags" Target="../tags/tag1923.xml"/><Relationship Id="rId49" Type="http://schemas.openxmlformats.org/officeDocument/2006/relationships/notesSlide" Target="../notesSlides/notesSlide84.xml"/></Relationships>
</file>

<file path=ppt/slides/_rels/slide91.xml.rels><?xml version="1.0" encoding="UTF-8" standalone="yes"?>
<Relationships xmlns="http://schemas.openxmlformats.org/package/2006/relationships"><Relationship Id="rId13" Type="http://schemas.openxmlformats.org/officeDocument/2006/relationships/tags" Target="../tags/tag1947.xml"/><Relationship Id="rId18" Type="http://schemas.openxmlformats.org/officeDocument/2006/relationships/tags" Target="../tags/tag1952.xml"/><Relationship Id="rId26" Type="http://schemas.openxmlformats.org/officeDocument/2006/relationships/tags" Target="../tags/tag1960.xml"/><Relationship Id="rId39" Type="http://schemas.openxmlformats.org/officeDocument/2006/relationships/tags" Target="../tags/tag1973.xml"/><Relationship Id="rId21" Type="http://schemas.openxmlformats.org/officeDocument/2006/relationships/tags" Target="../tags/tag1955.xml"/><Relationship Id="rId34" Type="http://schemas.openxmlformats.org/officeDocument/2006/relationships/tags" Target="../tags/tag1968.xml"/><Relationship Id="rId42" Type="http://schemas.openxmlformats.org/officeDocument/2006/relationships/tags" Target="../tags/tag1976.xml"/><Relationship Id="rId47" Type="http://schemas.openxmlformats.org/officeDocument/2006/relationships/image" Target="../media/image14.emf"/><Relationship Id="rId7" Type="http://schemas.openxmlformats.org/officeDocument/2006/relationships/tags" Target="../tags/tag1941.xml"/><Relationship Id="rId2" Type="http://schemas.openxmlformats.org/officeDocument/2006/relationships/tags" Target="../tags/tag1936.xml"/><Relationship Id="rId16" Type="http://schemas.openxmlformats.org/officeDocument/2006/relationships/tags" Target="../tags/tag1950.xml"/><Relationship Id="rId29" Type="http://schemas.openxmlformats.org/officeDocument/2006/relationships/tags" Target="../tags/tag1963.xml"/><Relationship Id="rId11" Type="http://schemas.openxmlformats.org/officeDocument/2006/relationships/tags" Target="../tags/tag1945.xml"/><Relationship Id="rId24" Type="http://schemas.openxmlformats.org/officeDocument/2006/relationships/tags" Target="../tags/tag1958.xml"/><Relationship Id="rId32" Type="http://schemas.openxmlformats.org/officeDocument/2006/relationships/tags" Target="../tags/tag1966.xml"/><Relationship Id="rId37" Type="http://schemas.openxmlformats.org/officeDocument/2006/relationships/tags" Target="../tags/tag1971.xml"/><Relationship Id="rId40" Type="http://schemas.openxmlformats.org/officeDocument/2006/relationships/tags" Target="../tags/tag1974.xml"/><Relationship Id="rId45" Type="http://schemas.microsoft.com/office/2018/10/relationships/comments" Target="../comments/modernComment_7FF65017_5CFBEDF2.xml"/><Relationship Id="rId5" Type="http://schemas.openxmlformats.org/officeDocument/2006/relationships/tags" Target="../tags/tag1939.xml"/><Relationship Id="rId15" Type="http://schemas.openxmlformats.org/officeDocument/2006/relationships/tags" Target="../tags/tag1949.xml"/><Relationship Id="rId23" Type="http://schemas.openxmlformats.org/officeDocument/2006/relationships/tags" Target="../tags/tag1957.xml"/><Relationship Id="rId28" Type="http://schemas.openxmlformats.org/officeDocument/2006/relationships/tags" Target="../tags/tag1962.xml"/><Relationship Id="rId36" Type="http://schemas.openxmlformats.org/officeDocument/2006/relationships/tags" Target="../tags/tag1970.xml"/><Relationship Id="rId49" Type="http://schemas.openxmlformats.org/officeDocument/2006/relationships/chart" Target="../charts/chart80.xml"/><Relationship Id="rId10" Type="http://schemas.openxmlformats.org/officeDocument/2006/relationships/tags" Target="../tags/tag1944.xml"/><Relationship Id="rId19" Type="http://schemas.openxmlformats.org/officeDocument/2006/relationships/tags" Target="../tags/tag1953.xml"/><Relationship Id="rId31" Type="http://schemas.openxmlformats.org/officeDocument/2006/relationships/tags" Target="../tags/tag1965.xml"/><Relationship Id="rId44" Type="http://schemas.openxmlformats.org/officeDocument/2006/relationships/notesSlide" Target="../notesSlides/notesSlide85.xml"/><Relationship Id="rId4" Type="http://schemas.openxmlformats.org/officeDocument/2006/relationships/tags" Target="../tags/tag1938.xml"/><Relationship Id="rId9" Type="http://schemas.openxmlformats.org/officeDocument/2006/relationships/tags" Target="../tags/tag1943.xml"/><Relationship Id="rId14" Type="http://schemas.openxmlformats.org/officeDocument/2006/relationships/tags" Target="../tags/tag1948.xml"/><Relationship Id="rId22" Type="http://schemas.openxmlformats.org/officeDocument/2006/relationships/tags" Target="../tags/tag1956.xml"/><Relationship Id="rId27" Type="http://schemas.openxmlformats.org/officeDocument/2006/relationships/tags" Target="../tags/tag1961.xml"/><Relationship Id="rId30" Type="http://schemas.openxmlformats.org/officeDocument/2006/relationships/tags" Target="../tags/tag1964.xml"/><Relationship Id="rId35" Type="http://schemas.openxmlformats.org/officeDocument/2006/relationships/tags" Target="../tags/tag1969.xml"/><Relationship Id="rId43" Type="http://schemas.openxmlformats.org/officeDocument/2006/relationships/slideLayout" Target="../slideLayouts/slideLayout4.xml"/><Relationship Id="rId48" Type="http://schemas.openxmlformats.org/officeDocument/2006/relationships/chart" Target="../charts/chart79.xml"/><Relationship Id="rId8" Type="http://schemas.openxmlformats.org/officeDocument/2006/relationships/tags" Target="../tags/tag1942.xml"/><Relationship Id="rId3" Type="http://schemas.openxmlformats.org/officeDocument/2006/relationships/tags" Target="../tags/tag1937.xml"/><Relationship Id="rId12" Type="http://schemas.openxmlformats.org/officeDocument/2006/relationships/tags" Target="../tags/tag1946.xml"/><Relationship Id="rId17" Type="http://schemas.openxmlformats.org/officeDocument/2006/relationships/tags" Target="../tags/tag1951.xml"/><Relationship Id="rId25" Type="http://schemas.openxmlformats.org/officeDocument/2006/relationships/tags" Target="../tags/tag1959.xml"/><Relationship Id="rId33" Type="http://schemas.openxmlformats.org/officeDocument/2006/relationships/tags" Target="../tags/tag1967.xml"/><Relationship Id="rId38" Type="http://schemas.openxmlformats.org/officeDocument/2006/relationships/tags" Target="../tags/tag1972.xml"/><Relationship Id="rId46" Type="http://schemas.openxmlformats.org/officeDocument/2006/relationships/oleObject" Target="../embeddings/oleObject436.bin"/><Relationship Id="rId20" Type="http://schemas.openxmlformats.org/officeDocument/2006/relationships/tags" Target="../tags/tag1954.xml"/><Relationship Id="rId41" Type="http://schemas.openxmlformats.org/officeDocument/2006/relationships/tags" Target="../tags/tag1975.xml"/><Relationship Id="rId1" Type="http://schemas.openxmlformats.org/officeDocument/2006/relationships/tags" Target="../tags/tag1935.xml"/><Relationship Id="rId6" Type="http://schemas.openxmlformats.org/officeDocument/2006/relationships/tags" Target="../tags/tag1940.xml"/></Relationships>
</file>

<file path=ppt/slides/_rels/slide92.xml.rels><?xml version="1.0" encoding="UTF-8" standalone="yes"?>
<Relationships xmlns="http://schemas.openxmlformats.org/package/2006/relationships"><Relationship Id="rId13" Type="http://schemas.openxmlformats.org/officeDocument/2006/relationships/tags" Target="../tags/tag1989.xml"/><Relationship Id="rId18" Type="http://schemas.openxmlformats.org/officeDocument/2006/relationships/tags" Target="../tags/tag1994.xml"/><Relationship Id="rId26" Type="http://schemas.openxmlformats.org/officeDocument/2006/relationships/tags" Target="../tags/tag2002.xml"/><Relationship Id="rId39" Type="http://schemas.openxmlformats.org/officeDocument/2006/relationships/tags" Target="../tags/tag2015.xml"/><Relationship Id="rId21" Type="http://schemas.openxmlformats.org/officeDocument/2006/relationships/tags" Target="../tags/tag1997.xml"/><Relationship Id="rId34" Type="http://schemas.openxmlformats.org/officeDocument/2006/relationships/tags" Target="../tags/tag2010.xml"/><Relationship Id="rId42" Type="http://schemas.openxmlformats.org/officeDocument/2006/relationships/notesSlide" Target="../notesSlides/notesSlide86.xml"/><Relationship Id="rId47" Type="http://schemas.openxmlformats.org/officeDocument/2006/relationships/chart" Target="../charts/chart82.xml"/><Relationship Id="rId7" Type="http://schemas.openxmlformats.org/officeDocument/2006/relationships/tags" Target="../tags/tag1983.xml"/><Relationship Id="rId2" Type="http://schemas.openxmlformats.org/officeDocument/2006/relationships/tags" Target="../tags/tag1978.xml"/><Relationship Id="rId16" Type="http://schemas.openxmlformats.org/officeDocument/2006/relationships/tags" Target="../tags/tag1992.xml"/><Relationship Id="rId29" Type="http://schemas.openxmlformats.org/officeDocument/2006/relationships/tags" Target="../tags/tag2005.xml"/><Relationship Id="rId1" Type="http://schemas.openxmlformats.org/officeDocument/2006/relationships/tags" Target="../tags/tag1977.xml"/><Relationship Id="rId6" Type="http://schemas.openxmlformats.org/officeDocument/2006/relationships/tags" Target="../tags/tag1982.xml"/><Relationship Id="rId11" Type="http://schemas.openxmlformats.org/officeDocument/2006/relationships/tags" Target="../tags/tag1987.xml"/><Relationship Id="rId24" Type="http://schemas.openxmlformats.org/officeDocument/2006/relationships/tags" Target="../tags/tag2000.xml"/><Relationship Id="rId32" Type="http://schemas.openxmlformats.org/officeDocument/2006/relationships/tags" Target="../tags/tag2008.xml"/><Relationship Id="rId37" Type="http://schemas.openxmlformats.org/officeDocument/2006/relationships/tags" Target="../tags/tag2013.xml"/><Relationship Id="rId40" Type="http://schemas.openxmlformats.org/officeDocument/2006/relationships/tags" Target="../tags/tag2016.xml"/><Relationship Id="rId45" Type="http://schemas.openxmlformats.org/officeDocument/2006/relationships/image" Target="../media/image14.emf"/><Relationship Id="rId5" Type="http://schemas.openxmlformats.org/officeDocument/2006/relationships/tags" Target="../tags/tag1981.xml"/><Relationship Id="rId15" Type="http://schemas.openxmlformats.org/officeDocument/2006/relationships/tags" Target="../tags/tag1991.xml"/><Relationship Id="rId23" Type="http://schemas.openxmlformats.org/officeDocument/2006/relationships/tags" Target="../tags/tag1999.xml"/><Relationship Id="rId28" Type="http://schemas.openxmlformats.org/officeDocument/2006/relationships/tags" Target="../tags/tag2004.xml"/><Relationship Id="rId36" Type="http://schemas.openxmlformats.org/officeDocument/2006/relationships/tags" Target="../tags/tag2012.xml"/><Relationship Id="rId10" Type="http://schemas.openxmlformats.org/officeDocument/2006/relationships/tags" Target="../tags/tag1986.xml"/><Relationship Id="rId19" Type="http://schemas.openxmlformats.org/officeDocument/2006/relationships/tags" Target="../tags/tag1995.xml"/><Relationship Id="rId31" Type="http://schemas.openxmlformats.org/officeDocument/2006/relationships/tags" Target="../tags/tag2007.xml"/><Relationship Id="rId44" Type="http://schemas.openxmlformats.org/officeDocument/2006/relationships/oleObject" Target="../embeddings/oleObject437.bin"/><Relationship Id="rId4" Type="http://schemas.openxmlformats.org/officeDocument/2006/relationships/tags" Target="../tags/tag1980.xml"/><Relationship Id="rId9" Type="http://schemas.openxmlformats.org/officeDocument/2006/relationships/tags" Target="../tags/tag1985.xml"/><Relationship Id="rId14" Type="http://schemas.openxmlformats.org/officeDocument/2006/relationships/tags" Target="../tags/tag1990.xml"/><Relationship Id="rId22" Type="http://schemas.openxmlformats.org/officeDocument/2006/relationships/tags" Target="../tags/tag1998.xml"/><Relationship Id="rId27" Type="http://schemas.openxmlformats.org/officeDocument/2006/relationships/tags" Target="../tags/tag2003.xml"/><Relationship Id="rId30" Type="http://schemas.openxmlformats.org/officeDocument/2006/relationships/tags" Target="../tags/tag2006.xml"/><Relationship Id="rId35" Type="http://schemas.openxmlformats.org/officeDocument/2006/relationships/tags" Target="../tags/tag2011.xml"/><Relationship Id="rId43" Type="http://schemas.microsoft.com/office/2018/10/relationships/comments" Target="../comments/modernComment_7FF65016_465D831A.xml"/><Relationship Id="rId8" Type="http://schemas.openxmlformats.org/officeDocument/2006/relationships/tags" Target="../tags/tag1984.xml"/><Relationship Id="rId3" Type="http://schemas.openxmlformats.org/officeDocument/2006/relationships/tags" Target="../tags/tag1979.xml"/><Relationship Id="rId12" Type="http://schemas.openxmlformats.org/officeDocument/2006/relationships/tags" Target="../tags/tag1988.xml"/><Relationship Id="rId17" Type="http://schemas.openxmlformats.org/officeDocument/2006/relationships/tags" Target="../tags/tag1993.xml"/><Relationship Id="rId25" Type="http://schemas.openxmlformats.org/officeDocument/2006/relationships/tags" Target="../tags/tag2001.xml"/><Relationship Id="rId33" Type="http://schemas.openxmlformats.org/officeDocument/2006/relationships/tags" Target="../tags/tag2009.xml"/><Relationship Id="rId38" Type="http://schemas.openxmlformats.org/officeDocument/2006/relationships/tags" Target="../tags/tag2014.xml"/><Relationship Id="rId46" Type="http://schemas.openxmlformats.org/officeDocument/2006/relationships/chart" Target="../charts/chart81.xml"/><Relationship Id="rId20" Type="http://schemas.openxmlformats.org/officeDocument/2006/relationships/tags" Target="../tags/tag1996.xml"/><Relationship Id="rId4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13" Type="http://schemas.openxmlformats.org/officeDocument/2006/relationships/tags" Target="../tags/tag2029.xml"/><Relationship Id="rId18" Type="http://schemas.openxmlformats.org/officeDocument/2006/relationships/tags" Target="../tags/tag2034.xml"/><Relationship Id="rId26" Type="http://schemas.openxmlformats.org/officeDocument/2006/relationships/tags" Target="../tags/tag2042.xml"/><Relationship Id="rId39" Type="http://schemas.openxmlformats.org/officeDocument/2006/relationships/tags" Target="../tags/tag2055.xml"/><Relationship Id="rId21" Type="http://schemas.openxmlformats.org/officeDocument/2006/relationships/tags" Target="../tags/tag2037.xml"/><Relationship Id="rId34" Type="http://schemas.openxmlformats.org/officeDocument/2006/relationships/tags" Target="../tags/tag2050.xml"/><Relationship Id="rId42" Type="http://schemas.openxmlformats.org/officeDocument/2006/relationships/notesSlide" Target="../notesSlides/notesSlide87.xml"/><Relationship Id="rId47" Type="http://schemas.openxmlformats.org/officeDocument/2006/relationships/chart" Target="../charts/chart84.xml"/><Relationship Id="rId7" Type="http://schemas.openxmlformats.org/officeDocument/2006/relationships/tags" Target="../tags/tag2023.xml"/><Relationship Id="rId2" Type="http://schemas.openxmlformats.org/officeDocument/2006/relationships/tags" Target="../tags/tag2018.xml"/><Relationship Id="rId16" Type="http://schemas.openxmlformats.org/officeDocument/2006/relationships/tags" Target="../tags/tag2032.xml"/><Relationship Id="rId29" Type="http://schemas.openxmlformats.org/officeDocument/2006/relationships/tags" Target="../tags/tag2045.xml"/><Relationship Id="rId1" Type="http://schemas.openxmlformats.org/officeDocument/2006/relationships/tags" Target="../tags/tag2017.xml"/><Relationship Id="rId6" Type="http://schemas.openxmlformats.org/officeDocument/2006/relationships/tags" Target="../tags/tag2022.xml"/><Relationship Id="rId11" Type="http://schemas.openxmlformats.org/officeDocument/2006/relationships/tags" Target="../tags/tag2027.xml"/><Relationship Id="rId24" Type="http://schemas.openxmlformats.org/officeDocument/2006/relationships/tags" Target="../tags/tag2040.xml"/><Relationship Id="rId32" Type="http://schemas.openxmlformats.org/officeDocument/2006/relationships/tags" Target="../tags/tag2048.xml"/><Relationship Id="rId37" Type="http://schemas.openxmlformats.org/officeDocument/2006/relationships/tags" Target="../tags/tag2053.xml"/><Relationship Id="rId40" Type="http://schemas.openxmlformats.org/officeDocument/2006/relationships/tags" Target="../tags/tag2056.xml"/><Relationship Id="rId45" Type="http://schemas.openxmlformats.org/officeDocument/2006/relationships/image" Target="../media/image14.emf"/><Relationship Id="rId5" Type="http://schemas.openxmlformats.org/officeDocument/2006/relationships/tags" Target="../tags/tag2021.xml"/><Relationship Id="rId15" Type="http://schemas.openxmlformats.org/officeDocument/2006/relationships/tags" Target="../tags/tag2031.xml"/><Relationship Id="rId23" Type="http://schemas.openxmlformats.org/officeDocument/2006/relationships/tags" Target="../tags/tag2039.xml"/><Relationship Id="rId28" Type="http://schemas.openxmlformats.org/officeDocument/2006/relationships/tags" Target="../tags/tag2044.xml"/><Relationship Id="rId36" Type="http://schemas.openxmlformats.org/officeDocument/2006/relationships/tags" Target="../tags/tag2052.xml"/><Relationship Id="rId10" Type="http://schemas.openxmlformats.org/officeDocument/2006/relationships/tags" Target="../tags/tag2026.xml"/><Relationship Id="rId19" Type="http://schemas.openxmlformats.org/officeDocument/2006/relationships/tags" Target="../tags/tag2035.xml"/><Relationship Id="rId31" Type="http://schemas.openxmlformats.org/officeDocument/2006/relationships/tags" Target="../tags/tag2047.xml"/><Relationship Id="rId44" Type="http://schemas.openxmlformats.org/officeDocument/2006/relationships/oleObject" Target="../embeddings/oleObject438.bin"/><Relationship Id="rId4" Type="http://schemas.openxmlformats.org/officeDocument/2006/relationships/tags" Target="../tags/tag2020.xml"/><Relationship Id="rId9" Type="http://schemas.openxmlformats.org/officeDocument/2006/relationships/tags" Target="../tags/tag2025.xml"/><Relationship Id="rId14" Type="http://schemas.openxmlformats.org/officeDocument/2006/relationships/tags" Target="../tags/tag2030.xml"/><Relationship Id="rId22" Type="http://schemas.openxmlformats.org/officeDocument/2006/relationships/tags" Target="../tags/tag2038.xml"/><Relationship Id="rId27" Type="http://schemas.openxmlformats.org/officeDocument/2006/relationships/tags" Target="../tags/tag2043.xml"/><Relationship Id="rId30" Type="http://schemas.openxmlformats.org/officeDocument/2006/relationships/tags" Target="../tags/tag2046.xml"/><Relationship Id="rId35" Type="http://schemas.openxmlformats.org/officeDocument/2006/relationships/tags" Target="../tags/tag2051.xml"/><Relationship Id="rId43" Type="http://schemas.microsoft.com/office/2018/10/relationships/comments" Target="../comments/modernComment_7FF65005_500228CB.xml"/><Relationship Id="rId8" Type="http://schemas.openxmlformats.org/officeDocument/2006/relationships/tags" Target="../tags/tag2024.xml"/><Relationship Id="rId3" Type="http://schemas.openxmlformats.org/officeDocument/2006/relationships/tags" Target="../tags/tag2019.xml"/><Relationship Id="rId12" Type="http://schemas.openxmlformats.org/officeDocument/2006/relationships/tags" Target="../tags/tag2028.xml"/><Relationship Id="rId17" Type="http://schemas.openxmlformats.org/officeDocument/2006/relationships/tags" Target="../tags/tag2033.xml"/><Relationship Id="rId25" Type="http://schemas.openxmlformats.org/officeDocument/2006/relationships/tags" Target="../tags/tag2041.xml"/><Relationship Id="rId33" Type="http://schemas.openxmlformats.org/officeDocument/2006/relationships/tags" Target="../tags/tag2049.xml"/><Relationship Id="rId38" Type="http://schemas.openxmlformats.org/officeDocument/2006/relationships/tags" Target="../tags/tag2054.xml"/><Relationship Id="rId46" Type="http://schemas.openxmlformats.org/officeDocument/2006/relationships/chart" Target="../charts/chart83.xml"/><Relationship Id="rId20" Type="http://schemas.openxmlformats.org/officeDocument/2006/relationships/tags" Target="../tags/tag2036.xml"/><Relationship Id="rId4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slide" Target="slide44.xml"/><Relationship Id="rId2" Type="http://schemas.openxmlformats.org/officeDocument/2006/relationships/slideLayout" Target="../slideLayouts/slideLayout3.xml"/><Relationship Id="rId1" Type="http://schemas.openxmlformats.org/officeDocument/2006/relationships/tags" Target="../tags/tag2057.xml"/><Relationship Id="rId6" Type="http://schemas.openxmlformats.org/officeDocument/2006/relationships/slide" Target="slide35.xml"/><Relationship Id="rId5" Type="http://schemas.openxmlformats.org/officeDocument/2006/relationships/image" Target="../media/image63.emf"/><Relationship Id="rId4" Type="http://schemas.openxmlformats.org/officeDocument/2006/relationships/oleObject" Target="../embeddings/oleObject439.bin"/></Relationships>
</file>

<file path=ppt/slides/_rels/slide95.xml.rels><?xml version="1.0" encoding="UTF-8" standalone="yes"?>
<Relationships xmlns="http://schemas.openxmlformats.org/package/2006/relationships"><Relationship Id="rId8" Type="http://schemas.microsoft.com/office/2018/10/relationships/comments" Target="../comments/modernComment_7FF65030_5DB519AE.xml"/><Relationship Id="rId3" Type="http://schemas.openxmlformats.org/officeDocument/2006/relationships/tags" Target="../tags/tag2060.xml"/><Relationship Id="rId7" Type="http://schemas.openxmlformats.org/officeDocument/2006/relationships/notesSlide" Target="../notesSlides/notesSlide89.xml"/><Relationship Id="rId12" Type="http://schemas.openxmlformats.org/officeDocument/2006/relationships/chart" Target="../charts/chart86.xml"/><Relationship Id="rId2" Type="http://schemas.openxmlformats.org/officeDocument/2006/relationships/tags" Target="../tags/tag2059.xml"/><Relationship Id="rId1" Type="http://schemas.openxmlformats.org/officeDocument/2006/relationships/tags" Target="../tags/tag2058.xml"/><Relationship Id="rId6" Type="http://schemas.openxmlformats.org/officeDocument/2006/relationships/slideLayout" Target="../slideLayouts/slideLayout4.xml"/><Relationship Id="rId11" Type="http://schemas.openxmlformats.org/officeDocument/2006/relationships/chart" Target="../charts/chart85.xml"/><Relationship Id="rId5" Type="http://schemas.openxmlformats.org/officeDocument/2006/relationships/tags" Target="../tags/tag2062.xml"/><Relationship Id="rId10" Type="http://schemas.openxmlformats.org/officeDocument/2006/relationships/image" Target="../media/image129.emf"/><Relationship Id="rId4" Type="http://schemas.openxmlformats.org/officeDocument/2006/relationships/tags" Target="../tags/tag2061.xml"/><Relationship Id="rId9" Type="http://schemas.openxmlformats.org/officeDocument/2006/relationships/oleObject" Target="../embeddings/oleObject440.bin"/></Relationships>
</file>

<file path=ppt/slides/_rels/slide96.xml.rels><?xml version="1.0" encoding="UTF-8" standalone="yes"?>
<Relationships xmlns="http://schemas.openxmlformats.org/package/2006/relationships"><Relationship Id="rId13" Type="http://schemas.openxmlformats.org/officeDocument/2006/relationships/tags" Target="../tags/tag2075.xml"/><Relationship Id="rId18" Type="http://schemas.openxmlformats.org/officeDocument/2006/relationships/tags" Target="../tags/tag2080.xml"/><Relationship Id="rId26" Type="http://schemas.openxmlformats.org/officeDocument/2006/relationships/tags" Target="../tags/tag2088.xml"/><Relationship Id="rId21" Type="http://schemas.openxmlformats.org/officeDocument/2006/relationships/tags" Target="../tags/tag2083.xml"/><Relationship Id="rId34" Type="http://schemas.openxmlformats.org/officeDocument/2006/relationships/oleObject" Target="../embeddings/oleObject441.bin"/><Relationship Id="rId7" Type="http://schemas.openxmlformats.org/officeDocument/2006/relationships/tags" Target="../tags/tag2069.xml"/><Relationship Id="rId12" Type="http://schemas.openxmlformats.org/officeDocument/2006/relationships/tags" Target="../tags/tag2074.xml"/><Relationship Id="rId17" Type="http://schemas.openxmlformats.org/officeDocument/2006/relationships/tags" Target="../tags/tag2079.xml"/><Relationship Id="rId25" Type="http://schemas.openxmlformats.org/officeDocument/2006/relationships/tags" Target="../tags/tag2087.xml"/><Relationship Id="rId33" Type="http://schemas.microsoft.com/office/2018/10/relationships/comments" Target="../comments/modernComment_7FF65032_2E252D0A.xml"/><Relationship Id="rId38" Type="http://schemas.openxmlformats.org/officeDocument/2006/relationships/chart" Target="../charts/chart89.xml"/><Relationship Id="rId2" Type="http://schemas.openxmlformats.org/officeDocument/2006/relationships/tags" Target="../tags/tag2064.xml"/><Relationship Id="rId16" Type="http://schemas.openxmlformats.org/officeDocument/2006/relationships/tags" Target="../tags/tag2078.xml"/><Relationship Id="rId20" Type="http://schemas.openxmlformats.org/officeDocument/2006/relationships/tags" Target="../tags/tag2082.xml"/><Relationship Id="rId29" Type="http://schemas.openxmlformats.org/officeDocument/2006/relationships/tags" Target="../tags/tag2091.xml"/><Relationship Id="rId1" Type="http://schemas.openxmlformats.org/officeDocument/2006/relationships/tags" Target="../tags/tag2063.xml"/><Relationship Id="rId6" Type="http://schemas.openxmlformats.org/officeDocument/2006/relationships/tags" Target="../tags/tag2068.xml"/><Relationship Id="rId11" Type="http://schemas.openxmlformats.org/officeDocument/2006/relationships/tags" Target="../tags/tag2073.xml"/><Relationship Id="rId24" Type="http://schemas.openxmlformats.org/officeDocument/2006/relationships/tags" Target="../tags/tag2086.xml"/><Relationship Id="rId32" Type="http://schemas.openxmlformats.org/officeDocument/2006/relationships/notesSlide" Target="../notesSlides/notesSlide90.xml"/><Relationship Id="rId37" Type="http://schemas.openxmlformats.org/officeDocument/2006/relationships/chart" Target="../charts/chart88.xml"/><Relationship Id="rId5" Type="http://schemas.openxmlformats.org/officeDocument/2006/relationships/tags" Target="../tags/tag2067.xml"/><Relationship Id="rId15" Type="http://schemas.openxmlformats.org/officeDocument/2006/relationships/tags" Target="../tags/tag2077.xml"/><Relationship Id="rId23" Type="http://schemas.openxmlformats.org/officeDocument/2006/relationships/tags" Target="../tags/tag2085.xml"/><Relationship Id="rId28" Type="http://schemas.openxmlformats.org/officeDocument/2006/relationships/tags" Target="../tags/tag2090.xml"/><Relationship Id="rId36" Type="http://schemas.openxmlformats.org/officeDocument/2006/relationships/chart" Target="../charts/chart87.xml"/><Relationship Id="rId10" Type="http://schemas.openxmlformats.org/officeDocument/2006/relationships/tags" Target="../tags/tag2072.xml"/><Relationship Id="rId19" Type="http://schemas.openxmlformats.org/officeDocument/2006/relationships/tags" Target="../tags/tag2081.xml"/><Relationship Id="rId31" Type="http://schemas.openxmlformats.org/officeDocument/2006/relationships/slideLayout" Target="../slideLayouts/slideLayout18.xml"/><Relationship Id="rId4" Type="http://schemas.openxmlformats.org/officeDocument/2006/relationships/tags" Target="../tags/tag2066.xml"/><Relationship Id="rId9" Type="http://schemas.openxmlformats.org/officeDocument/2006/relationships/tags" Target="../tags/tag2071.xml"/><Relationship Id="rId14" Type="http://schemas.openxmlformats.org/officeDocument/2006/relationships/tags" Target="../tags/tag2076.xml"/><Relationship Id="rId22" Type="http://schemas.openxmlformats.org/officeDocument/2006/relationships/tags" Target="../tags/tag2084.xml"/><Relationship Id="rId27" Type="http://schemas.openxmlformats.org/officeDocument/2006/relationships/tags" Target="../tags/tag2089.xml"/><Relationship Id="rId30" Type="http://schemas.openxmlformats.org/officeDocument/2006/relationships/tags" Target="../tags/tag2092.xml"/><Relationship Id="rId35" Type="http://schemas.openxmlformats.org/officeDocument/2006/relationships/image" Target="../media/image14.emf"/><Relationship Id="rId8" Type="http://schemas.openxmlformats.org/officeDocument/2006/relationships/tags" Target="../tags/tag2070.xml"/><Relationship Id="rId3" Type="http://schemas.openxmlformats.org/officeDocument/2006/relationships/tags" Target="../tags/tag2065.xml"/></Relationships>
</file>

<file path=ppt/slides/_rels/slide97.xml.rels><?xml version="1.0" encoding="UTF-8" standalone="yes"?>
<Relationships xmlns="http://schemas.openxmlformats.org/package/2006/relationships"><Relationship Id="rId8" Type="http://schemas.openxmlformats.org/officeDocument/2006/relationships/tags" Target="../tags/tag2100.xml"/><Relationship Id="rId13" Type="http://schemas.openxmlformats.org/officeDocument/2006/relationships/tags" Target="../tags/tag2105.xml"/><Relationship Id="rId18" Type="http://schemas.openxmlformats.org/officeDocument/2006/relationships/tags" Target="../tags/tag2110.xml"/><Relationship Id="rId3" Type="http://schemas.openxmlformats.org/officeDocument/2006/relationships/tags" Target="../tags/tag2095.xml"/><Relationship Id="rId21" Type="http://schemas.microsoft.com/office/2018/10/relationships/comments" Target="../comments/modernComment_7FF65018_B760AAA5.xml"/><Relationship Id="rId7" Type="http://schemas.openxmlformats.org/officeDocument/2006/relationships/tags" Target="../tags/tag2099.xml"/><Relationship Id="rId12" Type="http://schemas.openxmlformats.org/officeDocument/2006/relationships/tags" Target="../tags/tag2104.xml"/><Relationship Id="rId17" Type="http://schemas.openxmlformats.org/officeDocument/2006/relationships/tags" Target="../tags/tag2109.xml"/><Relationship Id="rId25" Type="http://schemas.openxmlformats.org/officeDocument/2006/relationships/chart" Target="../charts/chart91.xml"/><Relationship Id="rId2" Type="http://schemas.openxmlformats.org/officeDocument/2006/relationships/tags" Target="../tags/tag2094.xml"/><Relationship Id="rId16" Type="http://schemas.openxmlformats.org/officeDocument/2006/relationships/tags" Target="../tags/tag2108.xml"/><Relationship Id="rId20" Type="http://schemas.openxmlformats.org/officeDocument/2006/relationships/notesSlide" Target="../notesSlides/notesSlide91.xml"/><Relationship Id="rId1" Type="http://schemas.openxmlformats.org/officeDocument/2006/relationships/tags" Target="../tags/tag2093.xml"/><Relationship Id="rId6" Type="http://schemas.openxmlformats.org/officeDocument/2006/relationships/tags" Target="../tags/tag2098.xml"/><Relationship Id="rId11" Type="http://schemas.openxmlformats.org/officeDocument/2006/relationships/tags" Target="../tags/tag2103.xml"/><Relationship Id="rId24" Type="http://schemas.openxmlformats.org/officeDocument/2006/relationships/chart" Target="../charts/chart90.xml"/><Relationship Id="rId5" Type="http://schemas.openxmlformats.org/officeDocument/2006/relationships/tags" Target="../tags/tag2097.xml"/><Relationship Id="rId15" Type="http://schemas.openxmlformats.org/officeDocument/2006/relationships/tags" Target="../tags/tag2107.xml"/><Relationship Id="rId23" Type="http://schemas.openxmlformats.org/officeDocument/2006/relationships/image" Target="../media/image14.emf"/><Relationship Id="rId10" Type="http://schemas.openxmlformats.org/officeDocument/2006/relationships/tags" Target="../tags/tag2102.xml"/><Relationship Id="rId19" Type="http://schemas.openxmlformats.org/officeDocument/2006/relationships/slideLayout" Target="../slideLayouts/slideLayout4.xml"/><Relationship Id="rId4" Type="http://schemas.openxmlformats.org/officeDocument/2006/relationships/tags" Target="../tags/tag2096.xml"/><Relationship Id="rId9" Type="http://schemas.openxmlformats.org/officeDocument/2006/relationships/tags" Target="../tags/tag2101.xml"/><Relationship Id="rId14" Type="http://schemas.openxmlformats.org/officeDocument/2006/relationships/tags" Target="../tags/tag2106.xml"/><Relationship Id="rId22" Type="http://schemas.openxmlformats.org/officeDocument/2006/relationships/oleObject" Target="../embeddings/oleObject442.bin"/></Relationships>
</file>

<file path=ppt/slides/_rels/slide98.xml.rels><?xml version="1.0" encoding="UTF-8" standalone="yes"?>
<Relationships xmlns="http://schemas.openxmlformats.org/package/2006/relationships"><Relationship Id="rId13" Type="http://schemas.openxmlformats.org/officeDocument/2006/relationships/tags" Target="../tags/tag2123.xml"/><Relationship Id="rId18" Type="http://schemas.openxmlformats.org/officeDocument/2006/relationships/tags" Target="../tags/tag2128.xml"/><Relationship Id="rId26" Type="http://schemas.openxmlformats.org/officeDocument/2006/relationships/tags" Target="../tags/tag2136.xml"/><Relationship Id="rId3" Type="http://schemas.openxmlformats.org/officeDocument/2006/relationships/tags" Target="../tags/tag2113.xml"/><Relationship Id="rId21" Type="http://schemas.openxmlformats.org/officeDocument/2006/relationships/tags" Target="../tags/tag2131.xml"/><Relationship Id="rId7" Type="http://schemas.openxmlformats.org/officeDocument/2006/relationships/tags" Target="../tags/tag2117.xml"/><Relationship Id="rId12" Type="http://schemas.openxmlformats.org/officeDocument/2006/relationships/tags" Target="../tags/tag2122.xml"/><Relationship Id="rId17" Type="http://schemas.openxmlformats.org/officeDocument/2006/relationships/tags" Target="../tags/tag2127.xml"/><Relationship Id="rId25" Type="http://schemas.openxmlformats.org/officeDocument/2006/relationships/tags" Target="../tags/tag2135.xml"/><Relationship Id="rId33" Type="http://schemas.openxmlformats.org/officeDocument/2006/relationships/chart" Target="../charts/chart93.xml"/><Relationship Id="rId2" Type="http://schemas.openxmlformats.org/officeDocument/2006/relationships/tags" Target="../tags/tag2112.xml"/><Relationship Id="rId16" Type="http://schemas.openxmlformats.org/officeDocument/2006/relationships/tags" Target="../tags/tag2126.xml"/><Relationship Id="rId20" Type="http://schemas.openxmlformats.org/officeDocument/2006/relationships/tags" Target="../tags/tag2130.xml"/><Relationship Id="rId29" Type="http://schemas.openxmlformats.org/officeDocument/2006/relationships/notesSlide" Target="../notesSlides/notesSlide92.xml"/><Relationship Id="rId1" Type="http://schemas.openxmlformats.org/officeDocument/2006/relationships/tags" Target="../tags/tag2111.xml"/><Relationship Id="rId6" Type="http://schemas.openxmlformats.org/officeDocument/2006/relationships/tags" Target="../tags/tag2116.xml"/><Relationship Id="rId11" Type="http://schemas.openxmlformats.org/officeDocument/2006/relationships/tags" Target="../tags/tag2121.xml"/><Relationship Id="rId24" Type="http://schemas.openxmlformats.org/officeDocument/2006/relationships/tags" Target="../tags/tag2134.xml"/><Relationship Id="rId32" Type="http://schemas.openxmlformats.org/officeDocument/2006/relationships/chart" Target="../charts/chart92.xml"/><Relationship Id="rId5" Type="http://schemas.openxmlformats.org/officeDocument/2006/relationships/tags" Target="../tags/tag2115.xml"/><Relationship Id="rId15" Type="http://schemas.openxmlformats.org/officeDocument/2006/relationships/tags" Target="../tags/tag2125.xml"/><Relationship Id="rId23" Type="http://schemas.openxmlformats.org/officeDocument/2006/relationships/tags" Target="../tags/tag2133.xml"/><Relationship Id="rId28" Type="http://schemas.openxmlformats.org/officeDocument/2006/relationships/slideLayout" Target="../slideLayouts/slideLayout4.xml"/><Relationship Id="rId10" Type="http://schemas.openxmlformats.org/officeDocument/2006/relationships/tags" Target="../tags/tag2120.xml"/><Relationship Id="rId19" Type="http://schemas.openxmlformats.org/officeDocument/2006/relationships/tags" Target="../tags/tag2129.xml"/><Relationship Id="rId31" Type="http://schemas.openxmlformats.org/officeDocument/2006/relationships/image" Target="../media/image14.emf"/><Relationship Id="rId4" Type="http://schemas.openxmlformats.org/officeDocument/2006/relationships/tags" Target="../tags/tag2114.xml"/><Relationship Id="rId9" Type="http://schemas.openxmlformats.org/officeDocument/2006/relationships/tags" Target="../tags/tag2119.xml"/><Relationship Id="rId14" Type="http://schemas.openxmlformats.org/officeDocument/2006/relationships/tags" Target="../tags/tag2124.xml"/><Relationship Id="rId22" Type="http://schemas.openxmlformats.org/officeDocument/2006/relationships/tags" Target="../tags/tag2132.xml"/><Relationship Id="rId27" Type="http://schemas.openxmlformats.org/officeDocument/2006/relationships/tags" Target="../tags/tag2137.xml"/><Relationship Id="rId30" Type="http://schemas.openxmlformats.org/officeDocument/2006/relationships/oleObject" Target="../embeddings/oleObject443.bin"/><Relationship Id="rId8" Type="http://schemas.openxmlformats.org/officeDocument/2006/relationships/tags" Target="../tags/tag2118.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139.xml"/><Relationship Id="rId1" Type="http://schemas.openxmlformats.org/officeDocument/2006/relationships/tags" Target="../tags/tag2138.xml"/><Relationship Id="rId6" Type="http://schemas.openxmlformats.org/officeDocument/2006/relationships/image" Target="../media/image63.emf"/><Relationship Id="rId5" Type="http://schemas.openxmlformats.org/officeDocument/2006/relationships/oleObject" Target="../embeddings/oleObject444.bin"/><Relationship Id="rId4" Type="http://schemas.openxmlformats.org/officeDocument/2006/relationships/notesSlide" Target="../notesSlides/notesSlide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F74C71C-4DC0-7684-FD33-C37233EC179F}"/>
              </a:ext>
            </a:extLst>
          </p:cNvPr>
          <p:cNvSpPr txBox="1">
            <a:spLocks/>
          </p:cNvSpPr>
          <p:nvPr/>
        </p:nvSpPr>
        <p:spPr>
          <a:xfrm>
            <a:off x="701132" y="2905780"/>
            <a:ext cx="4683187" cy="1046440"/>
          </a:xfrm>
          <a:prstGeom prst="rect">
            <a:avLst/>
          </a:prstGeom>
        </p:spPr>
        <p:txBody>
          <a:bodyPr vert="horz" lIns="91440" tIns="45720" rIns="91440" bIns="45720" anchor="t"/>
          <a:lst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sz="3400">
                <a:latin typeface="Lato"/>
                <a:ea typeface="Lato"/>
                <a:cs typeface="Lato"/>
              </a:rPr>
              <a:t>European Battery </a:t>
            </a:r>
            <a:endParaRPr lang="en-GB" sz="3400"/>
          </a:p>
          <a:p>
            <a:pPr>
              <a:lnSpc>
                <a:spcPct val="100000"/>
              </a:lnSpc>
            </a:pPr>
            <a:r>
              <a:rPr lang="en-GB" sz="3400">
                <a:latin typeface="Lato"/>
                <a:ea typeface="Lato"/>
                <a:cs typeface="Lato"/>
              </a:rPr>
              <a:t>Markets</a:t>
            </a:r>
            <a:endParaRPr lang="en-GB" sz="3400"/>
          </a:p>
        </p:txBody>
      </p:sp>
      <p:sp>
        <p:nvSpPr>
          <p:cNvPr id="7" name="Title 1">
            <a:extLst>
              <a:ext uri="{FF2B5EF4-FFF2-40B4-BE49-F238E27FC236}">
                <a16:creationId xmlns:a16="http://schemas.microsoft.com/office/drawing/2014/main" id="{5146EEC2-7B9A-EB6D-C5F7-DB984DD7E5A5}"/>
              </a:ext>
            </a:extLst>
          </p:cNvPr>
          <p:cNvSpPr txBox="1">
            <a:spLocks/>
          </p:cNvSpPr>
          <p:nvPr/>
        </p:nvSpPr>
        <p:spPr>
          <a:xfrm>
            <a:off x="750438" y="3907158"/>
            <a:ext cx="5158316" cy="1046440"/>
          </a:xfrm>
          <a:prstGeom prst="rect">
            <a:avLst/>
          </a:prstGeom>
        </p:spPr>
        <p:txBody>
          <a:bodyPr vert="horz" lIns="0" tIns="0" rIns="0" bIns="0" rtlCol="0" anchor="b" anchorCtr="0">
            <a:spAutoFit/>
          </a:bodyPr>
          <a:lstStyle>
            <a:lvl1pPr algn="l" defTabSz="685783" rtl="0" eaLnBrk="1" latinLnBrk="0" hangingPunct="1">
              <a:lnSpc>
                <a:spcPct val="100000"/>
              </a:lnSpc>
              <a:spcBef>
                <a:spcPct val="0"/>
              </a:spcBef>
              <a:buNone/>
              <a:defRPr lang="en-GB" sz="3400" b="1" kern="1200" baseline="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b="0">
                <a:solidFill>
                  <a:schemeClr val="accent2"/>
                </a:solidFill>
              </a:rPr>
              <a:t>Attractiveness</a:t>
            </a:r>
          </a:p>
          <a:p>
            <a:r>
              <a:rPr lang="en-GB" b="0">
                <a:solidFill>
                  <a:schemeClr val="accent2"/>
                </a:solidFill>
              </a:rPr>
              <a:t>Report</a:t>
            </a:r>
          </a:p>
        </p:txBody>
      </p:sp>
      <p:cxnSp>
        <p:nvCxnSpPr>
          <p:cNvPr id="9" name="Straight Connector 8">
            <a:extLst>
              <a:ext uri="{FF2B5EF4-FFF2-40B4-BE49-F238E27FC236}">
                <a16:creationId xmlns:a16="http://schemas.microsoft.com/office/drawing/2014/main" id="{2407328B-29EF-A062-6CC0-AABCFC6CAE4C}"/>
              </a:ext>
            </a:extLst>
          </p:cNvPr>
          <p:cNvCxnSpPr/>
          <p:nvPr/>
        </p:nvCxnSpPr>
        <p:spPr>
          <a:xfrm>
            <a:off x="545108" y="2970694"/>
            <a:ext cx="0" cy="838200"/>
          </a:xfrm>
          <a:prstGeom prst="line">
            <a:avLst/>
          </a:prstGeom>
          <a:ln w="31750"/>
        </p:spPr>
        <p:style>
          <a:lnRef idx="1">
            <a:schemeClr val="accent2"/>
          </a:lnRef>
          <a:fillRef idx="0">
            <a:schemeClr val="accent2"/>
          </a:fillRef>
          <a:effectRef idx="0">
            <a:schemeClr val="accent2"/>
          </a:effectRef>
          <a:fontRef idx="minor">
            <a:schemeClr val="tx1"/>
          </a:fontRef>
        </p:style>
      </p:cxnSp>
      <p:pic>
        <p:nvPicPr>
          <p:cNvPr id="11" name="Picture 10" descr="Icon&#10;&#10;Description automatically generated with medium confidence">
            <a:extLst>
              <a:ext uri="{FF2B5EF4-FFF2-40B4-BE49-F238E27FC236}">
                <a16:creationId xmlns:a16="http://schemas.microsoft.com/office/drawing/2014/main" id="{3490C6AC-4F50-1863-6414-09A2760FBA56}"/>
              </a:ext>
            </a:extLst>
          </p:cNvPr>
          <p:cNvPicPr>
            <a:picLocks noChangeAspect="1"/>
          </p:cNvPicPr>
          <p:nvPr/>
        </p:nvPicPr>
        <p:blipFill>
          <a:blip r:embed="rId2"/>
          <a:stretch>
            <a:fillRect/>
          </a:stretch>
        </p:blipFill>
        <p:spPr>
          <a:xfrm>
            <a:off x="764184" y="752122"/>
            <a:ext cx="2638662" cy="609953"/>
          </a:xfrm>
          <a:prstGeom prst="rect">
            <a:avLst/>
          </a:prstGeom>
        </p:spPr>
      </p:pic>
      <p:sp>
        <p:nvSpPr>
          <p:cNvPr id="13" name="Text Placeholder 16">
            <a:extLst>
              <a:ext uri="{FF2B5EF4-FFF2-40B4-BE49-F238E27FC236}">
                <a16:creationId xmlns:a16="http://schemas.microsoft.com/office/drawing/2014/main" id="{2C3178C9-C489-16D0-D17B-B47F01369824}"/>
              </a:ext>
            </a:extLst>
          </p:cNvPr>
          <p:cNvSpPr txBox="1">
            <a:spLocks/>
          </p:cNvSpPr>
          <p:nvPr/>
        </p:nvSpPr>
        <p:spPr>
          <a:xfrm>
            <a:off x="698049" y="5270499"/>
            <a:ext cx="3745514" cy="225426"/>
          </a:xfrm>
          <a:prstGeom prst="rect">
            <a:avLst/>
          </a:prstGeom>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600" b="1" dirty="0"/>
              <a:t>February 2024</a:t>
            </a:r>
          </a:p>
        </p:txBody>
      </p:sp>
      <p:pic>
        <p:nvPicPr>
          <p:cNvPr id="8" name="Picture 9">
            <a:extLst>
              <a:ext uri="{FF2B5EF4-FFF2-40B4-BE49-F238E27FC236}">
                <a16:creationId xmlns:a16="http://schemas.microsoft.com/office/drawing/2014/main" id="{EF1F2A41-7561-9E63-9530-A450E30FF4D0}"/>
              </a:ext>
            </a:extLst>
          </p:cNvPr>
          <p:cNvPicPr>
            <a:picLocks noChangeAspect="1"/>
          </p:cNvPicPr>
          <p:nvPr/>
        </p:nvPicPr>
        <p:blipFill>
          <a:blip r:embed="rId3"/>
          <a:stretch>
            <a:fillRect/>
          </a:stretch>
        </p:blipFill>
        <p:spPr>
          <a:xfrm>
            <a:off x="765959" y="5918522"/>
            <a:ext cx="1882239" cy="453919"/>
          </a:xfrm>
          <a:prstGeom prst="rect">
            <a:avLst/>
          </a:prstGeom>
        </p:spPr>
      </p:pic>
      <p:sp>
        <p:nvSpPr>
          <p:cNvPr id="10" name="Rectangle 9">
            <a:extLst>
              <a:ext uri="{FF2B5EF4-FFF2-40B4-BE49-F238E27FC236}">
                <a16:creationId xmlns:a16="http://schemas.microsoft.com/office/drawing/2014/main" id="{8E82BF4B-1095-0457-B2A8-19076AE96A6E}"/>
              </a:ext>
            </a:extLst>
          </p:cNvPr>
          <p:cNvSpPr/>
          <p:nvPr/>
        </p:nvSpPr>
        <p:spPr>
          <a:xfrm>
            <a:off x="11665527" y="6524500"/>
            <a:ext cx="251362" cy="330530"/>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err="1">
              <a:solidFill>
                <a:schemeClr val="tx1"/>
              </a:solidFill>
            </a:endParaRPr>
          </a:p>
        </p:txBody>
      </p:sp>
      <p:pic>
        <p:nvPicPr>
          <p:cNvPr id="6" name="Picture 5" descr="A map of europe with a white box&#10;&#10;Description automatically generated">
            <a:extLst>
              <a:ext uri="{FF2B5EF4-FFF2-40B4-BE49-F238E27FC236}">
                <a16:creationId xmlns:a16="http://schemas.microsoft.com/office/drawing/2014/main" id="{2A431E2D-7B55-4383-5C0E-32CD5B867E45}"/>
              </a:ext>
            </a:extLst>
          </p:cNvPr>
          <p:cNvPicPr>
            <a:picLocks noChangeAspect="1"/>
          </p:cNvPicPr>
          <p:nvPr/>
        </p:nvPicPr>
        <p:blipFill rotWithShape="1">
          <a:blip r:embed="rId4"/>
          <a:srcRect t="4167" r="3924" b="10029"/>
          <a:stretch/>
        </p:blipFill>
        <p:spPr>
          <a:xfrm>
            <a:off x="4513682" y="11097"/>
            <a:ext cx="7678318" cy="6835806"/>
          </a:xfrm>
          <a:prstGeom prst="rect">
            <a:avLst/>
          </a:prstGeom>
        </p:spPr>
      </p:pic>
      <p:grpSp>
        <p:nvGrpSpPr>
          <p:cNvPr id="12" name="Group 11">
            <a:extLst>
              <a:ext uri="{FF2B5EF4-FFF2-40B4-BE49-F238E27FC236}">
                <a16:creationId xmlns:a16="http://schemas.microsoft.com/office/drawing/2014/main" id="{B16559BC-6D1F-347F-2E00-E36EE652ED4F}"/>
              </a:ext>
            </a:extLst>
          </p:cNvPr>
          <p:cNvGrpSpPr/>
          <p:nvPr/>
        </p:nvGrpSpPr>
        <p:grpSpPr>
          <a:xfrm>
            <a:off x="553563" y="5918522"/>
            <a:ext cx="2303480" cy="453919"/>
            <a:chOff x="553563" y="5918522"/>
            <a:chExt cx="2303480" cy="453919"/>
          </a:xfrm>
        </p:grpSpPr>
        <p:sp>
          <p:nvSpPr>
            <p:cNvPr id="4" name="Rectangle 3">
              <a:extLst>
                <a:ext uri="{FF2B5EF4-FFF2-40B4-BE49-F238E27FC236}">
                  <a16:creationId xmlns:a16="http://schemas.microsoft.com/office/drawing/2014/main" id="{E474D993-65F4-BC38-F2C8-C816CF7510C7}"/>
                </a:ext>
              </a:extLst>
            </p:cNvPr>
            <p:cNvSpPr/>
            <p:nvPr/>
          </p:nvSpPr>
          <p:spPr>
            <a:xfrm>
              <a:off x="764184" y="5918522"/>
              <a:ext cx="1882239" cy="45391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3" name="TextBox 2">
              <a:extLst>
                <a:ext uri="{FF2B5EF4-FFF2-40B4-BE49-F238E27FC236}">
                  <a16:creationId xmlns:a16="http://schemas.microsoft.com/office/drawing/2014/main" id="{D3AA5D32-661A-52B1-50B1-35EA3439D0B4}"/>
                </a:ext>
              </a:extLst>
            </p:cNvPr>
            <p:cNvSpPr txBox="1"/>
            <p:nvPr/>
          </p:nvSpPr>
          <p:spPr>
            <a:xfrm>
              <a:off x="553563" y="5976204"/>
              <a:ext cx="2303480" cy="338554"/>
            </a:xfrm>
            <a:prstGeom prst="rect">
              <a:avLst/>
            </a:prstGeom>
            <a:noFill/>
            <a:ln>
              <a:noFill/>
            </a:ln>
          </p:spPr>
          <p:txBody>
            <a:bodyPr wrap="square" lIns="0" tIns="0" rIns="0" bIns="0" rtlCol="0">
              <a:spAutoFit/>
            </a:bodyPr>
            <a:lstStyle/>
            <a:p>
              <a:pPr marL="0" indent="0" algn="ctr">
                <a:spcBef>
                  <a:spcPts val="600"/>
                </a:spcBef>
                <a:buFont typeface="Wingdings" panose="05000000000000000000" pitchFamily="2" charset="2"/>
                <a:buNone/>
              </a:pPr>
              <a:r>
                <a:rPr lang="en-GB" sz="2200" b="1" dirty="0">
                  <a:solidFill>
                    <a:schemeClr val="bg1"/>
                  </a:solidFill>
                </a:rPr>
                <a:t>3</a:t>
              </a:r>
              <a:r>
                <a:rPr lang="en-GB" b="1" baseline="30000" dirty="0">
                  <a:solidFill>
                    <a:schemeClr val="bg1"/>
                  </a:solidFill>
                </a:rPr>
                <a:t>RD</a:t>
              </a:r>
              <a:r>
                <a:rPr lang="en-GB" sz="2200" b="1" dirty="0">
                  <a:solidFill>
                    <a:schemeClr val="bg1"/>
                  </a:solidFill>
                </a:rPr>
                <a:t> EDITION</a:t>
              </a:r>
            </a:p>
          </p:txBody>
        </p:sp>
      </p:grpSp>
      <p:sp>
        <p:nvSpPr>
          <p:cNvPr id="2" name="TextBox 1">
            <a:extLst>
              <a:ext uri="{FF2B5EF4-FFF2-40B4-BE49-F238E27FC236}">
                <a16:creationId xmlns:a16="http://schemas.microsoft.com/office/drawing/2014/main" id="{A1B813A5-7E8B-9621-9C7A-86E9B1C5704A}"/>
              </a:ext>
            </a:extLst>
          </p:cNvPr>
          <p:cNvSpPr txBox="1"/>
          <p:nvPr/>
        </p:nvSpPr>
        <p:spPr>
          <a:xfrm>
            <a:off x="698049" y="2206171"/>
            <a:ext cx="2638662" cy="307777"/>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2000" dirty="0">
                <a:solidFill>
                  <a:srgbClr val="FF0000"/>
                </a:solidFill>
              </a:rPr>
              <a:t>REDACTED</a:t>
            </a:r>
          </a:p>
        </p:txBody>
      </p:sp>
    </p:spTree>
    <p:extLst>
      <p:ext uri="{BB962C8B-B14F-4D97-AF65-F5344CB8AC3E}">
        <p14:creationId xmlns:p14="http://schemas.microsoft.com/office/powerpoint/2010/main" val="2091821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81C4D3-5475-534A-850F-28E0E448AEFA}"/>
              </a:ext>
            </a:extLst>
          </p:cNvPr>
          <p:cNvGraphicFramePr>
            <a:graphicFrameLocks noChangeAspect="1"/>
          </p:cNvGraphicFramePr>
          <p:nvPr>
            <p:custDataLst>
              <p:tags r:id="rId1"/>
            </p:custDataLst>
            <p:extLst>
              <p:ext uri="{D42A27DB-BD31-4B8C-83A1-F6EECF244321}">
                <p14:modId xmlns:p14="http://schemas.microsoft.com/office/powerpoint/2010/main" val="1180138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8" name="Object 7" hidden="1">
                        <a:extLst>
                          <a:ext uri="{FF2B5EF4-FFF2-40B4-BE49-F238E27FC236}">
                            <a16:creationId xmlns:a16="http://schemas.microsoft.com/office/drawing/2014/main" id="{B981C4D3-5475-534A-850F-28E0E448AEF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graphicFrame>
        <p:nvGraphicFramePr>
          <p:cNvPr id="12" name="Tabelle 7">
            <a:extLst>
              <a:ext uri="{FF2B5EF4-FFF2-40B4-BE49-F238E27FC236}">
                <a16:creationId xmlns:a16="http://schemas.microsoft.com/office/drawing/2014/main" id="{9F5C6221-E821-13C0-8AD8-E68096A18C3A}"/>
              </a:ext>
            </a:extLst>
          </p:cNvPr>
          <p:cNvGraphicFramePr>
            <a:graphicFrameLocks noGrp="1"/>
          </p:cNvGraphicFramePr>
          <p:nvPr>
            <p:custDataLst>
              <p:tags r:id="rId2"/>
            </p:custDataLst>
            <p:extLst>
              <p:ext uri="{D42A27DB-BD31-4B8C-83A1-F6EECF244321}">
                <p14:modId xmlns:p14="http://schemas.microsoft.com/office/powerpoint/2010/main" val="3425992123"/>
              </p:ext>
            </p:extLst>
          </p:nvPr>
        </p:nvGraphicFramePr>
        <p:xfrm>
          <a:off x="394898" y="1514672"/>
          <a:ext cx="5410800" cy="4569260"/>
        </p:xfrm>
        <a:graphic>
          <a:graphicData uri="http://schemas.openxmlformats.org/drawingml/2006/table">
            <a:tbl>
              <a:tblPr firstRow="1" bandRow="1">
                <a:effectLst/>
                <a:tableStyleId>{5C22544A-7EE6-4342-B048-85BDC9FD1C3A}</a:tableStyleId>
              </a:tblPr>
              <a:tblGrid>
                <a:gridCol w="1270800">
                  <a:extLst>
                    <a:ext uri="{9D8B030D-6E8A-4147-A177-3AD203B41FA5}">
                      <a16:colId xmlns:a16="http://schemas.microsoft.com/office/drawing/2014/main" val="20000"/>
                    </a:ext>
                  </a:extLst>
                </a:gridCol>
                <a:gridCol w="4140000">
                  <a:extLst>
                    <a:ext uri="{9D8B030D-6E8A-4147-A177-3AD203B41FA5}">
                      <a16:colId xmlns:a16="http://schemas.microsoft.com/office/drawing/2014/main" val="1959900281"/>
                    </a:ext>
                  </a:extLst>
                </a:gridCol>
              </a:tblGrid>
              <a:tr h="393466">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0" marR="54000" marT="36000" marB="3600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b="1">
                          <a:solidFill>
                            <a:schemeClr val="tx1"/>
                          </a:solidFill>
                        </a:rPr>
                        <a:t>Average composition of gross margin stack</a:t>
                      </a:r>
                      <a:endPar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9039608"/>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22823"/>
                  </a:ext>
                </a:extLst>
              </a:tr>
              <a:tr h="298271">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1278944"/>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3783319"/>
                  </a:ext>
                </a:extLst>
              </a:tr>
              <a:tr h="298271">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9458741"/>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36829"/>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159696"/>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070125"/>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666078"/>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1443466"/>
                  </a:ext>
                </a:extLst>
              </a:tr>
              <a:tr h="298271">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710756"/>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4028671"/>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0934554"/>
                  </a:ext>
                </a:extLst>
              </a:tr>
              <a:tr h="29827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4632688"/>
                  </a:ext>
                </a:extLst>
              </a:tr>
            </a:tbl>
          </a:graphicData>
        </a:graphic>
      </p:graphicFrame>
      <p:sp>
        <p:nvSpPr>
          <p:cNvPr id="2" name="Text Placeholder 1">
            <a:extLst>
              <a:ext uri="{FF2B5EF4-FFF2-40B4-BE49-F238E27FC236}">
                <a16:creationId xmlns:a16="http://schemas.microsoft.com/office/drawing/2014/main" id="{E4851509-7E2E-C738-DF90-647CBD031F3D}"/>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4" name="Title 3">
            <a:extLst>
              <a:ext uri="{FF2B5EF4-FFF2-40B4-BE49-F238E27FC236}">
                <a16:creationId xmlns:a16="http://schemas.microsoft.com/office/drawing/2014/main" id="{CF9A90AB-2AB3-A289-9EE3-D514F6657406}"/>
              </a:ext>
            </a:extLst>
          </p:cNvPr>
          <p:cNvSpPr>
            <a:spLocks noGrp="1"/>
          </p:cNvSpPr>
          <p:nvPr>
            <p:ph type="title"/>
          </p:nvPr>
        </p:nvSpPr>
        <p:spPr>
          <a:xfrm>
            <a:off x="381599" y="411856"/>
            <a:ext cx="9219601" cy="609398"/>
          </a:xfrm>
        </p:spPr>
        <p:txBody>
          <a:bodyPr vert="horz"/>
          <a:lstStyle/>
          <a:p>
            <a:r>
              <a:rPr lang="en-GB"/>
              <a:t>Energy arbitrage offers the most valuable margins for batteries in many European countries, followed by capacity payments for ancillary services</a:t>
            </a:r>
          </a:p>
        </p:txBody>
      </p:sp>
      <p:sp>
        <p:nvSpPr>
          <p:cNvPr id="16" name="Text Placeholder 15">
            <a:extLst>
              <a:ext uri="{FF2B5EF4-FFF2-40B4-BE49-F238E27FC236}">
                <a16:creationId xmlns:a16="http://schemas.microsoft.com/office/drawing/2014/main" id="{F4346A8B-739D-B83F-B178-BF15BB5E4029}"/>
              </a:ext>
            </a:extLst>
          </p:cNvPr>
          <p:cNvSpPr>
            <a:spLocks noGrp="1"/>
          </p:cNvSpPr>
          <p:nvPr>
            <p:ph type="body" sz="quarter" idx="32"/>
          </p:nvPr>
        </p:nvSpPr>
        <p:spPr>
          <a:xfrm>
            <a:off x="381600" y="6474841"/>
            <a:ext cx="11428800" cy="221599"/>
          </a:xfrm>
        </p:spPr>
        <p:txBody>
          <a:bodyPr/>
          <a:lstStyle/>
          <a:p>
            <a:r>
              <a:rPr lang="en-GB"/>
              <a:t>4) Includes fast frequency products with full activation time &lt; 10 minutes such as FFR, FCR and </a:t>
            </a:r>
            <a:r>
              <a:rPr lang="en-GB" err="1"/>
              <a:t>aFRR</a:t>
            </a:r>
            <a:r>
              <a:rPr lang="en-GB"/>
              <a:t>; 5) Includes Balancing Mechanisms in Great Britain and Ireland and slower frequency products with full activation time &gt; 10 minutes such as </a:t>
            </a:r>
            <a:r>
              <a:rPr lang="en-GB" err="1"/>
              <a:t>mFRR</a:t>
            </a:r>
            <a:r>
              <a:rPr lang="en-GB"/>
              <a:t>, RR, Secondary/Tertiary Reserves within Italy’s MSD, and reactive balancing in Belgium and the Netherlands. </a:t>
            </a:r>
          </a:p>
        </p:txBody>
      </p:sp>
      <p:sp>
        <p:nvSpPr>
          <p:cNvPr id="25" name="Text Placeholder 11">
            <a:extLst>
              <a:ext uri="{FF2B5EF4-FFF2-40B4-BE49-F238E27FC236}">
                <a16:creationId xmlns:a16="http://schemas.microsoft.com/office/drawing/2014/main" id="{4A6EB60B-DBE5-0A24-1FFE-AE291E8D6682}"/>
              </a:ext>
            </a:extLst>
          </p:cNvPr>
          <p:cNvSpPr txBox="1">
            <a:spLocks/>
          </p:cNvSpPr>
          <p:nvPr/>
        </p:nvSpPr>
        <p:spPr>
          <a:xfrm>
            <a:off x="380998" y="1270549"/>
            <a:ext cx="5715001"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sng"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Summary of gross margin stack market composition</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of 2027 – 2041, 2h duration batteries</a:t>
            </a:r>
            <a:endParaRPr kumimoji="0" lang="en-GB" sz="1200" b="0" i="0" u="sng"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11" name="Text Placeholder 13">
            <a:extLst>
              <a:ext uri="{FF2B5EF4-FFF2-40B4-BE49-F238E27FC236}">
                <a16:creationId xmlns:a16="http://schemas.microsoft.com/office/drawing/2014/main" id="{6D7A51E5-FED1-4BF8-B47D-FCC4AFF3D986}"/>
              </a:ext>
            </a:extLst>
          </p:cNvPr>
          <p:cNvSpPr txBox="1">
            <a:spLocks/>
          </p:cNvSpPr>
          <p:nvPr/>
        </p:nvSpPr>
        <p:spPr>
          <a:xfrm>
            <a:off x="381599" y="79401"/>
            <a:ext cx="1561646"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Executive Summary</a:t>
            </a:r>
          </a:p>
        </p:txBody>
      </p:sp>
      <p:sp>
        <p:nvSpPr>
          <p:cNvPr id="99" name="Oval 9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graphicFrame>
        <p:nvGraphicFramePr>
          <p:cNvPr id="37" name="Chart 36">
            <a:extLst>
              <a:ext uri="{FF2B5EF4-FFF2-40B4-BE49-F238E27FC236}">
                <a16:creationId xmlns:a16="http://schemas.microsoft.com/office/drawing/2014/main" id="{45013394-25D9-CB52-3044-B941F37B5375}"/>
              </a:ext>
            </a:extLst>
          </p:cNvPr>
          <p:cNvGraphicFramePr/>
          <p:nvPr>
            <p:custDataLst>
              <p:tags r:id="rId3"/>
            </p:custDataLst>
            <p:extLst>
              <p:ext uri="{D42A27DB-BD31-4B8C-83A1-F6EECF244321}">
                <p14:modId xmlns:p14="http://schemas.microsoft.com/office/powerpoint/2010/main" val="3777144134"/>
              </p:ext>
            </p:extLst>
          </p:nvPr>
        </p:nvGraphicFramePr>
        <p:xfrm>
          <a:off x="1633538" y="1819275"/>
          <a:ext cx="4254500" cy="4343400"/>
        </p:xfrm>
        <a:graphic>
          <a:graphicData uri="http://schemas.openxmlformats.org/drawingml/2006/chart">
            <c:chart xmlns:c="http://schemas.openxmlformats.org/drawingml/2006/chart" xmlns:r="http://schemas.openxmlformats.org/officeDocument/2006/relationships" r:id="rId18"/>
          </a:graphicData>
        </a:graphic>
      </p:graphicFrame>
      <p:cxnSp>
        <p:nvCxnSpPr>
          <p:cNvPr id="20" name="Straight Connector 19">
            <a:extLst>
              <a:ext uri="{FF2B5EF4-FFF2-40B4-BE49-F238E27FC236}">
                <a16:creationId xmlns:a16="http://schemas.microsoft.com/office/drawing/2014/main" id="{0BD7542D-6139-F4FD-E71E-5F7EFA6C339C}"/>
              </a:ext>
            </a:extLst>
          </p:cNvPr>
          <p:cNvCxnSpPr/>
          <p:nvPr>
            <p:custDataLst>
              <p:tags r:id="rId4"/>
            </p:custDataLst>
          </p:nvPr>
        </p:nvCxnSpPr>
        <p:spPr bwMode="white">
          <a:xfrm>
            <a:off x="5610225" y="3459163"/>
            <a:ext cx="0" cy="166687"/>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0" name="Rectangle 269">
            <a:extLst>
              <a:ext uri="{FF2B5EF4-FFF2-40B4-BE49-F238E27FC236}">
                <a16:creationId xmlns:a16="http://schemas.microsoft.com/office/drawing/2014/main" id="{8FB79920-8FA1-10D2-8CCC-F0B8328578DE}"/>
              </a:ext>
            </a:extLst>
          </p:cNvPr>
          <p:cNvSpPr/>
          <p:nvPr>
            <p:custDataLst>
              <p:tags r:id="rId5"/>
            </p:custDataLst>
          </p:nvPr>
        </p:nvSpPr>
        <p:spPr bwMode="auto">
          <a:xfrm>
            <a:off x="446088" y="6267450"/>
            <a:ext cx="179388" cy="1333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71" name="Rectangle 270">
            <a:extLst>
              <a:ext uri="{FF2B5EF4-FFF2-40B4-BE49-F238E27FC236}">
                <a16:creationId xmlns:a16="http://schemas.microsoft.com/office/drawing/2014/main" id="{9F64AD04-A3B4-00E6-9131-8F7ACE93E457}"/>
              </a:ext>
            </a:extLst>
          </p:cNvPr>
          <p:cNvSpPr/>
          <p:nvPr>
            <p:custDataLst>
              <p:tags r:id="rId6"/>
            </p:custDataLst>
          </p:nvPr>
        </p:nvSpPr>
        <p:spPr bwMode="auto">
          <a:xfrm>
            <a:off x="4748213" y="6267450"/>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72" name="Rectangle 271">
            <a:extLst>
              <a:ext uri="{FF2B5EF4-FFF2-40B4-BE49-F238E27FC236}">
                <a16:creationId xmlns:a16="http://schemas.microsoft.com/office/drawing/2014/main" id="{AFF7EC8C-42D7-58A1-B44D-06FBAD7CAC49}"/>
              </a:ext>
            </a:extLst>
          </p:cNvPr>
          <p:cNvSpPr/>
          <p:nvPr>
            <p:custDataLst>
              <p:tags r:id="rId7"/>
            </p:custDataLst>
          </p:nvPr>
        </p:nvSpPr>
        <p:spPr bwMode="auto">
          <a:xfrm>
            <a:off x="6584950" y="6267450"/>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73" name="Rectangle 272">
            <a:extLst>
              <a:ext uri="{FF2B5EF4-FFF2-40B4-BE49-F238E27FC236}">
                <a16:creationId xmlns:a16="http://schemas.microsoft.com/office/drawing/2014/main" id="{79489D40-C489-7A05-2BDD-55DFDA0DB6FE}"/>
              </a:ext>
            </a:extLst>
          </p:cNvPr>
          <p:cNvSpPr/>
          <p:nvPr>
            <p:custDataLst>
              <p:tags r:id="rId8"/>
            </p:custDataLst>
          </p:nvPr>
        </p:nvSpPr>
        <p:spPr bwMode="auto">
          <a:xfrm>
            <a:off x="9131300" y="6267450"/>
            <a:ext cx="179388" cy="133350"/>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64"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auto">
          <a:xfrm>
            <a:off x="676274" y="6262688"/>
            <a:ext cx="3970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Energy arbitrage (Wholesale + Ancillary Services</a:t>
            </a:r>
            <a:r>
              <a:rPr lang="en-GB" altLang="en-US" sz="1000" baseline="30000">
                <a:solidFill>
                  <a:srgbClr val="3C3C3B"/>
                </a:solidFill>
                <a:latin typeface="Lato"/>
                <a:ea typeface="+mn-ea"/>
                <a:cs typeface="+mn-cs"/>
              </a:rPr>
              <a:t>4</a:t>
            </a:r>
            <a:r>
              <a:rPr kumimoji="0" lang="en-GB" altLang="en-US"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 + Balancing</a:t>
            </a:r>
            <a:r>
              <a:rPr lang="en-GB" altLang="en-US" sz="1000">
                <a:solidFill>
                  <a:srgbClr val="3C3C3B"/>
                </a:solidFill>
                <a:latin typeface="Lato"/>
                <a:ea typeface="+mn-ea"/>
                <a:cs typeface="+mn-cs"/>
              </a:rPr>
              <a:t>  </a:t>
            </a:r>
            <a:r>
              <a:rPr kumimoji="0" lang="en-GB" altLang="en-US"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services</a:t>
            </a:r>
            <a:r>
              <a:rPr lang="en-GB" altLang="en-US" sz="1000" baseline="30000">
                <a:solidFill>
                  <a:srgbClr val="3C3C3B"/>
                </a:solidFill>
                <a:latin typeface="Lato"/>
                <a:ea typeface="+mn-ea"/>
                <a:cs typeface="+mn-cs"/>
              </a:rPr>
              <a:t>5</a:t>
            </a:r>
            <a:r>
              <a:rPr kumimoji="0" lang="en-GB" altLang="en-US"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a:t>
            </a:r>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68"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auto">
          <a:xfrm>
            <a:off x="4978400" y="6262688"/>
            <a:ext cx="1504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3FF0F2E-26B4-4EF8-BEF4-2F400F758CEF}" type="datetime'''Capa''cit''y M''arke''t'' ''Pa''''''ym''ent''s'''''''''">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apacity Market Payments</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67"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auto">
          <a:xfrm>
            <a:off x="6815138" y="6262688"/>
            <a:ext cx="2214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CCD3778-0EBB-4D3A-BC96-491F86EB9E4E}" type="datetime'Capa''''city paym''ents for a''''n''ci''llary s''e''rvi''ces'">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apacity payments for ancillary services</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66"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auto">
          <a:xfrm>
            <a:off x="9361488" y="6262688"/>
            <a:ext cx="1344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FD2BCDF-44D3-4876-9210-4B71AEDC9C3B}" type="datetime'''O''''t''h''er'' An''''cil''l''''''''''a''ry'' ''Market''s'''">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Other Ancillary Markets</a:t>
            </a:fld>
            <a:endParaRPr kumimoji="0" lang="en-GB" sz="1000" b="0" i="0" u="none" strike="noStrike" kern="1200" cap="none" spc="0" normalizeH="0" noProof="0">
              <a:ln>
                <a:noFill/>
              </a:ln>
              <a:solidFill>
                <a:srgbClr val="3C3C3B"/>
              </a:solidFill>
              <a:effectLst/>
              <a:uLnTx/>
              <a:uFillTx/>
              <a:latin typeface="Lato"/>
              <a:ea typeface="+mn-ea"/>
              <a:cs typeface="+mn-cs"/>
              <a:sym typeface="Lato" panose="020F0502020204030203" pitchFamily="34" charset="0"/>
            </a:endParaRPr>
          </a:p>
        </p:txBody>
      </p:sp>
      <p:sp>
        <p:nvSpPr>
          <p:cNvPr id="5" name="Text Placeholder 4">
            <a:extLst>
              <a:ext uri="{FF2B5EF4-FFF2-40B4-BE49-F238E27FC236}">
                <a16:creationId xmlns:a16="http://schemas.microsoft.com/office/drawing/2014/main" id="{1FB8B494-7075-4E1C-4124-888C6D3E032E}"/>
              </a:ext>
            </a:extLst>
          </p:cNvPr>
          <p:cNvSpPr txBox="1">
            <a:spLocks/>
          </p:cNvSpPr>
          <p:nvPr/>
        </p:nvSpPr>
        <p:spPr>
          <a:xfrm>
            <a:off x="6425601" y="1251714"/>
            <a:ext cx="5371501" cy="4815519"/>
          </a:xfrm>
          <a:prstGeom prst="rect">
            <a:avLst/>
          </a:prstGeom>
          <a:solidFill>
            <a:schemeClr val="bg1"/>
          </a:solidFill>
        </p:spPr>
        <p:txBody>
          <a:bodyPr vert="horz" lIns="0" tIns="72000" rIns="72000" bIns="7200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2880" indent="-182880">
              <a:buFont typeface="Wingdings" panose="05000000000000000000" pitchFamily="2" charset="2"/>
              <a:buChar char="§"/>
            </a:pPr>
            <a:r>
              <a:rPr lang="en-GB">
                <a:latin typeface="Lato"/>
                <a:ea typeface="Lato"/>
                <a:cs typeface="Lato"/>
              </a:rPr>
              <a:t>The wholesale market has typically served as the primary revenue stream for battery storage however, rising competition dampens its attractiveness.</a:t>
            </a:r>
          </a:p>
          <a:p>
            <a:pPr marL="182880" indent="-182880">
              <a:buFont typeface="Wingdings" panose="05000000000000000000" pitchFamily="2" charset="2"/>
              <a:buChar char="§"/>
            </a:pPr>
            <a:r>
              <a:rPr lang="en-GB">
                <a:latin typeface="Lato"/>
                <a:ea typeface="Lato"/>
                <a:cs typeface="Lato"/>
              </a:rPr>
              <a:t>In markets with </a:t>
            </a:r>
            <a:r>
              <a:rPr lang="en-GB">
                <a:highlight>
                  <a:srgbClr val="808080"/>
                </a:highlight>
              </a:rPr>
              <a:t>                            </a:t>
            </a:r>
            <a:r>
              <a:rPr lang="en-GB">
                <a:latin typeface="Lato"/>
                <a:ea typeface="Lato"/>
                <a:cs typeface="Lato"/>
              </a:rPr>
              <a:t>(e.g. high baseload generation in </a:t>
            </a:r>
            <a:r>
              <a:rPr lang="en-GB" b="1">
                <a:solidFill>
                  <a:srgbClr val="808080"/>
                </a:solidFill>
                <a:highlight>
                  <a:srgbClr val="808080"/>
                </a:highlight>
              </a:rPr>
              <a:t>XXXX</a:t>
            </a:r>
            <a:r>
              <a:rPr lang="en-GB">
                <a:latin typeface="Lato"/>
                <a:ea typeface="Lato"/>
                <a:cs typeface="Lato"/>
              </a:rPr>
              <a:t> and nuclear in </a:t>
            </a:r>
            <a:r>
              <a:rPr lang="en-GB" b="1">
                <a:solidFill>
                  <a:srgbClr val="808080"/>
                </a:solidFill>
                <a:highlight>
                  <a:srgbClr val="808080"/>
                </a:highlight>
              </a:rPr>
              <a:t>XXXX</a:t>
            </a:r>
            <a:r>
              <a:rPr lang="en-GB">
                <a:latin typeface="Lato"/>
                <a:ea typeface="Lato"/>
                <a:cs typeface="Lato"/>
              </a:rPr>
              <a:t>), energy arbitrage in the wholesale market is less attractive for batteries due to low price spreads.</a:t>
            </a:r>
          </a:p>
          <a:p>
            <a:pPr marL="182880" indent="-182880">
              <a:buFont typeface="Wingdings" panose="05000000000000000000" pitchFamily="2" charset="2"/>
              <a:buChar char="§"/>
            </a:pPr>
            <a:r>
              <a:rPr lang="en-GB">
                <a:latin typeface="Lato"/>
                <a:ea typeface="Lato"/>
                <a:cs typeface="Lato"/>
              </a:rPr>
              <a:t>Capacity markets (CM) in </a:t>
            </a:r>
            <a:r>
              <a:rPr lang="en-GB" b="1">
                <a:solidFill>
                  <a:srgbClr val="808080"/>
                </a:solidFill>
                <a:highlight>
                  <a:srgbClr val="808080"/>
                </a:highlight>
              </a:rPr>
              <a:t>XXXX</a:t>
            </a:r>
            <a:r>
              <a:rPr lang="en-GB">
                <a:latin typeface="Lato"/>
                <a:ea typeface="Lato"/>
                <a:cs typeface="Lato"/>
              </a:rPr>
              <a:t>, </a:t>
            </a:r>
            <a:r>
              <a:rPr lang="en-GB" b="1">
                <a:solidFill>
                  <a:srgbClr val="808080"/>
                </a:solidFill>
                <a:highlight>
                  <a:srgbClr val="808080"/>
                </a:highlight>
              </a:rPr>
              <a:t>XXXX</a:t>
            </a:r>
            <a:r>
              <a:rPr lang="en-GB">
                <a:latin typeface="Lato"/>
                <a:ea typeface="Lato"/>
                <a:cs typeface="Lato"/>
              </a:rPr>
              <a:t>, </a:t>
            </a:r>
            <a:r>
              <a:rPr lang="en-GB" b="1">
                <a:solidFill>
                  <a:srgbClr val="808080"/>
                </a:solidFill>
                <a:highlight>
                  <a:srgbClr val="808080"/>
                </a:highlight>
              </a:rPr>
              <a:t>XXXX</a:t>
            </a:r>
            <a:r>
              <a:rPr lang="en-GB">
                <a:latin typeface="Lato"/>
                <a:ea typeface="Lato"/>
                <a:cs typeface="Lato"/>
              </a:rPr>
              <a:t>, </a:t>
            </a:r>
            <a:r>
              <a:rPr lang="en-GB" b="1">
                <a:solidFill>
                  <a:srgbClr val="808080"/>
                </a:solidFill>
                <a:highlight>
                  <a:srgbClr val="808080"/>
                </a:highlight>
              </a:rPr>
              <a:t>XXXX</a:t>
            </a:r>
            <a:r>
              <a:rPr lang="en-GB">
                <a:latin typeface="Lato"/>
                <a:ea typeface="Lato"/>
                <a:cs typeface="Lato"/>
              </a:rPr>
              <a:t>, </a:t>
            </a:r>
            <a:r>
              <a:rPr lang="en-GB" b="1">
                <a:solidFill>
                  <a:srgbClr val="808080"/>
                </a:solidFill>
                <a:highlight>
                  <a:srgbClr val="808080"/>
                </a:highlight>
              </a:rPr>
              <a:t>XXXX</a:t>
            </a:r>
            <a:r>
              <a:rPr lang="en-GB">
                <a:latin typeface="Lato"/>
                <a:ea typeface="Lato"/>
                <a:cs typeface="Lato"/>
              </a:rPr>
              <a:t>, </a:t>
            </a:r>
            <a:r>
              <a:rPr lang="en-GB" b="1">
                <a:solidFill>
                  <a:srgbClr val="808080"/>
                </a:solidFill>
                <a:highlight>
                  <a:srgbClr val="808080"/>
                </a:highlight>
              </a:rPr>
              <a:t>XXXX</a:t>
            </a:r>
            <a:r>
              <a:rPr lang="en-GB">
                <a:latin typeface="Lato"/>
                <a:ea typeface="Lato"/>
                <a:cs typeface="Lato"/>
              </a:rPr>
              <a:t>, and </a:t>
            </a:r>
            <a:r>
              <a:rPr lang="en-GB" b="1">
                <a:solidFill>
                  <a:srgbClr val="808080"/>
                </a:solidFill>
                <a:highlight>
                  <a:srgbClr val="808080"/>
                </a:highlight>
              </a:rPr>
              <a:t>XXXX</a:t>
            </a:r>
            <a:r>
              <a:rPr lang="en-GB">
                <a:latin typeface="Lato"/>
                <a:ea typeface="Lato"/>
                <a:cs typeface="Lato"/>
              </a:rPr>
              <a:t> improve batteries’ profitability to varying degrees. The </a:t>
            </a:r>
            <a:r>
              <a:rPr lang="en-GB" b="1">
                <a:solidFill>
                  <a:srgbClr val="808080"/>
                </a:solidFill>
                <a:highlight>
                  <a:srgbClr val="808080"/>
                </a:highlight>
              </a:rPr>
              <a:t>XXXX</a:t>
            </a:r>
            <a:r>
              <a:rPr lang="en-GB">
                <a:latin typeface="Lato"/>
                <a:ea typeface="Lato"/>
                <a:cs typeface="Lato"/>
              </a:rPr>
              <a:t> CM has favourable regulations in particular, as derating factors remain high at </a:t>
            </a:r>
            <a:r>
              <a:rPr lang="en-GB" b="1">
                <a:solidFill>
                  <a:srgbClr val="808080"/>
                </a:solidFill>
                <a:highlight>
                  <a:srgbClr val="808080"/>
                </a:highlight>
              </a:rPr>
              <a:t>XXXX </a:t>
            </a:r>
            <a:r>
              <a:rPr lang="en-GB">
                <a:latin typeface="Lato"/>
                <a:ea typeface="Lato"/>
                <a:cs typeface="Lato"/>
              </a:rPr>
              <a:t>% for 4hr batteries and </a:t>
            </a:r>
            <a:r>
              <a:rPr lang="en-GB" b="1">
                <a:solidFill>
                  <a:srgbClr val="808080"/>
                </a:solidFill>
                <a:highlight>
                  <a:srgbClr val="808080"/>
                </a:highlight>
              </a:rPr>
              <a:t>XXXX </a:t>
            </a:r>
            <a:r>
              <a:rPr lang="en-GB">
                <a:latin typeface="Lato"/>
                <a:ea typeface="Lato"/>
                <a:cs typeface="Lato"/>
              </a:rPr>
              <a:t>% for 2hr batteries.  </a:t>
            </a:r>
            <a:endParaRPr lang="en-GB"/>
          </a:p>
          <a:p>
            <a:pPr marL="182880" indent="-182880">
              <a:buFont typeface="Wingdings" panose="05000000000000000000" pitchFamily="2" charset="2"/>
              <a:buChar char="§"/>
            </a:pPr>
            <a:r>
              <a:rPr lang="en-GB">
                <a:latin typeface="Lato"/>
                <a:ea typeface="Lato"/>
                <a:cs typeface="Lato"/>
              </a:rPr>
              <a:t>In many countries, energy arbitrage between energy-remunerated ancillary services</a:t>
            </a:r>
            <a:r>
              <a:rPr lang="en-GB" baseline="30000">
                <a:latin typeface="Lato"/>
                <a:ea typeface="Lato"/>
                <a:cs typeface="Lato"/>
              </a:rPr>
              <a:t>5</a:t>
            </a:r>
            <a:r>
              <a:rPr lang="en-GB">
                <a:latin typeface="Lato"/>
                <a:ea typeface="Lato"/>
                <a:cs typeface="Lato"/>
              </a:rPr>
              <a:t>, wholesale and balancing markets</a:t>
            </a:r>
            <a:r>
              <a:rPr lang="en-GB" baseline="30000">
                <a:latin typeface="Lato"/>
                <a:ea typeface="Lato"/>
                <a:cs typeface="Lato"/>
              </a:rPr>
              <a:t>6</a:t>
            </a:r>
            <a:r>
              <a:rPr lang="en-GB">
                <a:latin typeface="Lato"/>
                <a:ea typeface="Lato"/>
                <a:cs typeface="Lato"/>
              </a:rPr>
              <a:t> tends to be the most valuable for batteries, enabling them to optimise high spreads across markets.</a:t>
            </a:r>
          </a:p>
          <a:p>
            <a:pPr marL="182880" indent="-182880">
              <a:buFont typeface="Wingdings" panose="05000000000000000000" pitchFamily="2" charset="2"/>
              <a:buChar char="§"/>
            </a:pPr>
            <a:r>
              <a:rPr lang="en-GB">
                <a:latin typeface="Lato"/>
                <a:ea typeface="Lato"/>
                <a:cs typeface="Lato"/>
              </a:rPr>
              <a:t>In more mature markets (e.g. </a:t>
            </a:r>
            <a:r>
              <a:rPr lang="en-GB" b="1">
                <a:solidFill>
                  <a:srgbClr val="808080"/>
                </a:solidFill>
                <a:highlight>
                  <a:srgbClr val="808080"/>
                </a:highlight>
              </a:rPr>
              <a:t>XXXX</a:t>
            </a:r>
            <a:r>
              <a:rPr lang="en-GB">
                <a:latin typeface="Lato"/>
                <a:ea typeface="Lato"/>
                <a:cs typeface="Lato"/>
              </a:rPr>
              <a:t>), frequency services tend to already be saturated or will likely saturate early.</a:t>
            </a:r>
          </a:p>
          <a:p>
            <a:pPr marL="182880" indent="-182880">
              <a:buFont typeface="Wingdings" panose="05000000000000000000" pitchFamily="2" charset="2"/>
              <a:buChar char="§"/>
            </a:pPr>
            <a:r>
              <a:rPr lang="en-GB">
                <a:latin typeface="Lato"/>
                <a:ea typeface="Lato"/>
                <a:cs typeface="Lato"/>
              </a:rPr>
              <a:t>Batteries in </a:t>
            </a:r>
            <a:r>
              <a:rPr lang="en-GB" b="1">
                <a:solidFill>
                  <a:srgbClr val="808080"/>
                </a:solidFill>
                <a:highlight>
                  <a:srgbClr val="808080"/>
                </a:highlight>
              </a:rPr>
              <a:t>XXXX</a:t>
            </a:r>
            <a:r>
              <a:rPr lang="en-GB">
                <a:latin typeface="Lato"/>
                <a:ea typeface="Lato"/>
                <a:cs typeface="Lato"/>
              </a:rPr>
              <a:t> currently benefit from very high prices in the </a:t>
            </a:r>
            <a:r>
              <a:rPr lang="en-GB" b="1">
                <a:solidFill>
                  <a:srgbClr val="808080"/>
                </a:solidFill>
                <a:highlight>
                  <a:srgbClr val="808080"/>
                </a:highlight>
              </a:rPr>
              <a:t>XXXX</a:t>
            </a:r>
            <a:r>
              <a:rPr lang="en-GB">
                <a:latin typeface="Lato"/>
                <a:ea typeface="Lato"/>
                <a:cs typeface="Lato"/>
              </a:rPr>
              <a:t> </a:t>
            </a:r>
            <a:r>
              <a:rPr lang="en-GB" b="1">
                <a:solidFill>
                  <a:srgbClr val="808080"/>
                </a:solidFill>
                <a:highlight>
                  <a:srgbClr val="808080"/>
                </a:highlight>
              </a:rPr>
              <a:t>XXXX</a:t>
            </a:r>
            <a:r>
              <a:rPr lang="en-GB">
                <a:latin typeface="Lato"/>
                <a:ea typeface="Lato"/>
                <a:cs typeface="Lato"/>
              </a:rPr>
              <a:t>; this is expected to change once </a:t>
            </a:r>
            <a:r>
              <a:rPr lang="en-GB" b="1">
                <a:solidFill>
                  <a:srgbClr val="808080"/>
                </a:solidFill>
                <a:highlight>
                  <a:srgbClr val="808080"/>
                </a:highlight>
              </a:rPr>
              <a:t>XXXX </a:t>
            </a:r>
            <a:r>
              <a:rPr lang="en-GB">
                <a:latin typeface="Lato"/>
                <a:ea typeface="Lato"/>
                <a:cs typeface="Lato"/>
              </a:rPr>
              <a:t>in Apr-26 and </a:t>
            </a:r>
            <a:r>
              <a:rPr lang="en-GB" b="1">
                <a:solidFill>
                  <a:srgbClr val="808080"/>
                </a:solidFill>
                <a:highlight>
                  <a:srgbClr val="808080"/>
                </a:highlight>
              </a:rPr>
              <a:t>XXXX  </a:t>
            </a:r>
            <a:r>
              <a:rPr lang="en-GB" b="1">
                <a:solidFill>
                  <a:srgbClr val="808080"/>
                </a:solidFill>
              </a:rPr>
              <a:t> </a:t>
            </a:r>
            <a:r>
              <a:rPr lang="en-GB">
                <a:latin typeface="Lato"/>
                <a:ea typeface="Lato"/>
                <a:cs typeface="Lato"/>
              </a:rPr>
              <a:t>in Dec-26. </a:t>
            </a:r>
          </a:p>
          <a:p>
            <a:pPr marL="182880" indent="-182880">
              <a:buFont typeface="Wingdings" panose="05000000000000000000" pitchFamily="2" charset="2"/>
              <a:buChar char="§"/>
            </a:pPr>
            <a:r>
              <a:rPr lang="en-GB">
                <a:latin typeface="Lato"/>
                <a:ea typeface="Lato"/>
                <a:cs typeface="Lato"/>
              </a:rPr>
              <a:t>In </a:t>
            </a:r>
            <a:r>
              <a:rPr lang="en-GB" b="1">
                <a:solidFill>
                  <a:srgbClr val="808080"/>
                </a:solidFill>
                <a:highlight>
                  <a:srgbClr val="808080"/>
                </a:highlight>
              </a:rPr>
              <a:t>XXXX</a:t>
            </a:r>
            <a:r>
              <a:rPr lang="en-GB">
                <a:latin typeface="Lato"/>
                <a:ea typeface="Lato"/>
                <a:cs typeface="Lato"/>
              </a:rPr>
              <a:t>, batteries are assumed to rely on revenues from </a:t>
            </a:r>
            <a:r>
              <a:rPr lang="en-GB" b="1">
                <a:solidFill>
                  <a:srgbClr val="808080"/>
                </a:solidFill>
                <a:highlight>
                  <a:srgbClr val="808080"/>
                </a:highlight>
              </a:rPr>
              <a:t>XXXX</a:t>
            </a:r>
            <a:r>
              <a:rPr lang="en-GB">
                <a:latin typeface="Lato"/>
                <a:ea typeface="Lato"/>
                <a:cs typeface="Lato"/>
              </a:rPr>
              <a:t>, however, its relative importance varies strongly by </a:t>
            </a:r>
            <a:r>
              <a:rPr lang="en-GB" b="1">
                <a:solidFill>
                  <a:srgbClr val="808080"/>
                </a:solidFill>
                <a:highlight>
                  <a:srgbClr val="808080"/>
                </a:highlight>
              </a:rPr>
              <a:t>XXXX</a:t>
            </a:r>
            <a:r>
              <a:rPr lang="en-GB">
                <a:latin typeface="Lato"/>
                <a:ea typeface="Lato"/>
                <a:cs typeface="Lato"/>
              </a:rPr>
              <a:t>.</a:t>
            </a:r>
          </a:p>
          <a:p>
            <a:pPr marL="182880" indent="-182880">
              <a:buFont typeface="Wingdings" panose="05000000000000000000" pitchFamily="2" charset="2"/>
              <a:buChar char="§"/>
            </a:pPr>
            <a:r>
              <a:rPr lang="en-GB">
                <a:latin typeface="Lato"/>
                <a:ea typeface="Lato"/>
                <a:cs typeface="Lato"/>
              </a:rPr>
              <a:t>While other balancing services (the </a:t>
            </a:r>
            <a:r>
              <a:rPr lang="en-GB" err="1">
                <a:latin typeface="Lato"/>
                <a:ea typeface="Lato"/>
                <a:cs typeface="Lato"/>
              </a:rPr>
              <a:t>mFRR</a:t>
            </a:r>
            <a:r>
              <a:rPr lang="en-GB">
                <a:latin typeface="Lato"/>
                <a:ea typeface="Lato"/>
                <a:cs typeface="Lato"/>
              </a:rPr>
              <a:t> and Replacement Reserve (RR) services) are most lucrative in </a:t>
            </a:r>
            <a:r>
              <a:rPr lang="en-GB" b="1">
                <a:solidFill>
                  <a:srgbClr val="808080"/>
                </a:solidFill>
                <a:highlight>
                  <a:srgbClr val="808080"/>
                </a:highlight>
              </a:rPr>
              <a:t>XXXX</a:t>
            </a:r>
            <a:r>
              <a:rPr lang="en-GB">
                <a:latin typeface="Lato"/>
                <a:ea typeface="Lato"/>
                <a:cs typeface="Lato"/>
              </a:rPr>
              <a:t>, battery storage participation in the </a:t>
            </a:r>
            <a:r>
              <a:rPr lang="en-GB" b="1">
                <a:solidFill>
                  <a:srgbClr val="808080"/>
                </a:solidFill>
                <a:highlight>
                  <a:srgbClr val="808080"/>
                </a:highlight>
              </a:rPr>
              <a:t>XXXX </a:t>
            </a:r>
            <a:r>
              <a:rPr lang="en-GB">
                <a:latin typeface="Lato"/>
                <a:ea typeface="Lato"/>
                <a:cs typeface="Lato"/>
              </a:rPr>
              <a:t>is mandatory and non-remunerated as obliged by the TSO.</a:t>
            </a:r>
          </a:p>
        </p:txBody>
      </p:sp>
      <p:sp>
        <p:nvSpPr>
          <p:cNvPr id="3" name="Rectangle 2">
            <a:extLst>
              <a:ext uri="{FF2B5EF4-FFF2-40B4-BE49-F238E27FC236}">
                <a16:creationId xmlns:a16="http://schemas.microsoft.com/office/drawing/2014/main" id="{8BE3451E-10AD-5CBD-13FA-231C321CDA1B}"/>
              </a:ext>
            </a:extLst>
          </p:cNvPr>
          <p:cNvSpPr/>
          <p:nvPr/>
        </p:nvSpPr>
        <p:spPr>
          <a:xfrm>
            <a:off x="6353175" y="1251714"/>
            <a:ext cx="5443927" cy="491096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668685295"/>
      </p:ext>
    </p:extLst>
  </p:cSld>
  <p:clrMapOvr>
    <a:masterClrMapping/>
  </p:clrMapOvr>
  <p:extLst>
    <p:ext uri="{6950BFC3-D8DA-4A85-94F7-54DA5524770B}">
      <p188:commentRel xmlns:p188="http://schemas.microsoft.com/office/powerpoint/2018/8/main" r:id="rId15"/>
    </p:ext>
  </p:extLs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7">
            <a:hlinkClick r:id="rId6" action="ppaction://hlinksldjump"/>
            <a:extLst>
              <a:ext uri="{FF2B5EF4-FFF2-40B4-BE49-F238E27FC236}">
                <a16:creationId xmlns:a16="http://schemas.microsoft.com/office/drawing/2014/main" id="{C5B4F7CF-7051-8370-98F7-A7380764AB44}"/>
              </a:ext>
            </a:extLst>
          </p:cNvPr>
          <p:cNvSpPr txBox="1">
            <a:spLocks/>
          </p:cNvSpPr>
          <p:nvPr/>
        </p:nvSpPr>
        <p:spPr>
          <a:xfrm>
            <a:off x="0" y="3339217"/>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9" name="Text Placeholder 7">
            <a:hlinkClick r:id="rId7" action="ppaction://hlinksldjump"/>
            <a:extLst>
              <a:ext uri="{FF2B5EF4-FFF2-40B4-BE49-F238E27FC236}">
                <a16:creationId xmlns:a16="http://schemas.microsoft.com/office/drawing/2014/main" id="{C5B4F7CF-7051-8370-98F7-A7380764AB44}"/>
              </a:ext>
            </a:extLst>
          </p:cNvPr>
          <p:cNvSpPr txBox="1">
            <a:spLocks/>
          </p:cNvSpPr>
          <p:nvPr/>
        </p:nvSpPr>
        <p:spPr>
          <a:xfrm>
            <a:off x="0" y="3631320"/>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0" name="Text Placeholder 7">
            <a:hlinkClick r:id="rId8" action="ppaction://hlinksldjump"/>
            <a:extLst>
              <a:ext uri="{FF2B5EF4-FFF2-40B4-BE49-F238E27FC236}">
                <a16:creationId xmlns:a16="http://schemas.microsoft.com/office/drawing/2014/main" id="{C5B4F7CF-7051-8370-98F7-A7380764AB44}"/>
              </a:ext>
            </a:extLst>
          </p:cNvPr>
          <p:cNvSpPr txBox="1">
            <a:spLocks/>
          </p:cNvSpPr>
          <p:nvPr/>
        </p:nvSpPr>
        <p:spPr>
          <a:xfrm>
            <a:off x="0" y="3923423"/>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1" name="Text Placeholder 7">
            <a:hlinkClick r:id="rId9" action="ppaction://hlinksldjump"/>
            <a:extLst>
              <a:ext uri="{FF2B5EF4-FFF2-40B4-BE49-F238E27FC236}">
                <a16:creationId xmlns:a16="http://schemas.microsoft.com/office/drawing/2014/main" id="{C5B4F7CF-7051-8370-98F7-A7380764AB44}"/>
              </a:ext>
            </a:extLst>
          </p:cNvPr>
          <p:cNvSpPr txBox="1">
            <a:spLocks/>
          </p:cNvSpPr>
          <p:nvPr/>
        </p:nvSpPr>
        <p:spPr>
          <a:xfrm>
            <a:off x="0" y="4215527"/>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3050370"/>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468324"/>
          </a:xfrm>
        </p:spPr>
        <p:txBody>
          <a:bodyPr/>
          <a:lstStyle/>
          <a:p>
            <a:r>
              <a:rPr lang="en-GB" sz="1400">
                <a:hlinkClick r:id="rId7" action="ppaction://hlinksldjump"/>
              </a:rPr>
              <a:t>Executive summary</a:t>
            </a:r>
            <a:endParaRPr lang="en-GB" sz="1400"/>
          </a:p>
          <a:p>
            <a:r>
              <a:rPr lang="en-GB" sz="1400">
                <a:hlinkClick r:id="rId8" action="ppaction://hlinksldjump"/>
              </a:rPr>
              <a:t>Introduction to battery storage </a:t>
            </a:r>
            <a:r>
              <a:rPr lang="en-GB" sz="1400"/>
              <a:t>	</a:t>
            </a:r>
          </a:p>
          <a:p>
            <a:r>
              <a:rPr lang="en-GB" sz="1400">
                <a:hlinkClick r:id="" action="ppaction://noaction"/>
              </a:rPr>
              <a:t>Market size and outlook </a:t>
            </a:r>
            <a:endParaRPr lang="en-GB" sz="1400"/>
          </a:p>
          <a:p>
            <a:r>
              <a:rPr lang="en-GB" sz="1400">
                <a:hlinkClick r:id="" action="ppaction://noaction"/>
              </a:rPr>
              <a:t>Policy and regulatory environment</a:t>
            </a:r>
            <a:endParaRPr lang="en-GB" sz="1400"/>
          </a:p>
          <a:p>
            <a:r>
              <a:rPr lang="en-GB" sz="1400" b="1">
                <a:effectLst/>
                <a:ea typeface="Calibri" panose="020F0502020204030204" pitchFamily="34" charset="0"/>
                <a:hlinkClick r:id="rId10" action="ppaction://hlinksldjump"/>
              </a:rPr>
              <a:t>Revenue streams</a:t>
            </a:r>
            <a:endParaRPr lang="en-GB" sz="1400" b="1">
              <a:effectLst/>
              <a:ea typeface="Calibri" panose="020F0502020204030204" pitchFamily="34" charset="0"/>
            </a:endParaRPr>
          </a:p>
          <a:p>
            <a:pPr lvl="1"/>
            <a:r>
              <a:rPr lang="en-GB" sz="1400">
                <a:ea typeface="Calibri" panose="020F0502020204030204" pitchFamily="34" charset="0"/>
              </a:rPr>
              <a:t>Wholesale markets</a:t>
            </a:r>
          </a:p>
          <a:p>
            <a:pPr lvl="1"/>
            <a:r>
              <a:rPr lang="en-GB" sz="1400">
                <a:ea typeface="Calibri" panose="020F0502020204030204" pitchFamily="34" charset="0"/>
              </a:rPr>
              <a:t>Fast frequency services</a:t>
            </a:r>
          </a:p>
          <a:p>
            <a:pPr lvl="1"/>
            <a:r>
              <a:rPr lang="en-GB" sz="1400">
                <a:ea typeface="Calibri" panose="020F0502020204030204" pitchFamily="34" charset="0"/>
              </a:rPr>
              <a:t>Other balancing services</a:t>
            </a:r>
          </a:p>
          <a:p>
            <a:pPr lvl="1"/>
            <a:r>
              <a:rPr lang="en-GB" sz="1400">
                <a:ea typeface="Calibri" panose="020F0502020204030204" pitchFamily="34" charset="0"/>
              </a:rPr>
              <a:t>Capacity markets</a:t>
            </a:r>
          </a:p>
          <a:p>
            <a:r>
              <a:rPr lang="en-GB" sz="1400" b="1" u="sng">
                <a:effectLst/>
                <a:ea typeface="Calibri" panose="020F0502020204030204" pitchFamily="34" charset="0"/>
                <a:hlinkClick r:id="" action="ppaction://noaction"/>
              </a:rPr>
              <a:t>Project economics</a:t>
            </a:r>
            <a:endParaRPr lang="en-GB" sz="1400" b="1" u="sng">
              <a:ea typeface="Calibri" panose="020F0502020204030204" pitchFamily="34" charset="0"/>
            </a:endParaRPr>
          </a:p>
          <a:p>
            <a:r>
              <a:rPr lang="en-GB" sz="1400">
                <a:hlinkClick r:id="" action="ppaction://noaction"/>
              </a:rPr>
              <a:t>Aurora’s Flexible Energy Subscription Services</a:t>
            </a:r>
            <a:endParaRPr lang="en-GB" sz="1400">
              <a:hlinkClick r:id="" action="ppaction://noaction">
                <a:extLst>
                  <a:ext uri="{A12FA001-AC4F-418D-AE19-62706E023703}">
                    <ahyp:hlinkClr xmlns:ahyp="http://schemas.microsoft.com/office/drawing/2018/hyperlinkcolor" val="tx"/>
                  </a:ext>
                </a:extLst>
              </a:hlinkClick>
            </a:endParaRPr>
          </a:p>
          <a:p>
            <a:r>
              <a:rPr lang="en-GB" sz="1400">
                <a:hlinkClick r:id="" action="ppaction://noaction"/>
              </a:rPr>
              <a:t>Appendix</a:t>
            </a:r>
            <a:endParaRPr lang="en-GB" sz="1400"/>
          </a:p>
        </p:txBody>
      </p:sp>
    </p:spTree>
    <p:extLst>
      <p:ext uri="{BB962C8B-B14F-4D97-AF65-F5344CB8AC3E}">
        <p14:creationId xmlns:p14="http://schemas.microsoft.com/office/powerpoint/2010/main" val="171399073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83" imgH="384" progId="TCLayout.ActiveDocument.1">
                  <p:embed/>
                </p:oleObj>
              </mc:Choice>
              <mc:Fallback>
                <p:oleObj name="think-cell Slide" r:id="rId36" imgW="383" imgH="384" progId="TCLayout.ActiveDocument.1">
                  <p:embed/>
                  <p:pic>
                    <p:nvPicPr>
                      <p:cNvPr id="16" name="Object 15"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Text Placeholder 11"/>
          <p:cNvSpPr>
            <a:spLocks noGrp="1"/>
          </p:cNvSpPr>
          <p:nvPr>
            <p:ph type="body" sz="quarter" idx="29"/>
          </p:nvPr>
        </p:nvSpPr>
        <p:spPr>
          <a:xfrm>
            <a:off x="381000" y="1268413"/>
            <a:ext cx="5376000" cy="422187"/>
          </a:xfrm>
        </p:spPr>
        <p:txBody>
          <a:bodyPr tIns="72000" bIns="72000"/>
          <a:lstStyle/>
          <a:p>
            <a:r>
              <a:rPr lang="en-GB" sz="1400"/>
              <a:t>Why is a Capacity Market used in most countries?</a:t>
            </a:r>
            <a:br>
              <a:rPr lang="en-GB"/>
            </a:br>
            <a:endParaRPr lang="en-GB"/>
          </a:p>
        </p:txBody>
      </p:sp>
      <p:sp>
        <p:nvSpPr>
          <p:cNvPr id="8" name="Title 7"/>
          <p:cNvSpPr>
            <a:spLocks noGrp="1"/>
          </p:cNvSpPr>
          <p:nvPr>
            <p:ph type="title"/>
          </p:nvPr>
        </p:nvSpPr>
        <p:spPr/>
        <p:txBody>
          <a:bodyPr vert="horz"/>
          <a:lstStyle/>
          <a:p>
            <a:r>
              <a:rPr lang="en-GB">
                <a:solidFill>
                  <a:schemeClr val="tx1"/>
                </a:solidFill>
              </a:rPr>
              <a:t>Capacity Markets ensure security of supply standards are fulfilled by paying generators for capacity, rather than for energy alone</a:t>
            </a:r>
          </a:p>
        </p:txBody>
      </p:sp>
      <p:sp>
        <p:nvSpPr>
          <p:cNvPr id="33" name="Text Placeholder 4">
            <a:extLst>
              <a:ext uri="{FF2B5EF4-FFF2-40B4-BE49-F238E27FC236}">
                <a16:creationId xmlns:a16="http://schemas.microsoft.com/office/drawing/2014/main" id="{6AFFF698-31AE-4BF9-9EDB-494649EB0787}"/>
              </a:ext>
            </a:extLst>
          </p:cNvPr>
          <p:cNvSpPr txBox="1">
            <a:spLocks/>
          </p:cNvSpPr>
          <p:nvPr/>
        </p:nvSpPr>
        <p:spPr>
          <a:xfrm>
            <a:off x="381599" y="79401"/>
            <a:ext cx="2972289"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Capacity markets</a:t>
            </a:r>
          </a:p>
        </p:txBody>
      </p:sp>
      <p:sp>
        <p:nvSpPr>
          <p:cNvPr id="11" name="Text Placeholder 10">
            <a:extLst>
              <a:ext uri="{FF2B5EF4-FFF2-40B4-BE49-F238E27FC236}">
                <a16:creationId xmlns:a16="http://schemas.microsoft.com/office/drawing/2014/main" id="{70246902-9856-6F04-308A-DBC31BDFD2B7}"/>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30" name="Rectangle: Rounded Corners 29">
            <a:extLst>
              <a:ext uri="{FF2B5EF4-FFF2-40B4-BE49-F238E27FC236}">
                <a16:creationId xmlns:a16="http://schemas.microsoft.com/office/drawing/2014/main" id="{D8339643-5334-9B39-E13B-BEAB53D40BE5}"/>
              </a:ext>
            </a:extLst>
          </p:cNvPr>
          <p:cNvSpPr/>
          <p:nvPr/>
        </p:nvSpPr>
        <p:spPr>
          <a:xfrm>
            <a:off x="381599" y="3968750"/>
            <a:ext cx="5371200" cy="308148"/>
          </a:xfrm>
          <a:prstGeom prst="roundRect">
            <a:avLst>
              <a:gd name="adj" fmla="val 0"/>
            </a:avLst>
          </a:prstGeom>
          <a:solidFill>
            <a:srgbClr val="EFEFE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360000" lvl="1" defTabSz="180000">
              <a:spcBef>
                <a:spcPts val="600"/>
              </a:spcBef>
            </a:pPr>
            <a:r>
              <a:rPr lang="en-GB" sz="1200" b="1">
                <a:solidFill>
                  <a:schemeClr val="tx1"/>
                </a:solidFill>
              </a:rPr>
              <a:t>…which results in increasing shortfalls in generation over time</a:t>
            </a:r>
          </a:p>
        </p:txBody>
      </p:sp>
      <p:sp>
        <p:nvSpPr>
          <p:cNvPr id="31" name="Oval 30">
            <a:extLst>
              <a:ext uri="{FF2B5EF4-FFF2-40B4-BE49-F238E27FC236}">
                <a16:creationId xmlns:a16="http://schemas.microsoft.com/office/drawing/2014/main" id="{B4CFC122-24CE-F42E-D313-FA9AC8353C33}"/>
              </a:ext>
            </a:extLst>
          </p:cNvPr>
          <p:cNvSpPr/>
          <p:nvPr/>
        </p:nvSpPr>
        <p:spPr>
          <a:xfrm>
            <a:off x="381600" y="3968983"/>
            <a:ext cx="309563" cy="309563"/>
          </a:xfrm>
          <a:prstGeom prst="ellipse">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400" b="1">
                <a:solidFill>
                  <a:schemeClr val="tx1"/>
                </a:solidFill>
              </a:rPr>
              <a:t>2</a:t>
            </a:r>
          </a:p>
        </p:txBody>
      </p:sp>
      <p:sp>
        <p:nvSpPr>
          <p:cNvPr id="32" name="Rectangle: Rounded Corners 31">
            <a:extLst>
              <a:ext uri="{FF2B5EF4-FFF2-40B4-BE49-F238E27FC236}">
                <a16:creationId xmlns:a16="http://schemas.microsoft.com/office/drawing/2014/main" id="{CCCEB98A-D11B-0591-26FC-C8A53C65E554}"/>
              </a:ext>
            </a:extLst>
          </p:cNvPr>
          <p:cNvSpPr/>
          <p:nvPr/>
        </p:nvSpPr>
        <p:spPr>
          <a:xfrm>
            <a:off x="381000" y="1701707"/>
            <a:ext cx="5372100" cy="427471"/>
          </a:xfrm>
          <a:prstGeom prst="roundRect">
            <a:avLst>
              <a:gd name="adj" fmla="val 0"/>
            </a:avLst>
          </a:prstGeom>
          <a:solidFill>
            <a:srgbClr val="EFEFE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360000" lvl="1" defTabSz="180000">
              <a:spcBef>
                <a:spcPts val="600"/>
              </a:spcBef>
            </a:pPr>
            <a:r>
              <a:rPr lang="en-GB" sz="1200" b="1">
                <a:solidFill>
                  <a:schemeClr val="tx1"/>
                </a:solidFill>
              </a:rPr>
              <a:t>Projected prices are insufficient to encourage building sufficient firm capacity…</a:t>
            </a:r>
          </a:p>
        </p:txBody>
      </p:sp>
      <p:sp>
        <p:nvSpPr>
          <p:cNvPr id="34" name="Oval 33">
            <a:extLst>
              <a:ext uri="{FF2B5EF4-FFF2-40B4-BE49-F238E27FC236}">
                <a16:creationId xmlns:a16="http://schemas.microsoft.com/office/drawing/2014/main" id="{866FEF12-41B9-8E58-6339-1BAB17EDD08D}"/>
              </a:ext>
            </a:extLst>
          </p:cNvPr>
          <p:cNvSpPr/>
          <p:nvPr/>
        </p:nvSpPr>
        <p:spPr>
          <a:xfrm>
            <a:off x="384175" y="1705335"/>
            <a:ext cx="309563" cy="308670"/>
          </a:xfrm>
          <a:prstGeom prst="ellipse">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400" b="1">
                <a:solidFill>
                  <a:schemeClr val="tx1"/>
                </a:solidFill>
              </a:rPr>
              <a:t>1</a:t>
            </a:r>
          </a:p>
        </p:txBody>
      </p:sp>
      <p:sp>
        <p:nvSpPr>
          <p:cNvPr id="66" name="Rectangle: Rounded Corners 65">
            <a:extLst>
              <a:ext uri="{FF2B5EF4-FFF2-40B4-BE49-F238E27FC236}">
                <a16:creationId xmlns:a16="http://schemas.microsoft.com/office/drawing/2014/main" id="{73002168-96AB-9D03-3FA2-F0FA1711FD95}"/>
              </a:ext>
            </a:extLst>
          </p:cNvPr>
          <p:cNvSpPr/>
          <p:nvPr/>
        </p:nvSpPr>
        <p:spPr>
          <a:xfrm>
            <a:off x="6447600" y="1703686"/>
            <a:ext cx="5371200" cy="428400"/>
          </a:xfrm>
          <a:prstGeom prst="roundRect">
            <a:avLst>
              <a:gd name="adj" fmla="val 0"/>
            </a:avLst>
          </a:prstGeom>
          <a:solidFill>
            <a:srgbClr val="EFEFE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360000" lvl="1" defTabSz="180000">
              <a:spcBef>
                <a:spcPts val="600"/>
              </a:spcBef>
            </a:pPr>
            <a:r>
              <a:rPr lang="en-GB" sz="1200" b="1">
                <a:solidFill>
                  <a:schemeClr val="tx1"/>
                </a:solidFill>
              </a:rPr>
              <a:t>A capacity market mechanism provides an additional revenue stream to encourage firm capacity to be built</a:t>
            </a:r>
          </a:p>
        </p:txBody>
      </p:sp>
      <p:sp>
        <p:nvSpPr>
          <p:cNvPr id="67" name="Oval 66">
            <a:extLst>
              <a:ext uri="{FF2B5EF4-FFF2-40B4-BE49-F238E27FC236}">
                <a16:creationId xmlns:a16="http://schemas.microsoft.com/office/drawing/2014/main" id="{B5DEC92F-C2A5-CA62-0193-20C47089C404}"/>
              </a:ext>
            </a:extLst>
          </p:cNvPr>
          <p:cNvSpPr/>
          <p:nvPr/>
        </p:nvSpPr>
        <p:spPr>
          <a:xfrm>
            <a:off x="6447600" y="1703686"/>
            <a:ext cx="310873" cy="308670"/>
          </a:xfrm>
          <a:prstGeom prst="ellipse">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400" b="1">
                <a:solidFill>
                  <a:schemeClr val="tx1"/>
                </a:solidFill>
              </a:rPr>
              <a:t>3</a:t>
            </a:r>
          </a:p>
        </p:txBody>
      </p:sp>
      <p:cxnSp>
        <p:nvCxnSpPr>
          <p:cNvPr id="39" name="Straight Connector 38">
            <a:extLst>
              <a:ext uri="{FF2B5EF4-FFF2-40B4-BE49-F238E27FC236}">
                <a16:creationId xmlns:a16="http://schemas.microsoft.com/office/drawing/2014/main" id="{96C4EB58-E9B2-68F5-FD0B-F3026E67AB01}"/>
              </a:ext>
            </a:extLst>
          </p:cNvPr>
          <p:cNvCxnSpPr/>
          <p:nvPr>
            <p:custDataLst>
              <p:tags r:id="rId3"/>
            </p:custDataLst>
          </p:nvPr>
        </p:nvCxnSpPr>
        <p:spPr bwMode="auto">
          <a:xfrm>
            <a:off x="1787524" y="3251200"/>
            <a:ext cx="793750" cy="0"/>
          </a:xfrm>
          <a:prstGeom prst="line">
            <a:avLst/>
          </a:prstGeom>
          <a:ln w="9525" cap="flat" cmpd="sng" algn="ctr">
            <a:solidFill>
              <a:schemeClr val="tx1"/>
            </a:solidFill>
            <a:prstDash val="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672D8D3-8AFC-78E0-EF32-03E4F88AAE28}"/>
              </a:ext>
            </a:extLst>
          </p:cNvPr>
          <p:cNvCxnSpPr/>
          <p:nvPr>
            <p:custDataLst>
              <p:tags r:id="rId4"/>
            </p:custDataLst>
          </p:nvPr>
        </p:nvCxnSpPr>
        <p:spPr bwMode="auto">
          <a:xfrm>
            <a:off x="3573463" y="2827338"/>
            <a:ext cx="792163" cy="0"/>
          </a:xfrm>
          <a:prstGeom prst="line">
            <a:avLst/>
          </a:prstGeom>
          <a:ln w="9525" cap="flat" cmpd="sng" algn="ctr">
            <a:solidFill>
              <a:schemeClr val="tx1"/>
            </a:solidFill>
            <a:prstDash val="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41A0E374-30D2-6476-12D0-BF3FE6B6AA7F}"/>
              </a:ext>
            </a:extLst>
          </p:cNvPr>
          <p:cNvGraphicFramePr/>
          <p:nvPr>
            <p:custDataLst>
              <p:tags r:id="rId5"/>
            </p:custDataLst>
          </p:nvPr>
        </p:nvGraphicFramePr>
        <p:xfrm>
          <a:off x="317500" y="2570163"/>
          <a:ext cx="5519738" cy="763587"/>
        </p:xfrm>
        <a:graphic>
          <a:graphicData uri="http://schemas.openxmlformats.org/drawingml/2006/chart">
            <c:chart xmlns:c="http://schemas.openxmlformats.org/drawingml/2006/chart" xmlns:r="http://schemas.openxmlformats.org/officeDocument/2006/relationships" r:id="rId38"/>
          </a:graphicData>
        </a:graphic>
      </p:graphicFrame>
      <p:cxnSp>
        <p:nvCxnSpPr>
          <p:cNvPr id="5" name="Straight Connector 4">
            <a:extLst>
              <a:ext uri="{FF2B5EF4-FFF2-40B4-BE49-F238E27FC236}">
                <a16:creationId xmlns:a16="http://schemas.microsoft.com/office/drawing/2014/main" id="{0D08ABB7-84F3-438C-7087-7118B0E0C28A}"/>
              </a:ext>
            </a:extLst>
          </p:cNvPr>
          <p:cNvCxnSpPr/>
          <p:nvPr>
            <p:custDataLst>
              <p:tags r:id="rId6"/>
            </p:custDataLst>
          </p:nvPr>
        </p:nvCxnSpPr>
        <p:spPr bwMode="auto">
          <a:xfrm>
            <a:off x="4365625" y="2827338"/>
            <a:ext cx="992188"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BAF32D58-83EF-C60A-C70C-20B007586669}"/>
              </a:ext>
            </a:extLst>
          </p:cNvPr>
          <p:cNvCxnSpPr/>
          <p:nvPr>
            <p:custDataLst>
              <p:tags r:id="rId7"/>
            </p:custDataLst>
          </p:nvPr>
        </p:nvCxnSpPr>
        <p:spPr bwMode="auto">
          <a:xfrm>
            <a:off x="4365625" y="2657475"/>
            <a:ext cx="0" cy="16986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DB6BD2B1-7E27-C332-9F9B-2E92A2B8B888}"/>
              </a:ext>
            </a:extLst>
          </p:cNvPr>
          <p:cNvCxnSpPr/>
          <p:nvPr>
            <p:custDataLst>
              <p:tags r:id="rId8"/>
            </p:custDataLst>
          </p:nvPr>
        </p:nvCxnSpPr>
        <p:spPr bwMode="auto">
          <a:xfrm>
            <a:off x="5357813" y="2657475"/>
            <a:ext cx="0" cy="16986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9" name="Text Placeholder 19">
            <a:extLst>
              <a:ext uri="{FF2B5EF4-FFF2-40B4-BE49-F238E27FC236}">
                <a16:creationId xmlns:a16="http://schemas.microsoft.com/office/drawing/2014/main" id="{C0971150-6C95-B34A-55AE-A34997321B8A}"/>
              </a:ext>
            </a:extLst>
          </p:cNvPr>
          <p:cNvSpPr>
            <a:spLocks noGrp="1"/>
          </p:cNvSpPr>
          <p:nvPr>
            <p:custDataLst>
              <p:tags r:id="rId9"/>
            </p:custDataLst>
          </p:nvPr>
        </p:nvSpPr>
        <p:spPr bwMode="auto">
          <a:xfrm>
            <a:off x="1154112" y="3294063"/>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A11C551B-81F4-46C8-BE46-5E3C8AF61DAB}" type="datetime'''''Co''''''''''''''''''''''''''''''s''''''''''''t'''">
              <a:rPr lang="en-GB" altLang="en-US" sz="1000" smtClean="0">
                <a:latin typeface="+mn-lt"/>
                <a:ea typeface="+mn-ea"/>
                <a:cs typeface="+mn-cs"/>
              </a:rPr>
              <a:pPr algn="ctr">
                <a:spcBef>
                  <a:spcPct val="0"/>
                </a:spcBef>
                <a:spcAft>
                  <a:spcPct val="0"/>
                </a:spcAft>
              </a:pPr>
              <a:t>Cost</a:t>
            </a:fld>
            <a:endParaRPr lang="en-GB" sz="1000">
              <a:latin typeface="+mn-lt"/>
              <a:ea typeface="+mn-ea"/>
              <a:cs typeface="+mn-cs"/>
            </a:endParaRPr>
          </a:p>
        </p:txBody>
      </p:sp>
      <p:sp>
        <p:nvSpPr>
          <p:cNvPr id="78" name="Text Placeholder 19">
            <a:extLst>
              <a:ext uri="{FF2B5EF4-FFF2-40B4-BE49-F238E27FC236}">
                <a16:creationId xmlns:a16="http://schemas.microsoft.com/office/drawing/2014/main" id="{D82CBF01-7BBE-BF09-854D-7DDCD83B869C}"/>
              </a:ext>
            </a:extLst>
          </p:cNvPr>
          <p:cNvSpPr>
            <a:spLocks noGrp="1"/>
          </p:cNvSpPr>
          <p:nvPr>
            <p:custDataLst>
              <p:tags r:id="rId10"/>
            </p:custDataLst>
          </p:nvPr>
        </p:nvSpPr>
        <p:spPr bwMode="auto">
          <a:xfrm>
            <a:off x="2635250" y="3294063"/>
            <a:ext cx="8826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164CDDD0-84D6-4F3A-9008-481CB1AF710A}" type="datetime'''E''n''''e''''''r''gy'''' ''Ma''''rg''''''''''''i''n''''s'''">
              <a:rPr lang="en-GB" altLang="en-US" sz="1000" smtClean="0">
                <a:latin typeface="+mn-lt"/>
                <a:ea typeface="+mn-ea"/>
                <a:cs typeface="+mn-cs"/>
              </a:rPr>
              <a:pPr algn="ctr">
                <a:spcBef>
                  <a:spcPct val="0"/>
                </a:spcBef>
                <a:spcAft>
                  <a:spcPct val="0"/>
                </a:spcAft>
              </a:pPr>
              <a:t>Energy Margins</a:t>
            </a:fld>
            <a:endParaRPr lang="en-GB" sz="1000">
              <a:latin typeface="+mn-lt"/>
              <a:ea typeface="+mn-ea"/>
              <a:cs typeface="+mn-cs"/>
            </a:endParaRPr>
          </a:p>
        </p:txBody>
      </p:sp>
      <p:sp>
        <p:nvSpPr>
          <p:cNvPr id="53" name="Text Placeholder 19">
            <a:extLst>
              <a:ext uri="{FF2B5EF4-FFF2-40B4-BE49-F238E27FC236}">
                <a16:creationId xmlns:a16="http://schemas.microsoft.com/office/drawing/2014/main" id="{FE3B497F-21C8-6C95-C659-A847AA80FB45}"/>
              </a:ext>
            </a:extLst>
          </p:cNvPr>
          <p:cNvSpPr>
            <a:spLocks noGrp="1"/>
          </p:cNvSpPr>
          <p:nvPr>
            <p:custDataLst>
              <p:tags r:id="rId11"/>
            </p:custDataLst>
          </p:nvPr>
        </p:nvSpPr>
        <p:spPr bwMode="auto">
          <a:xfrm>
            <a:off x="4262439" y="3294063"/>
            <a:ext cx="11985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8F700748-7689-4CE7-97CC-FD0D5CF9A50A}" type="datetime'''''''''''''''N''''PV'''''''''''''''''''''''''''''">
              <a:rPr lang="en-GB" altLang="en-US" sz="1000" smtClean="0">
                <a:latin typeface="+mn-lt"/>
                <a:ea typeface="+mn-ea"/>
                <a:cs typeface="+mn-cs"/>
              </a:rPr>
              <a:pPr algn="ctr">
                <a:spcBef>
                  <a:spcPct val="0"/>
                </a:spcBef>
                <a:spcAft>
                  <a:spcPct val="0"/>
                </a:spcAft>
              </a:pPr>
              <a:t>NPV</a:t>
            </a:fld>
            <a:r>
              <a:rPr lang="en-GB" altLang="en-US" sz="1000">
                <a:latin typeface="+mn-lt"/>
                <a:ea typeface="+mn-ea"/>
                <a:cs typeface="+mn-cs"/>
              </a:rPr>
              <a:t> (Missing money)</a:t>
            </a:r>
            <a:endParaRPr lang="en-GB" sz="1000">
              <a:latin typeface="+mn-lt"/>
              <a:ea typeface="+mn-ea"/>
              <a:cs typeface="+mn-cs"/>
            </a:endParaRPr>
          </a:p>
        </p:txBody>
      </p:sp>
      <p:sp>
        <p:nvSpPr>
          <p:cNvPr id="83" name="Rectangle 82">
            <a:extLst>
              <a:ext uri="{FF2B5EF4-FFF2-40B4-BE49-F238E27FC236}">
                <a16:creationId xmlns:a16="http://schemas.microsoft.com/office/drawing/2014/main" id="{101475A4-64D2-39B1-2816-E305A78A64C2}"/>
              </a:ext>
            </a:extLst>
          </p:cNvPr>
          <p:cNvSpPr/>
          <p:nvPr>
            <p:custDataLst>
              <p:tags r:id="rId12"/>
            </p:custDataLst>
          </p:nvPr>
        </p:nvSpPr>
        <p:spPr bwMode="auto">
          <a:xfrm>
            <a:off x="422275" y="3578225"/>
            <a:ext cx="179388" cy="133350"/>
          </a:xfrm>
          <a:prstGeom prst="rect">
            <a:avLst/>
          </a:prstGeom>
          <a:solidFill>
            <a:srgbClr val="4D4524"/>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2" name="Rectangle 81">
            <a:extLst>
              <a:ext uri="{FF2B5EF4-FFF2-40B4-BE49-F238E27FC236}">
                <a16:creationId xmlns:a16="http://schemas.microsoft.com/office/drawing/2014/main" id="{D90DDE13-EBDF-DF22-5042-6166883D584E}"/>
              </a:ext>
            </a:extLst>
          </p:cNvPr>
          <p:cNvSpPr/>
          <p:nvPr>
            <p:custDataLst>
              <p:tags r:id="rId13"/>
            </p:custDataLst>
          </p:nvPr>
        </p:nvSpPr>
        <p:spPr bwMode="auto">
          <a:xfrm>
            <a:off x="1158875" y="3578225"/>
            <a:ext cx="179388" cy="133350"/>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5" name="Rectangle 84">
            <a:extLst>
              <a:ext uri="{FF2B5EF4-FFF2-40B4-BE49-F238E27FC236}">
                <a16:creationId xmlns:a16="http://schemas.microsoft.com/office/drawing/2014/main" id="{3B553514-F747-B3BA-97E1-A9D4E6CE8D5E}"/>
              </a:ext>
            </a:extLst>
          </p:cNvPr>
          <p:cNvSpPr/>
          <p:nvPr>
            <p:custDataLst>
              <p:tags r:id="rId14"/>
            </p:custDataLst>
          </p:nvPr>
        </p:nvSpPr>
        <p:spPr bwMode="auto">
          <a:xfrm>
            <a:off x="2135188" y="3578225"/>
            <a:ext cx="179388" cy="133350"/>
          </a:xfrm>
          <a:prstGeom prst="rect">
            <a:avLst/>
          </a:prstGeom>
          <a:solidFill>
            <a:srgbClr val="4E5F6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6" name="Rectangle 85">
            <a:extLst>
              <a:ext uri="{FF2B5EF4-FFF2-40B4-BE49-F238E27FC236}">
                <a16:creationId xmlns:a16="http://schemas.microsoft.com/office/drawing/2014/main" id="{EFC43C6D-813E-5E7D-E105-D7416425B123}"/>
              </a:ext>
            </a:extLst>
          </p:cNvPr>
          <p:cNvSpPr/>
          <p:nvPr>
            <p:custDataLst>
              <p:tags r:id="rId15"/>
            </p:custDataLst>
          </p:nvPr>
        </p:nvSpPr>
        <p:spPr bwMode="auto">
          <a:xfrm>
            <a:off x="2865438" y="3578225"/>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4" name="Rectangle 83">
            <a:extLst>
              <a:ext uri="{FF2B5EF4-FFF2-40B4-BE49-F238E27FC236}">
                <a16:creationId xmlns:a16="http://schemas.microsoft.com/office/drawing/2014/main" id="{F8E50C1F-57E5-77B0-461B-8AC660CE98FA}"/>
              </a:ext>
            </a:extLst>
          </p:cNvPr>
          <p:cNvSpPr/>
          <p:nvPr>
            <p:custDataLst>
              <p:tags r:id="rId16"/>
            </p:custDataLst>
          </p:nvPr>
        </p:nvSpPr>
        <p:spPr bwMode="auto">
          <a:xfrm>
            <a:off x="4200525" y="3578225"/>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7" name="Text Placeholder 19">
            <a:extLst>
              <a:ext uri="{FF2B5EF4-FFF2-40B4-BE49-F238E27FC236}">
                <a16:creationId xmlns:a16="http://schemas.microsoft.com/office/drawing/2014/main" id="{1476FBBF-3271-53A4-1EE0-EE685A0A4273}"/>
              </a:ext>
            </a:extLst>
          </p:cNvPr>
          <p:cNvSpPr>
            <a:spLocks noGrp="1"/>
          </p:cNvSpPr>
          <p:nvPr>
            <p:custDataLst>
              <p:tags r:id="rId17"/>
            </p:custDataLst>
          </p:nvPr>
        </p:nvSpPr>
        <p:spPr bwMode="auto">
          <a:xfrm>
            <a:off x="652463" y="3573463"/>
            <a:ext cx="4048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898161F8-42FD-4D5B-88DA-70FDE37BAA3C}" type="datetime'''''''''''''''''C''''''''''''A''''''''''''''PE''''''''''X'''">
              <a:rPr lang="en-GB" altLang="en-US" sz="1000" smtClean="0">
                <a:latin typeface="+mn-lt"/>
                <a:ea typeface="+mn-ea"/>
                <a:cs typeface="+mn-cs"/>
              </a:rPr>
              <a:pPr>
                <a:spcBef>
                  <a:spcPct val="0"/>
                </a:spcBef>
                <a:spcAft>
                  <a:spcPct val="0"/>
                </a:spcAft>
              </a:pPr>
              <a:t>CAPEX</a:t>
            </a:fld>
            <a:endParaRPr lang="en-GB" sz="1000">
              <a:latin typeface="+mn-lt"/>
              <a:ea typeface="+mn-ea"/>
              <a:cs typeface="+mn-cs"/>
            </a:endParaRPr>
          </a:p>
        </p:txBody>
      </p:sp>
      <p:sp>
        <p:nvSpPr>
          <p:cNvPr id="90" name="Text Placeholder 19">
            <a:extLst>
              <a:ext uri="{FF2B5EF4-FFF2-40B4-BE49-F238E27FC236}">
                <a16:creationId xmlns:a16="http://schemas.microsoft.com/office/drawing/2014/main" id="{5E23AA49-BBA6-28A1-3B05-7B53C38BF912}"/>
              </a:ext>
            </a:extLst>
          </p:cNvPr>
          <p:cNvSpPr>
            <a:spLocks noGrp="1"/>
          </p:cNvSpPr>
          <p:nvPr>
            <p:custDataLst>
              <p:tags r:id="rId18"/>
            </p:custDataLst>
          </p:nvPr>
        </p:nvSpPr>
        <p:spPr bwMode="auto">
          <a:xfrm>
            <a:off x="1389064" y="3573463"/>
            <a:ext cx="6445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23134CF2-4E47-4EE7-93B7-C12028FDFCDD}" type="datetime'''''''F''''ix''''''e''d ''''Co''''''''''''''''''s''''t''s'''">
              <a:rPr lang="en-GB" altLang="en-US" sz="1000" smtClean="0">
                <a:latin typeface="+mn-lt"/>
                <a:ea typeface="+mn-ea"/>
                <a:cs typeface="+mn-cs"/>
              </a:rPr>
              <a:pPr>
                <a:spcBef>
                  <a:spcPct val="0"/>
                </a:spcBef>
                <a:spcAft>
                  <a:spcPct val="0"/>
                </a:spcAft>
              </a:pPr>
              <a:t>Fixed Costs</a:t>
            </a:fld>
            <a:endParaRPr lang="en-GB" sz="1000">
              <a:latin typeface="+mn-lt"/>
              <a:ea typeface="+mn-ea"/>
              <a:cs typeface="+mn-cs"/>
            </a:endParaRPr>
          </a:p>
        </p:txBody>
      </p:sp>
      <p:sp>
        <p:nvSpPr>
          <p:cNvPr id="88" name="Text Placeholder 19">
            <a:extLst>
              <a:ext uri="{FF2B5EF4-FFF2-40B4-BE49-F238E27FC236}">
                <a16:creationId xmlns:a16="http://schemas.microsoft.com/office/drawing/2014/main" id="{2D37B32F-846C-75C0-095C-ECC1BC182D17}"/>
              </a:ext>
            </a:extLst>
          </p:cNvPr>
          <p:cNvSpPr>
            <a:spLocks noGrp="1"/>
          </p:cNvSpPr>
          <p:nvPr>
            <p:custDataLst>
              <p:tags r:id="rId19"/>
            </p:custDataLst>
          </p:nvPr>
        </p:nvSpPr>
        <p:spPr bwMode="auto">
          <a:xfrm>
            <a:off x="2365375" y="3573463"/>
            <a:ext cx="3984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8C05474B-3BCF-48FB-95A7-37D3A9CBA403}" type="datetime'''''''''''''''TN''''''U''o''''''''''''''''''''''''''S'">
              <a:rPr lang="en-GB" altLang="en-US" sz="1000" smtClean="0">
                <a:latin typeface="+mn-lt"/>
                <a:ea typeface="+mn-ea"/>
                <a:cs typeface="+mn-cs"/>
              </a:rPr>
              <a:pPr>
                <a:spcBef>
                  <a:spcPct val="0"/>
                </a:spcBef>
                <a:spcAft>
                  <a:spcPct val="0"/>
                </a:spcAft>
              </a:pPr>
              <a:t>TNUoS</a:t>
            </a:fld>
            <a:endParaRPr lang="en-GB" sz="1000">
              <a:latin typeface="+mn-lt"/>
              <a:ea typeface="+mn-ea"/>
              <a:cs typeface="+mn-cs"/>
            </a:endParaRPr>
          </a:p>
        </p:txBody>
      </p:sp>
      <p:sp>
        <p:nvSpPr>
          <p:cNvPr id="89" name="Text Placeholder 19">
            <a:extLst>
              <a:ext uri="{FF2B5EF4-FFF2-40B4-BE49-F238E27FC236}">
                <a16:creationId xmlns:a16="http://schemas.microsoft.com/office/drawing/2014/main" id="{D15E73C4-455E-7D1B-8356-E7AC85AD486E}"/>
              </a:ext>
            </a:extLst>
          </p:cNvPr>
          <p:cNvSpPr>
            <a:spLocks noGrp="1"/>
          </p:cNvSpPr>
          <p:nvPr>
            <p:custDataLst>
              <p:tags r:id="rId20"/>
            </p:custDataLst>
          </p:nvPr>
        </p:nvSpPr>
        <p:spPr bwMode="auto">
          <a:xfrm>
            <a:off x="3095625" y="3573463"/>
            <a:ext cx="10033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8CACB5C6-1D19-42A2-932C-3BE99E7B6740}" type="datetime'Be''t''ween ''''''''''''''2''0''''2''''''''6''''''''-''3''4'">
              <a:rPr lang="en-GB" altLang="en-US" sz="1000" smtClean="0">
                <a:latin typeface="+mn-lt"/>
                <a:ea typeface="+mn-ea"/>
                <a:cs typeface="+mn-cs"/>
              </a:rPr>
              <a:pPr>
                <a:spcBef>
                  <a:spcPct val="0"/>
                </a:spcBef>
                <a:spcAft>
                  <a:spcPct val="0"/>
                </a:spcAft>
              </a:pPr>
              <a:t>Between 2026-34</a:t>
            </a:fld>
            <a:endParaRPr lang="en-GB" sz="1000">
              <a:latin typeface="+mn-lt"/>
              <a:ea typeface="+mn-ea"/>
              <a:cs typeface="+mn-cs"/>
            </a:endParaRPr>
          </a:p>
        </p:txBody>
      </p:sp>
      <p:sp>
        <p:nvSpPr>
          <p:cNvPr id="91" name="Text Placeholder 19">
            <a:extLst>
              <a:ext uri="{FF2B5EF4-FFF2-40B4-BE49-F238E27FC236}">
                <a16:creationId xmlns:a16="http://schemas.microsoft.com/office/drawing/2014/main" id="{3970C7B5-2EA8-8C29-DD9C-B44713AD0150}"/>
              </a:ext>
            </a:extLst>
          </p:cNvPr>
          <p:cNvSpPr>
            <a:spLocks noGrp="1"/>
          </p:cNvSpPr>
          <p:nvPr>
            <p:custDataLst>
              <p:tags r:id="rId21"/>
            </p:custDataLst>
          </p:nvPr>
        </p:nvSpPr>
        <p:spPr bwMode="auto">
          <a:xfrm>
            <a:off x="4430713" y="3573463"/>
            <a:ext cx="11160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BA447181-C535-40A2-B4DF-D2E69B4FC6DB}" type="datetime'Fr''om'''''' ''203''5'''''' on''''''''''''''ward''''s'''''''">
              <a:rPr lang="en-GB" altLang="en-US" sz="1000" smtClean="0">
                <a:latin typeface="+mn-lt"/>
                <a:ea typeface="+mn-ea"/>
                <a:cs typeface="+mn-cs"/>
              </a:rPr>
              <a:pPr>
                <a:spcBef>
                  <a:spcPct val="0"/>
                </a:spcBef>
                <a:spcAft>
                  <a:spcPct val="0"/>
                </a:spcAft>
              </a:pPr>
              <a:t>From 2035 onwards</a:t>
            </a:fld>
            <a:endParaRPr lang="en-GB" sz="1000">
              <a:latin typeface="+mn-lt"/>
              <a:ea typeface="+mn-ea"/>
              <a:cs typeface="+mn-cs"/>
            </a:endParaRPr>
          </a:p>
        </p:txBody>
      </p:sp>
      <p:sp>
        <p:nvSpPr>
          <p:cNvPr id="120" name="Text Placeholder 12">
            <a:extLst>
              <a:ext uri="{FF2B5EF4-FFF2-40B4-BE49-F238E27FC236}">
                <a16:creationId xmlns:a16="http://schemas.microsoft.com/office/drawing/2014/main" id="{595286E0-5658-FA6C-C01D-23BCEEA42389}"/>
              </a:ext>
            </a:extLst>
          </p:cNvPr>
          <p:cNvSpPr txBox="1">
            <a:spLocks/>
          </p:cNvSpPr>
          <p:nvPr/>
        </p:nvSpPr>
        <p:spPr>
          <a:xfrm>
            <a:off x="377100" y="2179170"/>
            <a:ext cx="5376000"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0" algn="l" defTabSz="914400" eaLnBrk="1" fontAlgn="auto" latinLnBrk="0" hangingPunct="1">
              <a:lnSpc>
                <a:spcPct val="100000"/>
              </a:lnSpc>
              <a:spcBef>
                <a:spcPts val="0"/>
              </a:spcBef>
              <a:buClrTx/>
              <a:buSzTx/>
              <a:tabLst/>
            </a:pPr>
            <a:r>
              <a:rPr lang="en-GB" sz="1200" b="1"/>
              <a:t>Illustrative present value for  new build CCGT building in 2025/26</a:t>
            </a:r>
            <a:r>
              <a:rPr lang="en-GB" baseline="30000"/>
              <a:t> </a:t>
            </a:r>
            <a:r>
              <a:rPr lang="en-GB"/>
              <a:t>in </a:t>
            </a:r>
            <a:r>
              <a:rPr lang="en-GB" sz="1200">
                <a:solidFill>
                  <a:srgbClr val="7A7A7A"/>
                </a:solidFill>
                <a:highlight>
                  <a:srgbClr val="7A7A7A"/>
                </a:highlight>
                <a:latin typeface="Lato"/>
              </a:rPr>
              <a:t>XX</a:t>
            </a:r>
            <a:endParaRPr lang="en-GB" sz="1200" b="1"/>
          </a:p>
          <a:p>
            <a:pPr marR="0" algn="l" defTabSz="914400" eaLnBrk="1" fontAlgn="auto" latinLnBrk="0" hangingPunct="1">
              <a:lnSpc>
                <a:spcPct val="100000"/>
              </a:lnSpc>
              <a:spcBef>
                <a:spcPts val="0"/>
              </a:spcBef>
              <a:buClrTx/>
              <a:buSzTx/>
              <a:tabLst/>
            </a:pPr>
            <a:r>
              <a:rPr lang="en-GB" sz="1200" b="0">
                <a:solidFill>
                  <a:schemeClr val="accent5"/>
                </a:solidFill>
              </a:rPr>
              <a:t>£/kW</a:t>
            </a:r>
          </a:p>
        </p:txBody>
      </p:sp>
      <p:graphicFrame>
        <p:nvGraphicFramePr>
          <p:cNvPr id="10" name="Chart 9">
            <a:extLst>
              <a:ext uri="{FF2B5EF4-FFF2-40B4-BE49-F238E27FC236}">
                <a16:creationId xmlns:a16="http://schemas.microsoft.com/office/drawing/2014/main" id="{4824EC47-4661-A992-B39B-40768AAF4EC1}"/>
              </a:ext>
            </a:extLst>
          </p:cNvPr>
          <p:cNvGraphicFramePr/>
          <p:nvPr>
            <p:custDataLst>
              <p:tags r:id="rId22"/>
            </p:custDataLst>
          </p:nvPr>
        </p:nvGraphicFramePr>
        <p:xfrm>
          <a:off x="479425" y="4987925"/>
          <a:ext cx="5203825" cy="1152525"/>
        </p:xfrm>
        <a:graphic>
          <a:graphicData uri="http://schemas.openxmlformats.org/drawingml/2006/chart">
            <c:chart xmlns:c="http://schemas.openxmlformats.org/drawingml/2006/chart" xmlns:r="http://schemas.openxmlformats.org/officeDocument/2006/relationships" r:id="rId39"/>
          </a:graphicData>
        </a:graphic>
      </p:graphicFrame>
      <p:sp>
        <p:nvSpPr>
          <p:cNvPr id="176"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gray">
          <a:xfrm>
            <a:off x="384175" y="61087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7E657ECE-1F40-4CF6-937C-752924A02CA0}" type="datetime'''''2''''''''''0''''''''''''''''''''''''2''''''0'''''">
              <a:rPr lang="en-GB" altLang="en-US" smtClean="0">
                <a:effectLst/>
              </a:rPr>
              <a:pPr algn="ctr">
                <a:spcBef>
                  <a:spcPct val="0"/>
                </a:spcBef>
                <a:spcAft>
                  <a:spcPct val="0"/>
                </a:spcAft>
              </a:pPr>
              <a:t>2020</a:t>
            </a:fld>
            <a:endParaRPr lang="en-GB"/>
          </a:p>
        </p:txBody>
      </p:sp>
      <p:sp>
        <p:nvSpPr>
          <p:cNvPr id="72" name="Text Placeholder 19">
            <a:extLst>
              <a:ext uri="{FF2B5EF4-FFF2-40B4-BE49-F238E27FC236}">
                <a16:creationId xmlns:a16="http://schemas.microsoft.com/office/drawing/2014/main" id="{9F9869AF-B0F6-4E89-B216-4EC18C7334C2}"/>
              </a:ext>
            </a:extLst>
          </p:cNvPr>
          <p:cNvSpPr>
            <a:spLocks noGrp="1"/>
          </p:cNvSpPr>
          <p:nvPr>
            <p:custDataLst>
              <p:tags r:id="rId24"/>
            </p:custDataLst>
          </p:nvPr>
        </p:nvSpPr>
        <p:spPr bwMode="gray">
          <a:xfrm>
            <a:off x="1223963" y="6108701"/>
            <a:ext cx="3556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078E9B05-EC96-4AA5-B247-451319170240}" type="datetime'2''''''''''''''''''''''''''''''''''02''''''''''''''''''5'''">
              <a:rPr lang="en-GB" altLang="en-US" smtClean="0"/>
              <a:pPr algn="ctr">
                <a:spcBef>
                  <a:spcPct val="0"/>
                </a:spcBef>
                <a:spcAft>
                  <a:spcPct val="0"/>
                </a:spcAft>
              </a:pPr>
              <a:t>2025</a:t>
            </a:fld>
            <a:endParaRPr lang="en-GB"/>
          </a:p>
        </p:txBody>
      </p:sp>
      <p:sp>
        <p:nvSpPr>
          <p:cNvPr id="178" name="Text Placeholder 19">
            <a:extLst>
              <a:ext uri="{FF2B5EF4-FFF2-40B4-BE49-F238E27FC236}">
                <a16:creationId xmlns:a16="http://schemas.microsoft.com/office/drawing/2014/main" id="{9F9869AF-B0F6-4E89-B216-4EC18C7334C2}"/>
              </a:ext>
            </a:extLst>
          </p:cNvPr>
          <p:cNvSpPr>
            <a:spLocks noGrp="1"/>
          </p:cNvSpPr>
          <p:nvPr>
            <p:custDataLst>
              <p:tags r:id="rId25"/>
            </p:custDataLst>
          </p:nvPr>
        </p:nvSpPr>
        <p:spPr bwMode="gray">
          <a:xfrm>
            <a:off x="2063750" y="61087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9E84B988-2756-4634-9419-D36D590BED80}" type="datetime'''''''''''2''0''''''''''''''''''''''''3''''''''0'''''''">
              <a:rPr lang="en-GB" altLang="en-US" smtClean="0">
                <a:effectLst/>
              </a:rPr>
              <a:pPr algn="ctr">
                <a:spcBef>
                  <a:spcPct val="0"/>
                </a:spcBef>
                <a:spcAft>
                  <a:spcPct val="0"/>
                </a:spcAft>
              </a:pPr>
              <a:t>2030</a:t>
            </a:fld>
            <a:endParaRPr lang="en-GB"/>
          </a:p>
        </p:txBody>
      </p:sp>
      <p:sp>
        <p:nvSpPr>
          <p:cNvPr id="73" name="Text Placeholder 19">
            <a:extLst>
              <a:ext uri="{FF2B5EF4-FFF2-40B4-BE49-F238E27FC236}">
                <a16:creationId xmlns:a16="http://schemas.microsoft.com/office/drawing/2014/main" id="{9F9869AF-B0F6-4E89-B216-4EC18C7334C2}"/>
              </a:ext>
            </a:extLst>
          </p:cNvPr>
          <p:cNvSpPr>
            <a:spLocks noGrp="1"/>
          </p:cNvSpPr>
          <p:nvPr>
            <p:custDataLst>
              <p:tags r:id="rId26"/>
            </p:custDataLst>
          </p:nvPr>
        </p:nvSpPr>
        <p:spPr bwMode="gray">
          <a:xfrm>
            <a:off x="2903538" y="6108701"/>
            <a:ext cx="3556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79114046-E541-4DFF-88F2-2A295C9FEB26}" type="datetime'''''2''''''''''''''''''''''0''3''''''5'''''''''">
              <a:rPr lang="en-GB" altLang="en-US" smtClean="0"/>
              <a:pPr algn="ctr">
                <a:spcBef>
                  <a:spcPct val="0"/>
                </a:spcBef>
                <a:spcAft>
                  <a:spcPct val="0"/>
                </a:spcAft>
              </a:pPr>
              <a:t>2035</a:t>
            </a:fld>
            <a:endParaRPr lang="en-GB"/>
          </a:p>
        </p:txBody>
      </p:sp>
      <p:sp>
        <p:nvSpPr>
          <p:cNvPr id="180" name="Text Placeholder 19">
            <a:extLst>
              <a:ext uri="{FF2B5EF4-FFF2-40B4-BE49-F238E27FC236}">
                <a16:creationId xmlns:a16="http://schemas.microsoft.com/office/drawing/2014/main" id="{9F9869AF-B0F6-4E89-B216-4EC18C7334C2}"/>
              </a:ext>
            </a:extLst>
          </p:cNvPr>
          <p:cNvSpPr>
            <a:spLocks noGrp="1"/>
          </p:cNvSpPr>
          <p:nvPr>
            <p:custDataLst>
              <p:tags r:id="rId27"/>
            </p:custDataLst>
          </p:nvPr>
        </p:nvSpPr>
        <p:spPr bwMode="gray">
          <a:xfrm>
            <a:off x="3743325" y="61087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8E2CE715-8BDD-4E84-89AC-649BBB4A3142}" type="datetime'''''''''''''''2''''''''04''0'''''''''''''''''''''''''">
              <a:rPr lang="en-GB" altLang="en-US" smtClean="0">
                <a:effectLst/>
              </a:rPr>
              <a:pPr algn="ctr">
                <a:spcBef>
                  <a:spcPct val="0"/>
                </a:spcBef>
                <a:spcAft>
                  <a:spcPct val="0"/>
                </a:spcAft>
              </a:pPr>
              <a:t>2040</a:t>
            </a:fld>
            <a:endParaRPr lang="en-GB"/>
          </a:p>
        </p:txBody>
      </p:sp>
      <p:sp>
        <p:nvSpPr>
          <p:cNvPr id="74" name="Text Placeholder 19">
            <a:extLst>
              <a:ext uri="{FF2B5EF4-FFF2-40B4-BE49-F238E27FC236}">
                <a16:creationId xmlns:a16="http://schemas.microsoft.com/office/drawing/2014/main" id="{9F9869AF-B0F6-4E89-B216-4EC18C7334C2}"/>
              </a:ext>
            </a:extLst>
          </p:cNvPr>
          <p:cNvSpPr>
            <a:spLocks noGrp="1"/>
          </p:cNvSpPr>
          <p:nvPr>
            <p:custDataLst>
              <p:tags r:id="rId28"/>
            </p:custDataLst>
          </p:nvPr>
        </p:nvSpPr>
        <p:spPr bwMode="gray">
          <a:xfrm>
            <a:off x="4583113" y="6108701"/>
            <a:ext cx="3556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1AA99998-E38B-4B65-A188-9997391D4035}" type="datetime'''''''''''''''''2''0''''''''''''''''''''''''''''''''''45'''">
              <a:rPr lang="en-GB" altLang="en-US" smtClean="0"/>
              <a:pPr algn="ctr">
                <a:spcBef>
                  <a:spcPct val="0"/>
                </a:spcBef>
                <a:spcAft>
                  <a:spcPct val="0"/>
                </a:spcAft>
              </a:pPr>
              <a:t>2045</a:t>
            </a:fld>
            <a:endParaRPr lang="en-GB"/>
          </a:p>
        </p:txBody>
      </p:sp>
      <p:sp>
        <p:nvSpPr>
          <p:cNvPr id="182" name="Text Placeholder 19">
            <a:extLst>
              <a:ext uri="{FF2B5EF4-FFF2-40B4-BE49-F238E27FC236}">
                <a16:creationId xmlns:a16="http://schemas.microsoft.com/office/drawing/2014/main" id="{9F9869AF-B0F6-4E89-B216-4EC18C7334C2}"/>
              </a:ext>
            </a:extLst>
          </p:cNvPr>
          <p:cNvSpPr>
            <a:spLocks noGrp="1"/>
          </p:cNvSpPr>
          <p:nvPr>
            <p:custDataLst>
              <p:tags r:id="rId29"/>
            </p:custDataLst>
          </p:nvPr>
        </p:nvSpPr>
        <p:spPr bwMode="gray">
          <a:xfrm>
            <a:off x="5422900" y="61087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0F40C0F6-66A4-4427-89AD-F46361CDFD33}" type="datetime'2''''''''''''''''''''''''''''''''''''''05''0'''''''''">
              <a:rPr lang="en-GB" altLang="en-US" smtClean="0">
                <a:effectLst/>
              </a:rPr>
              <a:pPr algn="ctr">
                <a:spcBef>
                  <a:spcPct val="0"/>
                </a:spcBef>
                <a:spcAft>
                  <a:spcPct val="0"/>
                </a:spcAft>
              </a:pPr>
              <a:t>2050</a:t>
            </a:fld>
            <a:endParaRPr lang="en-GB"/>
          </a:p>
        </p:txBody>
      </p:sp>
      <p:sp>
        <p:nvSpPr>
          <p:cNvPr id="135" name="Text Placeholder 12">
            <a:extLst>
              <a:ext uri="{FF2B5EF4-FFF2-40B4-BE49-F238E27FC236}">
                <a16:creationId xmlns:a16="http://schemas.microsoft.com/office/drawing/2014/main" id="{305EEF01-989D-DB23-C063-6491B96D9E26}"/>
              </a:ext>
            </a:extLst>
          </p:cNvPr>
          <p:cNvSpPr txBox="1">
            <a:spLocks/>
          </p:cNvSpPr>
          <p:nvPr/>
        </p:nvSpPr>
        <p:spPr>
          <a:xfrm>
            <a:off x="410092" y="4531709"/>
            <a:ext cx="5376000" cy="369332"/>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400"/>
            <a:r>
              <a:rPr lang="en-GB" sz="1200" b="1"/>
              <a:t>Illustrative hours with loss of load due to lack of firm capacity (</a:t>
            </a:r>
            <a:r>
              <a:rPr lang="en-GB" sz="1200">
                <a:solidFill>
                  <a:srgbClr val="7A7A7A"/>
                </a:solidFill>
                <a:highlight>
                  <a:srgbClr val="7A7A7A"/>
                </a:highlight>
                <a:latin typeface="Lato"/>
              </a:rPr>
              <a:t>XX</a:t>
            </a:r>
            <a:r>
              <a:rPr lang="en-GB">
                <a:solidFill>
                  <a:srgbClr val="7A7A7A"/>
                </a:solidFill>
                <a:latin typeface="Lato"/>
              </a:rPr>
              <a:t> </a:t>
            </a:r>
            <a:r>
              <a:rPr lang="en-GB" sz="1200" b="1"/>
              <a:t>example) </a:t>
            </a:r>
            <a:endParaRPr lang="en-GB"/>
          </a:p>
          <a:p>
            <a:pPr marR="0" algn="l" defTabSz="914400" eaLnBrk="1" fontAlgn="auto" latinLnBrk="0" hangingPunct="1">
              <a:lnSpc>
                <a:spcPct val="100000"/>
              </a:lnSpc>
              <a:spcBef>
                <a:spcPts val="0"/>
              </a:spcBef>
              <a:buClrTx/>
              <a:buSzTx/>
              <a:tabLst/>
            </a:pPr>
            <a:r>
              <a:rPr lang="en-GB" sz="1200" b="0">
                <a:solidFill>
                  <a:schemeClr val="accent5"/>
                </a:solidFill>
              </a:rPr>
              <a:t>h/year</a:t>
            </a:r>
          </a:p>
        </p:txBody>
      </p:sp>
      <p:sp>
        <p:nvSpPr>
          <p:cNvPr id="62" name="Oval 61">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63" name="Oval 62">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a:t>
            </a:r>
          </a:p>
        </p:txBody>
      </p:sp>
      <p:cxnSp>
        <p:nvCxnSpPr>
          <p:cNvPr id="19" name="Straight Connector 18">
            <a:extLst>
              <a:ext uri="{FF2B5EF4-FFF2-40B4-BE49-F238E27FC236}">
                <a16:creationId xmlns:a16="http://schemas.microsoft.com/office/drawing/2014/main" id="{FCD1AA90-89B8-D3E3-07C5-4BC27463D01B}"/>
              </a:ext>
            </a:extLst>
          </p:cNvPr>
          <p:cNvCxnSpPr/>
          <p:nvPr>
            <p:custDataLst>
              <p:tags r:id="rId30"/>
            </p:custDataLst>
          </p:nvPr>
        </p:nvCxnSpPr>
        <p:spPr bwMode="gray">
          <a:xfrm>
            <a:off x="377825" y="5192713"/>
            <a:ext cx="150813" cy="0"/>
          </a:xfrm>
          <a:prstGeom prst="line">
            <a:avLst/>
          </a:prstGeom>
          <a:ln w="2857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19">
            <a:extLst>
              <a:ext uri="{FF2B5EF4-FFF2-40B4-BE49-F238E27FC236}">
                <a16:creationId xmlns:a16="http://schemas.microsoft.com/office/drawing/2014/main" id="{9F9869AF-B0F6-4E89-B216-4EC18C7334C2}"/>
              </a:ext>
            </a:extLst>
          </p:cNvPr>
          <p:cNvSpPr>
            <a:spLocks noGrp="1"/>
          </p:cNvSpPr>
          <p:nvPr>
            <p:custDataLst>
              <p:tags r:id="rId31"/>
            </p:custDataLst>
          </p:nvPr>
        </p:nvSpPr>
        <p:spPr bwMode="auto">
          <a:xfrm>
            <a:off x="593725" y="5121275"/>
            <a:ext cx="1246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CA14392A-C8EF-421F-B55C-2857C1826D19}" type="datetime'''Hours'''' w''ith l''''''''''oss ''of'' ''''l''oa''''''''d'">
              <a:rPr lang="en-GB" altLang="en-US" sz="1000" smtClean="0">
                <a:ea typeface="+mn-ea"/>
                <a:cs typeface="+mn-cs"/>
              </a:rPr>
              <a:pPr lvl="0">
                <a:spcBef>
                  <a:spcPct val="0"/>
                </a:spcBef>
                <a:spcAft>
                  <a:spcPct val="0"/>
                </a:spcAft>
              </a:pPr>
              <a:t>Hours with loss of load</a:t>
            </a:fld>
            <a:endParaRPr lang="en-GB" sz="1000">
              <a:ea typeface="+mn-ea"/>
              <a:cs typeface="+mn-cs"/>
            </a:endParaRPr>
          </a:p>
        </p:txBody>
      </p:sp>
      <p:graphicFrame>
        <p:nvGraphicFramePr>
          <p:cNvPr id="114" name="Chart 113">
            <a:extLst>
              <a:ext uri="{FF2B5EF4-FFF2-40B4-BE49-F238E27FC236}">
                <a16:creationId xmlns:a16="http://schemas.microsoft.com/office/drawing/2014/main" id="{FF466347-1BA5-B097-553B-95ED4D758132}"/>
              </a:ext>
            </a:extLst>
          </p:cNvPr>
          <p:cNvGraphicFramePr/>
          <p:nvPr>
            <p:custDataLst>
              <p:tags r:id="rId32"/>
            </p:custDataLst>
          </p:nvPr>
        </p:nvGraphicFramePr>
        <p:xfrm>
          <a:off x="6364288" y="2570163"/>
          <a:ext cx="5548312" cy="3576637"/>
        </p:xfrm>
        <a:graphic>
          <a:graphicData uri="http://schemas.openxmlformats.org/drawingml/2006/chart">
            <c:chart xmlns:c="http://schemas.openxmlformats.org/drawingml/2006/chart" xmlns:r="http://schemas.openxmlformats.org/officeDocument/2006/relationships" r:id="rId40"/>
          </a:graphicData>
        </a:graphic>
      </p:graphicFrame>
      <p:sp>
        <p:nvSpPr>
          <p:cNvPr id="21" name="Text Placeholder 12">
            <a:extLst>
              <a:ext uri="{FF2B5EF4-FFF2-40B4-BE49-F238E27FC236}">
                <a16:creationId xmlns:a16="http://schemas.microsoft.com/office/drawing/2014/main" id="{1AFD6596-0E5D-226B-DB6C-72CBE360E6F9}"/>
              </a:ext>
            </a:extLst>
          </p:cNvPr>
          <p:cNvSpPr txBox="1">
            <a:spLocks/>
          </p:cNvSpPr>
          <p:nvPr/>
        </p:nvSpPr>
        <p:spPr>
          <a:xfrm>
            <a:off x="6443367" y="2179170"/>
            <a:ext cx="5376000" cy="369332"/>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Supply and demand prices in the Capacity Market</a:t>
            </a:r>
            <a:br>
              <a:rPr lang="en-GB"/>
            </a:br>
            <a:r>
              <a:rPr lang="en-GB" b="0">
                <a:solidFill>
                  <a:schemeClr val="accent5"/>
                </a:solidFill>
              </a:rPr>
              <a:t>£/kW</a:t>
            </a:r>
          </a:p>
        </p:txBody>
      </p:sp>
      <p:cxnSp>
        <p:nvCxnSpPr>
          <p:cNvPr id="22" name="Straight Connector 21">
            <a:extLst>
              <a:ext uri="{FF2B5EF4-FFF2-40B4-BE49-F238E27FC236}">
                <a16:creationId xmlns:a16="http://schemas.microsoft.com/office/drawing/2014/main" id="{D814D230-5F29-FF26-A226-F88ECB314008}"/>
              </a:ext>
            </a:extLst>
          </p:cNvPr>
          <p:cNvCxnSpPr>
            <a:cxnSpLocks/>
          </p:cNvCxnSpPr>
          <p:nvPr/>
        </p:nvCxnSpPr>
        <p:spPr>
          <a:xfrm>
            <a:off x="6446381" y="3080427"/>
            <a:ext cx="2567446"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93FD6B-1F72-E1ED-0E91-2585F8D754B7}"/>
              </a:ext>
            </a:extLst>
          </p:cNvPr>
          <p:cNvCxnSpPr>
            <a:cxnSpLocks/>
          </p:cNvCxnSpPr>
          <p:nvPr/>
        </p:nvCxnSpPr>
        <p:spPr>
          <a:xfrm>
            <a:off x="9014308" y="3078791"/>
            <a:ext cx="720320" cy="288969"/>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0C96568-D355-A277-7F01-75B4915F98C4}"/>
              </a:ext>
            </a:extLst>
          </p:cNvPr>
          <p:cNvCxnSpPr>
            <a:cxnSpLocks/>
          </p:cNvCxnSpPr>
          <p:nvPr/>
        </p:nvCxnSpPr>
        <p:spPr>
          <a:xfrm>
            <a:off x="6446381" y="3933685"/>
            <a:ext cx="3651722"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Left Brace 24">
            <a:extLst>
              <a:ext uri="{FF2B5EF4-FFF2-40B4-BE49-F238E27FC236}">
                <a16:creationId xmlns:a16="http://schemas.microsoft.com/office/drawing/2014/main" id="{73741EE3-6604-0E4E-43E8-A7B662B9A59E}"/>
              </a:ext>
            </a:extLst>
          </p:cNvPr>
          <p:cNvSpPr/>
          <p:nvPr/>
        </p:nvSpPr>
        <p:spPr>
          <a:xfrm rot="5400000">
            <a:off x="6841245" y="5346379"/>
            <a:ext cx="321737" cy="111146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cs typeface="Arial" panose="020B0604020202020204" pitchFamily="34" charset="0"/>
            </a:endParaRPr>
          </a:p>
        </p:txBody>
      </p:sp>
      <p:sp>
        <p:nvSpPr>
          <p:cNvPr id="26" name="Left Brace 25">
            <a:extLst>
              <a:ext uri="{FF2B5EF4-FFF2-40B4-BE49-F238E27FC236}">
                <a16:creationId xmlns:a16="http://schemas.microsoft.com/office/drawing/2014/main" id="{56095335-76D5-8F34-336E-4CA23EE7D095}"/>
              </a:ext>
            </a:extLst>
          </p:cNvPr>
          <p:cNvSpPr/>
          <p:nvPr/>
        </p:nvSpPr>
        <p:spPr>
          <a:xfrm rot="5400000">
            <a:off x="8073713" y="5225375"/>
            <a:ext cx="321737" cy="135347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cs typeface="Arial" panose="020B0604020202020204" pitchFamily="34" charset="0"/>
            </a:endParaRPr>
          </a:p>
        </p:txBody>
      </p:sp>
      <p:sp>
        <p:nvSpPr>
          <p:cNvPr id="27" name="Left Brace 26">
            <a:extLst>
              <a:ext uri="{FF2B5EF4-FFF2-40B4-BE49-F238E27FC236}">
                <a16:creationId xmlns:a16="http://schemas.microsoft.com/office/drawing/2014/main" id="{301ED6A9-9815-04D5-37BB-10E6F9BD9118}"/>
              </a:ext>
            </a:extLst>
          </p:cNvPr>
          <p:cNvSpPr/>
          <p:nvPr/>
        </p:nvSpPr>
        <p:spPr>
          <a:xfrm rot="5400000">
            <a:off x="10209259" y="4440574"/>
            <a:ext cx="321737" cy="291761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cs typeface="Arial" panose="020B0604020202020204" pitchFamily="34" charset="0"/>
            </a:endParaRPr>
          </a:p>
        </p:txBody>
      </p:sp>
      <p:cxnSp>
        <p:nvCxnSpPr>
          <p:cNvPr id="28" name="Straight Connector 27">
            <a:extLst>
              <a:ext uri="{FF2B5EF4-FFF2-40B4-BE49-F238E27FC236}">
                <a16:creationId xmlns:a16="http://schemas.microsoft.com/office/drawing/2014/main" id="{E74FAEAB-1C99-29B1-CBF1-1221DB71B2D8}"/>
              </a:ext>
            </a:extLst>
          </p:cNvPr>
          <p:cNvCxnSpPr>
            <a:cxnSpLocks/>
          </p:cNvCxnSpPr>
          <p:nvPr/>
        </p:nvCxnSpPr>
        <p:spPr>
          <a:xfrm>
            <a:off x="10101279" y="3940175"/>
            <a:ext cx="0" cy="193810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3E4FCD5-80BE-20B1-223C-989BDAEBF3CA}"/>
              </a:ext>
            </a:extLst>
          </p:cNvPr>
          <p:cNvSpPr txBox="1"/>
          <p:nvPr/>
        </p:nvSpPr>
        <p:spPr>
          <a:xfrm>
            <a:off x="10832302" y="6057900"/>
            <a:ext cx="996635" cy="184636"/>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Tx/>
              <a:buSzTx/>
              <a:buFontTx/>
              <a:buNone/>
              <a:tabLst/>
            </a:pPr>
            <a:r>
              <a:rPr lang="en-GB" sz="1200" b="1">
                <a:cs typeface="Arial" panose="020B0604020202020204" pitchFamily="34" charset="0"/>
              </a:rPr>
              <a:t>Capacity (GW)</a:t>
            </a:r>
          </a:p>
        </p:txBody>
      </p:sp>
      <p:sp>
        <p:nvSpPr>
          <p:cNvPr id="38" name="TextBox 37">
            <a:extLst>
              <a:ext uri="{FF2B5EF4-FFF2-40B4-BE49-F238E27FC236}">
                <a16:creationId xmlns:a16="http://schemas.microsoft.com/office/drawing/2014/main" id="{AA92B691-4BAA-8465-414F-44D328099AFE}"/>
              </a:ext>
            </a:extLst>
          </p:cNvPr>
          <p:cNvSpPr txBox="1"/>
          <p:nvPr/>
        </p:nvSpPr>
        <p:spPr>
          <a:xfrm>
            <a:off x="6498000" y="2885649"/>
            <a:ext cx="793727" cy="184636"/>
          </a:xfrm>
          <a:prstGeom prst="rect">
            <a:avLst/>
          </a:prstGeom>
          <a:noFill/>
        </p:spPr>
        <p:txBody>
          <a:bodyPr wrap="square" lIns="0" tIns="0" rIns="0" bIns="0" rtlCol="0">
            <a:spAutoFit/>
          </a:bodyPr>
          <a:lstStyle/>
          <a:p>
            <a:pPr marL="0" marR="0" indent="0" algn="l" defTabSz="914400" eaLnBrk="1" fontAlgn="auto" latinLnBrk="0" hangingPunct="1">
              <a:lnSpc>
                <a:spcPct val="100000"/>
              </a:lnSpc>
              <a:spcBef>
                <a:spcPts val="0"/>
              </a:spcBef>
              <a:spcAft>
                <a:spcPts val="0"/>
              </a:spcAft>
              <a:buClrTx/>
              <a:buSzTx/>
              <a:buFontTx/>
              <a:buNone/>
              <a:tabLst/>
            </a:pPr>
            <a:r>
              <a:rPr lang="en-GB" sz="1200">
                <a:cs typeface="Arial" panose="020B0604020202020204" pitchFamily="34" charset="0"/>
              </a:rPr>
              <a:t>Auction cap</a:t>
            </a:r>
          </a:p>
        </p:txBody>
      </p:sp>
      <p:sp>
        <p:nvSpPr>
          <p:cNvPr id="41" name="Freeform 25">
            <a:extLst>
              <a:ext uri="{FF2B5EF4-FFF2-40B4-BE49-F238E27FC236}">
                <a16:creationId xmlns:a16="http://schemas.microsoft.com/office/drawing/2014/main" id="{622E3E29-72FF-77F8-B5CD-2F19003C923B}"/>
              </a:ext>
            </a:extLst>
          </p:cNvPr>
          <p:cNvSpPr/>
          <p:nvPr/>
        </p:nvSpPr>
        <p:spPr>
          <a:xfrm>
            <a:off x="7557845" y="3091810"/>
            <a:ext cx="4271092" cy="2634825"/>
          </a:xfrm>
          <a:custGeom>
            <a:avLst/>
            <a:gdLst>
              <a:gd name="connsiteX0" fmla="*/ 0 w 6883400"/>
              <a:gd name="connsiteY0" fmla="*/ 2980267 h 2980267"/>
              <a:gd name="connsiteX1" fmla="*/ 2997200 w 6883400"/>
              <a:gd name="connsiteY1" fmla="*/ 2912533 h 2980267"/>
              <a:gd name="connsiteX2" fmla="*/ 3725334 w 6883400"/>
              <a:gd name="connsiteY2" fmla="*/ 2243667 h 2980267"/>
              <a:gd name="connsiteX3" fmla="*/ 4402667 w 6883400"/>
              <a:gd name="connsiteY3" fmla="*/ 2048933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0267 h 2980267"/>
              <a:gd name="connsiteX1" fmla="*/ 2997200 w 6883400"/>
              <a:gd name="connsiteY1" fmla="*/ 2912533 h 2980267"/>
              <a:gd name="connsiteX2" fmla="*/ 3725334 w 6883400"/>
              <a:gd name="connsiteY2" fmla="*/ 2243667 h 2980267"/>
              <a:gd name="connsiteX3" fmla="*/ 4402667 w 6883400"/>
              <a:gd name="connsiteY3" fmla="*/ 2048933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0267 h 2980267"/>
              <a:gd name="connsiteX1" fmla="*/ 2997200 w 6883400"/>
              <a:gd name="connsiteY1" fmla="*/ 2912533 h 2980267"/>
              <a:gd name="connsiteX2" fmla="*/ 3725334 w 6883400"/>
              <a:gd name="connsiteY2" fmla="*/ 2243667 h 2980267"/>
              <a:gd name="connsiteX3" fmla="*/ 4402667 w 6883400"/>
              <a:gd name="connsiteY3" fmla="*/ 2048933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0267 h 2980267"/>
              <a:gd name="connsiteX1" fmla="*/ 2997200 w 6883400"/>
              <a:gd name="connsiteY1" fmla="*/ 2912533 h 2980267"/>
              <a:gd name="connsiteX2" fmla="*/ 3725334 w 6883400"/>
              <a:gd name="connsiteY2" fmla="*/ 2243667 h 2980267"/>
              <a:gd name="connsiteX3" fmla="*/ 4402667 w 6883400"/>
              <a:gd name="connsiteY3" fmla="*/ 2048933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0267 h 2980267"/>
              <a:gd name="connsiteX1" fmla="*/ 2997200 w 6883400"/>
              <a:gd name="connsiteY1" fmla="*/ 2912533 h 2980267"/>
              <a:gd name="connsiteX2" fmla="*/ 3889236 w 6883400"/>
              <a:gd name="connsiteY2" fmla="*/ 2209162 h 2980267"/>
              <a:gd name="connsiteX3" fmla="*/ 4402667 w 6883400"/>
              <a:gd name="connsiteY3" fmla="*/ 2048933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0267 h 2980267"/>
              <a:gd name="connsiteX1" fmla="*/ 2997200 w 6883400"/>
              <a:gd name="connsiteY1" fmla="*/ 2912533 h 2980267"/>
              <a:gd name="connsiteX2" fmla="*/ 3889236 w 6883400"/>
              <a:gd name="connsiteY2" fmla="*/ 2209162 h 2980267"/>
              <a:gd name="connsiteX3" fmla="*/ 4402667 w 6883400"/>
              <a:gd name="connsiteY3" fmla="*/ 2048933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0267 h 2980267"/>
              <a:gd name="connsiteX1" fmla="*/ 2997200 w 6883400"/>
              <a:gd name="connsiteY1" fmla="*/ 2912533 h 2980267"/>
              <a:gd name="connsiteX2" fmla="*/ 3889236 w 6883400"/>
              <a:gd name="connsiteY2" fmla="*/ 2209162 h 2980267"/>
              <a:gd name="connsiteX3" fmla="*/ 4402667 w 6883400"/>
              <a:gd name="connsiteY3" fmla="*/ 2048933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0267 h 2980267"/>
              <a:gd name="connsiteX1" fmla="*/ 2997200 w 6883400"/>
              <a:gd name="connsiteY1" fmla="*/ 2912533 h 2980267"/>
              <a:gd name="connsiteX2" fmla="*/ 3889236 w 6883400"/>
              <a:gd name="connsiteY2" fmla="*/ 2209162 h 2980267"/>
              <a:gd name="connsiteX3" fmla="*/ 4644207 w 6883400"/>
              <a:gd name="connsiteY3" fmla="*/ 1945416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0267 h 2980267"/>
              <a:gd name="connsiteX1" fmla="*/ 2997200 w 6883400"/>
              <a:gd name="connsiteY1" fmla="*/ 2912533 h 2980267"/>
              <a:gd name="connsiteX2" fmla="*/ 3889236 w 6883400"/>
              <a:gd name="connsiteY2" fmla="*/ 2209162 h 2980267"/>
              <a:gd name="connsiteX3" fmla="*/ 4644207 w 6883400"/>
              <a:gd name="connsiteY3" fmla="*/ 1945416 h 2980267"/>
              <a:gd name="connsiteX4" fmla="*/ 5503334 w 6883400"/>
              <a:gd name="connsiteY4" fmla="*/ 1388533 h 2980267"/>
              <a:gd name="connsiteX5" fmla="*/ 6045200 w 6883400"/>
              <a:gd name="connsiteY5" fmla="*/ 228600 h 2980267"/>
              <a:gd name="connsiteX6" fmla="*/ 6883400 w 6883400"/>
              <a:gd name="connsiteY6" fmla="*/ 0 h 2980267"/>
              <a:gd name="connsiteX0" fmla="*/ 0 w 6883400"/>
              <a:gd name="connsiteY0" fmla="*/ 2982393 h 2982393"/>
              <a:gd name="connsiteX1" fmla="*/ 2997200 w 6883400"/>
              <a:gd name="connsiteY1" fmla="*/ 2914659 h 2982393"/>
              <a:gd name="connsiteX2" fmla="*/ 3889236 w 6883400"/>
              <a:gd name="connsiteY2" fmla="*/ 2211288 h 2982393"/>
              <a:gd name="connsiteX3" fmla="*/ 4644207 w 6883400"/>
              <a:gd name="connsiteY3" fmla="*/ 1947542 h 2982393"/>
              <a:gd name="connsiteX4" fmla="*/ 5503334 w 6883400"/>
              <a:gd name="connsiteY4" fmla="*/ 1390659 h 2982393"/>
              <a:gd name="connsiteX5" fmla="*/ 6045200 w 6883400"/>
              <a:gd name="connsiteY5" fmla="*/ 230726 h 2982393"/>
              <a:gd name="connsiteX6" fmla="*/ 6883400 w 6883400"/>
              <a:gd name="connsiteY6" fmla="*/ 2126 h 2982393"/>
              <a:gd name="connsiteX0" fmla="*/ 0 w 6883400"/>
              <a:gd name="connsiteY0" fmla="*/ 2982393 h 2982393"/>
              <a:gd name="connsiteX1" fmla="*/ 2997200 w 6883400"/>
              <a:gd name="connsiteY1" fmla="*/ 2914659 h 2982393"/>
              <a:gd name="connsiteX2" fmla="*/ 3889236 w 6883400"/>
              <a:gd name="connsiteY2" fmla="*/ 2211288 h 2982393"/>
              <a:gd name="connsiteX3" fmla="*/ 4644207 w 6883400"/>
              <a:gd name="connsiteY3" fmla="*/ 1947542 h 2982393"/>
              <a:gd name="connsiteX4" fmla="*/ 5503334 w 6883400"/>
              <a:gd name="connsiteY4" fmla="*/ 1390659 h 2982393"/>
              <a:gd name="connsiteX5" fmla="*/ 6045200 w 6883400"/>
              <a:gd name="connsiteY5" fmla="*/ 230726 h 2982393"/>
              <a:gd name="connsiteX6" fmla="*/ 6883400 w 6883400"/>
              <a:gd name="connsiteY6" fmla="*/ 2126 h 2982393"/>
              <a:gd name="connsiteX0" fmla="*/ 0 w 6883400"/>
              <a:gd name="connsiteY0" fmla="*/ 2982393 h 2982393"/>
              <a:gd name="connsiteX1" fmla="*/ 2997200 w 6883400"/>
              <a:gd name="connsiteY1" fmla="*/ 2914659 h 2982393"/>
              <a:gd name="connsiteX2" fmla="*/ 3889236 w 6883400"/>
              <a:gd name="connsiteY2" fmla="*/ 2211288 h 2982393"/>
              <a:gd name="connsiteX3" fmla="*/ 4644207 w 6883400"/>
              <a:gd name="connsiteY3" fmla="*/ 1947542 h 2982393"/>
              <a:gd name="connsiteX4" fmla="*/ 5503334 w 6883400"/>
              <a:gd name="connsiteY4" fmla="*/ 1390659 h 2982393"/>
              <a:gd name="connsiteX5" fmla="*/ 6045200 w 6883400"/>
              <a:gd name="connsiteY5" fmla="*/ 230726 h 2982393"/>
              <a:gd name="connsiteX6" fmla="*/ 6883400 w 6883400"/>
              <a:gd name="connsiteY6" fmla="*/ 2126 h 2982393"/>
              <a:gd name="connsiteX0" fmla="*/ 0 w 6892027"/>
              <a:gd name="connsiteY0" fmla="*/ 3092411 h 3092411"/>
              <a:gd name="connsiteX1" fmla="*/ 2997200 w 6892027"/>
              <a:gd name="connsiteY1" fmla="*/ 3024677 h 3092411"/>
              <a:gd name="connsiteX2" fmla="*/ 3889236 w 6892027"/>
              <a:gd name="connsiteY2" fmla="*/ 2321306 h 3092411"/>
              <a:gd name="connsiteX3" fmla="*/ 4644207 w 6892027"/>
              <a:gd name="connsiteY3" fmla="*/ 2057560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997200 w 6892027"/>
              <a:gd name="connsiteY1" fmla="*/ 3024677 h 3092411"/>
              <a:gd name="connsiteX2" fmla="*/ 3889236 w 6892027"/>
              <a:gd name="connsiteY2" fmla="*/ 232130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997200 w 6892027"/>
              <a:gd name="connsiteY1" fmla="*/ 3024677 h 3092411"/>
              <a:gd name="connsiteX2" fmla="*/ 3889236 w 6892027"/>
              <a:gd name="connsiteY2" fmla="*/ 232130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997200 w 6892027"/>
              <a:gd name="connsiteY1" fmla="*/ 3024677 h 3092411"/>
              <a:gd name="connsiteX2" fmla="*/ 3889236 w 6892027"/>
              <a:gd name="connsiteY2" fmla="*/ 232130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997200 w 6892027"/>
              <a:gd name="connsiteY1" fmla="*/ 3024677 h 3092411"/>
              <a:gd name="connsiteX2" fmla="*/ 3889236 w 6892027"/>
              <a:gd name="connsiteY2" fmla="*/ 232130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997200 w 6892027"/>
              <a:gd name="connsiteY1" fmla="*/ 3024677 h 3092411"/>
              <a:gd name="connsiteX2" fmla="*/ 3889236 w 6892027"/>
              <a:gd name="connsiteY2" fmla="*/ 232130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870520 w 6892027"/>
              <a:gd name="connsiteY1" fmla="*/ 3018767 h 3092411"/>
              <a:gd name="connsiteX2" fmla="*/ 3889236 w 6892027"/>
              <a:gd name="connsiteY2" fmla="*/ 232130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663486 w 6892027"/>
              <a:gd name="connsiteY1" fmla="*/ 3044646 h 3092411"/>
              <a:gd name="connsiteX2" fmla="*/ 3889236 w 6892027"/>
              <a:gd name="connsiteY2" fmla="*/ 232130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663486 w 6892027"/>
              <a:gd name="connsiteY1" fmla="*/ 3044646 h 3092411"/>
              <a:gd name="connsiteX2" fmla="*/ 3250883 w 6892027"/>
              <a:gd name="connsiteY2" fmla="*/ 244287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1809219 w 6892027"/>
              <a:gd name="connsiteY1" fmla="*/ 3053998 h 3092411"/>
              <a:gd name="connsiteX2" fmla="*/ 3250883 w 6892027"/>
              <a:gd name="connsiteY2" fmla="*/ 244287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062683 w 6892027"/>
              <a:gd name="connsiteY1" fmla="*/ 3044647 h 3092411"/>
              <a:gd name="connsiteX2" fmla="*/ 3250883 w 6892027"/>
              <a:gd name="connsiteY2" fmla="*/ 2442876 h 3092411"/>
              <a:gd name="connsiteX3" fmla="*/ 4704592 w 6892027"/>
              <a:gd name="connsiteY3" fmla="*/ 2074812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062683 w 6892027"/>
              <a:gd name="connsiteY1" fmla="*/ 3044647 h 3092411"/>
              <a:gd name="connsiteX2" fmla="*/ 3250883 w 6892027"/>
              <a:gd name="connsiteY2" fmla="*/ 2442876 h 3092411"/>
              <a:gd name="connsiteX3" fmla="*/ 4760917 w 6892027"/>
              <a:gd name="connsiteY3" fmla="*/ 2028054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062683 w 6892027"/>
              <a:gd name="connsiteY1" fmla="*/ 3044647 h 3092411"/>
              <a:gd name="connsiteX2" fmla="*/ 3250883 w 6892027"/>
              <a:gd name="connsiteY2" fmla="*/ 2442876 h 3092411"/>
              <a:gd name="connsiteX3" fmla="*/ 4760917 w 6892027"/>
              <a:gd name="connsiteY3" fmla="*/ 2028054 h 3092411"/>
              <a:gd name="connsiteX4" fmla="*/ 5503334 w 6892027"/>
              <a:gd name="connsiteY4" fmla="*/ 1500677 h 3092411"/>
              <a:gd name="connsiteX5" fmla="*/ 6045200 w 6892027"/>
              <a:gd name="connsiteY5" fmla="*/ 340744 h 3092411"/>
              <a:gd name="connsiteX6" fmla="*/ 6892027 w 6892027"/>
              <a:gd name="connsiteY6" fmla="*/ 0 h 3092411"/>
              <a:gd name="connsiteX0" fmla="*/ 0 w 6892027"/>
              <a:gd name="connsiteY0" fmla="*/ 3092411 h 3092411"/>
              <a:gd name="connsiteX1" fmla="*/ 2062683 w 6892027"/>
              <a:gd name="connsiteY1" fmla="*/ 3044647 h 3092411"/>
              <a:gd name="connsiteX2" fmla="*/ 3250883 w 6892027"/>
              <a:gd name="connsiteY2" fmla="*/ 2442876 h 3092411"/>
              <a:gd name="connsiteX3" fmla="*/ 4760917 w 6892027"/>
              <a:gd name="connsiteY3" fmla="*/ 2028054 h 3092411"/>
              <a:gd name="connsiteX4" fmla="*/ 5390683 w 6892027"/>
              <a:gd name="connsiteY4" fmla="*/ 1360404 h 3092411"/>
              <a:gd name="connsiteX5" fmla="*/ 6045200 w 6892027"/>
              <a:gd name="connsiteY5" fmla="*/ 340744 h 3092411"/>
              <a:gd name="connsiteX6" fmla="*/ 6892027 w 6892027"/>
              <a:gd name="connsiteY6" fmla="*/ 0 h 3092411"/>
              <a:gd name="connsiteX0" fmla="*/ 0 w 6892027"/>
              <a:gd name="connsiteY0" fmla="*/ 3092411 h 3092411"/>
              <a:gd name="connsiteX1" fmla="*/ 2062683 w 6892027"/>
              <a:gd name="connsiteY1" fmla="*/ 3044647 h 3092411"/>
              <a:gd name="connsiteX2" fmla="*/ 3250883 w 6892027"/>
              <a:gd name="connsiteY2" fmla="*/ 2442876 h 3092411"/>
              <a:gd name="connsiteX3" fmla="*/ 4760917 w 6892027"/>
              <a:gd name="connsiteY3" fmla="*/ 2028054 h 3092411"/>
              <a:gd name="connsiteX4" fmla="*/ 5390683 w 6892027"/>
              <a:gd name="connsiteY4" fmla="*/ 1360404 h 3092411"/>
              <a:gd name="connsiteX5" fmla="*/ 6354989 w 6892027"/>
              <a:gd name="connsiteY5" fmla="*/ 546478 h 3092411"/>
              <a:gd name="connsiteX6" fmla="*/ 6892027 w 6892027"/>
              <a:gd name="connsiteY6" fmla="*/ 0 h 3092411"/>
              <a:gd name="connsiteX0" fmla="*/ 0 w 6892027"/>
              <a:gd name="connsiteY0" fmla="*/ 3092411 h 3092411"/>
              <a:gd name="connsiteX1" fmla="*/ 2062683 w 6892027"/>
              <a:gd name="connsiteY1" fmla="*/ 3044647 h 3092411"/>
              <a:gd name="connsiteX2" fmla="*/ 3250883 w 6892027"/>
              <a:gd name="connsiteY2" fmla="*/ 2442876 h 3092411"/>
              <a:gd name="connsiteX3" fmla="*/ 4760917 w 6892027"/>
              <a:gd name="connsiteY3" fmla="*/ 2028054 h 3092411"/>
              <a:gd name="connsiteX4" fmla="*/ 5606597 w 6892027"/>
              <a:gd name="connsiteY4" fmla="*/ 1397811 h 3092411"/>
              <a:gd name="connsiteX5" fmla="*/ 6354989 w 6892027"/>
              <a:gd name="connsiteY5" fmla="*/ 546478 h 3092411"/>
              <a:gd name="connsiteX6" fmla="*/ 6892027 w 6892027"/>
              <a:gd name="connsiteY6" fmla="*/ 0 h 3092411"/>
              <a:gd name="connsiteX0" fmla="*/ 0 w 6892027"/>
              <a:gd name="connsiteY0" fmla="*/ 3092411 h 3092411"/>
              <a:gd name="connsiteX1" fmla="*/ 2062683 w 6892027"/>
              <a:gd name="connsiteY1" fmla="*/ 3044647 h 3092411"/>
              <a:gd name="connsiteX2" fmla="*/ 3250883 w 6892027"/>
              <a:gd name="connsiteY2" fmla="*/ 2442876 h 3092411"/>
              <a:gd name="connsiteX3" fmla="*/ 4760917 w 6892027"/>
              <a:gd name="connsiteY3" fmla="*/ 2028054 h 3092411"/>
              <a:gd name="connsiteX4" fmla="*/ 5268645 w 6892027"/>
              <a:gd name="connsiteY4" fmla="*/ 1453920 h 3092411"/>
              <a:gd name="connsiteX5" fmla="*/ 6354989 w 6892027"/>
              <a:gd name="connsiteY5" fmla="*/ 546478 h 3092411"/>
              <a:gd name="connsiteX6" fmla="*/ 6892027 w 6892027"/>
              <a:gd name="connsiteY6" fmla="*/ 0 h 3092411"/>
              <a:gd name="connsiteX0" fmla="*/ 0 w 6892027"/>
              <a:gd name="connsiteY0" fmla="*/ 3092411 h 3092411"/>
              <a:gd name="connsiteX1" fmla="*/ 2062683 w 6892027"/>
              <a:gd name="connsiteY1" fmla="*/ 3044647 h 3092411"/>
              <a:gd name="connsiteX2" fmla="*/ 3250883 w 6892027"/>
              <a:gd name="connsiteY2" fmla="*/ 2442876 h 3092411"/>
              <a:gd name="connsiteX3" fmla="*/ 4760917 w 6892027"/>
              <a:gd name="connsiteY3" fmla="*/ 2028054 h 3092411"/>
              <a:gd name="connsiteX4" fmla="*/ 5268645 w 6892027"/>
              <a:gd name="connsiteY4" fmla="*/ 1453920 h 3092411"/>
              <a:gd name="connsiteX5" fmla="*/ 5848061 w 6892027"/>
              <a:gd name="connsiteY5" fmla="*/ 1116922 h 3092411"/>
              <a:gd name="connsiteX6" fmla="*/ 6892027 w 6892027"/>
              <a:gd name="connsiteY6" fmla="*/ 0 h 3092411"/>
              <a:gd name="connsiteX0" fmla="*/ 0 w 6300611"/>
              <a:gd name="connsiteY0" fmla="*/ 2578077 h 2578077"/>
              <a:gd name="connsiteX1" fmla="*/ 2062683 w 6300611"/>
              <a:gd name="connsiteY1" fmla="*/ 2530313 h 2578077"/>
              <a:gd name="connsiteX2" fmla="*/ 3250883 w 6300611"/>
              <a:gd name="connsiteY2" fmla="*/ 1928542 h 2578077"/>
              <a:gd name="connsiteX3" fmla="*/ 4760917 w 6300611"/>
              <a:gd name="connsiteY3" fmla="*/ 1513720 h 2578077"/>
              <a:gd name="connsiteX4" fmla="*/ 5268645 w 6300611"/>
              <a:gd name="connsiteY4" fmla="*/ 939586 h 2578077"/>
              <a:gd name="connsiteX5" fmla="*/ 5848061 w 6300611"/>
              <a:gd name="connsiteY5" fmla="*/ 602588 h 2578077"/>
              <a:gd name="connsiteX6" fmla="*/ 6300611 w 6300611"/>
              <a:gd name="connsiteY6" fmla="*/ 0 h 2578077"/>
              <a:gd name="connsiteX0" fmla="*/ 0 w 6985902"/>
              <a:gd name="connsiteY0" fmla="*/ 2550022 h 2550022"/>
              <a:gd name="connsiteX1" fmla="*/ 2062683 w 6985902"/>
              <a:gd name="connsiteY1" fmla="*/ 2502258 h 2550022"/>
              <a:gd name="connsiteX2" fmla="*/ 3250883 w 6985902"/>
              <a:gd name="connsiteY2" fmla="*/ 1900487 h 2550022"/>
              <a:gd name="connsiteX3" fmla="*/ 4760917 w 6985902"/>
              <a:gd name="connsiteY3" fmla="*/ 1485665 h 2550022"/>
              <a:gd name="connsiteX4" fmla="*/ 5268645 w 6985902"/>
              <a:gd name="connsiteY4" fmla="*/ 911531 h 2550022"/>
              <a:gd name="connsiteX5" fmla="*/ 5848061 w 6985902"/>
              <a:gd name="connsiteY5" fmla="*/ 574533 h 2550022"/>
              <a:gd name="connsiteX6" fmla="*/ 6985902 w 6985902"/>
              <a:gd name="connsiteY6" fmla="*/ 0 h 2550022"/>
              <a:gd name="connsiteX0" fmla="*/ 0 w 6582237"/>
              <a:gd name="connsiteY0" fmla="*/ 2381694 h 2381694"/>
              <a:gd name="connsiteX1" fmla="*/ 2062683 w 6582237"/>
              <a:gd name="connsiteY1" fmla="*/ 2333930 h 2381694"/>
              <a:gd name="connsiteX2" fmla="*/ 3250883 w 6582237"/>
              <a:gd name="connsiteY2" fmla="*/ 1732159 h 2381694"/>
              <a:gd name="connsiteX3" fmla="*/ 4760917 w 6582237"/>
              <a:gd name="connsiteY3" fmla="*/ 1317337 h 2381694"/>
              <a:gd name="connsiteX4" fmla="*/ 5268645 w 6582237"/>
              <a:gd name="connsiteY4" fmla="*/ 743203 h 2381694"/>
              <a:gd name="connsiteX5" fmla="*/ 5848061 w 6582237"/>
              <a:gd name="connsiteY5" fmla="*/ 406205 h 2381694"/>
              <a:gd name="connsiteX6" fmla="*/ 6582237 w 6582237"/>
              <a:gd name="connsiteY6" fmla="*/ 0 h 2381694"/>
              <a:gd name="connsiteX0" fmla="*/ 0 w 6636620"/>
              <a:gd name="connsiteY0" fmla="*/ 2416607 h 2416607"/>
              <a:gd name="connsiteX1" fmla="*/ 2062683 w 6636620"/>
              <a:gd name="connsiteY1" fmla="*/ 2368843 h 2416607"/>
              <a:gd name="connsiteX2" fmla="*/ 3250883 w 6636620"/>
              <a:gd name="connsiteY2" fmla="*/ 1767072 h 2416607"/>
              <a:gd name="connsiteX3" fmla="*/ 4760917 w 6636620"/>
              <a:gd name="connsiteY3" fmla="*/ 1352250 h 2416607"/>
              <a:gd name="connsiteX4" fmla="*/ 5268645 w 6636620"/>
              <a:gd name="connsiteY4" fmla="*/ 778116 h 2416607"/>
              <a:gd name="connsiteX5" fmla="*/ 5848061 w 6636620"/>
              <a:gd name="connsiteY5" fmla="*/ 441118 h 2416607"/>
              <a:gd name="connsiteX6" fmla="*/ 6582237 w 6636620"/>
              <a:gd name="connsiteY6" fmla="*/ 34913 h 2416607"/>
              <a:gd name="connsiteX7" fmla="*/ 6582238 w 6636620"/>
              <a:gd name="connsiteY7" fmla="*/ 19508 h 2416607"/>
              <a:gd name="connsiteX0" fmla="*/ 0 w 7567931"/>
              <a:gd name="connsiteY0" fmla="*/ 2462560 h 2462560"/>
              <a:gd name="connsiteX1" fmla="*/ 2062683 w 7567931"/>
              <a:gd name="connsiteY1" fmla="*/ 2414796 h 2462560"/>
              <a:gd name="connsiteX2" fmla="*/ 3250883 w 7567931"/>
              <a:gd name="connsiteY2" fmla="*/ 1813025 h 2462560"/>
              <a:gd name="connsiteX3" fmla="*/ 4760917 w 7567931"/>
              <a:gd name="connsiteY3" fmla="*/ 1398203 h 2462560"/>
              <a:gd name="connsiteX4" fmla="*/ 5268645 w 7567931"/>
              <a:gd name="connsiteY4" fmla="*/ 824069 h 2462560"/>
              <a:gd name="connsiteX5" fmla="*/ 5848061 w 7567931"/>
              <a:gd name="connsiteY5" fmla="*/ 487071 h 2462560"/>
              <a:gd name="connsiteX6" fmla="*/ 6582237 w 7567931"/>
              <a:gd name="connsiteY6" fmla="*/ 80866 h 2462560"/>
              <a:gd name="connsiteX7" fmla="*/ 7567931 w 7567931"/>
              <a:gd name="connsiteY7" fmla="*/ 0 h 2462560"/>
              <a:gd name="connsiteX0" fmla="*/ 0 w 7436505"/>
              <a:gd name="connsiteY0" fmla="*/ 3257440 h 3257440"/>
              <a:gd name="connsiteX1" fmla="*/ 2062683 w 7436505"/>
              <a:gd name="connsiteY1" fmla="*/ 3209676 h 3257440"/>
              <a:gd name="connsiteX2" fmla="*/ 3250883 w 7436505"/>
              <a:gd name="connsiteY2" fmla="*/ 2607905 h 3257440"/>
              <a:gd name="connsiteX3" fmla="*/ 4760917 w 7436505"/>
              <a:gd name="connsiteY3" fmla="*/ 2193083 h 3257440"/>
              <a:gd name="connsiteX4" fmla="*/ 5268645 w 7436505"/>
              <a:gd name="connsiteY4" fmla="*/ 1618949 h 3257440"/>
              <a:gd name="connsiteX5" fmla="*/ 5848061 w 7436505"/>
              <a:gd name="connsiteY5" fmla="*/ 1281951 h 3257440"/>
              <a:gd name="connsiteX6" fmla="*/ 6582237 w 7436505"/>
              <a:gd name="connsiteY6" fmla="*/ 875746 h 3257440"/>
              <a:gd name="connsiteX7" fmla="*/ 7436505 w 7436505"/>
              <a:gd name="connsiteY7" fmla="*/ 0 h 3257440"/>
              <a:gd name="connsiteX0" fmla="*/ 0 w 7436505"/>
              <a:gd name="connsiteY0" fmla="*/ 3257440 h 3257440"/>
              <a:gd name="connsiteX1" fmla="*/ 2062683 w 7436505"/>
              <a:gd name="connsiteY1" fmla="*/ 3209676 h 3257440"/>
              <a:gd name="connsiteX2" fmla="*/ 3250883 w 7436505"/>
              <a:gd name="connsiteY2" fmla="*/ 2607905 h 3257440"/>
              <a:gd name="connsiteX3" fmla="*/ 4760917 w 7436505"/>
              <a:gd name="connsiteY3" fmla="*/ 2193083 h 3257440"/>
              <a:gd name="connsiteX4" fmla="*/ 5268645 w 7436505"/>
              <a:gd name="connsiteY4" fmla="*/ 1618949 h 3257440"/>
              <a:gd name="connsiteX5" fmla="*/ 5848061 w 7436505"/>
              <a:gd name="connsiteY5" fmla="*/ 1281951 h 3257440"/>
              <a:gd name="connsiteX6" fmla="*/ 6582237 w 7436505"/>
              <a:gd name="connsiteY6" fmla="*/ 875746 h 3257440"/>
              <a:gd name="connsiteX7" fmla="*/ 7436505 w 7436505"/>
              <a:gd name="connsiteY7" fmla="*/ 0 h 3257440"/>
              <a:gd name="connsiteX0" fmla="*/ 0 w 7436505"/>
              <a:gd name="connsiteY0" fmla="*/ 3257440 h 3257440"/>
              <a:gd name="connsiteX1" fmla="*/ 2062683 w 7436505"/>
              <a:gd name="connsiteY1" fmla="*/ 3209676 h 3257440"/>
              <a:gd name="connsiteX2" fmla="*/ 3250883 w 7436505"/>
              <a:gd name="connsiteY2" fmla="*/ 2607905 h 3257440"/>
              <a:gd name="connsiteX3" fmla="*/ 4760917 w 7436505"/>
              <a:gd name="connsiteY3" fmla="*/ 2193083 h 3257440"/>
              <a:gd name="connsiteX4" fmla="*/ 5268645 w 7436505"/>
              <a:gd name="connsiteY4" fmla="*/ 1618949 h 3257440"/>
              <a:gd name="connsiteX5" fmla="*/ 5848061 w 7436505"/>
              <a:gd name="connsiteY5" fmla="*/ 1281951 h 3257440"/>
              <a:gd name="connsiteX6" fmla="*/ 6657337 w 7436505"/>
              <a:gd name="connsiteY6" fmla="*/ 1062777 h 3257440"/>
              <a:gd name="connsiteX7" fmla="*/ 7436505 w 7436505"/>
              <a:gd name="connsiteY7" fmla="*/ 0 h 3257440"/>
              <a:gd name="connsiteX0" fmla="*/ 0 w 7398955"/>
              <a:gd name="connsiteY0" fmla="*/ 2855324 h 2855324"/>
              <a:gd name="connsiteX1" fmla="*/ 2062683 w 7398955"/>
              <a:gd name="connsiteY1" fmla="*/ 2807560 h 2855324"/>
              <a:gd name="connsiteX2" fmla="*/ 3250883 w 7398955"/>
              <a:gd name="connsiteY2" fmla="*/ 2205789 h 2855324"/>
              <a:gd name="connsiteX3" fmla="*/ 4760917 w 7398955"/>
              <a:gd name="connsiteY3" fmla="*/ 1790967 h 2855324"/>
              <a:gd name="connsiteX4" fmla="*/ 5268645 w 7398955"/>
              <a:gd name="connsiteY4" fmla="*/ 1216833 h 2855324"/>
              <a:gd name="connsiteX5" fmla="*/ 5848061 w 7398955"/>
              <a:gd name="connsiteY5" fmla="*/ 879835 h 2855324"/>
              <a:gd name="connsiteX6" fmla="*/ 6657337 w 7398955"/>
              <a:gd name="connsiteY6" fmla="*/ 660661 h 2855324"/>
              <a:gd name="connsiteX7" fmla="*/ 7398955 w 7398955"/>
              <a:gd name="connsiteY7" fmla="*/ 0 h 2855324"/>
              <a:gd name="connsiteX0" fmla="*/ 0 w 7398955"/>
              <a:gd name="connsiteY0" fmla="*/ 2855324 h 2855324"/>
              <a:gd name="connsiteX1" fmla="*/ 2062683 w 7398955"/>
              <a:gd name="connsiteY1" fmla="*/ 2807560 h 2855324"/>
              <a:gd name="connsiteX2" fmla="*/ 3250883 w 7398955"/>
              <a:gd name="connsiteY2" fmla="*/ 2205789 h 2855324"/>
              <a:gd name="connsiteX3" fmla="*/ 4760917 w 7398955"/>
              <a:gd name="connsiteY3" fmla="*/ 1790967 h 2855324"/>
              <a:gd name="connsiteX4" fmla="*/ 5268645 w 7398955"/>
              <a:gd name="connsiteY4" fmla="*/ 1216833 h 2855324"/>
              <a:gd name="connsiteX5" fmla="*/ 5848061 w 7398955"/>
              <a:gd name="connsiteY5" fmla="*/ 879835 h 2855324"/>
              <a:gd name="connsiteX6" fmla="*/ 6657337 w 7398955"/>
              <a:gd name="connsiteY6" fmla="*/ 660661 h 2855324"/>
              <a:gd name="connsiteX7" fmla="*/ 7398955 w 7398955"/>
              <a:gd name="connsiteY7" fmla="*/ 0 h 2855324"/>
              <a:gd name="connsiteX0" fmla="*/ 0 w 7314467"/>
              <a:gd name="connsiteY0" fmla="*/ 2939488 h 2939488"/>
              <a:gd name="connsiteX1" fmla="*/ 2062683 w 7314467"/>
              <a:gd name="connsiteY1" fmla="*/ 2891724 h 2939488"/>
              <a:gd name="connsiteX2" fmla="*/ 3250883 w 7314467"/>
              <a:gd name="connsiteY2" fmla="*/ 2289953 h 2939488"/>
              <a:gd name="connsiteX3" fmla="*/ 4760917 w 7314467"/>
              <a:gd name="connsiteY3" fmla="*/ 1875131 h 2939488"/>
              <a:gd name="connsiteX4" fmla="*/ 5268645 w 7314467"/>
              <a:gd name="connsiteY4" fmla="*/ 1300997 h 2939488"/>
              <a:gd name="connsiteX5" fmla="*/ 5848061 w 7314467"/>
              <a:gd name="connsiteY5" fmla="*/ 963999 h 2939488"/>
              <a:gd name="connsiteX6" fmla="*/ 6657337 w 7314467"/>
              <a:gd name="connsiteY6" fmla="*/ 744825 h 2939488"/>
              <a:gd name="connsiteX7" fmla="*/ 7314467 w 7314467"/>
              <a:gd name="connsiteY7" fmla="*/ 0 h 2939488"/>
              <a:gd name="connsiteX0" fmla="*/ 0 w 7314467"/>
              <a:gd name="connsiteY0" fmla="*/ 2939488 h 2939488"/>
              <a:gd name="connsiteX1" fmla="*/ 2062683 w 7314467"/>
              <a:gd name="connsiteY1" fmla="*/ 2891724 h 2939488"/>
              <a:gd name="connsiteX2" fmla="*/ 3250883 w 7314467"/>
              <a:gd name="connsiteY2" fmla="*/ 2289953 h 2939488"/>
              <a:gd name="connsiteX3" fmla="*/ 4760917 w 7314467"/>
              <a:gd name="connsiteY3" fmla="*/ 1875131 h 2939488"/>
              <a:gd name="connsiteX4" fmla="*/ 5268645 w 7314467"/>
              <a:gd name="connsiteY4" fmla="*/ 1300997 h 2939488"/>
              <a:gd name="connsiteX5" fmla="*/ 5848061 w 7314467"/>
              <a:gd name="connsiteY5" fmla="*/ 963999 h 2939488"/>
              <a:gd name="connsiteX6" fmla="*/ 6657338 w 7314467"/>
              <a:gd name="connsiteY6" fmla="*/ 613903 h 2939488"/>
              <a:gd name="connsiteX7" fmla="*/ 7314467 w 7314467"/>
              <a:gd name="connsiteY7" fmla="*/ 0 h 2939488"/>
              <a:gd name="connsiteX0" fmla="*/ 0 w 7314467"/>
              <a:gd name="connsiteY0" fmla="*/ 2939488 h 2939488"/>
              <a:gd name="connsiteX1" fmla="*/ 2062683 w 7314467"/>
              <a:gd name="connsiteY1" fmla="*/ 2891724 h 2939488"/>
              <a:gd name="connsiteX2" fmla="*/ 3250883 w 7314467"/>
              <a:gd name="connsiteY2" fmla="*/ 2289953 h 2939488"/>
              <a:gd name="connsiteX3" fmla="*/ 4657655 w 7314467"/>
              <a:gd name="connsiteY3" fmla="*/ 1912537 h 2939488"/>
              <a:gd name="connsiteX4" fmla="*/ 5268645 w 7314467"/>
              <a:gd name="connsiteY4" fmla="*/ 1300997 h 2939488"/>
              <a:gd name="connsiteX5" fmla="*/ 5848061 w 7314467"/>
              <a:gd name="connsiteY5" fmla="*/ 963999 h 2939488"/>
              <a:gd name="connsiteX6" fmla="*/ 6657338 w 7314467"/>
              <a:gd name="connsiteY6" fmla="*/ 613903 h 2939488"/>
              <a:gd name="connsiteX7" fmla="*/ 7314467 w 7314467"/>
              <a:gd name="connsiteY7" fmla="*/ 0 h 2939488"/>
              <a:gd name="connsiteX0" fmla="*/ 0 w 7314467"/>
              <a:gd name="connsiteY0" fmla="*/ 2939488 h 2939488"/>
              <a:gd name="connsiteX1" fmla="*/ 2062683 w 7314467"/>
              <a:gd name="connsiteY1" fmla="*/ 2891724 h 2939488"/>
              <a:gd name="connsiteX2" fmla="*/ 3250883 w 7314467"/>
              <a:gd name="connsiteY2" fmla="*/ 2289953 h 2939488"/>
              <a:gd name="connsiteX3" fmla="*/ 4657655 w 7314467"/>
              <a:gd name="connsiteY3" fmla="*/ 1912537 h 2939488"/>
              <a:gd name="connsiteX4" fmla="*/ 5052732 w 7314467"/>
              <a:gd name="connsiteY4" fmla="*/ 1385161 h 2939488"/>
              <a:gd name="connsiteX5" fmla="*/ 5848061 w 7314467"/>
              <a:gd name="connsiteY5" fmla="*/ 963999 h 2939488"/>
              <a:gd name="connsiteX6" fmla="*/ 6657338 w 7314467"/>
              <a:gd name="connsiteY6" fmla="*/ 613903 h 2939488"/>
              <a:gd name="connsiteX7" fmla="*/ 7314467 w 7314467"/>
              <a:gd name="connsiteY7" fmla="*/ 0 h 2939488"/>
              <a:gd name="connsiteX0" fmla="*/ 0 w 7314467"/>
              <a:gd name="connsiteY0" fmla="*/ 2939488 h 2939488"/>
              <a:gd name="connsiteX1" fmla="*/ 2062683 w 7314467"/>
              <a:gd name="connsiteY1" fmla="*/ 2891724 h 2939488"/>
              <a:gd name="connsiteX2" fmla="*/ 3250883 w 7314467"/>
              <a:gd name="connsiteY2" fmla="*/ 2289953 h 2939488"/>
              <a:gd name="connsiteX3" fmla="*/ 4657655 w 7314467"/>
              <a:gd name="connsiteY3" fmla="*/ 1912537 h 2939488"/>
              <a:gd name="connsiteX4" fmla="*/ 5052732 w 7314467"/>
              <a:gd name="connsiteY4" fmla="*/ 1385161 h 2939488"/>
              <a:gd name="connsiteX5" fmla="*/ 6082750 w 7314467"/>
              <a:gd name="connsiteY5" fmla="*/ 982702 h 2939488"/>
              <a:gd name="connsiteX6" fmla="*/ 6657338 w 7314467"/>
              <a:gd name="connsiteY6" fmla="*/ 613903 h 2939488"/>
              <a:gd name="connsiteX7" fmla="*/ 7314467 w 7314467"/>
              <a:gd name="connsiteY7" fmla="*/ 0 h 2939488"/>
              <a:gd name="connsiteX0" fmla="*/ 0 w 7314467"/>
              <a:gd name="connsiteY0" fmla="*/ 2939488 h 2939488"/>
              <a:gd name="connsiteX1" fmla="*/ 2062683 w 7314467"/>
              <a:gd name="connsiteY1" fmla="*/ 2891724 h 2939488"/>
              <a:gd name="connsiteX2" fmla="*/ 3250883 w 7314467"/>
              <a:gd name="connsiteY2" fmla="*/ 2289953 h 2939488"/>
              <a:gd name="connsiteX3" fmla="*/ 4657655 w 7314467"/>
              <a:gd name="connsiteY3" fmla="*/ 1912537 h 2939488"/>
              <a:gd name="connsiteX4" fmla="*/ 5052732 w 7314467"/>
              <a:gd name="connsiteY4" fmla="*/ 1385161 h 2939488"/>
              <a:gd name="connsiteX5" fmla="*/ 6082750 w 7314467"/>
              <a:gd name="connsiteY5" fmla="*/ 982702 h 2939488"/>
              <a:gd name="connsiteX6" fmla="*/ 6676114 w 7314467"/>
              <a:gd name="connsiteY6" fmla="*/ 501685 h 2939488"/>
              <a:gd name="connsiteX7" fmla="*/ 7314467 w 7314467"/>
              <a:gd name="connsiteY7" fmla="*/ 0 h 2939488"/>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6082750 w 7520993"/>
              <a:gd name="connsiteY5" fmla="*/ 1609255 h 3566041"/>
              <a:gd name="connsiteX6" fmla="*/ 6676114 w 7520993"/>
              <a:gd name="connsiteY6" fmla="*/ 1128238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6082750 w 7520993"/>
              <a:gd name="connsiteY5" fmla="*/ 1609255 h 3566041"/>
              <a:gd name="connsiteX6" fmla="*/ 6807540 w 7520993"/>
              <a:gd name="connsiteY6" fmla="*/ 1118886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6082750 w 7520993"/>
              <a:gd name="connsiteY5" fmla="*/ 1609255 h 3566041"/>
              <a:gd name="connsiteX6" fmla="*/ 6807540 w 7520993"/>
              <a:gd name="connsiteY6" fmla="*/ 1118886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6082750 w 7520993"/>
              <a:gd name="connsiteY5" fmla="*/ 1609255 h 3566041"/>
              <a:gd name="connsiteX6" fmla="*/ 6807540 w 7520993"/>
              <a:gd name="connsiteY6" fmla="*/ 1118886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6148463 w 7520993"/>
              <a:gd name="connsiteY5" fmla="*/ 1684068 h 3566041"/>
              <a:gd name="connsiteX6" fmla="*/ 6807540 w 7520993"/>
              <a:gd name="connsiteY6" fmla="*/ 1118886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6148463 w 7520993"/>
              <a:gd name="connsiteY5" fmla="*/ 1684068 h 3566041"/>
              <a:gd name="connsiteX6" fmla="*/ 6807540 w 7520993"/>
              <a:gd name="connsiteY6" fmla="*/ 1118886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6148463 w 7520993"/>
              <a:gd name="connsiteY5" fmla="*/ 1684068 h 3566041"/>
              <a:gd name="connsiteX6" fmla="*/ 6807540 w 7520993"/>
              <a:gd name="connsiteY6" fmla="*/ 1118886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5923162 w 7520993"/>
              <a:gd name="connsiteY5" fmla="*/ 1777584 h 3566041"/>
              <a:gd name="connsiteX6" fmla="*/ 6807540 w 7520993"/>
              <a:gd name="connsiteY6" fmla="*/ 1118886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052732 w 7520993"/>
              <a:gd name="connsiteY4" fmla="*/ 2011714 h 3566041"/>
              <a:gd name="connsiteX5" fmla="*/ 5923162 w 7520993"/>
              <a:gd name="connsiteY5" fmla="*/ 1777584 h 3566041"/>
              <a:gd name="connsiteX6" fmla="*/ 6366325 w 7520993"/>
              <a:gd name="connsiteY6" fmla="*/ 1259159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259258 w 7520993"/>
              <a:gd name="connsiteY4" fmla="*/ 2030417 h 3566041"/>
              <a:gd name="connsiteX5" fmla="*/ 5923162 w 7520993"/>
              <a:gd name="connsiteY5" fmla="*/ 1777584 h 3566041"/>
              <a:gd name="connsiteX6" fmla="*/ 6366325 w 7520993"/>
              <a:gd name="connsiteY6" fmla="*/ 1259159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259258 w 7520993"/>
              <a:gd name="connsiteY4" fmla="*/ 2030417 h 3566041"/>
              <a:gd name="connsiteX5" fmla="*/ 5876224 w 7520993"/>
              <a:gd name="connsiteY5" fmla="*/ 1684069 h 3566041"/>
              <a:gd name="connsiteX6" fmla="*/ 6366325 w 7520993"/>
              <a:gd name="connsiteY6" fmla="*/ 1259159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569047 w 7520993"/>
              <a:gd name="connsiteY4" fmla="*/ 2086526 h 3566041"/>
              <a:gd name="connsiteX5" fmla="*/ 5876224 w 7520993"/>
              <a:gd name="connsiteY5" fmla="*/ 1684069 h 3566041"/>
              <a:gd name="connsiteX6" fmla="*/ 6366325 w 7520993"/>
              <a:gd name="connsiteY6" fmla="*/ 1259159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569047 w 7520993"/>
              <a:gd name="connsiteY4" fmla="*/ 2086526 h 3566041"/>
              <a:gd name="connsiteX5" fmla="*/ 5819899 w 7520993"/>
              <a:gd name="connsiteY5" fmla="*/ 1674718 h 3566041"/>
              <a:gd name="connsiteX6" fmla="*/ 6366325 w 7520993"/>
              <a:gd name="connsiteY6" fmla="*/ 1259159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569047 w 7520993"/>
              <a:gd name="connsiteY4" fmla="*/ 2086526 h 3566041"/>
              <a:gd name="connsiteX5" fmla="*/ 5819899 w 7520993"/>
              <a:gd name="connsiteY5" fmla="*/ 1674718 h 3566041"/>
              <a:gd name="connsiteX6" fmla="*/ 6478976 w 7520993"/>
              <a:gd name="connsiteY6" fmla="*/ 1305917 h 3566041"/>
              <a:gd name="connsiteX7" fmla="*/ 7520993 w 7520993"/>
              <a:gd name="connsiteY7" fmla="*/ 0 h 3566041"/>
              <a:gd name="connsiteX0" fmla="*/ 0 w 7520993"/>
              <a:gd name="connsiteY0" fmla="*/ 3566041 h 3566041"/>
              <a:gd name="connsiteX1" fmla="*/ 2062683 w 7520993"/>
              <a:gd name="connsiteY1" fmla="*/ 3518277 h 3566041"/>
              <a:gd name="connsiteX2" fmla="*/ 3250883 w 7520993"/>
              <a:gd name="connsiteY2" fmla="*/ 2916506 h 3566041"/>
              <a:gd name="connsiteX3" fmla="*/ 4657655 w 7520993"/>
              <a:gd name="connsiteY3" fmla="*/ 2539090 h 3566041"/>
              <a:gd name="connsiteX4" fmla="*/ 5569047 w 7520993"/>
              <a:gd name="connsiteY4" fmla="*/ 2086526 h 3566041"/>
              <a:gd name="connsiteX5" fmla="*/ 5819899 w 7520993"/>
              <a:gd name="connsiteY5" fmla="*/ 1674718 h 3566041"/>
              <a:gd name="connsiteX6" fmla="*/ 6554076 w 7520993"/>
              <a:gd name="connsiteY6" fmla="*/ 1184347 h 3566041"/>
              <a:gd name="connsiteX7" fmla="*/ 7520993 w 7520993"/>
              <a:gd name="connsiteY7" fmla="*/ 0 h 3566041"/>
              <a:gd name="connsiteX0" fmla="*/ 0 w 7520993"/>
              <a:gd name="connsiteY0" fmla="*/ 3238737 h 3238737"/>
              <a:gd name="connsiteX1" fmla="*/ 2062683 w 7520993"/>
              <a:gd name="connsiteY1" fmla="*/ 3190973 h 3238737"/>
              <a:gd name="connsiteX2" fmla="*/ 3250883 w 7520993"/>
              <a:gd name="connsiteY2" fmla="*/ 2589202 h 3238737"/>
              <a:gd name="connsiteX3" fmla="*/ 4657655 w 7520993"/>
              <a:gd name="connsiteY3" fmla="*/ 2211786 h 3238737"/>
              <a:gd name="connsiteX4" fmla="*/ 5569047 w 7520993"/>
              <a:gd name="connsiteY4" fmla="*/ 1759222 h 3238737"/>
              <a:gd name="connsiteX5" fmla="*/ 5819899 w 7520993"/>
              <a:gd name="connsiteY5" fmla="*/ 1347414 h 3238737"/>
              <a:gd name="connsiteX6" fmla="*/ 6554076 w 7520993"/>
              <a:gd name="connsiteY6" fmla="*/ 857043 h 3238737"/>
              <a:gd name="connsiteX7" fmla="*/ 7520993 w 7520993"/>
              <a:gd name="connsiteY7" fmla="*/ 0 h 3238737"/>
              <a:gd name="connsiteX0" fmla="*/ 0 w 7520993"/>
              <a:gd name="connsiteY0" fmla="*/ 3238737 h 3238737"/>
              <a:gd name="connsiteX1" fmla="*/ 2062683 w 7520993"/>
              <a:gd name="connsiteY1" fmla="*/ 3190973 h 3238737"/>
              <a:gd name="connsiteX2" fmla="*/ 3250883 w 7520993"/>
              <a:gd name="connsiteY2" fmla="*/ 2589202 h 3238737"/>
              <a:gd name="connsiteX3" fmla="*/ 4657655 w 7520993"/>
              <a:gd name="connsiteY3" fmla="*/ 2211786 h 3238737"/>
              <a:gd name="connsiteX4" fmla="*/ 5400071 w 7520993"/>
              <a:gd name="connsiteY4" fmla="*/ 1843386 h 3238737"/>
              <a:gd name="connsiteX5" fmla="*/ 5819899 w 7520993"/>
              <a:gd name="connsiteY5" fmla="*/ 1347414 h 3238737"/>
              <a:gd name="connsiteX6" fmla="*/ 6554076 w 7520993"/>
              <a:gd name="connsiteY6" fmla="*/ 857043 h 3238737"/>
              <a:gd name="connsiteX7" fmla="*/ 7520993 w 7520993"/>
              <a:gd name="connsiteY7" fmla="*/ 0 h 3238737"/>
              <a:gd name="connsiteX0" fmla="*/ 0 w 7258142"/>
              <a:gd name="connsiteY0" fmla="*/ 3360307 h 3360307"/>
              <a:gd name="connsiteX1" fmla="*/ 2062683 w 7258142"/>
              <a:gd name="connsiteY1" fmla="*/ 3312543 h 3360307"/>
              <a:gd name="connsiteX2" fmla="*/ 3250883 w 7258142"/>
              <a:gd name="connsiteY2" fmla="*/ 2710772 h 3360307"/>
              <a:gd name="connsiteX3" fmla="*/ 4657655 w 7258142"/>
              <a:gd name="connsiteY3" fmla="*/ 2333356 h 3360307"/>
              <a:gd name="connsiteX4" fmla="*/ 5400071 w 7258142"/>
              <a:gd name="connsiteY4" fmla="*/ 1964956 h 3360307"/>
              <a:gd name="connsiteX5" fmla="*/ 5819899 w 7258142"/>
              <a:gd name="connsiteY5" fmla="*/ 1468984 h 3360307"/>
              <a:gd name="connsiteX6" fmla="*/ 6554076 w 7258142"/>
              <a:gd name="connsiteY6" fmla="*/ 978613 h 3360307"/>
              <a:gd name="connsiteX7" fmla="*/ 7258142 w 7258142"/>
              <a:gd name="connsiteY7" fmla="*/ 0 h 3360307"/>
              <a:gd name="connsiteX0" fmla="*/ 0 w 7643032"/>
              <a:gd name="connsiteY0" fmla="*/ 3079761 h 3079761"/>
              <a:gd name="connsiteX1" fmla="*/ 2062683 w 7643032"/>
              <a:gd name="connsiteY1" fmla="*/ 3031997 h 3079761"/>
              <a:gd name="connsiteX2" fmla="*/ 3250883 w 7643032"/>
              <a:gd name="connsiteY2" fmla="*/ 2430226 h 3079761"/>
              <a:gd name="connsiteX3" fmla="*/ 4657655 w 7643032"/>
              <a:gd name="connsiteY3" fmla="*/ 2052810 h 3079761"/>
              <a:gd name="connsiteX4" fmla="*/ 5400071 w 7643032"/>
              <a:gd name="connsiteY4" fmla="*/ 1684410 h 3079761"/>
              <a:gd name="connsiteX5" fmla="*/ 5819899 w 7643032"/>
              <a:gd name="connsiteY5" fmla="*/ 1188438 h 3079761"/>
              <a:gd name="connsiteX6" fmla="*/ 6554076 w 7643032"/>
              <a:gd name="connsiteY6" fmla="*/ 698067 h 3079761"/>
              <a:gd name="connsiteX7" fmla="*/ 7643032 w 7643032"/>
              <a:gd name="connsiteY7" fmla="*/ 0 h 3079761"/>
              <a:gd name="connsiteX0" fmla="*/ 0 w 7786080"/>
              <a:gd name="connsiteY0" fmla="*/ 3094012 h 3094012"/>
              <a:gd name="connsiteX1" fmla="*/ 2205731 w 7786080"/>
              <a:gd name="connsiteY1" fmla="*/ 3031997 h 3094012"/>
              <a:gd name="connsiteX2" fmla="*/ 3393931 w 7786080"/>
              <a:gd name="connsiteY2" fmla="*/ 2430226 h 3094012"/>
              <a:gd name="connsiteX3" fmla="*/ 4800703 w 7786080"/>
              <a:gd name="connsiteY3" fmla="*/ 2052810 h 3094012"/>
              <a:gd name="connsiteX4" fmla="*/ 5543119 w 7786080"/>
              <a:gd name="connsiteY4" fmla="*/ 1684410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2563352 w 7786080"/>
              <a:gd name="connsiteY1" fmla="*/ 3031997 h 3094012"/>
              <a:gd name="connsiteX2" fmla="*/ 3393931 w 7786080"/>
              <a:gd name="connsiteY2" fmla="*/ 2430226 h 3094012"/>
              <a:gd name="connsiteX3" fmla="*/ 4800703 w 7786080"/>
              <a:gd name="connsiteY3" fmla="*/ 2052810 h 3094012"/>
              <a:gd name="connsiteX4" fmla="*/ 5543119 w 7786080"/>
              <a:gd name="connsiteY4" fmla="*/ 1684410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2563352 w 7786080"/>
              <a:gd name="connsiteY1" fmla="*/ 3031997 h 3094012"/>
              <a:gd name="connsiteX2" fmla="*/ 3769433 w 7786080"/>
              <a:gd name="connsiteY2" fmla="*/ 2486335 h 3094012"/>
              <a:gd name="connsiteX3" fmla="*/ 4800703 w 7786080"/>
              <a:gd name="connsiteY3" fmla="*/ 2052810 h 3094012"/>
              <a:gd name="connsiteX4" fmla="*/ 5543119 w 7786080"/>
              <a:gd name="connsiteY4" fmla="*/ 1684410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2563352 w 7786080"/>
              <a:gd name="connsiteY1" fmla="*/ 3031997 h 3094012"/>
              <a:gd name="connsiteX2" fmla="*/ 3769433 w 7786080"/>
              <a:gd name="connsiteY2" fmla="*/ 2486335 h 3094012"/>
              <a:gd name="connsiteX3" fmla="*/ 4631727 w 7786080"/>
              <a:gd name="connsiteY3" fmla="*/ 2099567 h 3094012"/>
              <a:gd name="connsiteX4" fmla="*/ 5543119 w 7786080"/>
              <a:gd name="connsiteY4" fmla="*/ 1684410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2563352 w 7786080"/>
              <a:gd name="connsiteY1" fmla="*/ 3031997 h 3094012"/>
              <a:gd name="connsiteX2" fmla="*/ 3760046 w 7786080"/>
              <a:gd name="connsiteY2" fmla="*/ 2374117 h 3094012"/>
              <a:gd name="connsiteX3" fmla="*/ 4631727 w 7786080"/>
              <a:gd name="connsiteY3" fmla="*/ 2099567 h 3094012"/>
              <a:gd name="connsiteX4" fmla="*/ 5543119 w 7786080"/>
              <a:gd name="connsiteY4" fmla="*/ 1684410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2563352 w 7786080"/>
              <a:gd name="connsiteY1" fmla="*/ 3031997 h 3094012"/>
              <a:gd name="connsiteX2" fmla="*/ 3872696 w 7786080"/>
              <a:gd name="connsiteY2" fmla="*/ 2355415 h 3094012"/>
              <a:gd name="connsiteX3" fmla="*/ 4631727 w 7786080"/>
              <a:gd name="connsiteY3" fmla="*/ 2099567 h 3094012"/>
              <a:gd name="connsiteX4" fmla="*/ 5543119 w 7786080"/>
              <a:gd name="connsiteY4" fmla="*/ 1684410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631727 w 7786080"/>
              <a:gd name="connsiteY3" fmla="*/ 2099567 h 3094012"/>
              <a:gd name="connsiteX4" fmla="*/ 5543119 w 7786080"/>
              <a:gd name="connsiteY4" fmla="*/ 1684410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725602 w 7786080"/>
              <a:gd name="connsiteY3" fmla="*/ 2006052 h 3094012"/>
              <a:gd name="connsiteX4" fmla="*/ 5543119 w 7786080"/>
              <a:gd name="connsiteY4" fmla="*/ 1684410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725602 w 7786080"/>
              <a:gd name="connsiteY3" fmla="*/ 2006052 h 3094012"/>
              <a:gd name="connsiteX4" fmla="*/ 5993722 w 7786080"/>
              <a:gd name="connsiteY4" fmla="*/ 1413216 h 3094012"/>
              <a:gd name="connsiteX5" fmla="*/ 5962947 w 7786080"/>
              <a:gd name="connsiteY5" fmla="*/ 11884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725602 w 7786080"/>
              <a:gd name="connsiteY3" fmla="*/ 2006052 h 3094012"/>
              <a:gd name="connsiteX4" fmla="*/ 5993722 w 7786080"/>
              <a:gd name="connsiteY4" fmla="*/ 1413216 h 3094012"/>
              <a:gd name="connsiteX5" fmla="*/ 6376000 w 7786080"/>
              <a:gd name="connsiteY5" fmla="*/ 8798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847641 w 7786080"/>
              <a:gd name="connsiteY3" fmla="*/ 1809670 h 3094012"/>
              <a:gd name="connsiteX4" fmla="*/ 5993722 w 7786080"/>
              <a:gd name="connsiteY4" fmla="*/ 1413216 h 3094012"/>
              <a:gd name="connsiteX5" fmla="*/ 6376000 w 7786080"/>
              <a:gd name="connsiteY5" fmla="*/ 8798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866417 w 7786080"/>
              <a:gd name="connsiteY3" fmla="*/ 2006052 h 3094012"/>
              <a:gd name="connsiteX4" fmla="*/ 5993722 w 7786080"/>
              <a:gd name="connsiteY4" fmla="*/ 1413216 h 3094012"/>
              <a:gd name="connsiteX5" fmla="*/ 6376000 w 7786080"/>
              <a:gd name="connsiteY5" fmla="*/ 8798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866417 w 7786080"/>
              <a:gd name="connsiteY3" fmla="*/ 2006052 h 3094012"/>
              <a:gd name="connsiteX4" fmla="*/ 5205168 w 7786080"/>
              <a:gd name="connsiteY4" fmla="*/ 1562840 h 3094012"/>
              <a:gd name="connsiteX5" fmla="*/ 6376000 w 7786080"/>
              <a:gd name="connsiteY5" fmla="*/ 8798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866417 w 7786080"/>
              <a:gd name="connsiteY3" fmla="*/ 2006052 h 3094012"/>
              <a:gd name="connsiteX4" fmla="*/ 5402306 w 7786080"/>
              <a:gd name="connsiteY4" fmla="*/ 1600246 h 3094012"/>
              <a:gd name="connsiteX5" fmla="*/ 6376000 w 7786080"/>
              <a:gd name="connsiteY5" fmla="*/ 879838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866417 w 7786080"/>
              <a:gd name="connsiteY3" fmla="*/ 2006052 h 3094012"/>
              <a:gd name="connsiteX4" fmla="*/ 5402306 w 7786080"/>
              <a:gd name="connsiteY4" fmla="*/ 1600246 h 3094012"/>
              <a:gd name="connsiteX5" fmla="*/ 6404163 w 7786080"/>
              <a:gd name="connsiteY5" fmla="*/ 1020111 h 3094012"/>
              <a:gd name="connsiteX6" fmla="*/ 6697124 w 7786080"/>
              <a:gd name="connsiteY6" fmla="*/ 698067 h 3094012"/>
              <a:gd name="connsiteX7" fmla="*/ 7786080 w 7786080"/>
              <a:gd name="connsiteY7" fmla="*/ 0 h 3094012"/>
              <a:gd name="connsiteX0" fmla="*/ 0 w 7786080"/>
              <a:gd name="connsiteY0" fmla="*/ 3094012 h 3094012"/>
              <a:gd name="connsiteX1" fmla="*/ 3117218 w 7786080"/>
              <a:gd name="connsiteY1" fmla="*/ 2985240 h 3094012"/>
              <a:gd name="connsiteX2" fmla="*/ 3872696 w 7786080"/>
              <a:gd name="connsiteY2" fmla="*/ 2355415 h 3094012"/>
              <a:gd name="connsiteX3" fmla="*/ 4866417 w 7786080"/>
              <a:gd name="connsiteY3" fmla="*/ 2006052 h 3094012"/>
              <a:gd name="connsiteX4" fmla="*/ 5402306 w 7786080"/>
              <a:gd name="connsiteY4" fmla="*/ 1600246 h 3094012"/>
              <a:gd name="connsiteX5" fmla="*/ 6404163 w 7786080"/>
              <a:gd name="connsiteY5" fmla="*/ 1020111 h 3094012"/>
              <a:gd name="connsiteX6" fmla="*/ 7344865 w 7786080"/>
              <a:gd name="connsiteY6" fmla="*/ 585849 h 3094012"/>
              <a:gd name="connsiteX7" fmla="*/ 7786080 w 7786080"/>
              <a:gd name="connsiteY7" fmla="*/ 0 h 3094012"/>
              <a:gd name="connsiteX0" fmla="*/ 0 w 7767305"/>
              <a:gd name="connsiteY0" fmla="*/ 3187527 h 3187527"/>
              <a:gd name="connsiteX1" fmla="*/ 3117218 w 7767305"/>
              <a:gd name="connsiteY1" fmla="*/ 3078755 h 3187527"/>
              <a:gd name="connsiteX2" fmla="*/ 3872696 w 7767305"/>
              <a:gd name="connsiteY2" fmla="*/ 2448930 h 3187527"/>
              <a:gd name="connsiteX3" fmla="*/ 4866417 w 7767305"/>
              <a:gd name="connsiteY3" fmla="*/ 2099567 h 3187527"/>
              <a:gd name="connsiteX4" fmla="*/ 5402306 w 7767305"/>
              <a:gd name="connsiteY4" fmla="*/ 1693761 h 3187527"/>
              <a:gd name="connsiteX5" fmla="*/ 6404163 w 7767305"/>
              <a:gd name="connsiteY5" fmla="*/ 1113626 h 3187527"/>
              <a:gd name="connsiteX6" fmla="*/ 7344865 w 7767305"/>
              <a:gd name="connsiteY6" fmla="*/ 679364 h 3187527"/>
              <a:gd name="connsiteX7" fmla="*/ 7767305 w 7767305"/>
              <a:gd name="connsiteY7" fmla="*/ 0 h 3187527"/>
              <a:gd name="connsiteX0" fmla="*/ 0 w 7767305"/>
              <a:gd name="connsiteY0" fmla="*/ 3187527 h 3187527"/>
              <a:gd name="connsiteX1" fmla="*/ 3117218 w 7767305"/>
              <a:gd name="connsiteY1" fmla="*/ 3078755 h 3187527"/>
              <a:gd name="connsiteX2" fmla="*/ 3872696 w 7767305"/>
              <a:gd name="connsiteY2" fmla="*/ 2448930 h 3187527"/>
              <a:gd name="connsiteX3" fmla="*/ 4866417 w 7767305"/>
              <a:gd name="connsiteY3" fmla="*/ 2099567 h 3187527"/>
              <a:gd name="connsiteX4" fmla="*/ 5402306 w 7767305"/>
              <a:gd name="connsiteY4" fmla="*/ 1581542 h 3187527"/>
              <a:gd name="connsiteX5" fmla="*/ 6404163 w 7767305"/>
              <a:gd name="connsiteY5" fmla="*/ 1113626 h 3187527"/>
              <a:gd name="connsiteX6" fmla="*/ 7344865 w 7767305"/>
              <a:gd name="connsiteY6" fmla="*/ 679364 h 3187527"/>
              <a:gd name="connsiteX7" fmla="*/ 7767305 w 7767305"/>
              <a:gd name="connsiteY7" fmla="*/ 0 h 3187527"/>
              <a:gd name="connsiteX0" fmla="*/ 0 w 7827385"/>
              <a:gd name="connsiteY0" fmla="*/ 2717278 h 2717278"/>
              <a:gd name="connsiteX1" fmla="*/ 3117218 w 7827385"/>
              <a:gd name="connsiteY1" fmla="*/ 2608506 h 2717278"/>
              <a:gd name="connsiteX2" fmla="*/ 3872696 w 7827385"/>
              <a:gd name="connsiteY2" fmla="*/ 1978681 h 2717278"/>
              <a:gd name="connsiteX3" fmla="*/ 4866417 w 7827385"/>
              <a:gd name="connsiteY3" fmla="*/ 1629318 h 2717278"/>
              <a:gd name="connsiteX4" fmla="*/ 5402306 w 7827385"/>
              <a:gd name="connsiteY4" fmla="*/ 1111293 h 2717278"/>
              <a:gd name="connsiteX5" fmla="*/ 6404163 w 7827385"/>
              <a:gd name="connsiteY5" fmla="*/ 643377 h 2717278"/>
              <a:gd name="connsiteX6" fmla="*/ 7344865 w 7827385"/>
              <a:gd name="connsiteY6" fmla="*/ 209115 h 2717278"/>
              <a:gd name="connsiteX7" fmla="*/ 7827385 w 7827385"/>
              <a:gd name="connsiteY7" fmla="*/ 0 h 2717278"/>
              <a:gd name="connsiteX0" fmla="*/ 0 w 7827385"/>
              <a:gd name="connsiteY0" fmla="*/ 2717278 h 2717278"/>
              <a:gd name="connsiteX1" fmla="*/ 3117218 w 7827385"/>
              <a:gd name="connsiteY1" fmla="*/ 2608506 h 2717278"/>
              <a:gd name="connsiteX2" fmla="*/ 3872696 w 7827385"/>
              <a:gd name="connsiteY2" fmla="*/ 1978681 h 2717278"/>
              <a:gd name="connsiteX3" fmla="*/ 4866417 w 7827385"/>
              <a:gd name="connsiteY3" fmla="*/ 1629318 h 2717278"/>
              <a:gd name="connsiteX4" fmla="*/ 5402306 w 7827385"/>
              <a:gd name="connsiteY4" fmla="*/ 1111293 h 2717278"/>
              <a:gd name="connsiteX5" fmla="*/ 6404163 w 7827385"/>
              <a:gd name="connsiteY5" fmla="*/ 643377 h 2717278"/>
              <a:gd name="connsiteX6" fmla="*/ 7053046 w 7827385"/>
              <a:gd name="connsiteY6" fmla="*/ 320265 h 2717278"/>
              <a:gd name="connsiteX7" fmla="*/ 7827385 w 7827385"/>
              <a:gd name="connsiteY7" fmla="*/ 0 h 2717278"/>
              <a:gd name="connsiteX0" fmla="*/ 0 w 7827385"/>
              <a:gd name="connsiteY0" fmla="*/ 2717278 h 2717278"/>
              <a:gd name="connsiteX1" fmla="*/ 3117218 w 7827385"/>
              <a:gd name="connsiteY1" fmla="*/ 2608506 h 2717278"/>
              <a:gd name="connsiteX2" fmla="*/ 3872696 w 7827385"/>
              <a:gd name="connsiteY2" fmla="*/ 1978681 h 2717278"/>
              <a:gd name="connsiteX3" fmla="*/ 4866417 w 7827385"/>
              <a:gd name="connsiteY3" fmla="*/ 1629318 h 2717278"/>
              <a:gd name="connsiteX4" fmla="*/ 5402306 w 7827385"/>
              <a:gd name="connsiteY4" fmla="*/ 1111293 h 2717278"/>
              <a:gd name="connsiteX5" fmla="*/ 6352666 w 7827385"/>
              <a:gd name="connsiteY5" fmla="*/ 583527 h 2717278"/>
              <a:gd name="connsiteX6" fmla="*/ 7053046 w 7827385"/>
              <a:gd name="connsiteY6" fmla="*/ 320265 h 2717278"/>
              <a:gd name="connsiteX7" fmla="*/ 7827385 w 7827385"/>
              <a:gd name="connsiteY7" fmla="*/ 0 h 2717278"/>
              <a:gd name="connsiteX0" fmla="*/ 0 w 7827385"/>
              <a:gd name="connsiteY0" fmla="*/ 2717278 h 2717278"/>
              <a:gd name="connsiteX1" fmla="*/ 3117218 w 7827385"/>
              <a:gd name="connsiteY1" fmla="*/ 2608506 h 2717278"/>
              <a:gd name="connsiteX2" fmla="*/ 3872696 w 7827385"/>
              <a:gd name="connsiteY2" fmla="*/ 1978681 h 2717278"/>
              <a:gd name="connsiteX3" fmla="*/ 4866417 w 7827385"/>
              <a:gd name="connsiteY3" fmla="*/ 1629318 h 2717278"/>
              <a:gd name="connsiteX4" fmla="*/ 5402306 w 7827385"/>
              <a:gd name="connsiteY4" fmla="*/ 1111293 h 2717278"/>
              <a:gd name="connsiteX5" fmla="*/ 6352666 w 7827385"/>
              <a:gd name="connsiteY5" fmla="*/ 583527 h 2717278"/>
              <a:gd name="connsiteX6" fmla="*/ 6855640 w 7827385"/>
              <a:gd name="connsiteY6" fmla="*/ 260415 h 2717278"/>
              <a:gd name="connsiteX7" fmla="*/ 7827385 w 7827385"/>
              <a:gd name="connsiteY7" fmla="*/ 0 h 2717278"/>
              <a:gd name="connsiteX0" fmla="*/ 0 w 7827385"/>
              <a:gd name="connsiteY0" fmla="*/ 2739544 h 2739544"/>
              <a:gd name="connsiteX1" fmla="*/ 3117218 w 7827385"/>
              <a:gd name="connsiteY1" fmla="*/ 2630772 h 2739544"/>
              <a:gd name="connsiteX2" fmla="*/ 3872696 w 7827385"/>
              <a:gd name="connsiteY2" fmla="*/ 2000947 h 2739544"/>
              <a:gd name="connsiteX3" fmla="*/ 4866417 w 7827385"/>
              <a:gd name="connsiteY3" fmla="*/ 1651584 h 2739544"/>
              <a:gd name="connsiteX4" fmla="*/ 5402306 w 7827385"/>
              <a:gd name="connsiteY4" fmla="*/ 1133559 h 2739544"/>
              <a:gd name="connsiteX5" fmla="*/ 6352666 w 7827385"/>
              <a:gd name="connsiteY5" fmla="*/ 605793 h 2739544"/>
              <a:gd name="connsiteX6" fmla="*/ 6765519 w 7827385"/>
              <a:gd name="connsiteY6" fmla="*/ 123884 h 2739544"/>
              <a:gd name="connsiteX7" fmla="*/ 7827385 w 7827385"/>
              <a:gd name="connsiteY7" fmla="*/ 22266 h 2739544"/>
              <a:gd name="connsiteX0" fmla="*/ 0 w 7789835"/>
              <a:gd name="connsiteY0" fmla="*/ 3027309 h 3027309"/>
              <a:gd name="connsiteX1" fmla="*/ 3117218 w 7789835"/>
              <a:gd name="connsiteY1" fmla="*/ 2918537 h 3027309"/>
              <a:gd name="connsiteX2" fmla="*/ 3872696 w 7789835"/>
              <a:gd name="connsiteY2" fmla="*/ 2288712 h 3027309"/>
              <a:gd name="connsiteX3" fmla="*/ 4866417 w 7789835"/>
              <a:gd name="connsiteY3" fmla="*/ 1939349 h 3027309"/>
              <a:gd name="connsiteX4" fmla="*/ 5402306 w 7789835"/>
              <a:gd name="connsiteY4" fmla="*/ 1421324 h 3027309"/>
              <a:gd name="connsiteX5" fmla="*/ 6352666 w 7789835"/>
              <a:gd name="connsiteY5" fmla="*/ 893558 h 3027309"/>
              <a:gd name="connsiteX6" fmla="*/ 6765519 w 7789835"/>
              <a:gd name="connsiteY6" fmla="*/ 411649 h 3027309"/>
              <a:gd name="connsiteX7" fmla="*/ 7789835 w 7789835"/>
              <a:gd name="connsiteY7" fmla="*/ 0 h 3027309"/>
              <a:gd name="connsiteX0" fmla="*/ 0 w 7789835"/>
              <a:gd name="connsiteY0" fmla="*/ 3027309 h 3027309"/>
              <a:gd name="connsiteX1" fmla="*/ 3117218 w 7789835"/>
              <a:gd name="connsiteY1" fmla="*/ 2918537 h 3027309"/>
              <a:gd name="connsiteX2" fmla="*/ 3872696 w 7789835"/>
              <a:gd name="connsiteY2" fmla="*/ 2288712 h 3027309"/>
              <a:gd name="connsiteX3" fmla="*/ 4866417 w 7789835"/>
              <a:gd name="connsiteY3" fmla="*/ 1939349 h 3027309"/>
              <a:gd name="connsiteX4" fmla="*/ 5402306 w 7789835"/>
              <a:gd name="connsiteY4" fmla="*/ 1421324 h 3027309"/>
              <a:gd name="connsiteX5" fmla="*/ 6352666 w 7789835"/>
              <a:gd name="connsiteY5" fmla="*/ 893558 h 3027309"/>
              <a:gd name="connsiteX6" fmla="*/ 6773030 w 7789835"/>
              <a:gd name="connsiteY6" fmla="*/ 336032 h 3027309"/>
              <a:gd name="connsiteX7" fmla="*/ 7789835 w 7789835"/>
              <a:gd name="connsiteY7" fmla="*/ 0 h 3027309"/>
              <a:gd name="connsiteX0" fmla="*/ 0 w 7789835"/>
              <a:gd name="connsiteY0" fmla="*/ 3027309 h 3027309"/>
              <a:gd name="connsiteX1" fmla="*/ 3117218 w 7789835"/>
              <a:gd name="connsiteY1" fmla="*/ 2918537 h 3027309"/>
              <a:gd name="connsiteX2" fmla="*/ 3872696 w 7789835"/>
              <a:gd name="connsiteY2" fmla="*/ 2288712 h 3027309"/>
              <a:gd name="connsiteX3" fmla="*/ 4866417 w 7789835"/>
              <a:gd name="connsiteY3" fmla="*/ 1939349 h 3027309"/>
              <a:gd name="connsiteX4" fmla="*/ 5402306 w 7789835"/>
              <a:gd name="connsiteY4" fmla="*/ 1421324 h 3027309"/>
              <a:gd name="connsiteX5" fmla="*/ 6352666 w 7789835"/>
              <a:gd name="connsiteY5" fmla="*/ 893558 h 3027309"/>
              <a:gd name="connsiteX6" fmla="*/ 6818091 w 7789835"/>
              <a:gd name="connsiteY6" fmla="*/ 298223 h 3027309"/>
              <a:gd name="connsiteX7" fmla="*/ 7789835 w 7789835"/>
              <a:gd name="connsiteY7" fmla="*/ 0 h 3027309"/>
              <a:gd name="connsiteX0" fmla="*/ 0 w 7789835"/>
              <a:gd name="connsiteY0" fmla="*/ 3027309 h 3027309"/>
              <a:gd name="connsiteX1" fmla="*/ 3117218 w 7789835"/>
              <a:gd name="connsiteY1" fmla="*/ 2918537 h 3027309"/>
              <a:gd name="connsiteX2" fmla="*/ 3872696 w 7789835"/>
              <a:gd name="connsiteY2" fmla="*/ 2288712 h 3027309"/>
              <a:gd name="connsiteX3" fmla="*/ 4866417 w 7789835"/>
              <a:gd name="connsiteY3" fmla="*/ 1939349 h 3027309"/>
              <a:gd name="connsiteX4" fmla="*/ 5495654 w 7789835"/>
              <a:gd name="connsiteY4" fmla="*/ 867917 h 3027309"/>
              <a:gd name="connsiteX5" fmla="*/ 6352666 w 7789835"/>
              <a:gd name="connsiteY5" fmla="*/ 893558 h 3027309"/>
              <a:gd name="connsiteX6" fmla="*/ 6818091 w 7789835"/>
              <a:gd name="connsiteY6" fmla="*/ 298223 h 3027309"/>
              <a:gd name="connsiteX7" fmla="*/ 7789835 w 7789835"/>
              <a:gd name="connsiteY7" fmla="*/ 0 h 3027309"/>
              <a:gd name="connsiteX0" fmla="*/ 0 w 7789835"/>
              <a:gd name="connsiteY0" fmla="*/ 3027309 h 3027309"/>
              <a:gd name="connsiteX1" fmla="*/ 3117218 w 7789835"/>
              <a:gd name="connsiteY1" fmla="*/ 2918537 h 3027309"/>
              <a:gd name="connsiteX2" fmla="*/ 3872696 w 7789835"/>
              <a:gd name="connsiteY2" fmla="*/ 2288712 h 3027309"/>
              <a:gd name="connsiteX3" fmla="*/ 4866417 w 7789835"/>
              <a:gd name="connsiteY3" fmla="*/ 1939349 h 3027309"/>
              <a:gd name="connsiteX4" fmla="*/ 5495654 w 7789835"/>
              <a:gd name="connsiteY4" fmla="*/ 867917 h 3027309"/>
              <a:gd name="connsiteX5" fmla="*/ 7248801 w 7789835"/>
              <a:gd name="connsiteY5" fmla="*/ 630689 h 3027309"/>
              <a:gd name="connsiteX6" fmla="*/ 6818091 w 7789835"/>
              <a:gd name="connsiteY6" fmla="*/ 298223 h 3027309"/>
              <a:gd name="connsiteX7" fmla="*/ 7789835 w 7789835"/>
              <a:gd name="connsiteY7" fmla="*/ 0 h 3027309"/>
              <a:gd name="connsiteX0" fmla="*/ 0 w 8573044"/>
              <a:gd name="connsiteY0" fmla="*/ 3062956 h 3062956"/>
              <a:gd name="connsiteX1" fmla="*/ 3117218 w 8573044"/>
              <a:gd name="connsiteY1" fmla="*/ 2954184 h 3062956"/>
              <a:gd name="connsiteX2" fmla="*/ 3872696 w 8573044"/>
              <a:gd name="connsiteY2" fmla="*/ 2324359 h 3062956"/>
              <a:gd name="connsiteX3" fmla="*/ 4866417 w 8573044"/>
              <a:gd name="connsiteY3" fmla="*/ 1974996 h 3062956"/>
              <a:gd name="connsiteX4" fmla="*/ 5495654 w 8573044"/>
              <a:gd name="connsiteY4" fmla="*/ 903564 h 3062956"/>
              <a:gd name="connsiteX5" fmla="*/ 7248801 w 8573044"/>
              <a:gd name="connsiteY5" fmla="*/ 666336 h 3062956"/>
              <a:gd name="connsiteX6" fmla="*/ 8517014 w 8573044"/>
              <a:gd name="connsiteY6" fmla="*/ 112507 h 3062956"/>
              <a:gd name="connsiteX7" fmla="*/ 7789835 w 8573044"/>
              <a:gd name="connsiteY7" fmla="*/ 35647 h 3062956"/>
              <a:gd name="connsiteX0" fmla="*/ 0 w 8573044"/>
              <a:gd name="connsiteY0" fmla="*/ 3062956 h 3062956"/>
              <a:gd name="connsiteX1" fmla="*/ 3117218 w 8573044"/>
              <a:gd name="connsiteY1" fmla="*/ 2954184 h 3062956"/>
              <a:gd name="connsiteX2" fmla="*/ 3872696 w 8573044"/>
              <a:gd name="connsiteY2" fmla="*/ 2324359 h 3062956"/>
              <a:gd name="connsiteX3" fmla="*/ 4866417 w 8573044"/>
              <a:gd name="connsiteY3" fmla="*/ 1974996 h 3062956"/>
              <a:gd name="connsiteX4" fmla="*/ 5663679 w 8573044"/>
              <a:gd name="connsiteY4" fmla="*/ 862058 h 3062956"/>
              <a:gd name="connsiteX5" fmla="*/ 7248801 w 8573044"/>
              <a:gd name="connsiteY5" fmla="*/ 666336 h 3062956"/>
              <a:gd name="connsiteX6" fmla="*/ 8517014 w 8573044"/>
              <a:gd name="connsiteY6" fmla="*/ 112507 h 3062956"/>
              <a:gd name="connsiteX7" fmla="*/ 7789835 w 8573044"/>
              <a:gd name="connsiteY7" fmla="*/ 35647 h 3062956"/>
              <a:gd name="connsiteX0" fmla="*/ 0 w 8573044"/>
              <a:gd name="connsiteY0" fmla="*/ 3062956 h 3062956"/>
              <a:gd name="connsiteX1" fmla="*/ 3117218 w 8573044"/>
              <a:gd name="connsiteY1" fmla="*/ 2954184 h 3062956"/>
              <a:gd name="connsiteX2" fmla="*/ 3872696 w 8573044"/>
              <a:gd name="connsiteY2" fmla="*/ 2324359 h 3062956"/>
              <a:gd name="connsiteX3" fmla="*/ 4717062 w 8573044"/>
              <a:gd name="connsiteY3" fmla="*/ 1919656 h 3062956"/>
              <a:gd name="connsiteX4" fmla="*/ 5663679 w 8573044"/>
              <a:gd name="connsiteY4" fmla="*/ 862058 h 3062956"/>
              <a:gd name="connsiteX5" fmla="*/ 7248801 w 8573044"/>
              <a:gd name="connsiteY5" fmla="*/ 666336 h 3062956"/>
              <a:gd name="connsiteX6" fmla="*/ 8517014 w 8573044"/>
              <a:gd name="connsiteY6" fmla="*/ 112507 h 3062956"/>
              <a:gd name="connsiteX7" fmla="*/ 7789835 w 8573044"/>
              <a:gd name="connsiteY7" fmla="*/ 35647 h 3062956"/>
              <a:gd name="connsiteX0" fmla="*/ 0 w 8573044"/>
              <a:gd name="connsiteY0" fmla="*/ 3062956 h 3062956"/>
              <a:gd name="connsiteX1" fmla="*/ 3117218 w 8573044"/>
              <a:gd name="connsiteY1" fmla="*/ 2954184 h 3062956"/>
              <a:gd name="connsiteX2" fmla="*/ 3872696 w 8573044"/>
              <a:gd name="connsiteY2" fmla="*/ 2324359 h 3062956"/>
              <a:gd name="connsiteX3" fmla="*/ 4717062 w 8573044"/>
              <a:gd name="connsiteY3" fmla="*/ 1919656 h 3062956"/>
              <a:gd name="connsiteX4" fmla="*/ 5418812 w 8573044"/>
              <a:gd name="connsiteY4" fmla="*/ 707427 h 3062956"/>
              <a:gd name="connsiteX5" fmla="*/ 5663679 w 8573044"/>
              <a:gd name="connsiteY5" fmla="*/ 862058 h 3062956"/>
              <a:gd name="connsiteX6" fmla="*/ 7248801 w 8573044"/>
              <a:gd name="connsiteY6" fmla="*/ 666336 h 3062956"/>
              <a:gd name="connsiteX7" fmla="*/ 8517014 w 8573044"/>
              <a:gd name="connsiteY7" fmla="*/ 112507 h 3062956"/>
              <a:gd name="connsiteX8" fmla="*/ 7789835 w 8573044"/>
              <a:gd name="connsiteY8" fmla="*/ 35647 h 3062956"/>
              <a:gd name="connsiteX0" fmla="*/ 0 w 8573044"/>
              <a:gd name="connsiteY0" fmla="*/ 3062956 h 3062956"/>
              <a:gd name="connsiteX1" fmla="*/ 3117218 w 8573044"/>
              <a:gd name="connsiteY1" fmla="*/ 2954184 h 3062956"/>
              <a:gd name="connsiteX2" fmla="*/ 3872696 w 8573044"/>
              <a:gd name="connsiteY2" fmla="*/ 2324359 h 3062956"/>
              <a:gd name="connsiteX3" fmla="*/ 4717062 w 8573044"/>
              <a:gd name="connsiteY3" fmla="*/ 1919656 h 3062956"/>
              <a:gd name="connsiteX4" fmla="*/ 5418812 w 8573044"/>
              <a:gd name="connsiteY4" fmla="*/ 707427 h 3062956"/>
              <a:gd name="connsiteX5" fmla="*/ 7399940 w 8573044"/>
              <a:gd name="connsiteY5" fmla="*/ 543849 h 3062956"/>
              <a:gd name="connsiteX6" fmla="*/ 7248801 w 8573044"/>
              <a:gd name="connsiteY6" fmla="*/ 666336 h 3062956"/>
              <a:gd name="connsiteX7" fmla="*/ 8517014 w 8573044"/>
              <a:gd name="connsiteY7" fmla="*/ 112507 h 3062956"/>
              <a:gd name="connsiteX8" fmla="*/ 7789835 w 8573044"/>
              <a:gd name="connsiteY8" fmla="*/ 35647 h 3062956"/>
              <a:gd name="connsiteX0" fmla="*/ 0 w 8918262"/>
              <a:gd name="connsiteY0" fmla="*/ 3062956 h 3062956"/>
              <a:gd name="connsiteX1" fmla="*/ 3117218 w 8918262"/>
              <a:gd name="connsiteY1" fmla="*/ 2954184 h 3062956"/>
              <a:gd name="connsiteX2" fmla="*/ 3872696 w 8918262"/>
              <a:gd name="connsiteY2" fmla="*/ 2324359 h 3062956"/>
              <a:gd name="connsiteX3" fmla="*/ 4717062 w 8918262"/>
              <a:gd name="connsiteY3" fmla="*/ 1919656 h 3062956"/>
              <a:gd name="connsiteX4" fmla="*/ 5418812 w 8918262"/>
              <a:gd name="connsiteY4" fmla="*/ 707427 h 3062956"/>
              <a:gd name="connsiteX5" fmla="*/ 7399940 w 8918262"/>
              <a:gd name="connsiteY5" fmla="*/ 543849 h 3062956"/>
              <a:gd name="connsiteX6" fmla="*/ 8891714 w 8918262"/>
              <a:gd name="connsiteY6" fmla="*/ 334292 h 3062956"/>
              <a:gd name="connsiteX7" fmla="*/ 8517014 w 8918262"/>
              <a:gd name="connsiteY7" fmla="*/ 112507 h 3062956"/>
              <a:gd name="connsiteX8" fmla="*/ 7789835 w 8918262"/>
              <a:gd name="connsiteY8" fmla="*/ 35647 h 3062956"/>
              <a:gd name="connsiteX0" fmla="*/ 0 w 8573044"/>
              <a:gd name="connsiteY0" fmla="*/ 3062956 h 3062956"/>
              <a:gd name="connsiteX1" fmla="*/ 3117218 w 8573044"/>
              <a:gd name="connsiteY1" fmla="*/ 2954184 h 3062956"/>
              <a:gd name="connsiteX2" fmla="*/ 3872696 w 8573044"/>
              <a:gd name="connsiteY2" fmla="*/ 2324359 h 3062956"/>
              <a:gd name="connsiteX3" fmla="*/ 4717062 w 8573044"/>
              <a:gd name="connsiteY3" fmla="*/ 1919656 h 3062956"/>
              <a:gd name="connsiteX4" fmla="*/ 5418812 w 8573044"/>
              <a:gd name="connsiteY4" fmla="*/ 707427 h 3062956"/>
              <a:gd name="connsiteX5" fmla="*/ 7399940 w 8573044"/>
              <a:gd name="connsiteY5" fmla="*/ 543849 h 3062956"/>
              <a:gd name="connsiteX6" fmla="*/ 8517014 w 8573044"/>
              <a:gd name="connsiteY6" fmla="*/ 112507 h 3062956"/>
              <a:gd name="connsiteX7" fmla="*/ 7789835 w 8573044"/>
              <a:gd name="connsiteY7" fmla="*/ 35647 h 3062956"/>
              <a:gd name="connsiteX0" fmla="*/ 0 w 10179527"/>
              <a:gd name="connsiteY0" fmla="*/ 3032941 h 3032941"/>
              <a:gd name="connsiteX1" fmla="*/ 3117218 w 10179527"/>
              <a:gd name="connsiteY1" fmla="*/ 2924169 h 3032941"/>
              <a:gd name="connsiteX2" fmla="*/ 3872696 w 10179527"/>
              <a:gd name="connsiteY2" fmla="*/ 2294344 h 3032941"/>
              <a:gd name="connsiteX3" fmla="*/ 4717062 w 10179527"/>
              <a:gd name="connsiteY3" fmla="*/ 1889641 h 3032941"/>
              <a:gd name="connsiteX4" fmla="*/ 5418812 w 10179527"/>
              <a:gd name="connsiteY4" fmla="*/ 677412 h 3032941"/>
              <a:gd name="connsiteX5" fmla="*/ 7399940 w 10179527"/>
              <a:gd name="connsiteY5" fmla="*/ 513834 h 3032941"/>
              <a:gd name="connsiteX6" fmla="*/ 8517014 w 10179527"/>
              <a:gd name="connsiteY6" fmla="*/ 82492 h 3032941"/>
              <a:gd name="connsiteX7" fmla="*/ 10179527 w 10179527"/>
              <a:gd name="connsiteY7" fmla="*/ 102478 h 3032941"/>
              <a:gd name="connsiteX0" fmla="*/ 0 w 10179527"/>
              <a:gd name="connsiteY0" fmla="*/ 3032941 h 3032941"/>
              <a:gd name="connsiteX1" fmla="*/ 3117218 w 10179527"/>
              <a:gd name="connsiteY1" fmla="*/ 2924169 h 3032941"/>
              <a:gd name="connsiteX2" fmla="*/ 3872696 w 10179527"/>
              <a:gd name="connsiteY2" fmla="*/ 2294344 h 3032941"/>
              <a:gd name="connsiteX3" fmla="*/ 4717062 w 10179527"/>
              <a:gd name="connsiteY3" fmla="*/ 1889641 h 3032941"/>
              <a:gd name="connsiteX4" fmla="*/ 5624176 w 10179527"/>
              <a:gd name="connsiteY4" fmla="*/ 718917 h 3032941"/>
              <a:gd name="connsiteX5" fmla="*/ 7399940 w 10179527"/>
              <a:gd name="connsiteY5" fmla="*/ 513834 h 3032941"/>
              <a:gd name="connsiteX6" fmla="*/ 8517014 w 10179527"/>
              <a:gd name="connsiteY6" fmla="*/ 82492 h 3032941"/>
              <a:gd name="connsiteX7" fmla="*/ 10179527 w 10179527"/>
              <a:gd name="connsiteY7" fmla="*/ 102478 h 3032941"/>
              <a:gd name="connsiteX0" fmla="*/ 0 w 10179527"/>
              <a:gd name="connsiteY0" fmla="*/ 3032941 h 3032941"/>
              <a:gd name="connsiteX1" fmla="*/ 3117218 w 10179527"/>
              <a:gd name="connsiteY1" fmla="*/ 2924169 h 3032941"/>
              <a:gd name="connsiteX2" fmla="*/ 3872696 w 10179527"/>
              <a:gd name="connsiteY2" fmla="*/ 2294344 h 3032941"/>
              <a:gd name="connsiteX3" fmla="*/ 4717062 w 10179527"/>
              <a:gd name="connsiteY3" fmla="*/ 1889641 h 3032941"/>
              <a:gd name="connsiteX4" fmla="*/ 5624176 w 10179527"/>
              <a:gd name="connsiteY4" fmla="*/ 718917 h 3032941"/>
              <a:gd name="connsiteX5" fmla="*/ 7399940 w 10179527"/>
              <a:gd name="connsiteY5" fmla="*/ 444658 h 3032941"/>
              <a:gd name="connsiteX6" fmla="*/ 8517014 w 10179527"/>
              <a:gd name="connsiteY6" fmla="*/ 82492 h 3032941"/>
              <a:gd name="connsiteX7" fmla="*/ 10179527 w 10179527"/>
              <a:gd name="connsiteY7" fmla="*/ 102478 h 3032941"/>
              <a:gd name="connsiteX0" fmla="*/ 0 w 10590255"/>
              <a:gd name="connsiteY0" fmla="*/ 3179496 h 3179496"/>
              <a:gd name="connsiteX1" fmla="*/ 3117218 w 10590255"/>
              <a:gd name="connsiteY1" fmla="*/ 3070724 h 3179496"/>
              <a:gd name="connsiteX2" fmla="*/ 3872696 w 10590255"/>
              <a:gd name="connsiteY2" fmla="*/ 2440899 h 3179496"/>
              <a:gd name="connsiteX3" fmla="*/ 4717062 w 10590255"/>
              <a:gd name="connsiteY3" fmla="*/ 2036196 h 3179496"/>
              <a:gd name="connsiteX4" fmla="*/ 5624176 w 10590255"/>
              <a:gd name="connsiteY4" fmla="*/ 865472 h 3179496"/>
              <a:gd name="connsiteX5" fmla="*/ 7399940 w 10590255"/>
              <a:gd name="connsiteY5" fmla="*/ 591213 h 3179496"/>
              <a:gd name="connsiteX6" fmla="*/ 8517014 w 10590255"/>
              <a:gd name="connsiteY6" fmla="*/ 229047 h 3179496"/>
              <a:gd name="connsiteX7" fmla="*/ 10590255 w 10590255"/>
              <a:gd name="connsiteY7" fmla="*/ 0 h 3179496"/>
              <a:gd name="connsiteX0" fmla="*/ 0 w 10590255"/>
              <a:gd name="connsiteY0" fmla="*/ 3179496 h 3179496"/>
              <a:gd name="connsiteX1" fmla="*/ 3117218 w 10590255"/>
              <a:gd name="connsiteY1" fmla="*/ 3070724 h 3179496"/>
              <a:gd name="connsiteX2" fmla="*/ 3872696 w 10590255"/>
              <a:gd name="connsiteY2" fmla="*/ 2440899 h 3179496"/>
              <a:gd name="connsiteX3" fmla="*/ 4717062 w 10590255"/>
              <a:gd name="connsiteY3" fmla="*/ 2036196 h 3179496"/>
              <a:gd name="connsiteX4" fmla="*/ 5810871 w 10590255"/>
              <a:gd name="connsiteY4" fmla="*/ 920813 h 3179496"/>
              <a:gd name="connsiteX5" fmla="*/ 7399940 w 10590255"/>
              <a:gd name="connsiteY5" fmla="*/ 591213 h 3179496"/>
              <a:gd name="connsiteX6" fmla="*/ 8517014 w 10590255"/>
              <a:gd name="connsiteY6" fmla="*/ 229047 h 3179496"/>
              <a:gd name="connsiteX7" fmla="*/ 10590255 w 10590255"/>
              <a:gd name="connsiteY7" fmla="*/ 0 h 3179496"/>
              <a:gd name="connsiteX0" fmla="*/ 0 w 10590255"/>
              <a:gd name="connsiteY0" fmla="*/ 3179496 h 3179496"/>
              <a:gd name="connsiteX1" fmla="*/ 3117218 w 10590255"/>
              <a:gd name="connsiteY1" fmla="*/ 3070724 h 3179496"/>
              <a:gd name="connsiteX2" fmla="*/ 3872696 w 10590255"/>
              <a:gd name="connsiteY2" fmla="*/ 2440899 h 3179496"/>
              <a:gd name="connsiteX3" fmla="*/ 4717062 w 10590255"/>
              <a:gd name="connsiteY3" fmla="*/ 2036196 h 3179496"/>
              <a:gd name="connsiteX4" fmla="*/ 5810871 w 10590255"/>
              <a:gd name="connsiteY4" fmla="*/ 920813 h 3179496"/>
              <a:gd name="connsiteX5" fmla="*/ 7399940 w 10590255"/>
              <a:gd name="connsiteY5" fmla="*/ 591213 h 3179496"/>
              <a:gd name="connsiteX6" fmla="*/ 8517014 w 10590255"/>
              <a:gd name="connsiteY6" fmla="*/ 229047 h 3179496"/>
              <a:gd name="connsiteX7" fmla="*/ 10590255 w 10590255"/>
              <a:gd name="connsiteY7" fmla="*/ 0 h 3179496"/>
              <a:gd name="connsiteX0" fmla="*/ 0 w 10590255"/>
              <a:gd name="connsiteY0" fmla="*/ 3179496 h 3179496"/>
              <a:gd name="connsiteX1" fmla="*/ 3117218 w 10590255"/>
              <a:gd name="connsiteY1" fmla="*/ 3070724 h 3179496"/>
              <a:gd name="connsiteX2" fmla="*/ 3872696 w 10590255"/>
              <a:gd name="connsiteY2" fmla="*/ 2440899 h 3179496"/>
              <a:gd name="connsiteX3" fmla="*/ 4717062 w 10590255"/>
              <a:gd name="connsiteY3" fmla="*/ 2036196 h 3179496"/>
              <a:gd name="connsiteX4" fmla="*/ 6420741 w 10590255"/>
              <a:gd name="connsiteY4" fmla="*/ 764015 h 3179496"/>
              <a:gd name="connsiteX5" fmla="*/ 7399940 w 10590255"/>
              <a:gd name="connsiteY5" fmla="*/ 591213 h 3179496"/>
              <a:gd name="connsiteX6" fmla="*/ 8517014 w 10590255"/>
              <a:gd name="connsiteY6" fmla="*/ 229047 h 3179496"/>
              <a:gd name="connsiteX7" fmla="*/ 10590255 w 10590255"/>
              <a:gd name="connsiteY7" fmla="*/ 0 h 3179496"/>
              <a:gd name="connsiteX0" fmla="*/ 0 w 10590255"/>
              <a:gd name="connsiteY0" fmla="*/ 3179496 h 3179496"/>
              <a:gd name="connsiteX1" fmla="*/ 3117218 w 10590255"/>
              <a:gd name="connsiteY1" fmla="*/ 3070724 h 3179496"/>
              <a:gd name="connsiteX2" fmla="*/ 3872696 w 10590255"/>
              <a:gd name="connsiteY2" fmla="*/ 2440899 h 3179496"/>
              <a:gd name="connsiteX3" fmla="*/ 4717062 w 10590255"/>
              <a:gd name="connsiteY3" fmla="*/ 2036196 h 3179496"/>
              <a:gd name="connsiteX4" fmla="*/ 6420741 w 10590255"/>
              <a:gd name="connsiteY4" fmla="*/ 764015 h 3179496"/>
              <a:gd name="connsiteX5" fmla="*/ 8059594 w 10590255"/>
              <a:gd name="connsiteY5" fmla="*/ 535873 h 3179496"/>
              <a:gd name="connsiteX6" fmla="*/ 8517014 w 10590255"/>
              <a:gd name="connsiteY6" fmla="*/ 229047 h 3179496"/>
              <a:gd name="connsiteX7" fmla="*/ 10590255 w 10590255"/>
              <a:gd name="connsiteY7" fmla="*/ 0 h 3179496"/>
              <a:gd name="connsiteX0" fmla="*/ 0 w 10590255"/>
              <a:gd name="connsiteY0" fmla="*/ 3179496 h 3179496"/>
              <a:gd name="connsiteX1" fmla="*/ 3117218 w 10590255"/>
              <a:gd name="connsiteY1" fmla="*/ 3070724 h 3179496"/>
              <a:gd name="connsiteX2" fmla="*/ 3872696 w 10590255"/>
              <a:gd name="connsiteY2" fmla="*/ 2440899 h 3179496"/>
              <a:gd name="connsiteX3" fmla="*/ 5078006 w 10590255"/>
              <a:gd name="connsiteY3" fmla="*/ 1962407 h 3179496"/>
              <a:gd name="connsiteX4" fmla="*/ 6420741 w 10590255"/>
              <a:gd name="connsiteY4" fmla="*/ 764015 h 3179496"/>
              <a:gd name="connsiteX5" fmla="*/ 8059594 w 10590255"/>
              <a:gd name="connsiteY5" fmla="*/ 535873 h 3179496"/>
              <a:gd name="connsiteX6" fmla="*/ 8517014 w 10590255"/>
              <a:gd name="connsiteY6" fmla="*/ 229047 h 3179496"/>
              <a:gd name="connsiteX7" fmla="*/ 10590255 w 10590255"/>
              <a:gd name="connsiteY7" fmla="*/ 0 h 3179496"/>
              <a:gd name="connsiteX0" fmla="*/ 0 w 10590255"/>
              <a:gd name="connsiteY0" fmla="*/ 3223456 h 3223456"/>
              <a:gd name="connsiteX1" fmla="*/ 3117218 w 10590255"/>
              <a:gd name="connsiteY1" fmla="*/ 3114684 h 3223456"/>
              <a:gd name="connsiteX2" fmla="*/ 3872696 w 10590255"/>
              <a:gd name="connsiteY2" fmla="*/ 2484859 h 3223456"/>
              <a:gd name="connsiteX3" fmla="*/ 5078006 w 10590255"/>
              <a:gd name="connsiteY3" fmla="*/ 2006367 h 3223456"/>
              <a:gd name="connsiteX4" fmla="*/ 6420741 w 10590255"/>
              <a:gd name="connsiteY4" fmla="*/ 807975 h 3223456"/>
              <a:gd name="connsiteX5" fmla="*/ 8059594 w 10590255"/>
              <a:gd name="connsiteY5" fmla="*/ 579833 h 3223456"/>
              <a:gd name="connsiteX6" fmla="*/ 9898556 w 10590255"/>
              <a:gd name="connsiteY6" fmla="*/ 106985 h 3223456"/>
              <a:gd name="connsiteX7" fmla="*/ 10590255 w 10590255"/>
              <a:gd name="connsiteY7" fmla="*/ 43960 h 3223456"/>
              <a:gd name="connsiteX0" fmla="*/ 0 w 9898556"/>
              <a:gd name="connsiteY0" fmla="*/ 3116471 h 3116471"/>
              <a:gd name="connsiteX1" fmla="*/ 3117218 w 9898556"/>
              <a:gd name="connsiteY1" fmla="*/ 3007699 h 3116471"/>
              <a:gd name="connsiteX2" fmla="*/ 3872696 w 9898556"/>
              <a:gd name="connsiteY2" fmla="*/ 2377874 h 3116471"/>
              <a:gd name="connsiteX3" fmla="*/ 5078006 w 9898556"/>
              <a:gd name="connsiteY3" fmla="*/ 1899382 h 3116471"/>
              <a:gd name="connsiteX4" fmla="*/ 6420741 w 9898556"/>
              <a:gd name="connsiteY4" fmla="*/ 700990 h 3116471"/>
              <a:gd name="connsiteX5" fmla="*/ 8059594 w 9898556"/>
              <a:gd name="connsiteY5" fmla="*/ 472848 h 3116471"/>
              <a:gd name="connsiteX6" fmla="*/ 9898556 w 9898556"/>
              <a:gd name="connsiteY6" fmla="*/ 0 h 3116471"/>
              <a:gd name="connsiteX0" fmla="*/ 0 w 10135036"/>
              <a:gd name="connsiteY0" fmla="*/ 3098024 h 3098024"/>
              <a:gd name="connsiteX1" fmla="*/ 3117218 w 10135036"/>
              <a:gd name="connsiteY1" fmla="*/ 2989252 h 3098024"/>
              <a:gd name="connsiteX2" fmla="*/ 3872696 w 10135036"/>
              <a:gd name="connsiteY2" fmla="*/ 2359427 h 3098024"/>
              <a:gd name="connsiteX3" fmla="*/ 5078006 w 10135036"/>
              <a:gd name="connsiteY3" fmla="*/ 1880935 h 3098024"/>
              <a:gd name="connsiteX4" fmla="*/ 6420741 w 10135036"/>
              <a:gd name="connsiteY4" fmla="*/ 682543 h 3098024"/>
              <a:gd name="connsiteX5" fmla="*/ 8059594 w 10135036"/>
              <a:gd name="connsiteY5" fmla="*/ 454401 h 3098024"/>
              <a:gd name="connsiteX6" fmla="*/ 10135036 w 10135036"/>
              <a:gd name="connsiteY6" fmla="*/ 0 h 3098024"/>
              <a:gd name="connsiteX0" fmla="*/ 0 w 10135036"/>
              <a:gd name="connsiteY0" fmla="*/ 3098024 h 3098024"/>
              <a:gd name="connsiteX1" fmla="*/ 3117218 w 10135036"/>
              <a:gd name="connsiteY1" fmla="*/ 2989252 h 3098024"/>
              <a:gd name="connsiteX2" fmla="*/ 3872696 w 10135036"/>
              <a:gd name="connsiteY2" fmla="*/ 2359427 h 3098024"/>
              <a:gd name="connsiteX3" fmla="*/ 5078006 w 10135036"/>
              <a:gd name="connsiteY3" fmla="*/ 1880935 h 3098024"/>
              <a:gd name="connsiteX4" fmla="*/ 6420741 w 10135036"/>
              <a:gd name="connsiteY4" fmla="*/ 682543 h 3098024"/>
              <a:gd name="connsiteX5" fmla="*/ 8059594 w 10135036"/>
              <a:gd name="connsiteY5" fmla="*/ 454401 h 3098024"/>
              <a:gd name="connsiteX6" fmla="*/ 10135036 w 10135036"/>
              <a:gd name="connsiteY6" fmla="*/ 0 h 3098024"/>
              <a:gd name="connsiteX0" fmla="*/ 0 w 10135036"/>
              <a:gd name="connsiteY0" fmla="*/ 3098024 h 3098024"/>
              <a:gd name="connsiteX1" fmla="*/ 3117218 w 10135036"/>
              <a:gd name="connsiteY1" fmla="*/ 2989252 h 3098024"/>
              <a:gd name="connsiteX2" fmla="*/ 3872696 w 10135036"/>
              <a:gd name="connsiteY2" fmla="*/ 2359427 h 3098024"/>
              <a:gd name="connsiteX3" fmla="*/ 5078006 w 10135036"/>
              <a:gd name="connsiteY3" fmla="*/ 1880935 h 3098024"/>
              <a:gd name="connsiteX4" fmla="*/ 6420741 w 10135036"/>
              <a:gd name="connsiteY4" fmla="*/ 682543 h 3098024"/>
              <a:gd name="connsiteX5" fmla="*/ 9641009 w 10135036"/>
              <a:gd name="connsiteY5" fmla="*/ 462389 h 3098024"/>
              <a:gd name="connsiteX6" fmla="*/ 10135036 w 10135036"/>
              <a:gd name="connsiteY6" fmla="*/ 0 h 3098024"/>
              <a:gd name="connsiteX0" fmla="*/ 0 w 9641009"/>
              <a:gd name="connsiteY0" fmla="*/ 2635635 h 2635635"/>
              <a:gd name="connsiteX1" fmla="*/ 3117218 w 9641009"/>
              <a:gd name="connsiteY1" fmla="*/ 2526863 h 2635635"/>
              <a:gd name="connsiteX2" fmla="*/ 3872696 w 9641009"/>
              <a:gd name="connsiteY2" fmla="*/ 1897038 h 2635635"/>
              <a:gd name="connsiteX3" fmla="*/ 5078006 w 9641009"/>
              <a:gd name="connsiteY3" fmla="*/ 1418546 h 2635635"/>
              <a:gd name="connsiteX4" fmla="*/ 6420741 w 9641009"/>
              <a:gd name="connsiteY4" fmla="*/ 220154 h 2635635"/>
              <a:gd name="connsiteX5" fmla="*/ 9641009 w 9641009"/>
              <a:gd name="connsiteY5" fmla="*/ 0 h 2635635"/>
              <a:gd name="connsiteX0" fmla="*/ 0 w 9641009"/>
              <a:gd name="connsiteY0" fmla="*/ 2635635 h 2635635"/>
              <a:gd name="connsiteX1" fmla="*/ 3117218 w 9641009"/>
              <a:gd name="connsiteY1" fmla="*/ 2526863 h 2635635"/>
              <a:gd name="connsiteX2" fmla="*/ 3872696 w 9641009"/>
              <a:gd name="connsiteY2" fmla="*/ 1897038 h 2635635"/>
              <a:gd name="connsiteX3" fmla="*/ 5078006 w 9641009"/>
              <a:gd name="connsiteY3" fmla="*/ 1418546 h 2635635"/>
              <a:gd name="connsiteX4" fmla="*/ 6420741 w 9641009"/>
              <a:gd name="connsiteY4" fmla="*/ 220154 h 2635635"/>
              <a:gd name="connsiteX5" fmla="*/ 9641009 w 9641009"/>
              <a:gd name="connsiteY5" fmla="*/ 0 h 2635635"/>
              <a:gd name="connsiteX0" fmla="*/ 0 w 8577644"/>
              <a:gd name="connsiteY0" fmla="*/ 2601168 h 2601168"/>
              <a:gd name="connsiteX1" fmla="*/ 2053853 w 8577644"/>
              <a:gd name="connsiteY1" fmla="*/ 2526863 h 2601168"/>
              <a:gd name="connsiteX2" fmla="*/ 2809331 w 8577644"/>
              <a:gd name="connsiteY2" fmla="*/ 1897038 h 2601168"/>
              <a:gd name="connsiteX3" fmla="*/ 4014641 w 8577644"/>
              <a:gd name="connsiteY3" fmla="*/ 1418546 h 2601168"/>
              <a:gd name="connsiteX4" fmla="*/ 5357376 w 8577644"/>
              <a:gd name="connsiteY4" fmla="*/ 220154 h 2601168"/>
              <a:gd name="connsiteX5" fmla="*/ 8577644 w 8577644"/>
              <a:gd name="connsiteY5" fmla="*/ 0 h 2601168"/>
              <a:gd name="connsiteX0" fmla="*/ 0 w 8659441"/>
              <a:gd name="connsiteY0" fmla="*/ 2644253 h 2644253"/>
              <a:gd name="connsiteX1" fmla="*/ 2135650 w 8659441"/>
              <a:gd name="connsiteY1" fmla="*/ 2526863 h 2644253"/>
              <a:gd name="connsiteX2" fmla="*/ 2891128 w 8659441"/>
              <a:gd name="connsiteY2" fmla="*/ 1897038 h 2644253"/>
              <a:gd name="connsiteX3" fmla="*/ 4096438 w 8659441"/>
              <a:gd name="connsiteY3" fmla="*/ 1418546 h 2644253"/>
              <a:gd name="connsiteX4" fmla="*/ 5439173 w 8659441"/>
              <a:gd name="connsiteY4" fmla="*/ 220154 h 2644253"/>
              <a:gd name="connsiteX5" fmla="*/ 8659441 w 8659441"/>
              <a:gd name="connsiteY5" fmla="*/ 0 h 2644253"/>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439173 w 8659441"/>
              <a:gd name="connsiteY4" fmla="*/ 220154 h 2644390"/>
              <a:gd name="connsiteX5" fmla="*/ 8659441 w 8659441"/>
              <a:gd name="connsiteY5"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834527 w 8659441"/>
              <a:gd name="connsiteY4" fmla="*/ 263239 h 2644390"/>
              <a:gd name="connsiteX5" fmla="*/ 8659441 w 8659441"/>
              <a:gd name="connsiteY5"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834527 w 8659441"/>
              <a:gd name="connsiteY4" fmla="*/ 263239 h 2644390"/>
              <a:gd name="connsiteX5" fmla="*/ 8659441 w 8659441"/>
              <a:gd name="connsiteY5"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834527 w 8659441"/>
              <a:gd name="connsiteY4" fmla="*/ 263239 h 2644390"/>
              <a:gd name="connsiteX5" fmla="*/ 8659441 w 8659441"/>
              <a:gd name="connsiteY5"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779996 w 8659441"/>
              <a:gd name="connsiteY4" fmla="*/ 297707 h 2644390"/>
              <a:gd name="connsiteX5" fmla="*/ 8659441 w 8659441"/>
              <a:gd name="connsiteY5"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569886 w 8659441"/>
              <a:gd name="connsiteY4" fmla="*/ 386775 h 2644390"/>
              <a:gd name="connsiteX5" fmla="*/ 5779996 w 8659441"/>
              <a:gd name="connsiteY5" fmla="*/ 297707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4983672 w 8659441"/>
              <a:gd name="connsiteY4" fmla="*/ 826234 h 2644390"/>
              <a:gd name="connsiteX5" fmla="*/ 5779996 w 8659441"/>
              <a:gd name="connsiteY5" fmla="*/ 297707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4860976 w 8659441"/>
              <a:gd name="connsiteY4" fmla="*/ 998572 h 2644390"/>
              <a:gd name="connsiteX5" fmla="*/ 5779996 w 8659441"/>
              <a:gd name="connsiteY5" fmla="*/ 297707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4860976 w 8659441"/>
              <a:gd name="connsiteY4" fmla="*/ 998572 h 2644390"/>
              <a:gd name="connsiteX5" fmla="*/ 5916326 w 8659441"/>
              <a:gd name="connsiteY5" fmla="*/ 159837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4860976 w 8659441"/>
              <a:gd name="connsiteY4" fmla="*/ 998572 h 2644390"/>
              <a:gd name="connsiteX5" fmla="*/ 6039022 w 8659441"/>
              <a:gd name="connsiteY5" fmla="*/ 220155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051836 w 8659441"/>
              <a:gd name="connsiteY4" fmla="*/ 1024423 h 2644390"/>
              <a:gd name="connsiteX5" fmla="*/ 6039022 w 8659441"/>
              <a:gd name="connsiteY5" fmla="*/ 220155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051836 w 8659441"/>
              <a:gd name="connsiteY4" fmla="*/ 1024423 h 2644390"/>
              <a:gd name="connsiteX5" fmla="*/ 6502540 w 8659441"/>
              <a:gd name="connsiteY5" fmla="*/ 194305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096438 w 8659441"/>
              <a:gd name="connsiteY3" fmla="*/ 1418546 h 2644390"/>
              <a:gd name="connsiteX4" fmla="*/ 5256329 w 8659441"/>
              <a:gd name="connsiteY4" fmla="*/ 507412 h 2644390"/>
              <a:gd name="connsiteX5" fmla="*/ 6502540 w 8659441"/>
              <a:gd name="connsiteY5" fmla="*/ 194305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464526 w 8659441"/>
              <a:gd name="connsiteY3" fmla="*/ 1332377 h 2644390"/>
              <a:gd name="connsiteX4" fmla="*/ 5256329 w 8659441"/>
              <a:gd name="connsiteY4" fmla="*/ 507412 h 2644390"/>
              <a:gd name="connsiteX5" fmla="*/ 6502540 w 8659441"/>
              <a:gd name="connsiteY5" fmla="*/ 194305 h 2644390"/>
              <a:gd name="connsiteX6" fmla="*/ 8659441 w 8659441"/>
              <a:gd name="connsiteY6" fmla="*/ 0 h 2644390"/>
              <a:gd name="connsiteX0" fmla="*/ 0 w 8659441"/>
              <a:gd name="connsiteY0" fmla="*/ 2644253 h 2644390"/>
              <a:gd name="connsiteX1" fmla="*/ 2135650 w 8659441"/>
              <a:gd name="connsiteY1" fmla="*/ 2526863 h 2644390"/>
              <a:gd name="connsiteX2" fmla="*/ 2891128 w 8659441"/>
              <a:gd name="connsiteY2" fmla="*/ 1897038 h 2644390"/>
              <a:gd name="connsiteX3" fmla="*/ 4464526 w 8659441"/>
              <a:gd name="connsiteY3" fmla="*/ 1332377 h 2644390"/>
              <a:gd name="connsiteX4" fmla="*/ 5297228 w 8659441"/>
              <a:gd name="connsiteY4" fmla="*/ 378159 h 2644390"/>
              <a:gd name="connsiteX5" fmla="*/ 6502540 w 8659441"/>
              <a:gd name="connsiteY5" fmla="*/ 194305 h 2644390"/>
              <a:gd name="connsiteX6" fmla="*/ 8659441 w 8659441"/>
              <a:gd name="connsiteY6" fmla="*/ 0 h 2644390"/>
              <a:gd name="connsiteX0" fmla="*/ 0 w 8659441"/>
              <a:gd name="connsiteY0" fmla="*/ 2652218 h 2652355"/>
              <a:gd name="connsiteX1" fmla="*/ 2135650 w 8659441"/>
              <a:gd name="connsiteY1" fmla="*/ 2534828 h 2652355"/>
              <a:gd name="connsiteX2" fmla="*/ 2891128 w 8659441"/>
              <a:gd name="connsiteY2" fmla="*/ 1905003 h 2652355"/>
              <a:gd name="connsiteX3" fmla="*/ 4464526 w 8659441"/>
              <a:gd name="connsiteY3" fmla="*/ 1340342 h 2652355"/>
              <a:gd name="connsiteX4" fmla="*/ 5297228 w 8659441"/>
              <a:gd name="connsiteY4" fmla="*/ 386124 h 2652355"/>
              <a:gd name="connsiteX5" fmla="*/ 7715867 w 8659441"/>
              <a:gd name="connsiteY5" fmla="*/ 29933 h 2652355"/>
              <a:gd name="connsiteX6" fmla="*/ 8659441 w 8659441"/>
              <a:gd name="connsiteY6" fmla="*/ 7965 h 2652355"/>
              <a:gd name="connsiteX0" fmla="*/ 0 w 7715867"/>
              <a:gd name="connsiteY0" fmla="*/ 2622285 h 2622422"/>
              <a:gd name="connsiteX1" fmla="*/ 2135650 w 7715867"/>
              <a:gd name="connsiteY1" fmla="*/ 2504895 h 2622422"/>
              <a:gd name="connsiteX2" fmla="*/ 2891128 w 7715867"/>
              <a:gd name="connsiteY2" fmla="*/ 1875070 h 2622422"/>
              <a:gd name="connsiteX3" fmla="*/ 4464526 w 7715867"/>
              <a:gd name="connsiteY3" fmla="*/ 1310409 h 2622422"/>
              <a:gd name="connsiteX4" fmla="*/ 5297228 w 7715867"/>
              <a:gd name="connsiteY4" fmla="*/ 356191 h 2622422"/>
              <a:gd name="connsiteX5" fmla="*/ 7715867 w 7715867"/>
              <a:gd name="connsiteY5" fmla="*/ 0 h 2622422"/>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297228 w 8247550"/>
              <a:gd name="connsiteY4" fmla="*/ 382042 h 2648273"/>
              <a:gd name="connsiteX5" fmla="*/ 8247550 w 8247550"/>
              <a:gd name="connsiteY5" fmla="*/ 0 h 2648273"/>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404587 w 8247550"/>
              <a:gd name="connsiteY4" fmla="*/ 358322 h 2648273"/>
              <a:gd name="connsiteX5" fmla="*/ 8247550 w 8247550"/>
              <a:gd name="connsiteY5" fmla="*/ 0 h 2648273"/>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404587 w 8247550"/>
              <a:gd name="connsiteY4" fmla="*/ 358322 h 2648273"/>
              <a:gd name="connsiteX5" fmla="*/ 8247550 w 8247550"/>
              <a:gd name="connsiteY5" fmla="*/ 0 h 2648273"/>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404587 w 8247550"/>
              <a:gd name="connsiteY4" fmla="*/ 358322 h 2648273"/>
              <a:gd name="connsiteX5" fmla="*/ 8247550 w 8247550"/>
              <a:gd name="connsiteY5" fmla="*/ 0 h 2648273"/>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343239 w 8247550"/>
              <a:gd name="connsiteY4" fmla="*/ 320369 h 2648273"/>
              <a:gd name="connsiteX5" fmla="*/ 8247550 w 8247550"/>
              <a:gd name="connsiteY5" fmla="*/ 0 h 2648273"/>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343239 w 8247550"/>
              <a:gd name="connsiteY4" fmla="*/ 320369 h 2648273"/>
              <a:gd name="connsiteX5" fmla="*/ 8247550 w 8247550"/>
              <a:gd name="connsiteY5" fmla="*/ 0 h 2648273"/>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343239 w 8247550"/>
              <a:gd name="connsiteY4" fmla="*/ 320369 h 2648273"/>
              <a:gd name="connsiteX5" fmla="*/ 8247550 w 8247550"/>
              <a:gd name="connsiteY5" fmla="*/ 0 h 2648273"/>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343239 w 8247550"/>
              <a:gd name="connsiteY4" fmla="*/ 320369 h 2648273"/>
              <a:gd name="connsiteX5" fmla="*/ 8247550 w 8247550"/>
              <a:gd name="connsiteY5" fmla="*/ 0 h 2648273"/>
              <a:gd name="connsiteX0" fmla="*/ 0 w 8247550"/>
              <a:gd name="connsiteY0" fmla="*/ 2648136 h 2648273"/>
              <a:gd name="connsiteX1" fmla="*/ 2135650 w 8247550"/>
              <a:gd name="connsiteY1" fmla="*/ 2530746 h 2648273"/>
              <a:gd name="connsiteX2" fmla="*/ 2891128 w 8247550"/>
              <a:gd name="connsiteY2" fmla="*/ 1900921 h 2648273"/>
              <a:gd name="connsiteX3" fmla="*/ 4464526 w 8247550"/>
              <a:gd name="connsiteY3" fmla="*/ 1336260 h 2648273"/>
              <a:gd name="connsiteX4" fmla="*/ 5515013 w 8247550"/>
              <a:gd name="connsiteY4" fmla="*/ 339345 h 2648273"/>
              <a:gd name="connsiteX5" fmla="*/ 8247550 w 8247550"/>
              <a:gd name="connsiteY5" fmla="*/ 0 h 26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7550" h="2648273">
                <a:moveTo>
                  <a:pt x="0" y="2648136"/>
                </a:moveTo>
                <a:cubicBezTo>
                  <a:pt x="807312" y="2652090"/>
                  <a:pt x="1423767" y="2569876"/>
                  <a:pt x="2135650" y="2530746"/>
                </a:cubicBezTo>
                <a:cubicBezTo>
                  <a:pt x="2895999" y="2445361"/>
                  <a:pt x="2502982" y="2100002"/>
                  <a:pt x="2891128" y="1900921"/>
                </a:cubicBezTo>
                <a:cubicBezTo>
                  <a:pt x="3279274" y="1701840"/>
                  <a:pt x="4027212" y="1596523"/>
                  <a:pt x="4464526" y="1336260"/>
                </a:cubicBezTo>
                <a:cubicBezTo>
                  <a:pt x="4901840" y="1075997"/>
                  <a:pt x="4939949" y="526151"/>
                  <a:pt x="5515013" y="339345"/>
                </a:cubicBezTo>
                <a:cubicBezTo>
                  <a:pt x="6090077" y="152539"/>
                  <a:pt x="7687181" y="63027"/>
                  <a:pt x="8247550" y="0"/>
                </a:cubicBezTo>
              </a:path>
            </a:pathLst>
          </a:custGeom>
          <a:ln w="19050">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sz="1200">
              <a:cs typeface="Arial" panose="020B0604020202020204" pitchFamily="34" charset="0"/>
            </a:endParaRPr>
          </a:p>
        </p:txBody>
      </p:sp>
      <p:sp>
        <p:nvSpPr>
          <p:cNvPr id="42" name="TextBox 41">
            <a:extLst>
              <a:ext uri="{FF2B5EF4-FFF2-40B4-BE49-F238E27FC236}">
                <a16:creationId xmlns:a16="http://schemas.microsoft.com/office/drawing/2014/main" id="{85EAC230-9A3B-1D3A-A874-BCD99A5089C3}"/>
              </a:ext>
            </a:extLst>
          </p:cNvPr>
          <p:cNvSpPr txBox="1"/>
          <p:nvPr/>
        </p:nvSpPr>
        <p:spPr>
          <a:xfrm>
            <a:off x="6499128" y="3742057"/>
            <a:ext cx="1481235" cy="184636"/>
          </a:xfrm>
          <a:prstGeom prst="rect">
            <a:avLst/>
          </a:prstGeom>
          <a:noFill/>
        </p:spPr>
        <p:txBody>
          <a:bodyPr wrap="square" lIns="0" tIns="0" rIns="0" bIns="0" rtlCol="0">
            <a:spAutoFit/>
          </a:bodyPr>
          <a:lstStyle/>
          <a:p>
            <a:pPr marL="0" marR="0" indent="0" algn="l" defTabSz="914400" eaLnBrk="1" fontAlgn="auto" latinLnBrk="0" hangingPunct="1">
              <a:lnSpc>
                <a:spcPct val="100000"/>
              </a:lnSpc>
              <a:spcBef>
                <a:spcPts val="0"/>
              </a:spcBef>
              <a:spcAft>
                <a:spcPts val="0"/>
              </a:spcAft>
              <a:buClrTx/>
              <a:buSzTx/>
              <a:buFontTx/>
              <a:buNone/>
              <a:tabLst/>
            </a:pPr>
            <a:r>
              <a:rPr lang="en-GB" sz="1200">
                <a:cs typeface="Arial" panose="020B0604020202020204" pitchFamily="34" charset="0"/>
              </a:rPr>
              <a:t>Auction clearing price</a:t>
            </a:r>
          </a:p>
        </p:txBody>
      </p:sp>
      <p:sp>
        <p:nvSpPr>
          <p:cNvPr id="46" name="Rectangle 45">
            <a:extLst>
              <a:ext uri="{FF2B5EF4-FFF2-40B4-BE49-F238E27FC236}">
                <a16:creationId xmlns:a16="http://schemas.microsoft.com/office/drawing/2014/main" id="{7F122028-605A-F16C-4628-CD0C100BCC7B}"/>
              </a:ext>
            </a:extLst>
          </p:cNvPr>
          <p:cNvSpPr/>
          <p:nvPr/>
        </p:nvSpPr>
        <p:spPr>
          <a:xfrm>
            <a:off x="6352153" y="5461200"/>
            <a:ext cx="1296000" cy="216000"/>
          </a:xfrm>
          <a:prstGeom prst="rect">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algn="ctr"/>
            <a:r>
              <a:rPr lang="en-GB" sz="1200">
                <a:solidFill>
                  <a:schemeClr val="tx1"/>
                </a:solidFill>
                <a:cs typeface="Arial" panose="020B0604020202020204" pitchFamily="34" charset="0"/>
              </a:rPr>
              <a:t>Ineligible capacity</a:t>
            </a:r>
          </a:p>
        </p:txBody>
      </p:sp>
      <p:sp>
        <p:nvSpPr>
          <p:cNvPr id="48" name="Rectangle 47">
            <a:extLst>
              <a:ext uri="{FF2B5EF4-FFF2-40B4-BE49-F238E27FC236}">
                <a16:creationId xmlns:a16="http://schemas.microsoft.com/office/drawing/2014/main" id="{A163EE31-8DE9-E9A0-0373-A7E0B72AFE7B}"/>
              </a:ext>
            </a:extLst>
          </p:cNvPr>
          <p:cNvSpPr/>
          <p:nvPr/>
        </p:nvSpPr>
        <p:spPr>
          <a:xfrm>
            <a:off x="7784581" y="5459505"/>
            <a:ext cx="900000" cy="216000"/>
          </a:xfrm>
          <a:prstGeom prst="rect">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algn="ctr"/>
            <a:r>
              <a:rPr lang="en-GB" sz="1200">
                <a:solidFill>
                  <a:schemeClr val="tx1"/>
                </a:solidFill>
                <a:cs typeface="Arial" panose="020B0604020202020204" pitchFamily="34" charset="0"/>
              </a:rPr>
              <a:t>Price takers</a:t>
            </a:r>
          </a:p>
        </p:txBody>
      </p:sp>
      <p:sp>
        <p:nvSpPr>
          <p:cNvPr id="49" name="Rectangle 48">
            <a:extLst>
              <a:ext uri="{FF2B5EF4-FFF2-40B4-BE49-F238E27FC236}">
                <a16:creationId xmlns:a16="http://schemas.microsoft.com/office/drawing/2014/main" id="{FB3FC1C7-6737-D825-6170-AB309F29BEA2}"/>
              </a:ext>
            </a:extLst>
          </p:cNvPr>
          <p:cNvSpPr/>
          <p:nvPr/>
        </p:nvSpPr>
        <p:spPr>
          <a:xfrm>
            <a:off x="9884127" y="5461200"/>
            <a:ext cx="972000" cy="216000"/>
          </a:xfrm>
          <a:prstGeom prst="rect">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algn="ctr"/>
            <a:r>
              <a:rPr lang="en-GB" sz="1200">
                <a:solidFill>
                  <a:schemeClr val="tx1"/>
                </a:solidFill>
                <a:cs typeface="Arial" panose="020B0604020202020204" pitchFamily="34" charset="0"/>
              </a:rPr>
              <a:t>Price makers</a:t>
            </a:r>
          </a:p>
        </p:txBody>
      </p:sp>
      <p:sp>
        <p:nvSpPr>
          <p:cNvPr id="50" name="TextBox 49">
            <a:extLst>
              <a:ext uri="{FF2B5EF4-FFF2-40B4-BE49-F238E27FC236}">
                <a16:creationId xmlns:a16="http://schemas.microsoft.com/office/drawing/2014/main" id="{0A221E74-3E53-E50D-7384-6CC865A67118}"/>
              </a:ext>
            </a:extLst>
          </p:cNvPr>
          <p:cNvSpPr txBox="1"/>
          <p:nvPr/>
        </p:nvSpPr>
        <p:spPr>
          <a:xfrm>
            <a:off x="8957706" y="6058800"/>
            <a:ext cx="1255710" cy="184666"/>
          </a:xfrm>
          <a:prstGeom prst="rect">
            <a:avLst/>
          </a:prstGeom>
          <a:noFill/>
        </p:spPr>
        <p:txBody>
          <a:bodyPr wrap="square" lIns="0" tIns="0" rIns="0" bIns="0" rtlCol="0">
            <a:spAutoFit/>
          </a:bodyPr>
          <a:lstStyle/>
          <a:p>
            <a:pPr>
              <a:spcAft>
                <a:spcPts val="600"/>
              </a:spcAft>
            </a:pPr>
            <a:r>
              <a:rPr lang="en-GB" sz="1200"/>
              <a:t>Capacity procured</a:t>
            </a:r>
          </a:p>
        </p:txBody>
      </p:sp>
      <p:cxnSp>
        <p:nvCxnSpPr>
          <p:cNvPr id="51" name="Straight Connector 50">
            <a:extLst>
              <a:ext uri="{FF2B5EF4-FFF2-40B4-BE49-F238E27FC236}">
                <a16:creationId xmlns:a16="http://schemas.microsoft.com/office/drawing/2014/main" id="{9F58406D-0C19-0C61-4F0C-C4DD8B99F877}"/>
              </a:ext>
            </a:extLst>
          </p:cNvPr>
          <p:cNvCxnSpPr>
            <a:cxnSpLocks/>
          </p:cNvCxnSpPr>
          <p:nvPr/>
        </p:nvCxnSpPr>
        <p:spPr>
          <a:xfrm>
            <a:off x="9733040" y="3370263"/>
            <a:ext cx="1752295" cy="2684909"/>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2025EDD5-B9DA-5121-4AD3-1F79D4D21330}"/>
              </a:ext>
            </a:extLst>
          </p:cNvPr>
          <p:cNvGrpSpPr/>
          <p:nvPr/>
        </p:nvGrpSpPr>
        <p:grpSpPr>
          <a:xfrm>
            <a:off x="6504824" y="4398498"/>
            <a:ext cx="1509567" cy="415498"/>
            <a:chOff x="6794816" y="5959554"/>
            <a:chExt cx="1509567" cy="415498"/>
          </a:xfrm>
        </p:grpSpPr>
        <p:cxnSp>
          <p:nvCxnSpPr>
            <p:cNvPr id="111" name="Straight Connector 110">
              <a:extLst>
                <a:ext uri="{FF2B5EF4-FFF2-40B4-BE49-F238E27FC236}">
                  <a16:creationId xmlns:a16="http://schemas.microsoft.com/office/drawing/2014/main" id="{137BBC6F-4AAF-2A13-197F-5077A5B7775F}"/>
                </a:ext>
              </a:extLst>
            </p:cNvPr>
            <p:cNvCxnSpPr>
              <a:cxnSpLocks/>
            </p:cNvCxnSpPr>
            <p:nvPr/>
          </p:nvCxnSpPr>
          <p:spPr>
            <a:xfrm>
              <a:off x="6794816" y="6056313"/>
              <a:ext cx="3540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1FFC2F2-9A3D-CFD4-1BDB-AF6532A09FCE}"/>
                </a:ext>
              </a:extLst>
            </p:cNvPr>
            <p:cNvCxnSpPr>
              <a:cxnSpLocks/>
            </p:cNvCxnSpPr>
            <p:nvPr/>
          </p:nvCxnSpPr>
          <p:spPr>
            <a:xfrm>
              <a:off x="6794816" y="6291263"/>
              <a:ext cx="354014" cy="0"/>
            </a:xfrm>
            <a:prstGeom prst="line">
              <a:avLst/>
            </a:prstGeom>
            <a:ln w="15875">
              <a:solidFill>
                <a:srgbClr val="3C3C3B"/>
              </a:solidFil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79F05C02-E165-98FD-78CB-BE7658EF3E73}"/>
                </a:ext>
              </a:extLst>
            </p:cNvPr>
            <p:cNvSpPr txBox="1"/>
            <p:nvPr/>
          </p:nvSpPr>
          <p:spPr>
            <a:xfrm>
              <a:off x="7206325" y="5959554"/>
              <a:ext cx="1098058" cy="415498"/>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100"/>
                <a:t>Capacity Demand</a:t>
              </a:r>
            </a:p>
            <a:p>
              <a:pPr marL="0" indent="0" algn="l">
                <a:spcBef>
                  <a:spcPts val="600"/>
                </a:spcBef>
                <a:buFont typeface="Wingdings" panose="05000000000000000000" pitchFamily="2" charset="2"/>
                <a:buNone/>
              </a:pPr>
              <a:r>
                <a:rPr lang="en-GB" sz="1100"/>
                <a:t>Capacity Supply</a:t>
              </a:r>
            </a:p>
          </p:txBody>
        </p:sp>
      </p:grpSp>
      <p:sp>
        <p:nvSpPr>
          <p:cNvPr id="3" name="Rectangle 2">
            <a:extLst>
              <a:ext uri="{FF2B5EF4-FFF2-40B4-BE49-F238E27FC236}">
                <a16:creationId xmlns:a16="http://schemas.microsoft.com/office/drawing/2014/main" id="{165AC5C7-403C-DC4D-304F-4D326D137F7F}"/>
              </a:ext>
            </a:extLst>
          </p:cNvPr>
          <p:cNvSpPr/>
          <p:nvPr/>
        </p:nvSpPr>
        <p:spPr>
          <a:xfrm>
            <a:off x="317500" y="1595973"/>
            <a:ext cx="11557000" cy="485017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4" name="Group 3">
            <a:extLst>
              <a:ext uri="{FF2B5EF4-FFF2-40B4-BE49-F238E27FC236}">
                <a16:creationId xmlns:a16="http://schemas.microsoft.com/office/drawing/2014/main" id="{64FC886A-B834-5DC2-1E68-265C43CC4748}"/>
              </a:ext>
            </a:extLst>
          </p:cNvPr>
          <p:cNvGrpSpPr/>
          <p:nvPr/>
        </p:nvGrpSpPr>
        <p:grpSpPr>
          <a:xfrm>
            <a:off x="4772297" y="2928257"/>
            <a:ext cx="2647407" cy="1001486"/>
            <a:chOff x="8251369" y="2255520"/>
            <a:chExt cx="2647407" cy="1001486"/>
          </a:xfrm>
        </p:grpSpPr>
        <p:sp>
          <p:nvSpPr>
            <p:cNvPr id="13" name="Rectangle: Rounded Corners 12">
              <a:extLst>
                <a:ext uri="{FF2B5EF4-FFF2-40B4-BE49-F238E27FC236}">
                  <a16:creationId xmlns:a16="http://schemas.microsoft.com/office/drawing/2014/main" id="{EFAE8884-C453-5F27-49F8-DBB2AAB2369E}"/>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4" name="TextBox 13">
              <a:extLst>
                <a:ext uri="{FF2B5EF4-FFF2-40B4-BE49-F238E27FC236}">
                  <a16:creationId xmlns:a16="http://schemas.microsoft.com/office/drawing/2014/main" id="{F00FD1C8-84EB-9204-027C-0C94B6AA9A50}"/>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697716810"/>
      </p:ext>
    </p:extLst>
  </p:cSld>
  <p:clrMapOvr>
    <a:masterClrMapping/>
  </p:clrMapOvr>
  <p:extLst>
    <p:ext uri="{6950BFC3-D8DA-4A85-94F7-54DA5524770B}">
      <p188:commentRel xmlns:p188="http://schemas.microsoft.com/office/powerpoint/2018/8/main" r:id="rId35"/>
    </p:ext>
  </p:extLs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0F733B-245E-4E5E-BEBD-088828324F12}"/>
              </a:ext>
            </a:extLst>
          </p:cNvPr>
          <p:cNvGraphicFramePr>
            <a:graphicFrameLocks noChangeAspect="1"/>
          </p:cNvGraphicFramePr>
          <p:nvPr>
            <p:custDataLst>
              <p:tags r:id="rId1"/>
            </p:custDataLst>
            <p:extLst>
              <p:ext uri="{D42A27DB-BD31-4B8C-83A1-F6EECF244321}">
                <p14:modId xmlns:p14="http://schemas.microsoft.com/office/powerpoint/2010/main" val="3688854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10" name="Object 9" hidden="1">
                        <a:extLst>
                          <a:ext uri="{FF2B5EF4-FFF2-40B4-BE49-F238E27FC236}">
                            <a16:creationId xmlns:a16="http://schemas.microsoft.com/office/drawing/2014/main" id="{300F733B-245E-4E5E-BEBD-088828324F1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C4786CF6-B20A-41C1-AEDA-6C39D1DEED93}"/>
              </a:ext>
            </a:extLst>
          </p:cNvPr>
          <p:cNvSpPr>
            <a:spLocks noGrp="1"/>
          </p:cNvSpPr>
          <p:nvPr>
            <p:ph type="body" sz="quarter" idx="29"/>
          </p:nvPr>
        </p:nvSpPr>
        <p:spPr/>
        <p:txBody>
          <a:bodyPr/>
          <a:lstStyle/>
          <a:p>
            <a:r>
              <a:rPr lang="en-GB">
                <a:latin typeface="Lato"/>
              </a:rPr>
              <a:t>Total b</a:t>
            </a:r>
            <a:r>
              <a:rPr lang="en-GB" sz="1200" b="1">
                <a:latin typeface="Lato"/>
              </a:rPr>
              <a:t>attery </a:t>
            </a:r>
            <a:r>
              <a:rPr lang="en-GB">
                <a:latin typeface="Lato"/>
              </a:rPr>
              <a:t>capacity with Capacity Market contracts </a:t>
            </a:r>
            <a:r>
              <a:rPr lang="en-GB" sz="1200" b="1">
                <a:latin typeface="Lato"/>
              </a:rPr>
              <a:t>by delivery year</a:t>
            </a:r>
            <a:br>
              <a:rPr lang="en-GB" sz="1200">
                <a:solidFill>
                  <a:schemeClr val="accent5"/>
                </a:solidFill>
                <a:latin typeface="Lato"/>
              </a:rPr>
            </a:br>
            <a:r>
              <a:rPr lang="en-GB" b="0">
                <a:solidFill>
                  <a:schemeClr val="accent5"/>
                </a:solidFill>
                <a:latin typeface="Lato"/>
              </a:rPr>
              <a:t>G</a:t>
            </a:r>
            <a:r>
              <a:rPr lang="en-GB" sz="1200" b="0">
                <a:solidFill>
                  <a:schemeClr val="accent5"/>
                </a:solidFill>
                <a:latin typeface="Lato"/>
              </a:rPr>
              <a:t>W nameplate</a:t>
            </a:r>
          </a:p>
        </p:txBody>
      </p:sp>
      <p:sp>
        <p:nvSpPr>
          <p:cNvPr id="2" name="Text Placeholder 1">
            <a:extLst>
              <a:ext uri="{FF2B5EF4-FFF2-40B4-BE49-F238E27FC236}">
                <a16:creationId xmlns:a16="http://schemas.microsoft.com/office/drawing/2014/main" id="{0D326790-F4D0-4D4C-9838-536A4F463977}"/>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3" name="Title 2">
            <a:extLst>
              <a:ext uri="{FF2B5EF4-FFF2-40B4-BE49-F238E27FC236}">
                <a16:creationId xmlns:a16="http://schemas.microsoft.com/office/drawing/2014/main" id="{730ABDDA-85A4-4992-908F-C9093A4C6D5E}"/>
              </a:ext>
            </a:extLst>
          </p:cNvPr>
          <p:cNvSpPr>
            <a:spLocks noGrp="1"/>
          </p:cNvSpPr>
          <p:nvPr>
            <p:ph type="title"/>
          </p:nvPr>
        </p:nvSpPr>
        <p:spPr/>
        <p:txBody>
          <a:bodyPr vert="horz"/>
          <a:lstStyle/>
          <a:p>
            <a:r>
              <a:rPr lang="en-GB">
                <a:solidFill>
                  <a:schemeClr val="tx1"/>
                </a:solidFill>
              </a:rPr>
              <a:t>Capacity Markets support over </a:t>
            </a:r>
            <a:r>
              <a:rPr lang="en-GB" sz="2400">
                <a:solidFill>
                  <a:srgbClr val="7A7A7A"/>
                </a:solidFill>
                <a:highlight>
                  <a:srgbClr val="7A7A7A"/>
                </a:highlight>
                <a:latin typeface="Lato"/>
              </a:rPr>
              <a:t>XX</a:t>
            </a:r>
            <a:r>
              <a:rPr lang="en-GB">
                <a:solidFill>
                  <a:schemeClr val="tx1"/>
                </a:solidFill>
              </a:rPr>
              <a:t> GW of batteries across Europe, although revenues vary due to de-rating factors and clearing prices</a:t>
            </a:r>
          </a:p>
        </p:txBody>
      </p:sp>
      <p:sp>
        <p:nvSpPr>
          <p:cNvPr id="24" name="Text Placeholder 23">
            <a:extLst>
              <a:ext uri="{FF2B5EF4-FFF2-40B4-BE49-F238E27FC236}">
                <a16:creationId xmlns:a16="http://schemas.microsoft.com/office/drawing/2014/main" id="{C35BDD2F-FD92-C6D5-432F-F5ED2D1BAE2E}"/>
              </a:ext>
            </a:extLst>
          </p:cNvPr>
          <p:cNvSpPr>
            <a:spLocks noGrp="1"/>
          </p:cNvSpPr>
          <p:nvPr>
            <p:ph type="body" sz="quarter" idx="32"/>
          </p:nvPr>
        </p:nvSpPr>
        <p:spPr/>
        <p:txBody>
          <a:bodyPr/>
          <a:lstStyle/>
          <a:p>
            <a:endParaRPr lang="en-GB"/>
          </a:p>
        </p:txBody>
      </p:sp>
      <p:sp>
        <p:nvSpPr>
          <p:cNvPr id="12" name="Text Placeholder 11">
            <a:extLst>
              <a:ext uri="{FF2B5EF4-FFF2-40B4-BE49-F238E27FC236}">
                <a16:creationId xmlns:a16="http://schemas.microsoft.com/office/drawing/2014/main" id="{2C16E540-6623-66FF-6C5A-AF90211F7043}"/>
              </a:ext>
            </a:extLst>
          </p:cNvPr>
          <p:cNvSpPr>
            <a:spLocks noGrp="1"/>
          </p:cNvSpPr>
          <p:nvPr>
            <p:ph type="body" sz="quarter" idx="31"/>
          </p:nvPr>
        </p:nvSpPr>
        <p:spPr>
          <a:xfrm>
            <a:off x="381599" y="79401"/>
            <a:ext cx="2972289" cy="184666"/>
          </a:xfrm>
        </p:spPr>
        <p:txBody>
          <a:bodyPr/>
          <a:lstStyle/>
          <a:p>
            <a:r>
              <a:rPr lang="en-GB"/>
              <a:t>		 Revenue streams – Capacity markets</a:t>
            </a:r>
          </a:p>
        </p:txBody>
      </p:sp>
      <p:graphicFrame>
        <p:nvGraphicFramePr>
          <p:cNvPr id="22" name="Chart 21">
            <a:extLst>
              <a:ext uri="{FF2B5EF4-FFF2-40B4-BE49-F238E27FC236}">
                <a16:creationId xmlns:a16="http://schemas.microsoft.com/office/drawing/2014/main" id="{AD2F0F1B-E702-F988-2D03-B1D8FA848F16}"/>
              </a:ext>
            </a:extLst>
          </p:cNvPr>
          <p:cNvGraphicFramePr/>
          <p:nvPr>
            <p:custDataLst>
              <p:tags r:id="rId2"/>
            </p:custDataLst>
            <p:extLst>
              <p:ext uri="{D42A27DB-BD31-4B8C-83A1-F6EECF244321}">
                <p14:modId xmlns:p14="http://schemas.microsoft.com/office/powerpoint/2010/main" val="3809511218"/>
              </p:ext>
            </p:extLst>
          </p:nvPr>
        </p:nvGraphicFramePr>
        <p:xfrm>
          <a:off x="860425" y="1681163"/>
          <a:ext cx="4376738" cy="2386012"/>
        </p:xfrm>
        <a:graphic>
          <a:graphicData uri="http://schemas.openxmlformats.org/drawingml/2006/chart">
            <c:chart xmlns:c="http://schemas.openxmlformats.org/drawingml/2006/chart" xmlns:r="http://schemas.openxmlformats.org/officeDocument/2006/relationships" r:id="rId23"/>
          </a:graphicData>
        </a:graphic>
      </p:graphicFrame>
      <p:sp>
        <p:nvSpPr>
          <p:cNvPr id="594" name="Text Placeholder 1">
            <a:extLst>
              <a:ext uri="{FF2B5EF4-FFF2-40B4-BE49-F238E27FC236}">
                <a16:creationId xmlns:a16="http://schemas.microsoft.com/office/drawing/2014/main" id="{A3B33012-246A-BD68-45C6-924B9D4A34A9}"/>
              </a:ext>
            </a:extLst>
          </p:cNvPr>
          <p:cNvSpPr>
            <a:spLocks noGrp="1"/>
          </p:cNvSpPr>
          <p:nvPr>
            <p:custDataLst>
              <p:tags r:id="rId3"/>
            </p:custDataLst>
          </p:nvPr>
        </p:nvSpPr>
        <p:spPr bwMode="auto">
          <a:xfrm>
            <a:off x="1090613" y="4027488"/>
            <a:ext cx="304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E6861C8D-FCA9-442B-9850-686CC9A801CB}" type="datetime'''''''''''''''''''''''''''''''''''''''''2''02''''''''1'''''''">
              <a:rPr lang="en-GB" altLang="en-US" sz="1000" smtClean="0"/>
              <a:pPr marL="0" indent="0" algn="ctr">
                <a:spcBef>
                  <a:spcPct val="0"/>
                </a:spcBef>
                <a:spcAft>
                  <a:spcPct val="0"/>
                </a:spcAft>
                <a:buNone/>
              </a:pPr>
              <a:t>2021</a:t>
            </a:fld>
            <a:endParaRPr lang="en-GB" sz="1000">
              <a:sym typeface="+mn-lt"/>
            </a:endParaRPr>
          </a:p>
        </p:txBody>
      </p:sp>
      <p:sp>
        <p:nvSpPr>
          <p:cNvPr id="196" name="Text Placeholder 1">
            <a:extLst>
              <a:ext uri="{FF2B5EF4-FFF2-40B4-BE49-F238E27FC236}">
                <a16:creationId xmlns:a16="http://schemas.microsoft.com/office/drawing/2014/main" id="{814F8256-0AA8-45E1-89A4-5F191CB76AB1}"/>
              </a:ext>
            </a:extLst>
          </p:cNvPr>
          <p:cNvSpPr>
            <a:spLocks noGrp="1"/>
          </p:cNvSpPr>
          <p:nvPr>
            <p:custDataLst>
              <p:tags r:id="rId4"/>
            </p:custDataLst>
          </p:nvPr>
        </p:nvSpPr>
        <p:spPr bwMode="auto">
          <a:xfrm>
            <a:off x="1692275" y="4027488"/>
            <a:ext cx="304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412AC3DB-C21B-4277-B5FA-00381B0EDEA1}" type="datetime'''2''''''''''''''''''''''''''''''''''022'''''''''''''''''''''">
              <a:rPr lang="en-GB" altLang="en-US" sz="1000" smtClean="0"/>
              <a:pPr marL="0" indent="0" algn="ctr">
                <a:spcBef>
                  <a:spcPct val="0"/>
                </a:spcBef>
                <a:spcAft>
                  <a:spcPct val="0"/>
                </a:spcAft>
                <a:buNone/>
              </a:pPr>
              <a:t>2022</a:t>
            </a:fld>
            <a:endParaRPr lang="en-GB" sz="1000">
              <a:sym typeface="+mn-lt"/>
            </a:endParaRPr>
          </a:p>
        </p:txBody>
      </p:sp>
      <p:sp>
        <p:nvSpPr>
          <p:cNvPr id="197" name="Text Placeholder 1">
            <a:extLst>
              <a:ext uri="{FF2B5EF4-FFF2-40B4-BE49-F238E27FC236}">
                <a16:creationId xmlns:a16="http://schemas.microsoft.com/office/drawing/2014/main" id="{FBE43C00-9693-45E8-9705-7B3D6FA9C668}"/>
              </a:ext>
            </a:extLst>
          </p:cNvPr>
          <p:cNvSpPr>
            <a:spLocks noGrp="1"/>
          </p:cNvSpPr>
          <p:nvPr>
            <p:custDataLst>
              <p:tags r:id="rId5"/>
            </p:custDataLst>
          </p:nvPr>
        </p:nvSpPr>
        <p:spPr bwMode="auto">
          <a:xfrm>
            <a:off x="2293938" y="4027488"/>
            <a:ext cx="304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0F800BBD-2A58-4C10-802B-1C5E535B771B}" type="datetime'''''2''''''''''''0''''''''''''''''''''2''''''''''''3'''">
              <a:rPr lang="en-GB" altLang="en-US" sz="1000" smtClean="0"/>
              <a:pPr marL="0" indent="0" algn="ctr">
                <a:spcBef>
                  <a:spcPct val="0"/>
                </a:spcBef>
                <a:spcAft>
                  <a:spcPct val="0"/>
                </a:spcAft>
                <a:buNone/>
              </a:pPr>
              <a:t>2023</a:t>
            </a:fld>
            <a:endParaRPr lang="en-GB" sz="1000">
              <a:sym typeface="+mn-lt"/>
            </a:endParaRPr>
          </a:p>
        </p:txBody>
      </p:sp>
      <p:sp>
        <p:nvSpPr>
          <p:cNvPr id="198" name="Text Placeholder 1">
            <a:extLst>
              <a:ext uri="{FF2B5EF4-FFF2-40B4-BE49-F238E27FC236}">
                <a16:creationId xmlns:a16="http://schemas.microsoft.com/office/drawing/2014/main" id="{2B6A33F7-DB31-4074-B7DE-9DD125F99A5C}"/>
              </a:ext>
            </a:extLst>
          </p:cNvPr>
          <p:cNvSpPr>
            <a:spLocks noGrp="1"/>
          </p:cNvSpPr>
          <p:nvPr>
            <p:custDataLst>
              <p:tags r:id="rId6"/>
            </p:custDataLst>
          </p:nvPr>
        </p:nvSpPr>
        <p:spPr bwMode="auto">
          <a:xfrm>
            <a:off x="2895600" y="4027488"/>
            <a:ext cx="304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3221A283-AFFB-44FD-8539-D44D0965B519}" type="datetime'2''''''0''''''''''2''''''''''''''''''''''''''''''''''''''4'">
              <a:rPr lang="en-GB" altLang="en-US" sz="1000" smtClean="0"/>
              <a:pPr marL="0" indent="0" algn="ctr">
                <a:spcBef>
                  <a:spcPct val="0"/>
                </a:spcBef>
                <a:spcAft>
                  <a:spcPct val="0"/>
                </a:spcAft>
                <a:buNone/>
              </a:pPr>
              <a:t>2024</a:t>
            </a:fld>
            <a:endParaRPr lang="en-GB" sz="1000">
              <a:sym typeface="+mn-lt"/>
            </a:endParaRPr>
          </a:p>
        </p:txBody>
      </p:sp>
      <p:sp>
        <p:nvSpPr>
          <p:cNvPr id="232" name="Text Placeholder 1">
            <a:extLst>
              <a:ext uri="{FF2B5EF4-FFF2-40B4-BE49-F238E27FC236}">
                <a16:creationId xmlns:a16="http://schemas.microsoft.com/office/drawing/2014/main" id="{F4F607D7-DCFD-4268-8905-98903DC0168A}"/>
              </a:ext>
            </a:extLst>
          </p:cNvPr>
          <p:cNvSpPr>
            <a:spLocks noGrp="1"/>
          </p:cNvSpPr>
          <p:nvPr>
            <p:custDataLst>
              <p:tags r:id="rId7"/>
            </p:custDataLst>
          </p:nvPr>
        </p:nvSpPr>
        <p:spPr bwMode="auto">
          <a:xfrm>
            <a:off x="3497263" y="4027488"/>
            <a:ext cx="304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9E626649-EADE-4E2A-86BC-B535EE86B5BA}" type="datetime'''''''2''''''''''0''''''''''''''''2''''''''''''''''''''5'''">
              <a:rPr lang="en-GB" altLang="en-US" sz="1000" smtClean="0"/>
              <a:pPr marL="0" indent="0" algn="ctr">
                <a:spcBef>
                  <a:spcPct val="0"/>
                </a:spcBef>
                <a:spcAft>
                  <a:spcPct val="0"/>
                </a:spcAft>
                <a:buNone/>
              </a:pPr>
              <a:t>2025</a:t>
            </a:fld>
            <a:endParaRPr lang="en-GB" sz="1000">
              <a:sym typeface="+mn-lt"/>
            </a:endParaRPr>
          </a:p>
        </p:txBody>
      </p:sp>
      <p:sp>
        <p:nvSpPr>
          <p:cNvPr id="154" name="Text Placeholder 1">
            <a:extLst>
              <a:ext uri="{FF2B5EF4-FFF2-40B4-BE49-F238E27FC236}">
                <a16:creationId xmlns:a16="http://schemas.microsoft.com/office/drawing/2014/main" id="{E3F102E3-997A-CEA2-B926-F11A3C85E016}"/>
              </a:ext>
            </a:extLst>
          </p:cNvPr>
          <p:cNvSpPr>
            <a:spLocks noGrp="1"/>
          </p:cNvSpPr>
          <p:nvPr>
            <p:custDataLst>
              <p:tags r:id="rId8"/>
            </p:custDataLst>
          </p:nvPr>
        </p:nvSpPr>
        <p:spPr bwMode="auto">
          <a:xfrm>
            <a:off x="4098925" y="4027488"/>
            <a:ext cx="304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CC550A85-D6FF-429E-8ADA-A8B7A21DAFE1}" type="datetime'''''''2''''0''''''''''''''''''''''''26'''''''''">
              <a:rPr lang="en-GB" altLang="en-US" sz="1000" smtClean="0"/>
              <a:pPr marL="0" indent="0" algn="ctr">
                <a:spcBef>
                  <a:spcPct val="0"/>
                </a:spcBef>
                <a:spcAft>
                  <a:spcPct val="0"/>
                </a:spcAft>
                <a:buNone/>
              </a:pPr>
              <a:t>2026</a:t>
            </a:fld>
            <a:endParaRPr lang="en-GB" sz="1000">
              <a:sym typeface="+mn-lt"/>
            </a:endParaRPr>
          </a:p>
        </p:txBody>
      </p:sp>
      <p:sp>
        <p:nvSpPr>
          <p:cNvPr id="5" name="Text Placeholder 1">
            <a:extLst>
              <a:ext uri="{FF2B5EF4-FFF2-40B4-BE49-F238E27FC236}">
                <a16:creationId xmlns:a16="http://schemas.microsoft.com/office/drawing/2014/main" id="{480DC358-A15F-3B03-183D-FDB67E06B33B}"/>
              </a:ext>
            </a:extLst>
          </p:cNvPr>
          <p:cNvSpPr>
            <a:spLocks noGrp="1"/>
          </p:cNvSpPr>
          <p:nvPr>
            <p:custDataLst>
              <p:tags r:id="rId9"/>
            </p:custDataLst>
          </p:nvPr>
        </p:nvSpPr>
        <p:spPr bwMode="auto">
          <a:xfrm>
            <a:off x="4700588" y="4027488"/>
            <a:ext cx="304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29CC14F3-8933-4B96-9568-8457FD148B51}" type="datetime'''''''''''''''''''20''''''2''''7'''''''">
              <a:rPr lang="en-GB" altLang="en-US" sz="1000" smtClean="0"/>
              <a:pPr marL="0" indent="0" algn="ctr">
                <a:spcBef>
                  <a:spcPct val="0"/>
                </a:spcBef>
                <a:spcAft>
                  <a:spcPct val="0"/>
                </a:spcAft>
                <a:buNone/>
              </a:pPr>
              <a:t>2027</a:t>
            </a:fld>
            <a:endParaRPr lang="en-GB" sz="1000">
              <a:sym typeface="+mn-lt"/>
            </a:endParaRPr>
          </a:p>
        </p:txBody>
      </p:sp>
      <p:sp>
        <p:nvSpPr>
          <p:cNvPr id="115" name="TextBox 114">
            <a:extLst>
              <a:ext uri="{FF2B5EF4-FFF2-40B4-BE49-F238E27FC236}">
                <a16:creationId xmlns:a16="http://schemas.microsoft.com/office/drawing/2014/main" id="{F9B14E22-4566-4171-B581-1F8C3907A061}"/>
              </a:ext>
            </a:extLst>
          </p:cNvPr>
          <p:cNvSpPr txBox="1"/>
          <p:nvPr/>
        </p:nvSpPr>
        <p:spPr>
          <a:xfrm>
            <a:off x="380275" y="4303248"/>
            <a:ext cx="5376000" cy="1892826"/>
          </a:xfrm>
          <a:prstGeom prst="rect">
            <a:avLst/>
          </a:prstGeom>
          <a:noFill/>
        </p:spPr>
        <p:txBody>
          <a:bodyPr wrap="square" lIns="0" tIns="0" rIns="0" bIns="0" rtlCol="0">
            <a:spAutoFit/>
          </a:bodyPr>
          <a:lstStyle/>
          <a:p>
            <a:pPr marL="182880" marR="0" lvl="0" indent="-182880" algn="l"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effectLst/>
                <a:uLnTx/>
                <a:uFillTx/>
                <a:latin typeface="Lato"/>
                <a:ea typeface="+mn-ea"/>
                <a:cs typeface="+mn-cs"/>
              </a:rPr>
              <a:t>Over </a:t>
            </a:r>
            <a:r>
              <a:rPr lang="en-GB" sz="1200">
                <a:solidFill>
                  <a:srgbClr val="7A7A7A"/>
                </a:solidFill>
                <a:highlight>
                  <a:srgbClr val="7A7A7A"/>
                </a:highlight>
                <a:latin typeface="Lato"/>
              </a:rPr>
              <a:t>XX</a:t>
            </a:r>
            <a:r>
              <a:rPr lang="en-GB" sz="1200">
                <a:latin typeface="Lato"/>
              </a:rPr>
              <a:t> </a:t>
            </a:r>
            <a:r>
              <a:rPr kumimoji="0" lang="en-GB" sz="1200" b="0" i="0" u="none" strike="noStrike" kern="1200" cap="none" spc="0" normalizeH="0" baseline="0" noProof="0">
                <a:ln>
                  <a:noFill/>
                </a:ln>
                <a:effectLst/>
                <a:uLnTx/>
                <a:uFillTx/>
                <a:latin typeface="Lato"/>
                <a:ea typeface="+mn-ea"/>
                <a:cs typeface="+mn-cs"/>
              </a:rPr>
              <a:t>GW of batteries have secured contracts in capacity markets (CM) in </a:t>
            </a:r>
            <a:r>
              <a:rPr lang="en-GB" sz="1200">
                <a:solidFill>
                  <a:srgbClr val="7A7A7A"/>
                </a:solidFill>
                <a:highlight>
                  <a:srgbClr val="7A7A7A"/>
                </a:highlight>
                <a:latin typeface="Lato"/>
              </a:rPr>
              <a:t>XX</a:t>
            </a:r>
            <a:r>
              <a:rPr kumimoji="0" lang="en-GB" sz="1200" b="0" i="0" u="none" strike="noStrike" kern="1200" cap="none" spc="0" normalizeH="0" baseline="0" noProof="0">
                <a:ln>
                  <a:noFill/>
                </a:ln>
                <a:effectLst/>
                <a:uLnTx/>
                <a:uFillTx/>
                <a:latin typeface="Lato"/>
                <a:ea typeface="+mn-ea"/>
                <a:cs typeface="+mn-cs"/>
              </a:rPr>
              <a:t> countries, of which </a:t>
            </a:r>
            <a:r>
              <a:rPr lang="en-GB" sz="1200">
                <a:solidFill>
                  <a:srgbClr val="7A7A7A"/>
                </a:solidFill>
                <a:highlight>
                  <a:srgbClr val="7A7A7A"/>
                </a:highlight>
                <a:latin typeface="Lato"/>
              </a:rPr>
              <a:t>XX</a:t>
            </a:r>
            <a:r>
              <a:rPr lang="en-GB" sz="1200">
                <a:latin typeface="Lato"/>
              </a:rPr>
              <a:t> </a:t>
            </a:r>
            <a:r>
              <a:rPr kumimoji="0" lang="en-GB" sz="1200" b="0" i="0" u="none" strike="noStrike" kern="1200" cap="none" spc="0" normalizeH="0" baseline="0" noProof="0">
                <a:ln>
                  <a:noFill/>
                </a:ln>
                <a:effectLst/>
                <a:uLnTx/>
                <a:uFillTx/>
                <a:latin typeface="Lato"/>
                <a:ea typeface="+mn-ea"/>
                <a:cs typeface="+mn-cs"/>
              </a:rPr>
              <a:t>GW are located in </a:t>
            </a:r>
            <a:r>
              <a:rPr lang="en-GB" sz="1200">
                <a:solidFill>
                  <a:srgbClr val="7A7A7A"/>
                </a:solidFill>
                <a:highlight>
                  <a:srgbClr val="7A7A7A"/>
                </a:highlight>
                <a:latin typeface="Lato"/>
              </a:rPr>
              <a:t>XX</a:t>
            </a:r>
            <a:r>
              <a:rPr kumimoji="0" lang="en-GB" sz="1200" b="0" i="0" u="none" strike="noStrike" kern="1200" cap="none" spc="0" normalizeH="0" baseline="0" noProof="0">
                <a:ln>
                  <a:noFill/>
                </a:ln>
                <a:effectLst/>
                <a:uLnTx/>
                <a:uFillTx/>
                <a:latin typeface="Lato"/>
                <a:ea typeface="+mn-ea"/>
                <a:cs typeface="+mn-cs"/>
              </a:rPr>
              <a:t>.</a:t>
            </a:r>
          </a:p>
          <a:p>
            <a:pPr marL="182880" marR="0" lvl="0" indent="-182880" algn="l"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200"/>
              <a:t>In </a:t>
            </a:r>
            <a:r>
              <a:rPr lang="en-GB" sz="1200">
                <a:solidFill>
                  <a:srgbClr val="7A7A7A"/>
                </a:solidFill>
                <a:highlight>
                  <a:srgbClr val="7A7A7A"/>
                </a:highlight>
                <a:latin typeface="Lato"/>
              </a:rPr>
              <a:t>XX</a:t>
            </a:r>
            <a:r>
              <a:rPr lang="en-GB" sz="1200"/>
              <a:t>, batteries dominated the </a:t>
            </a:r>
            <a:r>
              <a:rPr lang="en-GB" sz="1200">
                <a:solidFill>
                  <a:srgbClr val="7A7A7A"/>
                </a:solidFill>
                <a:highlight>
                  <a:srgbClr val="7A7A7A"/>
                </a:highlight>
                <a:latin typeface="Lato"/>
              </a:rPr>
              <a:t>XX </a:t>
            </a:r>
            <a:r>
              <a:rPr lang="en-GB" sz="1200"/>
              <a:t>auction, with over </a:t>
            </a:r>
            <a:r>
              <a:rPr lang="en-GB" sz="1200">
                <a:solidFill>
                  <a:srgbClr val="7A7A7A"/>
                </a:solidFill>
                <a:highlight>
                  <a:srgbClr val="7A7A7A"/>
                </a:highlight>
                <a:latin typeface="Lato"/>
              </a:rPr>
              <a:t>XX</a:t>
            </a:r>
            <a:r>
              <a:rPr lang="en-GB" sz="1200"/>
              <a:t> GW of batteries securing CM contracts, of which </a:t>
            </a:r>
            <a:r>
              <a:rPr lang="en-GB" sz="1200">
                <a:solidFill>
                  <a:srgbClr val="7A7A7A"/>
                </a:solidFill>
                <a:highlight>
                  <a:srgbClr val="7A7A7A"/>
                </a:highlight>
                <a:latin typeface="Lato"/>
              </a:rPr>
              <a:t>XX</a:t>
            </a:r>
            <a:r>
              <a:rPr lang="en-GB" sz="1200"/>
              <a:t> hr batteries comprise </a:t>
            </a:r>
            <a:r>
              <a:rPr lang="en-GB" sz="1200">
                <a:solidFill>
                  <a:srgbClr val="7A7A7A"/>
                </a:solidFill>
                <a:highlight>
                  <a:srgbClr val="7A7A7A"/>
                </a:highlight>
                <a:latin typeface="Lato"/>
              </a:rPr>
              <a:t>XX </a:t>
            </a:r>
            <a:r>
              <a:rPr lang="en-GB" sz="1200"/>
              <a:t>MW of nameplate capacity.</a:t>
            </a:r>
          </a:p>
          <a:p>
            <a:pPr marL="182880" marR="0" lvl="0" indent="-182880" algn="l"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200"/>
              <a:t>Auctions are generally held annually, with delivery for new build assets typically 4 years after the conclusion of the auction.</a:t>
            </a:r>
          </a:p>
          <a:p>
            <a:pPr marL="182880" marR="0" lvl="0" indent="-182880" algn="l"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200"/>
              <a:t>In </a:t>
            </a:r>
            <a:r>
              <a:rPr lang="en-GB" sz="1200">
                <a:solidFill>
                  <a:srgbClr val="7A7A7A"/>
                </a:solidFill>
                <a:highlight>
                  <a:srgbClr val="7A7A7A"/>
                </a:highlight>
                <a:latin typeface="Lato"/>
              </a:rPr>
              <a:t>XX</a:t>
            </a:r>
            <a:r>
              <a:rPr lang="en-GB" sz="1200"/>
              <a:t>, the </a:t>
            </a:r>
            <a:r>
              <a:rPr lang="en-GB" sz="1200">
                <a:solidFill>
                  <a:srgbClr val="7A7A7A"/>
                </a:solidFill>
                <a:highlight>
                  <a:srgbClr val="7A7A7A"/>
                </a:highlight>
                <a:latin typeface="Lato"/>
              </a:rPr>
              <a:t>XX</a:t>
            </a:r>
            <a:r>
              <a:rPr lang="en-GB" sz="1200"/>
              <a:t> auction for delivery in </a:t>
            </a:r>
            <a:r>
              <a:rPr lang="en-GB" sz="1200">
                <a:solidFill>
                  <a:srgbClr val="7A7A7A"/>
                </a:solidFill>
                <a:highlight>
                  <a:srgbClr val="7A7A7A"/>
                </a:highlight>
                <a:latin typeface="Lato"/>
              </a:rPr>
              <a:t>XX</a:t>
            </a:r>
            <a:r>
              <a:rPr lang="en-GB" sz="1200"/>
              <a:t> awarded over </a:t>
            </a:r>
            <a:r>
              <a:rPr lang="en-GB" sz="1200">
                <a:solidFill>
                  <a:srgbClr val="7A7A7A"/>
                </a:solidFill>
                <a:highlight>
                  <a:srgbClr val="7A7A7A"/>
                </a:highlight>
                <a:latin typeface="Lato"/>
              </a:rPr>
              <a:t>XX</a:t>
            </a:r>
            <a:r>
              <a:rPr lang="en-GB" sz="1200"/>
              <a:t> GW capacity to new battery assets.</a:t>
            </a:r>
          </a:p>
        </p:txBody>
      </p:sp>
      <p:sp>
        <p:nvSpPr>
          <p:cNvPr id="773" name="TextBox 772">
            <a:extLst>
              <a:ext uri="{FF2B5EF4-FFF2-40B4-BE49-F238E27FC236}">
                <a16:creationId xmlns:a16="http://schemas.microsoft.com/office/drawing/2014/main" id="{B4E9651D-AA9A-6F45-629E-D40910E8FDA9}"/>
              </a:ext>
            </a:extLst>
          </p:cNvPr>
          <p:cNvSpPr txBox="1"/>
          <p:nvPr/>
        </p:nvSpPr>
        <p:spPr>
          <a:xfrm>
            <a:off x="1333078" y="1707415"/>
            <a:ext cx="1265659" cy="299295"/>
          </a:xfrm>
          <a:prstGeom prst="rect">
            <a:avLst/>
          </a:prstGeom>
          <a:solidFill>
            <a:schemeClr val="bg1"/>
          </a:solidFill>
          <a:ln>
            <a:solidFill>
              <a:schemeClr val="tx1"/>
            </a:solidFill>
          </a:ln>
        </p:spPr>
        <p:txBody>
          <a:bodyPr wrap="square" lIns="72000" tIns="72000" rIns="72000" bIns="72000" rtlCol="0">
            <a:spAutoFit/>
          </a:bodyPr>
          <a:lstStyle/>
          <a:p>
            <a:pPr>
              <a:spcBef>
                <a:spcPts val="600"/>
              </a:spcBef>
            </a:pPr>
            <a:endParaRPr lang="en-GB" sz="1000"/>
          </a:p>
        </p:txBody>
      </p:sp>
      <p:cxnSp>
        <p:nvCxnSpPr>
          <p:cNvPr id="774" name="Straight Connector 773">
            <a:extLst>
              <a:ext uri="{FF2B5EF4-FFF2-40B4-BE49-F238E27FC236}">
                <a16:creationId xmlns:a16="http://schemas.microsoft.com/office/drawing/2014/main" id="{E89B9892-A75B-F78B-F623-09095D6334AF}"/>
              </a:ext>
            </a:extLst>
          </p:cNvPr>
          <p:cNvCxnSpPr>
            <a:cxnSpLocks/>
            <a:stCxn id="773" idx="3"/>
          </p:cNvCxnSpPr>
          <p:nvPr/>
        </p:nvCxnSpPr>
        <p:spPr>
          <a:xfrm>
            <a:off x="2598737" y="1857063"/>
            <a:ext cx="450058" cy="492437"/>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78" name="Text Placeholder 268">
            <a:extLst>
              <a:ext uri="{FF2B5EF4-FFF2-40B4-BE49-F238E27FC236}">
                <a16:creationId xmlns:a16="http://schemas.microsoft.com/office/drawing/2014/main" id="{26C742CF-E424-B20E-094C-EE53BC1A3E5C}"/>
              </a:ext>
            </a:extLst>
          </p:cNvPr>
          <p:cNvSpPr txBox="1">
            <a:spLocks/>
          </p:cNvSpPr>
          <p:nvPr/>
        </p:nvSpPr>
        <p:spPr>
          <a:xfrm>
            <a:off x="6419755" y="1275254"/>
            <a:ext cx="5588080" cy="369332"/>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latin typeface="Lato"/>
              </a:rPr>
              <a:t>Cleared and de-rated Capacity Market prices by battery duration in latest auction</a:t>
            </a:r>
            <a:endParaRPr lang="en-GB" baseline="30000">
              <a:latin typeface="Lato"/>
            </a:endParaRPr>
          </a:p>
          <a:p>
            <a:r>
              <a:rPr lang="en-GB" b="0">
                <a:solidFill>
                  <a:schemeClr val="accent5"/>
                </a:solidFill>
                <a:latin typeface="Lato"/>
              </a:rPr>
              <a:t>€/</a:t>
            </a:r>
            <a:r>
              <a:rPr lang="en-US" altLang="zh-CN" b="0">
                <a:solidFill>
                  <a:schemeClr val="accent5"/>
                </a:solidFill>
                <a:latin typeface="Lato"/>
              </a:rPr>
              <a:t>k</a:t>
            </a:r>
            <a:r>
              <a:rPr lang="en-GB" b="0">
                <a:solidFill>
                  <a:schemeClr val="accent5"/>
                </a:solidFill>
                <a:latin typeface="Lato"/>
              </a:rPr>
              <a:t>W (real 2022)</a:t>
            </a:r>
            <a:endParaRPr lang="en-GB" b="0">
              <a:solidFill>
                <a:schemeClr val="accent5"/>
              </a:solidFill>
              <a:highlight>
                <a:srgbClr val="FFFF00"/>
              </a:highlight>
              <a:latin typeface="Lato"/>
            </a:endParaRPr>
          </a:p>
        </p:txBody>
      </p:sp>
      <p:graphicFrame>
        <p:nvGraphicFramePr>
          <p:cNvPr id="38" name="Chart 37">
            <a:extLst>
              <a:ext uri="{FF2B5EF4-FFF2-40B4-BE49-F238E27FC236}">
                <a16:creationId xmlns:a16="http://schemas.microsoft.com/office/drawing/2014/main" id="{1A934ECA-1512-C3EE-CB93-54B2861546D0}"/>
              </a:ext>
            </a:extLst>
          </p:cNvPr>
          <p:cNvGraphicFramePr/>
          <p:nvPr>
            <p:custDataLst>
              <p:tags r:id="rId10"/>
            </p:custDataLst>
            <p:extLst>
              <p:ext uri="{D42A27DB-BD31-4B8C-83A1-F6EECF244321}">
                <p14:modId xmlns:p14="http://schemas.microsoft.com/office/powerpoint/2010/main" val="2529520124"/>
              </p:ext>
            </p:extLst>
          </p:nvPr>
        </p:nvGraphicFramePr>
        <p:xfrm>
          <a:off x="6792913" y="1631950"/>
          <a:ext cx="5003800" cy="2435225"/>
        </p:xfrm>
        <a:graphic>
          <a:graphicData uri="http://schemas.openxmlformats.org/drawingml/2006/chart">
            <c:chart xmlns:c="http://schemas.openxmlformats.org/drawingml/2006/chart" xmlns:r="http://schemas.openxmlformats.org/officeDocument/2006/relationships" r:id="rId24"/>
          </a:graphicData>
        </a:graphic>
      </p:graphicFrame>
      <p:sp>
        <p:nvSpPr>
          <p:cNvPr id="118" name="TextBox 117">
            <a:extLst>
              <a:ext uri="{FF2B5EF4-FFF2-40B4-BE49-F238E27FC236}">
                <a16:creationId xmlns:a16="http://schemas.microsoft.com/office/drawing/2014/main" id="{1609202F-5C77-8F76-5835-F6BDA6BCF65C}"/>
              </a:ext>
            </a:extLst>
          </p:cNvPr>
          <p:cNvSpPr txBox="1"/>
          <p:nvPr/>
        </p:nvSpPr>
        <p:spPr>
          <a:xfrm>
            <a:off x="6438899" y="4303248"/>
            <a:ext cx="5368925" cy="1708160"/>
          </a:xfrm>
          <a:prstGeom prst="rect">
            <a:avLst/>
          </a:prstGeom>
          <a:noFill/>
        </p:spPr>
        <p:txBody>
          <a:bodyPr wrap="square" lIns="0" tIns="0" rIns="0" bIns="0" rtlCol="0">
            <a:spAutoFit/>
          </a:bodyPr>
          <a:lstStyle/>
          <a:p>
            <a:pPr marL="182880" marR="0" lvl="0" indent="-182880" algn="l"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200">
                <a:latin typeface="Lato"/>
              </a:rPr>
              <a:t>De-rating factors decrease the remuneration accessible to batteries in alignment with their role in ensuring security of supply, thereby restricting their earnings.</a:t>
            </a:r>
            <a:endParaRPr lang="en-GB" sz="1200">
              <a:highlight>
                <a:srgbClr val="FFFF00"/>
              </a:highlight>
              <a:latin typeface="Lato"/>
            </a:endParaRPr>
          </a:p>
          <a:p>
            <a:pPr marL="182880" marR="0" lvl="0" indent="-182880" algn="l"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200">
                <a:solidFill>
                  <a:srgbClr val="7A7A7A"/>
                </a:solidFill>
                <a:highlight>
                  <a:srgbClr val="7A7A7A"/>
                </a:highlight>
                <a:latin typeface="Lato"/>
              </a:rPr>
              <a:t>XX</a:t>
            </a:r>
            <a:r>
              <a:rPr lang="en-GB" sz="1200"/>
              <a:t> Capacity Market requires </a:t>
            </a:r>
            <a:r>
              <a:rPr lang="en-GB" sz="1200">
                <a:solidFill>
                  <a:srgbClr val="7A7A7A"/>
                </a:solidFill>
                <a:highlight>
                  <a:srgbClr val="7A7A7A"/>
                </a:highlight>
                <a:latin typeface="Lato"/>
              </a:rPr>
              <a:t>XX</a:t>
            </a:r>
            <a:r>
              <a:rPr lang="en-GB" sz="1200"/>
              <a:t> hours of continuous generation, so batteries with duration under </a:t>
            </a:r>
            <a:r>
              <a:rPr lang="en-GB" sz="1200">
                <a:solidFill>
                  <a:srgbClr val="7A7A7A"/>
                </a:solidFill>
                <a:highlight>
                  <a:srgbClr val="7A7A7A"/>
                </a:highlight>
                <a:latin typeface="Lato"/>
              </a:rPr>
              <a:t>XX</a:t>
            </a:r>
            <a:r>
              <a:rPr lang="en-GB" sz="1200"/>
              <a:t> hours must compete with reduced capacity (</a:t>
            </a:r>
            <a:r>
              <a:rPr lang="en-GB" sz="1200">
                <a:solidFill>
                  <a:srgbClr val="7A7A7A"/>
                </a:solidFill>
                <a:highlight>
                  <a:srgbClr val="7A7A7A"/>
                </a:highlight>
                <a:latin typeface="Lato"/>
              </a:rPr>
              <a:t>XX</a:t>
            </a:r>
            <a:r>
              <a:rPr lang="en-GB" sz="1200"/>
              <a:t>). </a:t>
            </a:r>
          </a:p>
          <a:p>
            <a:pPr marL="182880" marR="0" lvl="0" indent="-182880" algn="l"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200"/>
              <a:t>Due to its </a:t>
            </a:r>
            <a:r>
              <a:rPr lang="en-GB" sz="1200">
                <a:solidFill>
                  <a:srgbClr val="7A7A7A"/>
                </a:solidFill>
                <a:highlight>
                  <a:srgbClr val="7A7A7A"/>
                </a:highlight>
                <a:latin typeface="Lato"/>
              </a:rPr>
              <a:t>XX</a:t>
            </a:r>
            <a:r>
              <a:rPr lang="en-GB" sz="1200"/>
              <a:t> system, CM prices awarded to batteries in </a:t>
            </a:r>
            <a:r>
              <a:rPr lang="en-GB" sz="1200">
                <a:solidFill>
                  <a:srgbClr val="7A7A7A"/>
                </a:solidFill>
                <a:highlight>
                  <a:srgbClr val="7A7A7A"/>
                </a:highlight>
                <a:latin typeface="Lato"/>
              </a:rPr>
              <a:t>XX</a:t>
            </a:r>
            <a:r>
              <a:rPr lang="en-GB" sz="1200"/>
              <a:t> are not known</a:t>
            </a:r>
          </a:p>
          <a:p>
            <a:pPr marL="182880" marR="0" lvl="0" indent="-182880" algn="l"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effectLst/>
                <a:uLnTx/>
                <a:uFillTx/>
                <a:latin typeface="Lato"/>
                <a:ea typeface="+mn-ea"/>
                <a:cs typeface="+mn-cs"/>
              </a:rPr>
              <a:t>Capacity market revenues generally only make a relatively small contribution to battery business cases</a:t>
            </a:r>
            <a:endParaRPr kumimoji="0" lang="en-GB" sz="1200" b="0" i="0" u="none" strike="noStrike" kern="1200" cap="none" spc="0" normalizeH="0" baseline="0" noProof="0">
              <a:ln>
                <a:noFill/>
              </a:ln>
              <a:effectLst/>
              <a:highlight>
                <a:srgbClr val="FFFF00"/>
              </a:highlight>
              <a:uLnTx/>
              <a:uFillTx/>
              <a:latin typeface="Lato"/>
              <a:ea typeface="+mn-ea"/>
              <a:cs typeface="+mn-cs"/>
            </a:endParaRPr>
          </a:p>
        </p:txBody>
      </p:sp>
      <p:sp>
        <p:nvSpPr>
          <p:cNvPr id="119" name="Rectangle 118">
            <a:extLst>
              <a:ext uri="{FF2B5EF4-FFF2-40B4-BE49-F238E27FC236}">
                <a16:creationId xmlns:a16="http://schemas.microsoft.com/office/drawing/2014/main" id="{8CD44595-6C57-9689-0B55-32E13BCF1059}"/>
              </a:ext>
            </a:extLst>
          </p:cNvPr>
          <p:cNvSpPr/>
          <p:nvPr>
            <p:custDataLst>
              <p:tags r:id="rId11"/>
            </p:custDataLst>
          </p:nvPr>
        </p:nvSpPr>
        <p:spPr bwMode="auto">
          <a:xfrm>
            <a:off x="10691813" y="3176588"/>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6" name="Rectangle 45">
            <a:extLst>
              <a:ext uri="{FF2B5EF4-FFF2-40B4-BE49-F238E27FC236}">
                <a16:creationId xmlns:a16="http://schemas.microsoft.com/office/drawing/2014/main" id="{F2CD1F17-8B6E-596A-7149-A4B89FC56B6A}"/>
              </a:ext>
            </a:extLst>
          </p:cNvPr>
          <p:cNvSpPr/>
          <p:nvPr>
            <p:custDataLst>
              <p:tags r:id="rId12"/>
            </p:custDataLst>
          </p:nvPr>
        </p:nvSpPr>
        <p:spPr bwMode="auto">
          <a:xfrm>
            <a:off x="10691813" y="3379788"/>
            <a:ext cx="179388" cy="133350"/>
          </a:xfrm>
          <a:prstGeom prst="rect">
            <a:avLst/>
          </a:prstGeom>
          <a:solidFill>
            <a:srgbClr val="DF53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7" name="Rectangle 46">
            <a:extLst>
              <a:ext uri="{FF2B5EF4-FFF2-40B4-BE49-F238E27FC236}">
                <a16:creationId xmlns:a16="http://schemas.microsoft.com/office/drawing/2014/main" id="{9D780410-C666-1CFB-0668-74ACDC31FDDA}"/>
              </a:ext>
            </a:extLst>
          </p:cNvPr>
          <p:cNvSpPr/>
          <p:nvPr>
            <p:custDataLst>
              <p:tags r:id="rId13"/>
            </p:custDataLst>
          </p:nvPr>
        </p:nvSpPr>
        <p:spPr bwMode="auto">
          <a:xfrm>
            <a:off x="10691813" y="3582988"/>
            <a:ext cx="179388" cy="133350"/>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8" name="Rectangle 47">
            <a:extLst>
              <a:ext uri="{FF2B5EF4-FFF2-40B4-BE49-F238E27FC236}">
                <a16:creationId xmlns:a16="http://schemas.microsoft.com/office/drawing/2014/main" id="{3B5EBC95-61FD-4236-4174-5089E94CCD5E}"/>
              </a:ext>
            </a:extLst>
          </p:cNvPr>
          <p:cNvSpPr/>
          <p:nvPr>
            <p:custDataLst>
              <p:tags r:id="rId14"/>
            </p:custDataLst>
          </p:nvPr>
        </p:nvSpPr>
        <p:spPr bwMode="auto">
          <a:xfrm>
            <a:off x="10691813" y="3786188"/>
            <a:ext cx="179388" cy="13335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23" name="Text Placeholder 19">
            <a:extLst>
              <a:ext uri="{FF2B5EF4-FFF2-40B4-BE49-F238E27FC236}">
                <a16:creationId xmlns:a16="http://schemas.microsoft.com/office/drawing/2014/main" id="{F2FC3E06-E85E-084C-5CC4-C03A030D4168}"/>
              </a:ext>
            </a:extLst>
          </p:cNvPr>
          <p:cNvSpPr>
            <a:spLocks noGrp="1"/>
          </p:cNvSpPr>
          <p:nvPr>
            <p:custDataLst>
              <p:tags r:id="rId15"/>
            </p:custDataLst>
          </p:nvPr>
        </p:nvSpPr>
        <p:spPr bwMode="auto">
          <a:xfrm>
            <a:off x="10922000" y="317182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0FC4CF13-BAC0-4026-ACF2-CA5EF4EF4067}" type="datetime'''''''''''''1'''' h''''''''''r'''''''''''''''''''''''''">
              <a:rPr lang="en-GB" altLang="en-US" sz="1000" smtClean="0">
                <a:ea typeface="+mn-ea"/>
                <a:cs typeface="+mn-cs"/>
              </a:rPr>
              <a:pPr>
                <a:spcBef>
                  <a:spcPct val="0"/>
                </a:spcBef>
                <a:spcAft>
                  <a:spcPct val="0"/>
                </a:spcAft>
              </a:pPr>
              <a:t>1 hr</a:t>
            </a:fld>
            <a:endParaRPr lang="en-GB" sz="1000">
              <a:ea typeface="+mn-ea"/>
              <a:cs typeface="+mn-cs"/>
            </a:endParaRPr>
          </a:p>
        </p:txBody>
      </p:sp>
      <p:sp>
        <p:nvSpPr>
          <p:cNvPr id="217" name="Text Placeholder 19">
            <a:extLst>
              <a:ext uri="{FF2B5EF4-FFF2-40B4-BE49-F238E27FC236}">
                <a16:creationId xmlns:a16="http://schemas.microsoft.com/office/drawing/2014/main" id="{E6D6BEB0-7FE1-0D92-E4A3-A4D39E49CF4D}"/>
              </a:ext>
            </a:extLst>
          </p:cNvPr>
          <p:cNvSpPr>
            <a:spLocks noGrp="1"/>
          </p:cNvSpPr>
          <p:nvPr>
            <p:custDataLst>
              <p:tags r:id="rId16"/>
            </p:custDataLst>
          </p:nvPr>
        </p:nvSpPr>
        <p:spPr bwMode="auto">
          <a:xfrm>
            <a:off x="10922000" y="337502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012744FA-CA11-4097-9F4E-08B3306AC8E9}" type="datetime'''''''''''''''''''''''''''''2'''''''''' ''''''''''hr''s'">
              <a:rPr lang="en-GB" altLang="en-US" sz="1000" smtClean="0">
                <a:ea typeface="+mn-ea"/>
                <a:cs typeface="+mn-cs"/>
              </a:rPr>
              <a:pPr>
                <a:spcBef>
                  <a:spcPct val="0"/>
                </a:spcBef>
                <a:spcAft>
                  <a:spcPct val="0"/>
                </a:spcAft>
              </a:pPr>
              <a:t>2 hrs</a:t>
            </a:fld>
            <a:endParaRPr lang="en-GB" sz="1000">
              <a:ea typeface="+mn-ea"/>
              <a:cs typeface="+mn-cs"/>
            </a:endParaRPr>
          </a:p>
        </p:txBody>
      </p:sp>
      <p:sp>
        <p:nvSpPr>
          <p:cNvPr id="218" name="Text Placeholder 19">
            <a:extLst>
              <a:ext uri="{FF2B5EF4-FFF2-40B4-BE49-F238E27FC236}">
                <a16:creationId xmlns:a16="http://schemas.microsoft.com/office/drawing/2014/main" id="{2BFE8665-850A-CBA8-38A0-415AF24349C9}"/>
              </a:ext>
            </a:extLst>
          </p:cNvPr>
          <p:cNvSpPr>
            <a:spLocks noGrp="1"/>
          </p:cNvSpPr>
          <p:nvPr>
            <p:custDataLst>
              <p:tags r:id="rId17"/>
            </p:custDataLst>
          </p:nvPr>
        </p:nvSpPr>
        <p:spPr bwMode="auto">
          <a:xfrm>
            <a:off x="10922000" y="357822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40069E49-8865-46DD-835B-C8EC85737E80}" type="datetime'''''''4'''''''' ''''''h''''r''''''''''''''''''s'''''''">
              <a:rPr lang="en-GB" altLang="en-US" sz="1000" smtClean="0">
                <a:ea typeface="+mn-ea"/>
                <a:cs typeface="+mn-cs"/>
              </a:rPr>
              <a:pPr>
                <a:spcBef>
                  <a:spcPct val="0"/>
                </a:spcBef>
                <a:spcAft>
                  <a:spcPct val="0"/>
                </a:spcAft>
              </a:pPr>
              <a:t>4 hrs</a:t>
            </a:fld>
            <a:endParaRPr lang="en-GB" sz="1000">
              <a:ea typeface="+mn-ea"/>
              <a:cs typeface="+mn-cs"/>
            </a:endParaRPr>
          </a:p>
        </p:txBody>
      </p:sp>
      <p:sp>
        <p:nvSpPr>
          <p:cNvPr id="219" name="Text Placeholder 19">
            <a:extLst>
              <a:ext uri="{FF2B5EF4-FFF2-40B4-BE49-F238E27FC236}">
                <a16:creationId xmlns:a16="http://schemas.microsoft.com/office/drawing/2014/main" id="{78EB4FFC-F75F-C166-B383-A0572CD0745D}"/>
              </a:ext>
            </a:extLst>
          </p:cNvPr>
          <p:cNvSpPr>
            <a:spLocks noGrp="1"/>
          </p:cNvSpPr>
          <p:nvPr>
            <p:custDataLst>
              <p:tags r:id="rId18"/>
            </p:custDataLst>
          </p:nvPr>
        </p:nvSpPr>
        <p:spPr bwMode="auto">
          <a:xfrm>
            <a:off x="10922000" y="3781425"/>
            <a:ext cx="741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9E6E3F52-482D-4166-86A0-CBCB591248A2}" type="datetime'''C''''''l''e''''''a''''''''''''''re''d ''p''''''ri''''''ce'''">
              <a:rPr lang="en-GB" altLang="en-US" sz="1000" smtClean="0">
                <a:ea typeface="+mn-ea"/>
                <a:cs typeface="+mn-cs"/>
              </a:rPr>
              <a:pPr>
                <a:spcBef>
                  <a:spcPct val="0"/>
                </a:spcBef>
                <a:spcAft>
                  <a:spcPct val="0"/>
                </a:spcAft>
              </a:pPr>
              <a:t>Cleared price</a:t>
            </a:fld>
            <a:endParaRPr lang="en-GB" sz="1000">
              <a:ea typeface="+mn-ea"/>
              <a:cs typeface="+mn-cs"/>
            </a:endParaRPr>
          </a:p>
        </p:txBody>
      </p:sp>
      <p:sp>
        <p:nvSpPr>
          <p:cNvPr id="69" name="Oval 6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70" name="Oval 69">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a:t>
            </a:r>
          </a:p>
        </p:txBody>
      </p:sp>
      <p:sp>
        <p:nvSpPr>
          <p:cNvPr id="4" name="Rectangle 3">
            <a:extLst>
              <a:ext uri="{FF2B5EF4-FFF2-40B4-BE49-F238E27FC236}">
                <a16:creationId xmlns:a16="http://schemas.microsoft.com/office/drawing/2014/main" id="{CA47145E-7628-EA0C-99D0-05E4836C11EC}"/>
              </a:ext>
            </a:extLst>
          </p:cNvPr>
          <p:cNvSpPr/>
          <p:nvPr/>
        </p:nvSpPr>
        <p:spPr>
          <a:xfrm>
            <a:off x="674703" y="1644586"/>
            <a:ext cx="4562460" cy="2334200"/>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107241352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B220294-D27D-CEF8-A7EB-D0E25C8D9118}"/>
              </a:ext>
            </a:extLst>
          </p:cNvPr>
          <p:cNvGraphicFramePr>
            <a:graphicFrameLocks noChangeAspect="1"/>
          </p:cNvGraphicFramePr>
          <p:nvPr>
            <p:custDataLst>
              <p:tags r:id="rId1"/>
            </p:custDataLst>
            <p:extLst>
              <p:ext uri="{D42A27DB-BD31-4B8C-83A1-F6EECF244321}">
                <p14:modId xmlns:p14="http://schemas.microsoft.com/office/powerpoint/2010/main" val="111220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10" name="Object 9" hidden="1">
                        <a:extLst>
                          <a:ext uri="{FF2B5EF4-FFF2-40B4-BE49-F238E27FC236}">
                            <a16:creationId xmlns:a16="http://schemas.microsoft.com/office/drawing/2014/main" id="{7B220294-D27D-CEF8-A7EB-D0E25C8D9118}"/>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BA37E9C3-C825-39E1-830E-8C26AEEF93D6}"/>
              </a:ext>
            </a:extLst>
          </p:cNvPr>
          <p:cNvSpPr>
            <a:spLocks noGrp="1"/>
          </p:cNvSpPr>
          <p:nvPr>
            <p:ph type="body" sz="quarter" idx="32"/>
          </p:nvPr>
        </p:nvSpPr>
        <p:spPr>
          <a:xfrm>
            <a:off x="381600" y="6474841"/>
            <a:ext cx="11428800" cy="110800"/>
          </a:xfrm>
        </p:spPr>
        <p:txBody>
          <a:bodyPr/>
          <a:lstStyle/>
          <a:p>
            <a:r>
              <a:rPr lang="en-GB"/>
              <a:t>Source: Aurora Energy Research</a:t>
            </a:r>
          </a:p>
        </p:txBody>
      </p:sp>
      <p:sp>
        <p:nvSpPr>
          <p:cNvPr id="3" name="Title 2">
            <a:extLst>
              <a:ext uri="{FF2B5EF4-FFF2-40B4-BE49-F238E27FC236}">
                <a16:creationId xmlns:a16="http://schemas.microsoft.com/office/drawing/2014/main" id="{28CAE7C2-CC49-BAD4-FE0F-6F42BBE68BEA}"/>
              </a:ext>
            </a:extLst>
          </p:cNvPr>
          <p:cNvSpPr>
            <a:spLocks noGrp="1"/>
          </p:cNvSpPr>
          <p:nvPr>
            <p:ph type="title"/>
          </p:nvPr>
        </p:nvSpPr>
        <p:spPr/>
        <p:txBody>
          <a:bodyPr vert="horz"/>
          <a:lstStyle/>
          <a:p>
            <a:r>
              <a:rPr lang="en-GB"/>
              <a:t>Contracted revenues from Capacity Markets enhances battery bankability, but may restrict participation in other markets (1/2)</a:t>
            </a:r>
          </a:p>
        </p:txBody>
      </p:sp>
      <p:sp>
        <p:nvSpPr>
          <p:cNvPr id="5" name="Text Placeholder 4">
            <a:extLst>
              <a:ext uri="{FF2B5EF4-FFF2-40B4-BE49-F238E27FC236}">
                <a16:creationId xmlns:a16="http://schemas.microsoft.com/office/drawing/2014/main" id="{718747A7-451F-C62F-90AD-46A021B2C4A1}"/>
              </a:ext>
            </a:extLst>
          </p:cNvPr>
          <p:cNvSpPr>
            <a:spLocks noGrp="1"/>
          </p:cNvSpPr>
          <p:nvPr>
            <p:ph type="body" sz="quarter" idx="31"/>
          </p:nvPr>
        </p:nvSpPr>
        <p:spPr>
          <a:xfrm>
            <a:off x="381599" y="79401"/>
            <a:ext cx="2972289" cy="184666"/>
          </a:xfrm>
        </p:spPr>
        <p:txBody>
          <a:bodyPr/>
          <a:lstStyle/>
          <a:p>
            <a:r>
              <a:rPr lang="en-GB"/>
              <a:t>		 Revenue streams – Capacity markets</a:t>
            </a:r>
          </a:p>
        </p:txBody>
      </p:sp>
      <p:graphicFrame>
        <p:nvGraphicFramePr>
          <p:cNvPr id="8" name="Table 7">
            <a:extLst>
              <a:ext uri="{FF2B5EF4-FFF2-40B4-BE49-F238E27FC236}">
                <a16:creationId xmlns:a16="http://schemas.microsoft.com/office/drawing/2014/main" id="{8AC2AF06-2446-7915-5D29-522068FAE682}"/>
              </a:ext>
            </a:extLst>
          </p:cNvPr>
          <p:cNvGraphicFramePr>
            <a:graphicFrameLocks noGrp="1"/>
          </p:cNvGraphicFramePr>
          <p:nvPr>
            <p:extLst>
              <p:ext uri="{D42A27DB-BD31-4B8C-83A1-F6EECF244321}">
                <p14:modId xmlns:p14="http://schemas.microsoft.com/office/powerpoint/2010/main" val="839497160"/>
              </p:ext>
            </p:extLst>
          </p:nvPr>
        </p:nvGraphicFramePr>
        <p:xfrm>
          <a:off x="381000" y="1265239"/>
          <a:ext cx="11442699" cy="4804732"/>
        </p:xfrm>
        <a:graphic>
          <a:graphicData uri="http://schemas.openxmlformats.org/drawingml/2006/table">
            <a:tbl>
              <a:tblPr firstRow="1" bandRow="1">
                <a:effectLst/>
                <a:tableStyleId>{5C22544A-7EE6-4342-B048-85BDC9FD1C3A}</a:tableStyleId>
              </a:tblPr>
              <a:tblGrid>
                <a:gridCol w="608260">
                  <a:extLst>
                    <a:ext uri="{9D8B030D-6E8A-4147-A177-3AD203B41FA5}">
                      <a16:colId xmlns:a16="http://schemas.microsoft.com/office/drawing/2014/main" val="2767320327"/>
                    </a:ext>
                  </a:extLst>
                </a:gridCol>
                <a:gridCol w="79400">
                  <a:extLst>
                    <a:ext uri="{9D8B030D-6E8A-4147-A177-3AD203B41FA5}">
                      <a16:colId xmlns:a16="http://schemas.microsoft.com/office/drawing/2014/main" val="1802363565"/>
                    </a:ext>
                  </a:extLst>
                </a:gridCol>
                <a:gridCol w="3585013">
                  <a:extLst>
                    <a:ext uri="{9D8B030D-6E8A-4147-A177-3AD203B41FA5}">
                      <a16:colId xmlns:a16="http://schemas.microsoft.com/office/drawing/2014/main" val="2266625830"/>
                    </a:ext>
                  </a:extLst>
                </a:gridCol>
                <a:gridCol w="3585013">
                  <a:extLst>
                    <a:ext uri="{9D8B030D-6E8A-4147-A177-3AD203B41FA5}">
                      <a16:colId xmlns:a16="http://schemas.microsoft.com/office/drawing/2014/main" val="3266525098"/>
                    </a:ext>
                  </a:extLst>
                </a:gridCol>
                <a:gridCol w="3585013">
                  <a:extLst>
                    <a:ext uri="{9D8B030D-6E8A-4147-A177-3AD203B41FA5}">
                      <a16:colId xmlns:a16="http://schemas.microsoft.com/office/drawing/2014/main" val="2070120719"/>
                    </a:ext>
                  </a:extLst>
                </a:gridCol>
              </a:tblGrid>
              <a:tr h="412732">
                <a:tc>
                  <a:txBody>
                    <a:bodyPr/>
                    <a:lstStyle/>
                    <a:p>
                      <a:pPr algn="l"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Country X</a:t>
                      </a:r>
                    </a:p>
                  </a:txBody>
                  <a:tcPr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Country 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42328266"/>
                  </a:ext>
                </a:extLst>
              </a:tr>
              <a:tr h="122400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Clearing price</a:t>
                      </a: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kW (real 2022)</a:t>
                      </a:r>
                    </a:p>
                  </a:txBody>
                  <a:tcPr marL="45720" marR="45720" vert="vert27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rtl="0">
                        <a:buFont typeface="Wingdings" panose="05000000000000000000" pitchFamily="2" charset="2"/>
                        <a:buNone/>
                      </a:pPr>
                      <a:endParaRPr lang="en-GB" sz="1100">
                        <a:highlight>
                          <a:srgbClr val="FFFF00"/>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Wingdings" panose="05000000000000000000" pitchFamily="2" charset="2"/>
                        <a:buChar char="§"/>
                      </a:pPr>
                      <a:endParaRPr lang="en-GB" sz="1100">
                        <a:highlight>
                          <a:srgbClr val="FFFF00"/>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Wingdings" panose="05000000000000000000" pitchFamily="2" charset="2"/>
                        <a:buChar char="§"/>
                      </a:pPr>
                      <a:endParaRPr lang="en-GB" sz="1100">
                        <a:highlight>
                          <a:srgbClr val="FFFF00"/>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980078"/>
                  </a:ext>
                </a:extLst>
              </a:tr>
              <a:tr h="64800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CM contract tenor</a:t>
                      </a:r>
                      <a:r>
                        <a:rPr lang="en-US" altLang="zh-CN" sz="1100" b="1" baseline="30000">
                          <a:solidFill>
                            <a:schemeClr val="tx1"/>
                          </a:solidFill>
                        </a:rPr>
                        <a:t>1</a:t>
                      </a:r>
                      <a:endParaRPr lang="en-GB" sz="1100" b="1">
                        <a:solidFill>
                          <a:schemeClr val="tx1"/>
                        </a:solidFill>
                      </a:endParaRPr>
                    </a:p>
                  </a:txBody>
                  <a:tcPr marL="45720" marR="45720" vert="vert27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b="1" baseline="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buFont typeface="Wingdings" panose="05000000000000000000" pitchFamily="2" charset="2"/>
                        <a:buNone/>
                      </a:pPr>
                      <a:endParaRPr lang="en-GB" sz="1000" b="1">
                        <a:highlight>
                          <a:srgbClr val="FFFF00"/>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buFont typeface="Wingdings" panose="05000000000000000000" pitchFamily="2" charset="2"/>
                        <a:buNone/>
                      </a:pPr>
                      <a:endParaRPr lang="en-GB"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211608"/>
                  </a:ext>
                </a:extLst>
              </a:tr>
              <a:tr h="82800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Price caps or constraints</a:t>
                      </a:r>
                    </a:p>
                  </a:txBody>
                  <a:tcPr marL="45720" marR="45720" vert="vert27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000" b="0" kern="120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000" b="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8113508"/>
                  </a:ext>
                </a:extLst>
              </a:tr>
              <a:tr h="169200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Market overview &amp; Anticipated developments</a:t>
                      </a:r>
                    </a:p>
                  </a:txBody>
                  <a:tcPr marL="45720" marR="45720" vert="vert27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00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61976774"/>
                  </a:ext>
                </a:extLst>
              </a:tr>
            </a:tbl>
          </a:graphicData>
        </a:graphic>
      </p:graphicFrame>
      <p:graphicFrame>
        <p:nvGraphicFramePr>
          <p:cNvPr id="14" name="Chart 13">
            <a:extLst>
              <a:ext uri="{FF2B5EF4-FFF2-40B4-BE49-F238E27FC236}">
                <a16:creationId xmlns:a16="http://schemas.microsoft.com/office/drawing/2014/main" id="{196554BF-D73A-8624-2A28-2EA33FA81E32}"/>
              </a:ext>
            </a:extLst>
          </p:cNvPr>
          <p:cNvGraphicFramePr/>
          <p:nvPr>
            <p:custDataLst>
              <p:tags r:id="rId2"/>
            </p:custDataLst>
            <p:extLst>
              <p:ext uri="{D42A27DB-BD31-4B8C-83A1-F6EECF244321}">
                <p14:modId xmlns:p14="http://schemas.microsoft.com/office/powerpoint/2010/main" val="1809784333"/>
              </p:ext>
            </p:extLst>
          </p:nvPr>
        </p:nvGraphicFramePr>
        <p:xfrm>
          <a:off x="1533525" y="1739900"/>
          <a:ext cx="2101850" cy="1146175"/>
        </p:xfrm>
        <a:graphic>
          <a:graphicData uri="http://schemas.openxmlformats.org/drawingml/2006/chart">
            <c:chart xmlns:c="http://schemas.openxmlformats.org/drawingml/2006/chart" xmlns:r="http://schemas.openxmlformats.org/officeDocument/2006/relationships" r:id="rId40"/>
          </a:graphicData>
        </a:graphic>
      </p:graphicFrame>
      <p:cxnSp>
        <p:nvCxnSpPr>
          <p:cNvPr id="318" name="Straight Connector 317">
            <a:extLst>
              <a:ext uri="{FF2B5EF4-FFF2-40B4-BE49-F238E27FC236}">
                <a16:creationId xmlns:a16="http://schemas.microsoft.com/office/drawing/2014/main" id="{87536E10-DAA1-3F5D-4D01-026582A50A9C}"/>
              </a:ext>
            </a:extLst>
          </p:cNvPr>
          <p:cNvCxnSpPr/>
          <p:nvPr>
            <p:custDataLst>
              <p:tags r:id="rId3"/>
            </p:custDataLst>
          </p:nvPr>
        </p:nvCxnSpPr>
        <p:spPr bwMode="gray">
          <a:xfrm flipV="1">
            <a:off x="2098675" y="1924050"/>
            <a:ext cx="0" cy="2159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6B50AA8E-8C88-47A9-4C25-1A070D70CB66}"/>
              </a:ext>
            </a:extLst>
          </p:cNvPr>
          <p:cNvCxnSpPr/>
          <p:nvPr>
            <p:custDataLst>
              <p:tags r:id="rId4"/>
            </p:custDataLst>
          </p:nvPr>
        </p:nvCxnSpPr>
        <p:spPr bwMode="gray">
          <a:xfrm>
            <a:off x="2098675" y="1924050"/>
            <a:ext cx="9683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87100BF2-A2CC-1064-6AAA-F7128A1BCA0A}"/>
              </a:ext>
            </a:extLst>
          </p:cNvPr>
          <p:cNvCxnSpPr/>
          <p:nvPr>
            <p:custDataLst>
              <p:tags r:id="rId5"/>
            </p:custDataLst>
          </p:nvPr>
        </p:nvCxnSpPr>
        <p:spPr bwMode="gray">
          <a:xfrm>
            <a:off x="3067050" y="1924050"/>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17"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auto">
          <a:xfrm>
            <a:off x="2397126" y="18161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graphicFrame>
        <p:nvGraphicFramePr>
          <p:cNvPr id="16" name="Chart 15">
            <a:extLst>
              <a:ext uri="{FF2B5EF4-FFF2-40B4-BE49-F238E27FC236}">
                <a16:creationId xmlns:a16="http://schemas.microsoft.com/office/drawing/2014/main" id="{05561852-4CB1-4982-707E-9D0D8AB5CE44}"/>
              </a:ext>
            </a:extLst>
          </p:cNvPr>
          <p:cNvGraphicFramePr/>
          <p:nvPr>
            <p:custDataLst>
              <p:tags r:id="rId7"/>
            </p:custDataLst>
            <p:extLst>
              <p:ext uri="{D42A27DB-BD31-4B8C-83A1-F6EECF244321}">
                <p14:modId xmlns:p14="http://schemas.microsoft.com/office/powerpoint/2010/main" val="1531198234"/>
              </p:ext>
            </p:extLst>
          </p:nvPr>
        </p:nvGraphicFramePr>
        <p:xfrm>
          <a:off x="5262563" y="1739900"/>
          <a:ext cx="2101850" cy="1146175"/>
        </p:xfrm>
        <a:graphic>
          <a:graphicData uri="http://schemas.openxmlformats.org/drawingml/2006/chart">
            <c:chart xmlns:c="http://schemas.openxmlformats.org/drawingml/2006/chart" xmlns:r="http://schemas.openxmlformats.org/officeDocument/2006/relationships" r:id="rId41"/>
          </a:graphicData>
        </a:graphic>
      </p:graphicFrame>
      <p:cxnSp>
        <p:nvCxnSpPr>
          <p:cNvPr id="330" name="Straight Connector 329">
            <a:extLst>
              <a:ext uri="{FF2B5EF4-FFF2-40B4-BE49-F238E27FC236}">
                <a16:creationId xmlns:a16="http://schemas.microsoft.com/office/drawing/2014/main" id="{1C220E6D-7098-C4AF-1624-34A07FD09DC3}"/>
              </a:ext>
            </a:extLst>
          </p:cNvPr>
          <p:cNvCxnSpPr/>
          <p:nvPr>
            <p:custDataLst>
              <p:tags r:id="rId8"/>
            </p:custDataLst>
          </p:nvPr>
        </p:nvCxnSpPr>
        <p:spPr bwMode="gray">
          <a:xfrm flipV="1">
            <a:off x="5827713" y="1814513"/>
            <a:ext cx="0" cy="438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330">
            <a:extLst>
              <a:ext uri="{FF2B5EF4-FFF2-40B4-BE49-F238E27FC236}">
                <a16:creationId xmlns:a16="http://schemas.microsoft.com/office/drawing/2014/main" id="{86F2A224-A2BF-6696-B2A8-416C373F2F66}"/>
              </a:ext>
            </a:extLst>
          </p:cNvPr>
          <p:cNvCxnSpPr/>
          <p:nvPr>
            <p:custDataLst>
              <p:tags r:id="rId9"/>
            </p:custDataLst>
          </p:nvPr>
        </p:nvCxnSpPr>
        <p:spPr bwMode="gray">
          <a:xfrm>
            <a:off x="5827713" y="1814513"/>
            <a:ext cx="9683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331">
            <a:extLst>
              <a:ext uri="{FF2B5EF4-FFF2-40B4-BE49-F238E27FC236}">
                <a16:creationId xmlns:a16="http://schemas.microsoft.com/office/drawing/2014/main" id="{9C351D2D-7340-0519-050D-4BF52BC53DCF}"/>
              </a:ext>
            </a:extLst>
          </p:cNvPr>
          <p:cNvCxnSpPr/>
          <p:nvPr>
            <p:custDataLst>
              <p:tags r:id="rId10"/>
            </p:custDataLst>
          </p:nvPr>
        </p:nvCxnSpPr>
        <p:spPr bwMode="gray">
          <a:xfrm>
            <a:off x="6796088" y="1814513"/>
            <a:ext cx="0" cy="4730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29"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auto">
          <a:xfrm>
            <a:off x="6126163" y="170656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graphicFrame>
        <p:nvGraphicFramePr>
          <p:cNvPr id="17" name="Chart 16">
            <a:extLst>
              <a:ext uri="{FF2B5EF4-FFF2-40B4-BE49-F238E27FC236}">
                <a16:creationId xmlns:a16="http://schemas.microsoft.com/office/drawing/2014/main" id="{B7EADAF8-E67B-82AE-1F17-76450FA86765}"/>
              </a:ext>
            </a:extLst>
          </p:cNvPr>
          <p:cNvGraphicFramePr/>
          <p:nvPr>
            <p:custDataLst>
              <p:tags r:id="rId12"/>
            </p:custDataLst>
            <p:extLst>
              <p:ext uri="{D42A27DB-BD31-4B8C-83A1-F6EECF244321}">
                <p14:modId xmlns:p14="http://schemas.microsoft.com/office/powerpoint/2010/main" val="1251388851"/>
              </p:ext>
            </p:extLst>
          </p:nvPr>
        </p:nvGraphicFramePr>
        <p:xfrm>
          <a:off x="8856663" y="1739900"/>
          <a:ext cx="2101850" cy="1146175"/>
        </p:xfrm>
        <a:graphic>
          <a:graphicData uri="http://schemas.openxmlformats.org/drawingml/2006/chart">
            <c:chart xmlns:c="http://schemas.openxmlformats.org/drawingml/2006/chart" xmlns:r="http://schemas.openxmlformats.org/officeDocument/2006/relationships" r:id="rId42"/>
          </a:graphicData>
        </a:graphic>
      </p:graphicFrame>
      <p:cxnSp>
        <p:nvCxnSpPr>
          <p:cNvPr id="338" name="Straight Connector 337">
            <a:extLst>
              <a:ext uri="{FF2B5EF4-FFF2-40B4-BE49-F238E27FC236}">
                <a16:creationId xmlns:a16="http://schemas.microsoft.com/office/drawing/2014/main" id="{02C9FE5C-2774-0742-47B2-4FE2F22C3563}"/>
              </a:ext>
            </a:extLst>
          </p:cNvPr>
          <p:cNvCxnSpPr/>
          <p:nvPr>
            <p:custDataLst>
              <p:tags r:id="rId13"/>
            </p:custDataLst>
          </p:nvPr>
        </p:nvCxnSpPr>
        <p:spPr bwMode="gray">
          <a:xfrm flipV="1">
            <a:off x="9421813" y="1822450"/>
            <a:ext cx="0" cy="762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38">
            <a:extLst>
              <a:ext uri="{FF2B5EF4-FFF2-40B4-BE49-F238E27FC236}">
                <a16:creationId xmlns:a16="http://schemas.microsoft.com/office/drawing/2014/main" id="{276C46A0-00D3-BF1A-425F-E88AF14FFF1C}"/>
              </a:ext>
            </a:extLst>
          </p:cNvPr>
          <p:cNvCxnSpPr/>
          <p:nvPr>
            <p:custDataLst>
              <p:tags r:id="rId14"/>
            </p:custDataLst>
          </p:nvPr>
        </p:nvCxnSpPr>
        <p:spPr bwMode="gray">
          <a:xfrm>
            <a:off x="9421813" y="1822450"/>
            <a:ext cx="9683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0" name="Straight Connector 339">
            <a:extLst>
              <a:ext uri="{FF2B5EF4-FFF2-40B4-BE49-F238E27FC236}">
                <a16:creationId xmlns:a16="http://schemas.microsoft.com/office/drawing/2014/main" id="{24954DEC-2F26-9E07-D4FD-63867A4058AB}"/>
              </a:ext>
            </a:extLst>
          </p:cNvPr>
          <p:cNvCxnSpPr/>
          <p:nvPr>
            <p:custDataLst>
              <p:tags r:id="rId15"/>
            </p:custDataLst>
          </p:nvPr>
        </p:nvCxnSpPr>
        <p:spPr bwMode="gray">
          <a:xfrm>
            <a:off x="10390188" y="1822450"/>
            <a:ext cx="0" cy="4746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37" name="Text Placeholder 19">
            <a:extLst>
              <a:ext uri="{FF2B5EF4-FFF2-40B4-BE49-F238E27FC236}">
                <a16:creationId xmlns:a16="http://schemas.microsoft.com/office/drawing/2014/main" id="{9F9869AF-B0F6-4E89-B216-4EC18C7334C2}"/>
              </a:ext>
            </a:extLst>
          </p:cNvPr>
          <p:cNvSpPr>
            <a:spLocks noGrp="1"/>
          </p:cNvSpPr>
          <p:nvPr>
            <p:custDataLst>
              <p:tags r:id="rId16"/>
            </p:custDataLst>
          </p:nvPr>
        </p:nvSpPr>
        <p:spPr bwMode="auto">
          <a:xfrm>
            <a:off x="9720263" y="17145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sp>
        <p:nvSpPr>
          <p:cNvPr id="46" name="Oval 45">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47" name="Oval 46">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a:t>
            </a:r>
          </a:p>
        </p:txBody>
      </p:sp>
      <p:sp>
        <p:nvSpPr>
          <p:cNvPr id="292" name="Rectangle 291">
            <a:extLst>
              <a:ext uri="{FF2B5EF4-FFF2-40B4-BE49-F238E27FC236}">
                <a16:creationId xmlns:a16="http://schemas.microsoft.com/office/drawing/2014/main" id="{E02468CF-523F-7562-F7F8-4D23972D2251}"/>
              </a:ext>
            </a:extLst>
          </p:cNvPr>
          <p:cNvSpPr/>
          <p:nvPr>
            <p:custDataLst>
              <p:tags r:id="rId17"/>
            </p:custDataLst>
          </p:nvPr>
        </p:nvSpPr>
        <p:spPr bwMode="auto">
          <a:xfrm>
            <a:off x="3603625" y="219868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93" name="Rectangle 292">
            <a:extLst>
              <a:ext uri="{FF2B5EF4-FFF2-40B4-BE49-F238E27FC236}">
                <a16:creationId xmlns:a16="http://schemas.microsoft.com/office/drawing/2014/main" id="{F05810AA-0DD2-45B0-A41A-86E99A750674}"/>
              </a:ext>
            </a:extLst>
          </p:cNvPr>
          <p:cNvSpPr/>
          <p:nvPr>
            <p:custDataLst>
              <p:tags r:id="rId18"/>
            </p:custDataLst>
          </p:nvPr>
        </p:nvSpPr>
        <p:spPr bwMode="auto">
          <a:xfrm>
            <a:off x="3603625" y="240188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94" name="Rectangle 293">
            <a:extLst>
              <a:ext uri="{FF2B5EF4-FFF2-40B4-BE49-F238E27FC236}">
                <a16:creationId xmlns:a16="http://schemas.microsoft.com/office/drawing/2014/main" id="{40EE2868-3D5C-8CE5-A5F3-537AC54AA532}"/>
              </a:ext>
            </a:extLst>
          </p:cNvPr>
          <p:cNvSpPr/>
          <p:nvPr>
            <p:custDataLst>
              <p:tags r:id="rId19"/>
            </p:custDataLst>
          </p:nvPr>
        </p:nvSpPr>
        <p:spPr bwMode="auto">
          <a:xfrm>
            <a:off x="3603625" y="2605088"/>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87" name="Text Placeholder 19">
            <a:extLst>
              <a:ext uri="{FF2B5EF4-FFF2-40B4-BE49-F238E27FC236}">
                <a16:creationId xmlns:a16="http://schemas.microsoft.com/office/drawing/2014/main" id="{9F9869AF-B0F6-4E89-B216-4EC18C7334C2}"/>
              </a:ext>
            </a:extLst>
          </p:cNvPr>
          <p:cNvSpPr>
            <a:spLocks noGrp="1"/>
          </p:cNvSpPr>
          <p:nvPr>
            <p:custDataLst>
              <p:tags r:id="rId20"/>
            </p:custDataLst>
          </p:nvPr>
        </p:nvSpPr>
        <p:spPr bwMode="auto">
          <a:xfrm>
            <a:off x="3833813" y="219392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0E9C27AF-A87C-4DA3-A755-EC06A7B8D690}"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290"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auto">
          <a:xfrm>
            <a:off x="3833813" y="239712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7D61B9C-31DF-44C7-B1A3-7A52084BE25D}" type="datetime'''''''L''at''e'''' 2''0''2''0s'''''''''''''''''''''''''''''">
              <a:rPr lang="en-GB" altLang="en-US" sz="1000" smtClean="0">
                <a:effectLst/>
                <a:ea typeface="+mn-ea"/>
                <a:cs typeface="+mn-cs"/>
              </a:rPr>
              <a:pPr lvl="0">
                <a:spcBef>
                  <a:spcPct val="0"/>
                </a:spcBef>
                <a:spcAft>
                  <a:spcPct val="0"/>
                </a:spcAft>
              </a:pPr>
              <a:t>Late 2020s</a:t>
            </a:fld>
            <a:endParaRPr lang="en-GB" sz="1000" baseline="30000">
              <a:ea typeface="+mn-ea"/>
              <a:cs typeface="+mn-cs"/>
            </a:endParaRPr>
          </a:p>
        </p:txBody>
      </p:sp>
      <p:sp>
        <p:nvSpPr>
          <p:cNvPr id="289"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auto">
          <a:xfrm>
            <a:off x="3833813" y="260032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37E8D491-C94F-46BE-AEB8-4508C9A29B81}"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312" name="Rectangle 311">
            <a:extLst>
              <a:ext uri="{FF2B5EF4-FFF2-40B4-BE49-F238E27FC236}">
                <a16:creationId xmlns:a16="http://schemas.microsoft.com/office/drawing/2014/main" id="{E7A4960D-1817-4A00-FA23-08C6E96A84E7}"/>
              </a:ext>
            </a:extLst>
          </p:cNvPr>
          <p:cNvSpPr/>
          <p:nvPr>
            <p:custDataLst>
              <p:tags r:id="rId23"/>
            </p:custDataLst>
          </p:nvPr>
        </p:nvSpPr>
        <p:spPr bwMode="auto">
          <a:xfrm>
            <a:off x="7332663" y="219868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13" name="Rectangle 312">
            <a:extLst>
              <a:ext uri="{FF2B5EF4-FFF2-40B4-BE49-F238E27FC236}">
                <a16:creationId xmlns:a16="http://schemas.microsoft.com/office/drawing/2014/main" id="{221A02CF-9F52-8904-212F-2DE439748BE5}"/>
              </a:ext>
            </a:extLst>
          </p:cNvPr>
          <p:cNvSpPr/>
          <p:nvPr>
            <p:custDataLst>
              <p:tags r:id="rId24"/>
            </p:custDataLst>
          </p:nvPr>
        </p:nvSpPr>
        <p:spPr bwMode="auto">
          <a:xfrm>
            <a:off x="7332663" y="240188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14" name="Rectangle 313">
            <a:extLst>
              <a:ext uri="{FF2B5EF4-FFF2-40B4-BE49-F238E27FC236}">
                <a16:creationId xmlns:a16="http://schemas.microsoft.com/office/drawing/2014/main" id="{A9C56C5A-EAB6-6006-1185-B50D3BB35C7E}"/>
              </a:ext>
            </a:extLst>
          </p:cNvPr>
          <p:cNvSpPr/>
          <p:nvPr>
            <p:custDataLst>
              <p:tags r:id="rId25"/>
            </p:custDataLst>
          </p:nvPr>
        </p:nvSpPr>
        <p:spPr bwMode="auto">
          <a:xfrm>
            <a:off x="7332663" y="2605088"/>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07" name="Text Placeholder 19">
            <a:extLst>
              <a:ext uri="{FF2B5EF4-FFF2-40B4-BE49-F238E27FC236}">
                <a16:creationId xmlns:a16="http://schemas.microsoft.com/office/drawing/2014/main" id="{9F9869AF-B0F6-4E89-B216-4EC18C7334C2}"/>
              </a:ext>
            </a:extLst>
          </p:cNvPr>
          <p:cNvSpPr>
            <a:spLocks noGrp="1"/>
          </p:cNvSpPr>
          <p:nvPr>
            <p:custDataLst>
              <p:tags r:id="rId26"/>
            </p:custDataLst>
          </p:nvPr>
        </p:nvSpPr>
        <p:spPr bwMode="auto">
          <a:xfrm>
            <a:off x="7562850" y="219392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DA05342C-AA8E-496C-8A54-7F3199DC7872}"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310" name="Text Placeholder 19">
            <a:extLst>
              <a:ext uri="{FF2B5EF4-FFF2-40B4-BE49-F238E27FC236}">
                <a16:creationId xmlns:a16="http://schemas.microsoft.com/office/drawing/2014/main" id="{9F9869AF-B0F6-4E89-B216-4EC18C7334C2}"/>
              </a:ext>
            </a:extLst>
          </p:cNvPr>
          <p:cNvSpPr>
            <a:spLocks noGrp="1"/>
          </p:cNvSpPr>
          <p:nvPr>
            <p:custDataLst>
              <p:tags r:id="rId27"/>
            </p:custDataLst>
          </p:nvPr>
        </p:nvSpPr>
        <p:spPr bwMode="auto">
          <a:xfrm>
            <a:off x="7562850" y="239712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815112B0-03CD-4F62-BC9B-7925A8A82589}" type="datetime'''''''''''''''L''''''''''at''''''e'' ''''2''''02''0s'''''''">
              <a:rPr lang="en-GB" altLang="en-US" sz="1000" smtClean="0">
                <a:effectLst/>
                <a:ea typeface="+mn-ea"/>
                <a:cs typeface="+mn-cs"/>
              </a:rPr>
              <a:pPr lvl="0">
                <a:spcBef>
                  <a:spcPct val="0"/>
                </a:spcBef>
                <a:spcAft>
                  <a:spcPct val="0"/>
                </a:spcAft>
              </a:pPr>
              <a:t>Late 2020s</a:t>
            </a:fld>
            <a:endParaRPr lang="en-GB" sz="1000">
              <a:ea typeface="+mn-ea"/>
              <a:cs typeface="+mn-cs"/>
            </a:endParaRPr>
          </a:p>
        </p:txBody>
      </p:sp>
      <p:sp>
        <p:nvSpPr>
          <p:cNvPr id="309" name="Text Placeholder 19">
            <a:extLst>
              <a:ext uri="{FF2B5EF4-FFF2-40B4-BE49-F238E27FC236}">
                <a16:creationId xmlns:a16="http://schemas.microsoft.com/office/drawing/2014/main" id="{9F9869AF-B0F6-4E89-B216-4EC18C7334C2}"/>
              </a:ext>
            </a:extLst>
          </p:cNvPr>
          <p:cNvSpPr>
            <a:spLocks noGrp="1"/>
          </p:cNvSpPr>
          <p:nvPr>
            <p:custDataLst>
              <p:tags r:id="rId28"/>
            </p:custDataLst>
          </p:nvPr>
        </p:nvSpPr>
        <p:spPr bwMode="auto">
          <a:xfrm>
            <a:off x="7562850" y="260032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92EDBCCE-6FD4-4898-A944-0931CC62337F}"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349" name="Rectangle 348">
            <a:extLst>
              <a:ext uri="{FF2B5EF4-FFF2-40B4-BE49-F238E27FC236}">
                <a16:creationId xmlns:a16="http://schemas.microsoft.com/office/drawing/2014/main" id="{9C167F1F-CE42-FE94-4AB2-079893DF6919}"/>
              </a:ext>
            </a:extLst>
          </p:cNvPr>
          <p:cNvSpPr/>
          <p:nvPr>
            <p:custDataLst>
              <p:tags r:id="rId29"/>
            </p:custDataLst>
          </p:nvPr>
        </p:nvSpPr>
        <p:spPr bwMode="auto">
          <a:xfrm>
            <a:off x="10926763" y="219868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50" name="Rectangle 349">
            <a:extLst>
              <a:ext uri="{FF2B5EF4-FFF2-40B4-BE49-F238E27FC236}">
                <a16:creationId xmlns:a16="http://schemas.microsoft.com/office/drawing/2014/main" id="{423B9644-5061-4DEA-8195-662A0E704F3A}"/>
              </a:ext>
            </a:extLst>
          </p:cNvPr>
          <p:cNvSpPr/>
          <p:nvPr>
            <p:custDataLst>
              <p:tags r:id="rId30"/>
            </p:custDataLst>
          </p:nvPr>
        </p:nvSpPr>
        <p:spPr bwMode="auto">
          <a:xfrm>
            <a:off x="10926763" y="240188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51" name="Rectangle 350">
            <a:extLst>
              <a:ext uri="{FF2B5EF4-FFF2-40B4-BE49-F238E27FC236}">
                <a16:creationId xmlns:a16="http://schemas.microsoft.com/office/drawing/2014/main" id="{8D3867AC-A15B-EE4C-05A1-B6B10EEE05FB}"/>
              </a:ext>
            </a:extLst>
          </p:cNvPr>
          <p:cNvSpPr/>
          <p:nvPr>
            <p:custDataLst>
              <p:tags r:id="rId31"/>
            </p:custDataLst>
          </p:nvPr>
        </p:nvSpPr>
        <p:spPr bwMode="auto">
          <a:xfrm>
            <a:off x="10926763" y="2605088"/>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44" name="Text Placeholder 19">
            <a:extLst>
              <a:ext uri="{FF2B5EF4-FFF2-40B4-BE49-F238E27FC236}">
                <a16:creationId xmlns:a16="http://schemas.microsoft.com/office/drawing/2014/main" id="{9F9869AF-B0F6-4E89-B216-4EC18C7334C2}"/>
              </a:ext>
            </a:extLst>
          </p:cNvPr>
          <p:cNvSpPr>
            <a:spLocks noGrp="1"/>
          </p:cNvSpPr>
          <p:nvPr>
            <p:custDataLst>
              <p:tags r:id="rId32"/>
            </p:custDataLst>
          </p:nvPr>
        </p:nvSpPr>
        <p:spPr bwMode="auto">
          <a:xfrm>
            <a:off x="11156950" y="219392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245ED04-FFFF-43DE-94AC-90490DC71CC1}"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347" name="Text Placeholder 19">
            <a:extLst>
              <a:ext uri="{FF2B5EF4-FFF2-40B4-BE49-F238E27FC236}">
                <a16:creationId xmlns:a16="http://schemas.microsoft.com/office/drawing/2014/main" id="{9F9869AF-B0F6-4E89-B216-4EC18C7334C2}"/>
              </a:ext>
            </a:extLst>
          </p:cNvPr>
          <p:cNvSpPr>
            <a:spLocks noGrp="1"/>
          </p:cNvSpPr>
          <p:nvPr>
            <p:custDataLst>
              <p:tags r:id="rId33"/>
            </p:custDataLst>
          </p:nvPr>
        </p:nvSpPr>
        <p:spPr bwMode="auto">
          <a:xfrm>
            <a:off x="11156950" y="239712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5ACC913-BC7E-4AAE-BF27-7A3730817FA6}" type="datetime'''L''''at''''''''''e ''''2''''''0''''''2''''0''''s'''">
              <a:rPr lang="en-GB" altLang="en-US" sz="1000" smtClean="0">
                <a:effectLst/>
                <a:ea typeface="+mn-ea"/>
                <a:cs typeface="+mn-cs"/>
              </a:rPr>
              <a:pPr lvl="0">
                <a:spcBef>
                  <a:spcPct val="0"/>
                </a:spcBef>
                <a:spcAft>
                  <a:spcPct val="0"/>
                </a:spcAft>
              </a:pPr>
              <a:t>Late 2020s</a:t>
            </a:fld>
            <a:endParaRPr lang="en-GB" sz="1000">
              <a:ea typeface="+mn-ea"/>
              <a:cs typeface="+mn-cs"/>
            </a:endParaRPr>
          </a:p>
        </p:txBody>
      </p:sp>
      <p:sp>
        <p:nvSpPr>
          <p:cNvPr id="346"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auto">
          <a:xfrm>
            <a:off x="11156950" y="260032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382FA4E9-E184-4B5C-A78F-FC4BAFE914DB}"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18" name="Text Placeholder 16">
            <a:extLst>
              <a:ext uri="{FF2B5EF4-FFF2-40B4-BE49-F238E27FC236}">
                <a16:creationId xmlns:a16="http://schemas.microsoft.com/office/drawing/2014/main" id="{20071AB8-F211-1820-94E1-E56C1824FE4D}"/>
              </a:ext>
            </a:extLst>
          </p:cNvPr>
          <p:cNvSpPr txBox="1">
            <a:spLocks/>
          </p:cNvSpPr>
          <p:nvPr/>
        </p:nvSpPr>
        <p:spPr>
          <a:xfrm>
            <a:off x="4181476" y="5012937"/>
            <a:ext cx="5138377" cy="2769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00"/>
              <a:t>This is a redacted sample of the European Battery Market Attractiveness Report. If you are interested in the full report, contact Alex Hutcheson (</a:t>
            </a:r>
            <a:r>
              <a:rPr lang="en-GB" sz="1000" u="sng"/>
              <a:t>alex.hutcheson@auroraer.com)</a:t>
            </a:r>
            <a:endParaRPr lang="en-GB" sz="1000"/>
          </a:p>
        </p:txBody>
      </p:sp>
    </p:spTree>
    <p:extLst>
      <p:ext uri="{BB962C8B-B14F-4D97-AF65-F5344CB8AC3E}">
        <p14:creationId xmlns:p14="http://schemas.microsoft.com/office/powerpoint/2010/main" val="3583500600"/>
      </p:ext>
    </p:extLst>
  </p:cSld>
  <p:clrMapOvr>
    <a:masterClrMapping/>
  </p:clrMapOvr>
  <p:extLst>
    <p:ext uri="{6950BFC3-D8DA-4A85-94F7-54DA5524770B}">
      <p188:commentRel xmlns:p188="http://schemas.microsoft.com/office/powerpoint/2018/8/main" r:id="rId37"/>
    </p:ext>
  </p:extLs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B220294-D27D-CEF8-A7EB-D0E25C8D9118}"/>
              </a:ext>
            </a:extLst>
          </p:cNvPr>
          <p:cNvGraphicFramePr>
            <a:graphicFrameLocks noChangeAspect="1"/>
          </p:cNvGraphicFramePr>
          <p:nvPr>
            <p:custDataLst>
              <p:tags r:id="rId1"/>
            </p:custDataLst>
            <p:extLst>
              <p:ext uri="{D42A27DB-BD31-4B8C-83A1-F6EECF244321}">
                <p14:modId xmlns:p14="http://schemas.microsoft.com/office/powerpoint/2010/main" val="2438635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10" name="Object 9" hidden="1">
                        <a:extLst>
                          <a:ext uri="{FF2B5EF4-FFF2-40B4-BE49-F238E27FC236}">
                            <a16:creationId xmlns:a16="http://schemas.microsoft.com/office/drawing/2014/main" id="{7B220294-D27D-CEF8-A7EB-D0E25C8D9118}"/>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1228053-B728-7735-B494-C618B0635734}"/>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3" name="Title 2">
            <a:extLst>
              <a:ext uri="{FF2B5EF4-FFF2-40B4-BE49-F238E27FC236}">
                <a16:creationId xmlns:a16="http://schemas.microsoft.com/office/drawing/2014/main" id="{28CAE7C2-CC49-BAD4-FE0F-6F42BBE68BEA}"/>
              </a:ext>
            </a:extLst>
          </p:cNvPr>
          <p:cNvSpPr>
            <a:spLocks noGrp="1"/>
          </p:cNvSpPr>
          <p:nvPr>
            <p:ph type="title"/>
          </p:nvPr>
        </p:nvSpPr>
        <p:spPr/>
        <p:txBody>
          <a:bodyPr vert="horz"/>
          <a:lstStyle/>
          <a:p>
            <a:r>
              <a:rPr lang="en-GB"/>
              <a:t>Contracted revenues from capacity markets enhances battery bankability, but may restrict participation in other markets (2/2)</a:t>
            </a:r>
          </a:p>
        </p:txBody>
      </p:sp>
      <p:sp>
        <p:nvSpPr>
          <p:cNvPr id="4" name="Text Placeholder 3">
            <a:extLst>
              <a:ext uri="{FF2B5EF4-FFF2-40B4-BE49-F238E27FC236}">
                <a16:creationId xmlns:a16="http://schemas.microsoft.com/office/drawing/2014/main" id="{BA37E9C3-C825-39E1-830E-8C26AEEF93D6}"/>
              </a:ext>
            </a:extLst>
          </p:cNvPr>
          <p:cNvSpPr>
            <a:spLocks noGrp="1"/>
          </p:cNvSpPr>
          <p:nvPr>
            <p:ph type="body" sz="quarter" idx="32"/>
          </p:nvPr>
        </p:nvSpPr>
        <p:spPr>
          <a:xfrm>
            <a:off x="381600" y="6474841"/>
            <a:ext cx="11428800" cy="110800"/>
          </a:xfrm>
        </p:spPr>
        <p:txBody>
          <a:bodyPr/>
          <a:lstStyle/>
          <a:p>
            <a:endParaRPr lang="en-GB"/>
          </a:p>
        </p:txBody>
      </p:sp>
      <p:sp>
        <p:nvSpPr>
          <p:cNvPr id="5" name="Text Placeholder 4">
            <a:extLst>
              <a:ext uri="{FF2B5EF4-FFF2-40B4-BE49-F238E27FC236}">
                <a16:creationId xmlns:a16="http://schemas.microsoft.com/office/drawing/2014/main" id="{718747A7-451F-C62F-90AD-46A021B2C4A1}"/>
              </a:ext>
            </a:extLst>
          </p:cNvPr>
          <p:cNvSpPr>
            <a:spLocks noGrp="1"/>
          </p:cNvSpPr>
          <p:nvPr>
            <p:ph type="body" sz="quarter" idx="31"/>
          </p:nvPr>
        </p:nvSpPr>
        <p:spPr>
          <a:xfrm>
            <a:off x="381599" y="79401"/>
            <a:ext cx="2972289" cy="184666"/>
          </a:xfrm>
        </p:spPr>
        <p:txBody>
          <a:bodyPr/>
          <a:lstStyle/>
          <a:p>
            <a:r>
              <a:rPr lang="en-GB"/>
              <a:t>		 Revenue streams – Capacity markets</a:t>
            </a:r>
          </a:p>
        </p:txBody>
      </p:sp>
      <p:graphicFrame>
        <p:nvGraphicFramePr>
          <p:cNvPr id="8" name="Table 7">
            <a:extLst>
              <a:ext uri="{FF2B5EF4-FFF2-40B4-BE49-F238E27FC236}">
                <a16:creationId xmlns:a16="http://schemas.microsoft.com/office/drawing/2014/main" id="{8AC2AF06-2446-7915-5D29-522068FAE682}"/>
              </a:ext>
            </a:extLst>
          </p:cNvPr>
          <p:cNvGraphicFramePr>
            <a:graphicFrameLocks noGrp="1"/>
          </p:cNvGraphicFramePr>
          <p:nvPr>
            <p:extLst>
              <p:ext uri="{D42A27DB-BD31-4B8C-83A1-F6EECF244321}">
                <p14:modId xmlns:p14="http://schemas.microsoft.com/office/powerpoint/2010/main" val="451439878"/>
              </p:ext>
            </p:extLst>
          </p:nvPr>
        </p:nvGraphicFramePr>
        <p:xfrm>
          <a:off x="381000" y="1267200"/>
          <a:ext cx="11442699" cy="5032800"/>
        </p:xfrm>
        <a:graphic>
          <a:graphicData uri="http://schemas.openxmlformats.org/drawingml/2006/table">
            <a:tbl>
              <a:tblPr firstRow="1" bandRow="1">
                <a:effectLst/>
                <a:tableStyleId>{5C22544A-7EE6-4342-B048-85BDC9FD1C3A}</a:tableStyleId>
              </a:tblPr>
              <a:tblGrid>
                <a:gridCol w="608260">
                  <a:extLst>
                    <a:ext uri="{9D8B030D-6E8A-4147-A177-3AD203B41FA5}">
                      <a16:colId xmlns:a16="http://schemas.microsoft.com/office/drawing/2014/main" val="2767320327"/>
                    </a:ext>
                  </a:extLst>
                </a:gridCol>
                <a:gridCol w="79400">
                  <a:extLst>
                    <a:ext uri="{9D8B030D-6E8A-4147-A177-3AD203B41FA5}">
                      <a16:colId xmlns:a16="http://schemas.microsoft.com/office/drawing/2014/main" val="1802363565"/>
                    </a:ext>
                  </a:extLst>
                </a:gridCol>
                <a:gridCol w="3585013">
                  <a:extLst>
                    <a:ext uri="{9D8B030D-6E8A-4147-A177-3AD203B41FA5}">
                      <a16:colId xmlns:a16="http://schemas.microsoft.com/office/drawing/2014/main" val="2266625830"/>
                    </a:ext>
                  </a:extLst>
                </a:gridCol>
                <a:gridCol w="3585013">
                  <a:extLst>
                    <a:ext uri="{9D8B030D-6E8A-4147-A177-3AD203B41FA5}">
                      <a16:colId xmlns:a16="http://schemas.microsoft.com/office/drawing/2014/main" val="3266525098"/>
                    </a:ext>
                  </a:extLst>
                </a:gridCol>
                <a:gridCol w="3585013">
                  <a:extLst>
                    <a:ext uri="{9D8B030D-6E8A-4147-A177-3AD203B41FA5}">
                      <a16:colId xmlns:a16="http://schemas.microsoft.com/office/drawing/2014/main" val="2070120719"/>
                    </a:ext>
                  </a:extLst>
                </a:gridCol>
              </a:tblGrid>
              <a:tr h="414000">
                <a:tc>
                  <a:txBody>
                    <a:bodyPr/>
                    <a:lstStyle/>
                    <a:p>
                      <a:pPr algn="l"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Country X</a:t>
                      </a:r>
                    </a:p>
                  </a:txBody>
                  <a:tcPr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Country 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42328266"/>
                  </a:ext>
                </a:extLst>
              </a:tr>
              <a:tr h="122400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Clearing price</a:t>
                      </a: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kW (real 2022)</a:t>
                      </a:r>
                    </a:p>
                  </a:txBody>
                  <a:tcPr marL="45720" marR="45720" vert="vert27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rtl="0">
                        <a:buFont typeface="Wingdings" panose="05000000000000000000" pitchFamily="2" charset="2"/>
                        <a:buNone/>
                      </a:pPr>
                      <a:endParaRPr lang="en-GB" sz="1100">
                        <a:highlight>
                          <a:srgbClr val="FFFF00"/>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Wingdings" panose="05000000000000000000" pitchFamily="2" charset="2"/>
                        <a:buChar char="§"/>
                      </a:pPr>
                      <a:endParaRPr lang="en-GB" sz="1100">
                        <a:highlight>
                          <a:srgbClr val="FFFF00"/>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Wingdings" panose="05000000000000000000" pitchFamily="2" charset="2"/>
                        <a:buChar char="§"/>
                      </a:pPr>
                      <a:endParaRPr lang="en-GB" sz="1100">
                        <a:highlight>
                          <a:srgbClr val="FFFF00"/>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980078"/>
                  </a:ext>
                </a:extLst>
              </a:tr>
              <a:tr h="64800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CM contract tenor</a:t>
                      </a:r>
                      <a:r>
                        <a:rPr lang="en-GB" sz="1100" b="1" baseline="30000">
                          <a:solidFill>
                            <a:schemeClr val="tx1"/>
                          </a:solidFill>
                        </a:rPr>
                        <a:t>1</a:t>
                      </a:r>
                      <a:endParaRPr lang="en-GB" sz="1100" b="1">
                        <a:solidFill>
                          <a:schemeClr val="tx1"/>
                        </a:solidFill>
                      </a:endParaRPr>
                    </a:p>
                  </a:txBody>
                  <a:tcPr marL="45720" marR="45720" vert="vert27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b="1" kern="120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buFont typeface="Wingdings" panose="05000000000000000000" pitchFamily="2" charset="2"/>
                        <a:buNone/>
                      </a:pPr>
                      <a:endParaRPr lang="en-GB" sz="1000" b="1" baseline="30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buFont typeface="Wingdings" panose="05000000000000000000" pitchFamily="2" charset="2"/>
                        <a:buNone/>
                      </a:pPr>
                      <a:endParaRPr lang="en-GB" sz="1000" b="1"/>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211608"/>
                  </a:ext>
                </a:extLst>
              </a:tr>
              <a:tr h="82800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Price caps or constraints</a:t>
                      </a:r>
                    </a:p>
                  </a:txBody>
                  <a:tcPr marL="45720" marR="45720" vert="vert27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100">
                        <a:highlight>
                          <a:srgbClr val="FFFF00"/>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100" kern="1200" baseline="3000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100" baseline="30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8113508"/>
                  </a:ext>
                </a:extLst>
              </a:tr>
              <a:tr h="191880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Market overview &amp; Anticipated developments</a:t>
                      </a:r>
                    </a:p>
                  </a:txBody>
                  <a:tcPr marL="45720" marR="45720" vert="vert27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rtl="0">
                        <a:buFont typeface="Wingdings" panose="05000000000000000000" pitchFamily="2" charset="2"/>
                        <a:buNone/>
                      </a:pPr>
                      <a:endParaRPr lang="en-GB" sz="110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rtl="0">
                        <a:buFont typeface="Wingdings" panose="05000000000000000000" pitchFamily="2" charset="2"/>
                        <a:buNone/>
                      </a:pPr>
                      <a:endParaRPr lang="en-GB" sz="110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rtl="0">
                        <a:buFont typeface="Wingdings" panose="05000000000000000000" pitchFamily="2" charset="2"/>
                        <a:buNone/>
                      </a:pPr>
                      <a:endParaRPr lang="en-GB" sz="11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61976774"/>
                  </a:ext>
                </a:extLst>
              </a:tr>
            </a:tbl>
          </a:graphicData>
        </a:graphic>
      </p:graphicFrame>
      <p:graphicFrame>
        <p:nvGraphicFramePr>
          <p:cNvPr id="18" name="Chart 17">
            <a:extLst>
              <a:ext uri="{FF2B5EF4-FFF2-40B4-BE49-F238E27FC236}">
                <a16:creationId xmlns:a16="http://schemas.microsoft.com/office/drawing/2014/main" id="{7204E3C5-A1B5-D5FA-4FC3-21E83D7F34D7}"/>
              </a:ext>
            </a:extLst>
          </p:cNvPr>
          <p:cNvGraphicFramePr/>
          <p:nvPr>
            <p:custDataLst>
              <p:tags r:id="rId2"/>
            </p:custDataLst>
            <p:extLst>
              <p:ext uri="{D42A27DB-BD31-4B8C-83A1-F6EECF244321}">
                <p14:modId xmlns:p14="http://schemas.microsoft.com/office/powerpoint/2010/main" val="1780524591"/>
              </p:ext>
            </p:extLst>
          </p:nvPr>
        </p:nvGraphicFramePr>
        <p:xfrm>
          <a:off x="1533525" y="1874838"/>
          <a:ext cx="2101850" cy="1011237"/>
        </p:xfrm>
        <a:graphic>
          <a:graphicData uri="http://schemas.openxmlformats.org/drawingml/2006/chart">
            <c:chart xmlns:c="http://schemas.openxmlformats.org/drawingml/2006/chart" xmlns:r="http://schemas.openxmlformats.org/officeDocument/2006/relationships" r:id="rId50"/>
          </a:graphicData>
        </a:graphic>
      </p:graphicFrame>
      <p:sp>
        <p:nvSpPr>
          <p:cNvPr id="62" name="Text Placeholder 19">
            <a:extLst>
              <a:ext uri="{FF2B5EF4-FFF2-40B4-BE49-F238E27FC236}">
                <a16:creationId xmlns:a16="http://schemas.microsoft.com/office/drawing/2014/main" id="{9F9869AF-B0F6-4E89-B216-4EC18C7334C2}"/>
              </a:ext>
            </a:extLst>
          </p:cNvPr>
          <p:cNvSpPr>
            <a:spLocks noGrp="1"/>
          </p:cNvSpPr>
          <p:nvPr>
            <p:custDataLst>
              <p:tags r:id="rId3"/>
            </p:custDataLst>
          </p:nvPr>
        </p:nvSpPr>
        <p:spPr bwMode="gray">
          <a:xfrm>
            <a:off x="1425575" y="2713038"/>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5F771E26-DB2A-440D-9EF8-4A61A4E8B9DD}" type="datetime'''''''''''''''''''''''0'''''''''''''''''''''''''''''''''''''">
              <a:rPr lang="en-GB" altLang="en-US" smtClean="0">
                <a:ea typeface="+mn-ea"/>
                <a:cs typeface="+mn-cs"/>
              </a:rPr>
              <a:pPr algn="r">
                <a:spcBef>
                  <a:spcPct val="0"/>
                </a:spcBef>
                <a:spcAft>
                  <a:spcPct val="0"/>
                </a:spcAft>
              </a:pPr>
              <a:t>0</a:t>
            </a:fld>
            <a:endParaRPr lang="en-GB">
              <a:ea typeface="+mn-ea"/>
              <a:cs typeface="+mn-cs"/>
            </a:endParaRPr>
          </a:p>
        </p:txBody>
      </p:sp>
      <p:sp>
        <p:nvSpPr>
          <p:cNvPr id="73" name="Text Placeholder 19">
            <a:extLst>
              <a:ext uri="{FF2B5EF4-FFF2-40B4-BE49-F238E27FC236}">
                <a16:creationId xmlns:a16="http://schemas.microsoft.com/office/drawing/2014/main" id="{9F9869AF-B0F6-4E89-B216-4EC18C7334C2}"/>
              </a:ext>
            </a:extLst>
          </p:cNvPr>
          <p:cNvSpPr>
            <a:spLocks noGrp="1"/>
          </p:cNvSpPr>
          <p:nvPr>
            <p:custDataLst>
              <p:tags r:id="rId4"/>
            </p:custDataLst>
          </p:nvPr>
        </p:nvSpPr>
        <p:spPr bwMode="gray">
          <a:xfrm>
            <a:off x="1336675" y="2501900"/>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D194E07E-C9DF-4217-9187-F9D739397E2E}" type="datetime'''''''''''''''2''''''0'''''''''''''''">
              <a:rPr lang="en-GB" altLang="en-US" smtClean="0">
                <a:ea typeface="+mn-ea"/>
                <a:cs typeface="+mn-cs"/>
              </a:rPr>
              <a:pPr algn="r">
                <a:spcBef>
                  <a:spcPct val="0"/>
                </a:spcBef>
                <a:spcAft>
                  <a:spcPct val="0"/>
                </a:spcAft>
              </a:pPr>
              <a:t>20</a:t>
            </a:fld>
            <a:endParaRPr lang="en-GB">
              <a:ea typeface="+mn-ea"/>
              <a:cs typeface="+mn-cs"/>
            </a:endParaRPr>
          </a:p>
        </p:txBody>
      </p:sp>
      <p:sp>
        <p:nvSpPr>
          <p:cNvPr id="74" name="Text Placeholder 19">
            <a:extLst>
              <a:ext uri="{FF2B5EF4-FFF2-40B4-BE49-F238E27FC236}">
                <a16:creationId xmlns:a16="http://schemas.microsoft.com/office/drawing/2014/main" id="{9F9869AF-B0F6-4E89-B216-4EC18C7334C2}"/>
              </a:ext>
            </a:extLst>
          </p:cNvPr>
          <p:cNvSpPr>
            <a:spLocks noGrp="1"/>
          </p:cNvSpPr>
          <p:nvPr>
            <p:custDataLst>
              <p:tags r:id="rId5"/>
            </p:custDataLst>
          </p:nvPr>
        </p:nvSpPr>
        <p:spPr bwMode="gray">
          <a:xfrm>
            <a:off x="1336675" y="2289175"/>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6B834B03-1393-4228-A0DE-7E9AFE5CC8E1}" type="datetime'''4''''''''''''''''''''''''''''''''''0'''''''''''''">
              <a:rPr lang="en-GB" altLang="en-US" smtClean="0">
                <a:ea typeface="+mn-ea"/>
                <a:cs typeface="+mn-cs"/>
              </a:rPr>
              <a:pPr algn="r">
                <a:spcBef>
                  <a:spcPct val="0"/>
                </a:spcBef>
                <a:spcAft>
                  <a:spcPct val="0"/>
                </a:spcAft>
              </a:pPr>
              <a:t>40</a:t>
            </a:fld>
            <a:endParaRPr lang="en-GB">
              <a:ea typeface="+mn-ea"/>
              <a:cs typeface="+mn-cs"/>
            </a:endParaRPr>
          </a:p>
        </p:txBody>
      </p:sp>
      <p:sp>
        <p:nvSpPr>
          <p:cNvPr id="75"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gray">
          <a:xfrm>
            <a:off x="1336675" y="2078038"/>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30A31392-B935-45A4-AC9E-BBD52F38D362}" type="datetime'''''''''''''''''''''''''''''''6''''''0'''''''''">
              <a:rPr lang="en-GB" altLang="en-US" smtClean="0">
                <a:ea typeface="+mn-ea"/>
                <a:cs typeface="+mn-cs"/>
              </a:rPr>
              <a:pPr algn="r">
                <a:spcBef>
                  <a:spcPct val="0"/>
                </a:spcBef>
                <a:spcAft>
                  <a:spcPct val="0"/>
                </a:spcAft>
              </a:pPr>
              <a:t>60</a:t>
            </a:fld>
            <a:endParaRPr lang="en-GB">
              <a:ea typeface="+mn-ea"/>
              <a:cs typeface="+mn-cs"/>
            </a:endParaRPr>
          </a:p>
        </p:txBody>
      </p:sp>
      <p:sp>
        <p:nvSpPr>
          <p:cNvPr id="9"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gray">
          <a:xfrm>
            <a:off x="1336675" y="1866900"/>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F0BA6DCB-F5A7-458C-A07A-6D79B31C509A}" type="datetime'''''''''''''''''''''''''''''''''''''''8''''''''0'''''''''''">
              <a:rPr lang="en-GB" altLang="en-US" smtClean="0">
                <a:effectLst/>
                <a:ea typeface="+mn-ea"/>
                <a:cs typeface="+mn-cs"/>
              </a:rPr>
              <a:pPr lvl="0" algn="r">
                <a:spcBef>
                  <a:spcPct val="0"/>
                </a:spcBef>
                <a:spcAft>
                  <a:spcPct val="0"/>
                </a:spcAft>
              </a:pPr>
              <a:t>80</a:t>
            </a:fld>
            <a:endParaRPr lang="en-GB">
              <a:ea typeface="+mn-ea"/>
              <a:cs typeface="+mn-cs"/>
            </a:endParaRPr>
          </a:p>
        </p:txBody>
      </p:sp>
      <p:cxnSp>
        <p:nvCxnSpPr>
          <p:cNvPr id="4167" name="Straight Connector 4166">
            <a:extLst>
              <a:ext uri="{FF2B5EF4-FFF2-40B4-BE49-F238E27FC236}">
                <a16:creationId xmlns:a16="http://schemas.microsoft.com/office/drawing/2014/main" id="{E2E6ADCF-0A30-67D3-EE48-7547A9913C90}"/>
              </a:ext>
            </a:extLst>
          </p:cNvPr>
          <p:cNvCxnSpPr/>
          <p:nvPr>
            <p:custDataLst>
              <p:tags r:id="rId8"/>
            </p:custDataLst>
          </p:nvPr>
        </p:nvCxnSpPr>
        <p:spPr bwMode="gray">
          <a:xfrm flipV="1">
            <a:off x="2098675" y="2006600"/>
            <a:ext cx="0" cy="762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8" name="Straight Connector 4167">
            <a:extLst>
              <a:ext uri="{FF2B5EF4-FFF2-40B4-BE49-F238E27FC236}">
                <a16:creationId xmlns:a16="http://schemas.microsoft.com/office/drawing/2014/main" id="{39678376-6C50-646F-BE8F-8026A32F37F3}"/>
              </a:ext>
            </a:extLst>
          </p:cNvPr>
          <p:cNvCxnSpPr/>
          <p:nvPr>
            <p:custDataLst>
              <p:tags r:id="rId9"/>
            </p:custDataLst>
          </p:nvPr>
        </p:nvCxnSpPr>
        <p:spPr bwMode="gray">
          <a:xfrm>
            <a:off x="2098675" y="2006600"/>
            <a:ext cx="9683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69" name="Straight Connector 4168">
            <a:extLst>
              <a:ext uri="{FF2B5EF4-FFF2-40B4-BE49-F238E27FC236}">
                <a16:creationId xmlns:a16="http://schemas.microsoft.com/office/drawing/2014/main" id="{7620BCEE-E757-0BC6-70B1-8FF70B8B7A42}"/>
              </a:ext>
            </a:extLst>
          </p:cNvPr>
          <p:cNvCxnSpPr/>
          <p:nvPr>
            <p:custDataLst>
              <p:tags r:id="rId10"/>
            </p:custDataLst>
          </p:nvPr>
        </p:nvCxnSpPr>
        <p:spPr bwMode="gray">
          <a:xfrm>
            <a:off x="3067050" y="2006601"/>
            <a:ext cx="0" cy="2381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166"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auto">
          <a:xfrm>
            <a:off x="2359025" y="1878013"/>
            <a:ext cx="447675"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ea typeface="+mn-ea"/>
                <a:cs typeface="+mn-cs"/>
              </a:rPr>
              <a:t>XX%</a:t>
            </a:r>
          </a:p>
        </p:txBody>
      </p:sp>
      <p:graphicFrame>
        <p:nvGraphicFramePr>
          <p:cNvPr id="24" name="Chart 23">
            <a:extLst>
              <a:ext uri="{FF2B5EF4-FFF2-40B4-BE49-F238E27FC236}">
                <a16:creationId xmlns:a16="http://schemas.microsoft.com/office/drawing/2014/main" id="{B039BC54-0016-7324-E61B-6A98653AE50F}"/>
              </a:ext>
            </a:extLst>
          </p:cNvPr>
          <p:cNvGraphicFramePr/>
          <p:nvPr>
            <p:custDataLst>
              <p:tags r:id="rId12"/>
            </p:custDataLst>
            <p:extLst>
              <p:ext uri="{D42A27DB-BD31-4B8C-83A1-F6EECF244321}">
                <p14:modId xmlns:p14="http://schemas.microsoft.com/office/powerpoint/2010/main" val="1895248902"/>
              </p:ext>
            </p:extLst>
          </p:nvPr>
        </p:nvGraphicFramePr>
        <p:xfrm>
          <a:off x="5227638" y="1874838"/>
          <a:ext cx="2136775" cy="1011237"/>
        </p:xfrm>
        <a:graphic>
          <a:graphicData uri="http://schemas.openxmlformats.org/drawingml/2006/chart">
            <c:chart xmlns:c="http://schemas.openxmlformats.org/drawingml/2006/chart" xmlns:r="http://schemas.openxmlformats.org/officeDocument/2006/relationships" r:id="rId51"/>
          </a:graphicData>
        </a:graphic>
      </p:graphicFrame>
      <p:sp>
        <p:nvSpPr>
          <p:cNvPr id="58" name="Text Placeholder 19">
            <a:extLst>
              <a:ext uri="{FF2B5EF4-FFF2-40B4-BE49-F238E27FC236}">
                <a16:creationId xmlns:a16="http://schemas.microsoft.com/office/drawing/2014/main" id="{9F9869AF-B0F6-4E89-B216-4EC18C7334C2}"/>
              </a:ext>
            </a:extLst>
          </p:cNvPr>
          <p:cNvSpPr>
            <a:spLocks noGrp="1"/>
          </p:cNvSpPr>
          <p:nvPr>
            <p:custDataLst>
              <p:tags r:id="rId13"/>
            </p:custDataLst>
          </p:nvPr>
        </p:nvSpPr>
        <p:spPr bwMode="gray">
          <a:xfrm>
            <a:off x="5119688" y="2713038"/>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3EB23189-DED2-4370-A0C7-9F69EA62FBFB}" type="datetime'''''''''''''''''''''''''''''''''0'''">
              <a:rPr lang="en-GB" altLang="en-US" smtClean="0">
                <a:ea typeface="+mn-ea"/>
                <a:cs typeface="+mn-cs"/>
              </a:rPr>
              <a:pPr algn="r">
                <a:spcBef>
                  <a:spcPct val="0"/>
                </a:spcBef>
                <a:spcAft>
                  <a:spcPct val="0"/>
                </a:spcAft>
              </a:pPr>
              <a:t>0</a:t>
            </a:fld>
            <a:endParaRPr lang="en-GB">
              <a:ea typeface="+mn-ea"/>
              <a:cs typeface="+mn-cs"/>
            </a:endParaRPr>
          </a:p>
        </p:txBody>
      </p:sp>
      <p:sp>
        <p:nvSpPr>
          <p:cNvPr id="66" name="Text Placeholder 19">
            <a:extLst>
              <a:ext uri="{FF2B5EF4-FFF2-40B4-BE49-F238E27FC236}">
                <a16:creationId xmlns:a16="http://schemas.microsoft.com/office/drawing/2014/main" id="{9F9869AF-B0F6-4E89-B216-4EC18C7334C2}"/>
              </a:ext>
            </a:extLst>
          </p:cNvPr>
          <p:cNvSpPr>
            <a:spLocks noGrp="1"/>
          </p:cNvSpPr>
          <p:nvPr>
            <p:custDataLst>
              <p:tags r:id="rId14"/>
            </p:custDataLst>
          </p:nvPr>
        </p:nvSpPr>
        <p:spPr bwMode="gray">
          <a:xfrm>
            <a:off x="5030788" y="2501900"/>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FA658426-CB79-4FB3-9F29-AC82ED8B37DC}" type="datetime'''2''''''''''''''''0'''''''''''''''''''''''''''">
              <a:rPr lang="en-GB" altLang="en-US" smtClean="0">
                <a:ea typeface="+mn-ea"/>
                <a:cs typeface="+mn-cs"/>
              </a:rPr>
              <a:pPr algn="r">
                <a:spcBef>
                  <a:spcPct val="0"/>
                </a:spcBef>
                <a:spcAft>
                  <a:spcPct val="0"/>
                </a:spcAft>
              </a:pPr>
              <a:t>20</a:t>
            </a:fld>
            <a:endParaRPr lang="en-GB">
              <a:ea typeface="+mn-ea"/>
              <a:cs typeface="+mn-cs"/>
            </a:endParaRPr>
          </a:p>
        </p:txBody>
      </p:sp>
      <p:sp>
        <p:nvSpPr>
          <p:cNvPr id="68" name="Text Placeholder 19">
            <a:extLst>
              <a:ext uri="{FF2B5EF4-FFF2-40B4-BE49-F238E27FC236}">
                <a16:creationId xmlns:a16="http://schemas.microsoft.com/office/drawing/2014/main" id="{9F9869AF-B0F6-4E89-B216-4EC18C7334C2}"/>
              </a:ext>
            </a:extLst>
          </p:cNvPr>
          <p:cNvSpPr>
            <a:spLocks noGrp="1"/>
          </p:cNvSpPr>
          <p:nvPr>
            <p:custDataLst>
              <p:tags r:id="rId15"/>
            </p:custDataLst>
          </p:nvPr>
        </p:nvSpPr>
        <p:spPr bwMode="gray">
          <a:xfrm>
            <a:off x="5030788" y="2289175"/>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A78174DB-C7C2-4FB5-9E9C-872470BCC129}" type="datetime'''''''''''''''''''''''''''''''''''''''''''''''''''4''''''''0'">
              <a:rPr lang="en-GB" altLang="en-US" smtClean="0">
                <a:ea typeface="+mn-ea"/>
                <a:cs typeface="+mn-cs"/>
              </a:rPr>
              <a:pPr algn="r">
                <a:spcBef>
                  <a:spcPct val="0"/>
                </a:spcBef>
                <a:spcAft>
                  <a:spcPct val="0"/>
                </a:spcAft>
              </a:pPr>
              <a:t>40</a:t>
            </a:fld>
            <a:endParaRPr lang="en-GB">
              <a:ea typeface="+mn-ea"/>
              <a:cs typeface="+mn-cs"/>
            </a:endParaRPr>
          </a:p>
        </p:txBody>
      </p:sp>
      <p:sp>
        <p:nvSpPr>
          <p:cNvPr id="70" name="Text Placeholder 19">
            <a:extLst>
              <a:ext uri="{FF2B5EF4-FFF2-40B4-BE49-F238E27FC236}">
                <a16:creationId xmlns:a16="http://schemas.microsoft.com/office/drawing/2014/main" id="{9F9869AF-B0F6-4E89-B216-4EC18C7334C2}"/>
              </a:ext>
            </a:extLst>
          </p:cNvPr>
          <p:cNvSpPr>
            <a:spLocks noGrp="1"/>
          </p:cNvSpPr>
          <p:nvPr>
            <p:custDataLst>
              <p:tags r:id="rId16"/>
            </p:custDataLst>
          </p:nvPr>
        </p:nvSpPr>
        <p:spPr bwMode="gray">
          <a:xfrm>
            <a:off x="5030788" y="2078038"/>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201EB794-49DD-4E7B-81DD-6B6D4D8A8386}" type="datetime'''''''6''''''''''''''''''''''''''''''''''''''''''''''''0'''''">
              <a:rPr lang="en-GB" altLang="en-US" smtClean="0">
                <a:ea typeface="+mn-ea"/>
                <a:cs typeface="+mn-cs"/>
              </a:rPr>
              <a:pPr algn="r">
                <a:spcBef>
                  <a:spcPct val="0"/>
                </a:spcBef>
                <a:spcAft>
                  <a:spcPct val="0"/>
                </a:spcAft>
              </a:pPr>
              <a:t>60</a:t>
            </a:fld>
            <a:endParaRPr lang="en-GB">
              <a:ea typeface="+mn-ea"/>
              <a:cs typeface="+mn-cs"/>
            </a:endParaRPr>
          </a:p>
        </p:txBody>
      </p:sp>
      <p:sp>
        <p:nvSpPr>
          <p:cNvPr id="61" name="Text Placeholder 19">
            <a:extLst>
              <a:ext uri="{FF2B5EF4-FFF2-40B4-BE49-F238E27FC236}">
                <a16:creationId xmlns:a16="http://schemas.microsoft.com/office/drawing/2014/main" id="{9F9869AF-B0F6-4E89-B216-4EC18C7334C2}"/>
              </a:ext>
            </a:extLst>
          </p:cNvPr>
          <p:cNvSpPr>
            <a:spLocks noGrp="1"/>
          </p:cNvSpPr>
          <p:nvPr>
            <p:custDataLst>
              <p:tags r:id="rId17"/>
            </p:custDataLst>
          </p:nvPr>
        </p:nvSpPr>
        <p:spPr bwMode="gray">
          <a:xfrm>
            <a:off x="5030788" y="1866900"/>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8176BB83-300C-4678-B1AD-C177554E34F9}" type="datetime'''''''''''''''''8''''''''''''''''''''''''''''''''''''0'''">
              <a:rPr lang="en-GB" altLang="en-US" smtClean="0">
                <a:effectLst/>
                <a:ea typeface="+mn-ea"/>
                <a:cs typeface="+mn-cs"/>
              </a:rPr>
              <a:pPr lvl="0" algn="r">
                <a:spcBef>
                  <a:spcPct val="0"/>
                </a:spcBef>
                <a:spcAft>
                  <a:spcPct val="0"/>
                </a:spcAft>
              </a:pPr>
              <a:t>80</a:t>
            </a:fld>
            <a:endParaRPr lang="en-GB">
              <a:ea typeface="+mn-ea"/>
              <a:cs typeface="+mn-cs"/>
            </a:endParaRPr>
          </a:p>
        </p:txBody>
      </p:sp>
      <p:cxnSp>
        <p:nvCxnSpPr>
          <p:cNvPr id="4175" name="Straight Connector 4174">
            <a:extLst>
              <a:ext uri="{FF2B5EF4-FFF2-40B4-BE49-F238E27FC236}">
                <a16:creationId xmlns:a16="http://schemas.microsoft.com/office/drawing/2014/main" id="{70411615-1920-BC8C-A823-EE5220415D75}"/>
              </a:ext>
            </a:extLst>
          </p:cNvPr>
          <p:cNvCxnSpPr/>
          <p:nvPr>
            <p:custDataLst>
              <p:tags r:id="rId18"/>
            </p:custDataLst>
          </p:nvPr>
        </p:nvCxnSpPr>
        <p:spPr bwMode="gray">
          <a:xfrm flipV="1">
            <a:off x="5802313" y="1835150"/>
            <a:ext cx="0" cy="5397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6" name="Straight Connector 4175">
            <a:extLst>
              <a:ext uri="{FF2B5EF4-FFF2-40B4-BE49-F238E27FC236}">
                <a16:creationId xmlns:a16="http://schemas.microsoft.com/office/drawing/2014/main" id="{D4CFA6E0-2F3F-0D36-6C46-C9EF9B3A6C93}"/>
              </a:ext>
            </a:extLst>
          </p:cNvPr>
          <p:cNvCxnSpPr/>
          <p:nvPr>
            <p:custDataLst>
              <p:tags r:id="rId19"/>
            </p:custDataLst>
          </p:nvPr>
        </p:nvCxnSpPr>
        <p:spPr bwMode="gray">
          <a:xfrm>
            <a:off x="5802312" y="1835150"/>
            <a:ext cx="9858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7" name="Straight Connector 4176">
            <a:extLst>
              <a:ext uri="{FF2B5EF4-FFF2-40B4-BE49-F238E27FC236}">
                <a16:creationId xmlns:a16="http://schemas.microsoft.com/office/drawing/2014/main" id="{3188C9F6-7AAE-4A54-54A4-AFEF2EB747B2}"/>
              </a:ext>
            </a:extLst>
          </p:cNvPr>
          <p:cNvCxnSpPr/>
          <p:nvPr>
            <p:custDataLst>
              <p:tags r:id="rId20"/>
            </p:custDataLst>
          </p:nvPr>
        </p:nvCxnSpPr>
        <p:spPr bwMode="gray">
          <a:xfrm>
            <a:off x="6788150" y="1835150"/>
            <a:ext cx="0" cy="3365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174"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auto">
          <a:xfrm>
            <a:off x="6070600" y="1706563"/>
            <a:ext cx="447675"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ea typeface="+mn-ea"/>
                <a:cs typeface="+mn-cs"/>
              </a:rPr>
              <a:t>XX%</a:t>
            </a:r>
          </a:p>
        </p:txBody>
      </p:sp>
      <p:graphicFrame>
        <p:nvGraphicFramePr>
          <p:cNvPr id="15" name="Chart 14">
            <a:extLst>
              <a:ext uri="{FF2B5EF4-FFF2-40B4-BE49-F238E27FC236}">
                <a16:creationId xmlns:a16="http://schemas.microsoft.com/office/drawing/2014/main" id="{C00BB0A0-DB06-01BA-FAA8-B2903ED6B4C9}"/>
              </a:ext>
            </a:extLst>
          </p:cNvPr>
          <p:cNvGraphicFramePr/>
          <p:nvPr>
            <p:custDataLst>
              <p:tags r:id="rId22"/>
            </p:custDataLst>
          </p:nvPr>
        </p:nvGraphicFramePr>
        <p:xfrm>
          <a:off x="8899525" y="1874838"/>
          <a:ext cx="2058988" cy="1011237"/>
        </p:xfrm>
        <a:graphic>
          <a:graphicData uri="http://schemas.openxmlformats.org/drawingml/2006/chart">
            <c:chart xmlns:c="http://schemas.openxmlformats.org/drawingml/2006/chart" xmlns:r="http://schemas.openxmlformats.org/officeDocument/2006/relationships" r:id="rId52"/>
          </a:graphicData>
        </a:graphic>
      </p:graphicFrame>
      <p:sp>
        <p:nvSpPr>
          <p:cNvPr id="53"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gray">
          <a:xfrm>
            <a:off x="8791575" y="2713038"/>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019A71FF-1196-4307-A2F1-5FA5F4643517}" type="datetime'''''''''''''''''''0'''''''''''''''''''''''''''">
              <a:rPr lang="en-GB" altLang="en-US" smtClean="0">
                <a:ea typeface="+mn-ea"/>
                <a:cs typeface="+mn-cs"/>
              </a:rPr>
              <a:pPr algn="r">
                <a:spcBef>
                  <a:spcPct val="0"/>
                </a:spcBef>
                <a:spcAft>
                  <a:spcPct val="0"/>
                </a:spcAft>
              </a:pPr>
              <a:t>0</a:t>
            </a:fld>
            <a:endParaRPr lang="en-GB">
              <a:ea typeface="+mn-ea"/>
              <a:cs typeface="+mn-cs"/>
            </a:endParaRPr>
          </a:p>
        </p:txBody>
      </p:sp>
      <p:sp>
        <p:nvSpPr>
          <p:cNvPr id="54" name="Text Placeholder 19">
            <a:extLst>
              <a:ext uri="{FF2B5EF4-FFF2-40B4-BE49-F238E27FC236}">
                <a16:creationId xmlns:a16="http://schemas.microsoft.com/office/drawing/2014/main" id="{9F9869AF-B0F6-4E89-B216-4EC18C7334C2}"/>
              </a:ext>
            </a:extLst>
          </p:cNvPr>
          <p:cNvSpPr>
            <a:spLocks noGrp="1"/>
          </p:cNvSpPr>
          <p:nvPr>
            <p:custDataLst>
              <p:tags r:id="rId24"/>
            </p:custDataLst>
          </p:nvPr>
        </p:nvSpPr>
        <p:spPr bwMode="gray">
          <a:xfrm>
            <a:off x="8702675" y="2501900"/>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8191338E-8365-452D-BA4F-53AE93FFD478}" type="datetime'''''''''1''''''''''''''''''''''''''''''''''''0'''''''''''''">
              <a:rPr lang="en-GB" altLang="en-US" smtClean="0">
                <a:ea typeface="+mn-ea"/>
                <a:cs typeface="+mn-cs"/>
              </a:rPr>
              <a:pPr algn="r">
                <a:spcBef>
                  <a:spcPct val="0"/>
                </a:spcBef>
                <a:spcAft>
                  <a:spcPct val="0"/>
                </a:spcAft>
              </a:pPr>
              <a:t>10</a:t>
            </a:fld>
            <a:endParaRPr lang="en-GB">
              <a:ea typeface="+mn-ea"/>
              <a:cs typeface="+mn-cs"/>
            </a:endParaRPr>
          </a:p>
        </p:txBody>
      </p:sp>
      <p:sp>
        <p:nvSpPr>
          <p:cNvPr id="55" name="Text Placeholder 19">
            <a:extLst>
              <a:ext uri="{FF2B5EF4-FFF2-40B4-BE49-F238E27FC236}">
                <a16:creationId xmlns:a16="http://schemas.microsoft.com/office/drawing/2014/main" id="{9F9869AF-B0F6-4E89-B216-4EC18C7334C2}"/>
              </a:ext>
            </a:extLst>
          </p:cNvPr>
          <p:cNvSpPr>
            <a:spLocks noGrp="1"/>
          </p:cNvSpPr>
          <p:nvPr>
            <p:custDataLst>
              <p:tags r:id="rId25"/>
            </p:custDataLst>
          </p:nvPr>
        </p:nvSpPr>
        <p:spPr bwMode="gray">
          <a:xfrm>
            <a:off x="8702675" y="2289175"/>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6E5FA576-8CFE-49AF-A3A9-7DAB97EA4639}" type="datetime'''''''''''''''''''''''''''''''2''''0'''''''''''''''">
              <a:rPr lang="en-GB" altLang="en-US" smtClean="0">
                <a:ea typeface="+mn-ea"/>
                <a:cs typeface="+mn-cs"/>
              </a:rPr>
              <a:pPr algn="r">
                <a:spcBef>
                  <a:spcPct val="0"/>
                </a:spcBef>
                <a:spcAft>
                  <a:spcPct val="0"/>
                </a:spcAft>
              </a:pPr>
              <a:t>20</a:t>
            </a:fld>
            <a:endParaRPr lang="en-GB">
              <a:ea typeface="+mn-ea"/>
              <a:cs typeface="+mn-cs"/>
            </a:endParaRPr>
          </a:p>
        </p:txBody>
      </p:sp>
      <p:sp>
        <p:nvSpPr>
          <p:cNvPr id="56" name="Text Placeholder 19">
            <a:extLst>
              <a:ext uri="{FF2B5EF4-FFF2-40B4-BE49-F238E27FC236}">
                <a16:creationId xmlns:a16="http://schemas.microsoft.com/office/drawing/2014/main" id="{9F9869AF-B0F6-4E89-B216-4EC18C7334C2}"/>
              </a:ext>
            </a:extLst>
          </p:cNvPr>
          <p:cNvSpPr>
            <a:spLocks noGrp="1"/>
          </p:cNvSpPr>
          <p:nvPr>
            <p:custDataLst>
              <p:tags r:id="rId26"/>
            </p:custDataLst>
          </p:nvPr>
        </p:nvSpPr>
        <p:spPr bwMode="gray">
          <a:xfrm>
            <a:off x="8702675" y="2078038"/>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5D244BC3-C427-46C4-B71B-42424C28D99C}" type="datetime'''''30'">
              <a:rPr lang="en-GB" altLang="en-US" smtClean="0">
                <a:ea typeface="+mn-ea"/>
                <a:cs typeface="+mn-cs"/>
              </a:rPr>
              <a:pPr algn="r">
                <a:spcBef>
                  <a:spcPct val="0"/>
                </a:spcBef>
                <a:spcAft>
                  <a:spcPct val="0"/>
                </a:spcAft>
              </a:pPr>
              <a:t>30</a:t>
            </a:fld>
            <a:endParaRPr lang="en-GB">
              <a:ea typeface="+mn-ea"/>
              <a:cs typeface="+mn-cs"/>
            </a:endParaRPr>
          </a:p>
        </p:txBody>
      </p:sp>
      <p:sp>
        <p:nvSpPr>
          <p:cNvPr id="4117" name="Text Placeholder 19">
            <a:extLst>
              <a:ext uri="{FF2B5EF4-FFF2-40B4-BE49-F238E27FC236}">
                <a16:creationId xmlns:a16="http://schemas.microsoft.com/office/drawing/2014/main" id="{9F9869AF-B0F6-4E89-B216-4EC18C7334C2}"/>
              </a:ext>
            </a:extLst>
          </p:cNvPr>
          <p:cNvSpPr>
            <a:spLocks noGrp="1"/>
          </p:cNvSpPr>
          <p:nvPr>
            <p:custDataLst>
              <p:tags r:id="rId27"/>
            </p:custDataLst>
          </p:nvPr>
        </p:nvSpPr>
        <p:spPr bwMode="gray">
          <a:xfrm>
            <a:off x="8702675" y="1866900"/>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A3FE77C2-E07F-4245-ACC0-B0C680062755}" type="datetime'''''''''''4''''''''''''''0'''''''''''''''">
              <a:rPr lang="en-GB" altLang="en-US" smtClean="0">
                <a:effectLst/>
                <a:ea typeface="+mn-ea"/>
                <a:cs typeface="+mn-cs"/>
              </a:rPr>
              <a:pPr lvl="0" algn="r">
                <a:spcBef>
                  <a:spcPct val="0"/>
                </a:spcBef>
                <a:spcAft>
                  <a:spcPct val="0"/>
                </a:spcAft>
              </a:pPr>
              <a:t>40</a:t>
            </a:fld>
            <a:endParaRPr lang="en-GB">
              <a:ea typeface="+mn-ea"/>
              <a:cs typeface="+mn-cs"/>
            </a:endParaRPr>
          </a:p>
        </p:txBody>
      </p:sp>
      <p:sp>
        <p:nvSpPr>
          <p:cNvPr id="40" name="Oval 39">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41" name="Oval 40">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a:t>
            </a:r>
          </a:p>
        </p:txBody>
      </p:sp>
      <p:sp>
        <p:nvSpPr>
          <p:cNvPr id="4194" name="Rectangle 4193">
            <a:extLst>
              <a:ext uri="{FF2B5EF4-FFF2-40B4-BE49-F238E27FC236}">
                <a16:creationId xmlns:a16="http://schemas.microsoft.com/office/drawing/2014/main" id="{3E74473C-39D0-4152-BDB2-006F66447BCB}"/>
              </a:ext>
            </a:extLst>
          </p:cNvPr>
          <p:cNvSpPr/>
          <p:nvPr>
            <p:custDataLst>
              <p:tags r:id="rId28"/>
            </p:custDataLst>
          </p:nvPr>
        </p:nvSpPr>
        <p:spPr bwMode="auto">
          <a:xfrm>
            <a:off x="3603625" y="219868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195" name="Rectangle 4194">
            <a:extLst>
              <a:ext uri="{FF2B5EF4-FFF2-40B4-BE49-F238E27FC236}">
                <a16:creationId xmlns:a16="http://schemas.microsoft.com/office/drawing/2014/main" id="{DAD6FE9E-2855-9B62-DE83-6407B8D8D497}"/>
              </a:ext>
            </a:extLst>
          </p:cNvPr>
          <p:cNvSpPr/>
          <p:nvPr>
            <p:custDataLst>
              <p:tags r:id="rId29"/>
            </p:custDataLst>
          </p:nvPr>
        </p:nvSpPr>
        <p:spPr bwMode="auto">
          <a:xfrm>
            <a:off x="3603625" y="240188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196" name="Rectangle 4195">
            <a:extLst>
              <a:ext uri="{FF2B5EF4-FFF2-40B4-BE49-F238E27FC236}">
                <a16:creationId xmlns:a16="http://schemas.microsoft.com/office/drawing/2014/main" id="{8BAAFE07-CA4E-204F-294D-31DFB6DF76DD}"/>
              </a:ext>
            </a:extLst>
          </p:cNvPr>
          <p:cNvSpPr/>
          <p:nvPr>
            <p:custDataLst>
              <p:tags r:id="rId30"/>
            </p:custDataLst>
          </p:nvPr>
        </p:nvSpPr>
        <p:spPr bwMode="auto">
          <a:xfrm>
            <a:off x="3603625" y="2605088"/>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189" name="Text Placeholder 19">
            <a:extLst>
              <a:ext uri="{FF2B5EF4-FFF2-40B4-BE49-F238E27FC236}">
                <a16:creationId xmlns:a16="http://schemas.microsoft.com/office/drawing/2014/main" id="{9F9869AF-B0F6-4E89-B216-4EC18C7334C2}"/>
              </a:ext>
            </a:extLst>
          </p:cNvPr>
          <p:cNvSpPr>
            <a:spLocks noGrp="1"/>
          </p:cNvSpPr>
          <p:nvPr>
            <p:custDataLst>
              <p:tags r:id="rId31"/>
            </p:custDataLst>
          </p:nvPr>
        </p:nvSpPr>
        <p:spPr bwMode="auto">
          <a:xfrm>
            <a:off x="3833813" y="219392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75DD445-3ACA-4829-8C4C-F1C5BD5D26A8}"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4191" name="Text Placeholder 19">
            <a:extLst>
              <a:ext uri="{FF2B5EF4-FFF2-40B4-BE49-F238E27FC236}">
                <a16:creationId xmlns:a16="http://schemas.microsoft.com/office/drawing/2014/main" id="{9F9869AF-B0F6-4E89-B216-4EC18C7334C2}"/>
              </a:ext>
            </a:extLst>
          </p:cNvPr>
          <p:cNvSpPr>
            <a:spLocks noGrp="1"/>
          </p:cNvSpPr>
          <p:nvPr>
            <p:custDataLst>
              <p:tags r:id="rId32"/>
            </p:custDataLst>
          </p:nvPr>
        </p:nvSpPr>
        <p:spPr bwMode="auto">
          <a:xfrm>
            <a:off x="3833813" y="239712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FF4A05E-CD8E-4C9D-BDC4-18897F1D4BED}" type="datetime'La''t''''e'''''''''''' ''''2''''020''s'''''''''''">
              <a:rPr lang="en-GB" altLang="en-US" sz="1000" smtClean="0">
                <a:effectLst/>
                <a:ea typeface="+mn-ea"/>
                <a:cs typeface="+mn-cs"/>
              </a:rPr>
              <a:pPr lvl="0">
                <a:spcBef>
                  <a:spcPct val="0"/>
                </a:spcBef>
                <a:spcAft>
                  <a:spcPct val="0"/>
                </a:spcAft>
              </a:pPr>
              <a:t>Late 2020s</a:t>
            </a:fld>
            <a:endParaRPr lang="en-GB" sz="1000">
              <a:ea typeface="+mn-ea"/>
              <a:cs typeface="+mn-cs"/>
            </a:endParaRPr>
          </a:p>
        </p:txBody>
      </p:sp>
      <p:sp>
        <p:nvSpPr>
          <p:cNvPr id="4192" name="Text Placeholder 19">
            <a:extLst>
              <a:ext uri="{FF2B5EF4-FFF2-40B4-BE49-F238E27FC236}">
                <a16:creationId xmlns:a16="http://schemas.microsoft.com/office/drawing/2014/main" id="{9F9869AF-B0F6-4E89-B216-4EC18C7334C2}"/>
              </a:ext>
            </a:extLst>
          </p:cNvPr>
          <p:cNvSpPr>
            <a:spLocks noGrp="1"/>
          </p:cNvSpPr>
          <p:nvPr>
            <p:custDataLst>
              <p:tags r:id="rId33"/>
            </p:custDataLst>
          </p:nvPr>
        </p:nvSpPr>
        <p:spPr bwMode="auto">
          <a:xfrm>
            <a:off x="3833813" y="260032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2436D8C7-82DC-480E-8168-1B886F71F8EC}"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4202" name="Rectangle 4201">
            <a:extLst>
              <a:ext uri="{FF2B5EF4-FFF2-40B4-BE49-F238E27FC236}">
                <a16:creationId xmlns:a16="http://schemas.microsoft.com/office/drawing/2014/main" id="{84F7A6AD-7373-7BD6-E173-D827D88D6576}"/>
              </a:ext>
            </a:extLst>
          </p:cNvPr>
          <p:cNvSpPr/>
          <p:nvPr>
            <p:custDataLst>
              <p:tags r:id="rId34"/>
            </p:custDataLst>
          </p:nvPr>
        </p:nvSpPr>
        <p:spPr bwMode="auto">
          <a:xfrm>
            <a:off x="7332663" y="219868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203" name="Rectangle 4202">
            <a:extLst>
              <a:ext uri="{FF2B5EF4-FFF2-40B4-BE49-F238E27FC236}">
                <a16:creationId xmlns:a16="http://schemas.microsoft.com/office/drawing/2014/main" id="{71C620AD-09B7-385C-D9DE-460DF4647AE8}"/>
              </a:ext>
            </a:extLst>
          </p:cNvPr>
          <p:cNvSpPr/>
          <p:nvPr>
            <p:custDataLst>
              <p:tags r:id="rId35"/>
            </p:custDataLst>
          </p:nvPr>
        </p:nvSpPr>
        <p:spPr bwMode="auto">
          <a:xfrm>
            <a:off x="7332663" y="240188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204" name="Rectangle 4203">
            <a:extLst>
              <a:ext uri="{FF2B5EF4-FFF2-40B4-BE49-F238E27FC236}">
                <a16:creationId xmlns:a16="http://schemas.microsoft.com/office/drawing/2014/main" id="{19ED5165-B44D-EEC0-D2B4-868AF63F7652}"/>
              </a:ext>
            </a:extLst>
          </p:cNvPr>
          <p:cNvSpPr/>
          <p:nvPr>
            <p:custDataLst>
              <p:tags r:id="rId36"/>
            </p:custDataLst>
          </p:nvPr>
        </p:nvSpPr>
        <p:spPr bwMode="auto">
          <a:xfrm>
            <a:off x="7332663" y="2605088"/>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197" name="Text Placeholder 19">
            <a:extLst>
              <a:ext uri="{FF2B5EF4-FFF2-40B4-BE49-F238E27FC236}">
                <a16:creationId xmlns:a16="http://schemas.microsoft.com/office/drawing/2014/main" id="{9F9869AF-B0F6-4E89-B216-4EC18C7334C2}"/>
              </a:ext>
            </a:extLst>
          </p:cNvPr>
          <p:cNvSpPr>
            <a:spLocks noGrp="1"/>
          </p:cNvSpPr>
          <p:nvPr>
            <p:custDataLst>
              <p:tags r:id="rId37"/>
            </p:custDataLst>
          </p:nvPr>
        </p:nvSpPr>
        <p:spPr bwMode="auto">
          <a:xfrm>
            <a:off x="7562850" y="219392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D65E444-6E73-494F-BCEA-E84D3290F924}"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4199" name="Text Placeholder 19">
            <a:extLst>
              <a:ext uri="{FF2B5EF4-FFF2-40B4-BE49-F238E27FC236}">
                <a16:creationId xmlns:a16="http://schemas.microsoft.com/office/drawing/2014/main" id="{9F9869AF-B0F6-4E89-B216-4EC18C7334C2}"/>
              </a:ext>
            </a:extLst>
          </p:cNvPr>
          <p:cNvSpPr>
            <a:spLocks noGrp="1"/>
          </p:cNvSpPr>
          <p:nvPr>
            <p:custDataLst>
              <p:tags r:id="rId38"/>
            </p:custDataLst>
          </p:nvPr>
        </p:nvSpPr>
        <p:spPr bwMode="auto">
          <a:xfrm>
            <a:off x="7562850" y="239712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D645238-522F-4417-BE8B-DAD72CC2B90E}" type="datetime'''''''La''''t''''e'''''''''''''''''''''' ''20''20''s'''">
              <a:rPr lang="en-GB" altLang="en-US" sz="1000" smtClean="0">
                <a:effectLst/>
                <a:ea typeface="+mn-ea"/>
                <a:cs typeface="+mn-cs"/>
              </a:rPr>
              <a:pPr lvl="0">
                <a:spcBef>
                  <a:spcPct val="0"/>
                </a:spcBef>
                <a:spcAft>
                  <a:spcPct val="0"/>
                </a:spcAft>
              </a:pPr>
              <a:t>Late 2020s</a:t>
            </a:fld>
            <a:endParaRPr lang="en-GB" sz="1000">
              <a:ea typeface="+mn-ea"/>
              <a:cs typeface="+mn-cs"/>
            </a:endParaRPr>
          </a:p>
        </p:txBody>
      </p:sp>
      <p:sp>
        <p:nvSpPr>
          <p:cNvPr id="4200" name="Text Placeholder 19">
            <a:extLst>
              <a:ext uri="{FF2B5EF4-FFF2-40B4-BE49-F238E27FC236}">
                <a16:creationId xmlns:a16="http://schemas.microsoft.com/office/drawing/2014/main" id="{9F9869AF-B0F6-4E89-B216-4EC18C7334C2}"/>
              </a:ext>
            </a:extLst>
          </p:cNvPr>
          <p:cNvSpPr>
            <a:spLocks noGrp="1"/>
          </p:cNvSpPr>
          <p:nvPr>
            <p:custDataLst>
              <p:tags r:id="rId39"/>
            </p:custDataLst>
          </p:nvPr>
        </p:nvSpPr>
        <p:spPr bwMode="auto">
          <a:xfrm>
            <a:off x="7562850" y="260032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8E5DEB3-5A95-4591-9F52-4BA3F6891248}"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4210" name="Rectangle 4209">
            <a:extLst>
              <a:ext uri="{FF2B5EF4-FFF2-40B4-BE49-F238E27FC236}">
                <a16:creationId xmlns:a16="http://schemas.microsoft.com/office/drawing/2014/main" id="{3D35BBDD-4E56-FECC-B267-4C853B7428B4}"/>
              </a:ext>
            </a:extLst>
          </p:cNvPr>
          <p:cNvSpPr/>
          <p:nvPr>
            <p:custDataLst>
              <p:tags r:id="rId40"/>
            </p:custDataLst>
          </p:nvPr>
        </p:nvSpPr>
        <p:spPr bwMode="auto">
          <a:xfrm>
            <a:off x="10926763" y="219868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211" name="Rectangle 4210">
            <a:extLst>
              <a:ext uri="{FF2B5EF4-FFF2-40B4-BE49-F238E27FC236}">
                <a16:creationId xmlns:a16="http://schemas.microsoft.com/office/drawing/2014/main" id="{80EB03DA-EE94-CED1-E25E-FA10A5AFB6F5}"/>
              </a:ext>
            </a:extLst>
          </p:cNvPr>
          <p:cNvSpPr/>
          <p:nvPr>
            <p:custDataLst>
              <p:tags r:id="rId41"/>
            </p:custDataLst>
          </p:nvPr>
        </p:nvSpPr>
        <p:spPr bwMode="auto">
          <a:xfrm>
            <a:off x="10926763" y="240188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212" name="Rectangle 4211">
            <a:extLst>
              <a:ext uri="{FF2B5EF4-FFF2-40B4-BE49-F238E27FC236}">
                <a16:creationId xmlns:a16="http://schemas.microsoft.com/office/drawing/2014/main" id="{4CBEBC65-D7DB-A942-273C-17218BB64EB1}"/>
              </a:ext>
            </a:extLst>
          </p:cNvPr>
          <p:cNvSpPr/>
          <p:nvPr>
            <p:custDataLst>
              <p:tags r:id="rId42"/>
            </p:custDataLst>
          </p:nvPr>
        </p:nvSpPr>
        <p:spPr bwMode="auto">
          <a:xfrm>
            <a:off x="10926763" y="2605088"/>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207" name="Text Placeholder 19">
            <a:extLst>
              <a:ext uri="{FF2B5EF4-FFF2-40B4-BE49-F238E27FC236}">
                <a16:creationId xmlns:a16="http://schemas.microsoft.com/office/drawing/2014/main" id="{9F9869AF-B0F6-4E89-B216-4EC18C7334C2}"/>
              </a:ext>
            </a:extLst>
          </p:cNvPr>
          <p:cNvSpPr>
            <a:spLocks noGrp="1"/>
          </p:cNvSpPr>
          <p:nvPr>
            <p:custDataLst>
              <p:tags r:id="rId43"/>
            </p:custDataLst>
          </p:nvPr>
        </p:nvSpPr>
        <p:spPr bwMode="auto">
          <a:xfrm>
            <a:off x="11156950" y="219392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6CF394A1-F7AF-4546-BE3B-8F0650646C15}"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4205" name="Text Placeholder 19">
            <a:extLst>
              <a:ext uri="{FF2B5EF4-FFF2-40B4-BE49-F238E27FC236}">
                <a16:creationId xmlns:a16="http://schemas.microsoft.com/office/drawing/2014/main" id="{9F9869AF-B0F6-4E89-B216-4EC18C7334C2}"/>
              </a:ext>
            </a:extLst>
          </p:cNvPr>
          <p:cNvSpPr>
            <a:spLocks noGrp="1"/>
          </p:cNvSpPr>
          <p:nvPr>
            <p:custDataLst>
              <p:tags r:id="rId44"/>
            </p:custDataLst>
          </p:nvPr>
        </p:nvSpPr>
        <p:spPr bwMode="auto">
          <a:xfrm>
            <a:off x="11156950" y="239712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9CE6173-DEB9-41AB-A3B9-BD322A7B929B}" type="datetime'''La''t''''e'''' ''''''''''''''2''02''''0''s'''">
              <a:rPr lang="en-GB" altLang="en-US" sz="1000" smtClean="0">
                <a:effectLst/>
                <a:ea typeface="+mn-ea"/>
                <a:cs typeface="+mn-cs"/>
              </a:rPr>
              <a:pPr lvl="0">
                <a:spcBef>
                  <a:spcPct val="0"/>
                </a:spcBef>
                <a:spcAft>
                  <a:spcPct val="0"/>
                </a:spcAft>
              </a:pPr>
              <a:t>Late 2020s</a:t>
            </a:fld>
            <a:endParaRPr lang="en-GB" sz="1000">
              <a:ea typeface="+mn-ea"/>
              <a:cs typeface="+mn-cs"/>
            </a:endParaRPr>
          </a:p>
        </p:txBody>
      </p:sp>
      <p:sp>
        <p:nvSpPr>
          <p:cNvPr id="4208" name="Text Placeholder 19">
            <a:extLst>
              <a:ext uri="{FF2B5EF4-FFF2-40B4-BE49-F238E27FC236}">
                <a16:creationId xmlns:a16="http://schemas.microsoft.com/office/drawing/2014/main" id="{9F9869AF-B0F6-4E89-B216-4EC18C7334C2}"/>
              </a:ext>
            </a:extLst>
          </p:cNvPr>
          <p:cNvSpPr>
            <a:spLocks noGrp="1"/>
          </p:cNvSpPr>
          <p:nvPr>
            <p:custDataLst>
              <p:tags r:id="rId45"/>
            </p:custDataLst>
          </p:nvPr>
        </p:nvSpPr>
        <p:spPr bwMode="auto">
          <a:xfrm>
            <a:off x="11156950" y="260032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D411A1B6-32D3-4580-8B22-36FA050B53DA}"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6" name="Text Placeholder 16">
            <a:extLst>
              <a:ext uri="{FF2B5EF4-FFF2-40B4-BE49-F238E27FC236}">
                <a16:creationId xmlns:a16="http://schemas.microsoft.com/office/drawing/2014/main" id="{C053960F-A3B0-9909-319C-44F43CD6E195}"/>
              </a:ext>
            </a:extLst>
          </p:cNvPr>
          <p:cNvSpPr txBox="1">
            <a:spLocks/>
          </p:cNvSpPr>
          <p:nvPr/>
        </p:nvSpPr>
        <p:spPr>
          <a:xfrm>
            <a:off x="4181476" y="5012937"/>
            <a:ext cx="5138377" cy="2769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00"/>
              <a:t>This is a redacted sample of the European Battery Market Attractiveness Report. If you are interested in the full report, contact Alex Hutcheson (</a:t>
            </a:r>
            <a:r>
              <a:rPr lang="en-GB" sz="1000" u="sng"/>
              <a:t>alex.hutcheson@auroraer.com)</a:t>
            </a:r>
            <a:endParaRPr lang="en-GB" sz="1000"/>
          </a:p>
        </p:txBody>
      </p:sp>
    </p:spTree>
    <p:extLst>
      <p:ext uri="{BB962C8B-B14F-4D97-AF65-F5344CB8AC3E}">
        <p14:creationId xmlns:p14="http://schemas.microsoft.com/office/powerpoint/2010/main" val="196772159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3502857"/>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3431421"/>
          </a:xfrm>
        </p:spPr>
        <p:txBody>
          <a:bodyPr/>
          <a:lstStyle/>
          <a:p>
            <a:r>
              <a:rPr lang="en-GB" sz="1400" dirty="0">
                <a:hlinkClick r:id="" action="ppaction://noaction"/>
              </a:rPr>
              <a:t>Executive summary</a:t>
            </a:r>
            <a:endParaRPr lang="en-GB" sz="1400" dirty="0"/>
          </a:p>
          <a:p>
            <a:r>
              <a:rPr lang="en-GB" sz="1400" dirty="0">
                <a:hlinkClick r:id="" action="ppaction://noaction"/>
              </a:rPr>
              <a:t>Introduction to battery storage </a:t>
            </a:r>
            <a:r>
              <a:rPr lang="en-GB" sz="1400" dirty="0"/>
              <a:t>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GB" sz="1400" b="1" dirty="0">
                <a:effectLst/>
                <a:ea typeface="Calibri" panose="020F0502020204030204" pitchFamily="34" charset="0"/>
                <a:hlinkClick r:id="" action="ppaction://noaction"/>
              </a:rPr>
              <a:t>Revenue </a:t>
            </a:r>
            <a:r>
              <a:rPr lang="en-GB" sz="1400" b="1" dirty="0">
                <a:effectLst/>
                <a:ea typeface="Calibri" panose="020F0502020204030204" pitchFamily="34" charset="0"/>
              </a:rPr>
              <a:t>Streams</a:t>
            </a:r>
          </a:p>
          <a:p>
            <a:r>
              <a:rPr lang="en-GB" sz="1400" b="1" u="sng" dirty="0">
                <a:effectLst/>
                <a:ea typeface="Calibri" panose="020F0502020204030204" pitchFamily="34" charset="0"/>
                <a:hlinkClick r:id="rId6" action="ppaction://hlinksldjump"/>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11" name="Group 10">
            <a:extLst>
              <a:ext uri="{FF2B5EF4-FFF2-40B4-BE49-F238E27FC236}">
                <a16:creationId xmlns:a16="http://schemas.microsoft.com/office/drawing/2014/main" id="{B946CFB7-4619-C546-5008-B554C28B0BBD}"/>
              </a:ext>
            </a:extLst>
          </p:cNvPr>
          <p:cNvGrpSpPr/>
          <p:nvPr/>
        </p:nvGrpSpPr>
        <p:grpSpPr>
          <a:xfrm>
            <a:off x="-794" y="5661878"/>
            <a:ext cx="12192000" cy="841829"/>
            <a:chOff x="0" y="5631542"/>
            <a:chExt cx="12192000" cy="841829"/>
          </a:xfrm>
        </p:grpSpPr>
        <p:sp>
          <p:nvSpPr>
            <p:cNvPr id="12" name="Rectangle 11">
              <a:extLst>
                <a:ext uri="{FF2B5EF4-FFF2-40B4-BE49-F238E27FC236}">
                  <a16:creationId xmlns:a16="http://schemas.microsoft.com/office/drawing/2014/main" id="{9311B6C9-30A5-CFDB-2BF8-5F45E1E55C72}"/>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13" name="TextBox 12">
              <a:extLst>
                <a:ext uri="{FF2B5EF4-FFF2-40B4-BE49-F238E27FC236}">
                  <a16:creationId xmlns:a16="http://schemas.microsoft.com/office/drawing/2014/main" id="{4FE94B9D-1B6D-BC18-73CD-523E760D9F1C}"/>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17192678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B63A1B-120B-C5E4-CA3D-F0F8C21516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AB63A1B-120B-C5E4-CA3D-F0F8C2151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DB7AF83-283B-A398-DFCB-E758DA1FFA5D}"/>
              </a:ext>
            </a:extLst>
          </p:cNvPr>
          <p:cNvSpPr>
            <a:spLocks noGrp="1"/>
          </p:cNvSpPr>
          <p:nvPr>
            <p:ph type="body" sz="quarter" idx="27"/>
          </p:nvPr>
        </p:nvSpPr>
        <p:spPr>
          <a:xfrm>
            <a:off x="380996" y="2860467"/>
            <a:ext cx="3038479" cy="369332"/>
          </a:xfrm>
        </p:spPr>
        <p:txBody>
          <a:bodyPr/>
          <a:lstStyle/>
          <a:p>
            <a:r>
              <a:rPr lang="en-GB" sz="2400" i="1"/>
              <a:t>Project economics</a:t>
            </a:r>
          </a:p>
        </p:txBody>
      </p:sp>
      <p:sp>
        <p:nvSpPr>
          <p:cNvPr id="3" name="Text Placeholder 2">
            <a:extLst>
              <a:ext uri="{FF2B5EF4-FFF2-40B4-BE49-F238E27FC236}">
                <a16:creationId xmlns:a16="http://schemas.microsoft.com/office/drawing/2014/main" id="{C009B543-D389-6247-CC01-9DA2DA99C46C}"/>
              </a:ext>
            </a:extLst>
          </p:cNvPr>
          <p:cNvSpPr>
            <a:spLocks noGrp="1"/>
          </p:cNvSpPr>
          <p:nvPr>
            <p:ph type="body" sz="quarter" idx="28"/>
          </p:nvPr>
        </p:nvSpPr>
        <p:spPr>
          <a:xfrm>
            <a:off x="3814481" y="1248228"/>
            <a:ext cx="8009220" cy="5201424"/>
          </a:xfrm>
        </p:spPr>
        <p:txBody>
          <a:bodyPr/>
          <a:lstStyle/>
          <a:p>
            <a:pPr marL="182880" indent="-182880">
              <a:buFont typeface="Wingdings" panose="05000000000000000000" pitchFamily="2" charset="2"/>
              <a:buChar char="§"/>
            </a:pPr>
            <a:r>
              <a:rPr lang="en-GB"/>
              <a:t>Stacking of revenues is fundamental to building battery business cases and driving asset profitability.</a:t>
            </a:r>
            <a:endParaRPr lang="en-GB" sz="1200" b="0">
              <a:solidFill>
                <a:schemeClr val="tx1"/>
              </a:solidFill>
            </a:endParaRPr>
          </a:p>
          <a:p>
            <a:pPr marL="182880" indent="-182880">
              <a:buFont typeface="Wingdings" panose="05000000000000000000" pitchFamily="2" charset="2"/>
              <a:buChar char="§"/>
            </a:pPr>
            <a:r>
              <a:rPr lang="en-GB">
                <a:solidFill>
                  <a:schemeClr val="tx1"/>
                </a:solidFill>
              </a:rPr>
              <a:t>The gross margin stack is formed largely by </a:t>
            </a:r>
            <a:r>
              <a:rPr lang="en-GB"/>
              <a:t>c</a:t>
            </a:r>
            <a:r>
              <a:rPr lang="en-GB">
                <a:solidFill>
                  <a:schemeClr val="tx1"/>
                </a:solidFill>
              </a:rPr>
              <a:t>apacity-based ancillary services revenues in </a:t>
            </a:r>
            <a:r>
              <a:rPr lang="en-GB" sz="1200">
                <a:solidFill>
                  <a:srgbClr val="7A7A7A"/>
                </a:solidFill>
                <a:highlight>
                  <a:srgbClr val="7A7A7A"/>
                </a:highlight>
                <a:latin typeface="Lato"/>
              </a:rPr>
              <a:t>XX</a:t>
            </a:r>
            <a:r>
              <a:rPr lang="en-GB">
                <a:solidFill>
                  <a:schemeClr val="tx1"/>
                </a:solidFill>
              </a:rPr>
              <a:t>, but energy arbitrage is prevalent elsewhere. </a:t>
            </a:r>
          </a:p>
          <a:p>
            <a:pPr marL="182880" indent="-182880">
              <a:buFont typeface="Wingdings" panose="05000000000000000000" pitchFamily="2" charset="2"/>
              <a:buChar char="§"/>
            </a:pPr>
            <a:r>
              <a:rPr lang="en-GB"/>
              <a:t>The need for longer duration storage increases with rising renewables penetration; 4-hour batteries benefit most from arbitrage revenues.</a:t>
            </a:r>
          </a:p>
          <a:p>
            <a:pPr marL="182880" indent="-182880">
              <a:buFont typeface="Wingdings" panose="05000000000000000000" pitchFamily="2" charset="2"/>
              <a:buChar char="§"/>
            </a:pPr>
            <a:r>
              <a:rPr lang="en-GB"/>
              <a:t>Gross margins tend to decrease over time due to market saturation and asset degradation.</a:t>
            </a:r>
          </a:p>
          <a:p>
            <a:pPr marL="182880" indent="-182880">
              <a:buFont typeface="Wingdings" panose="05000000000000000000" pitchFamily="2" charset="2"/>
              <a:buChar char="§"/>
            </a:pPr>
            <a:r>
              <a:rPr lang="en-GB"/>
              <a:t>Developers can apply different strategies to improve their investment cases, such as repowering, co-location of assets, AI supported intraday trading and grid location.</a:t>
            </a:r>
          </a:p>
          <a:p>
            <a:pPr marL="182880" indent="-182880">
              <a:buFont typeface="Wingdings" panose="05000000000000000000" pitchFamily="2" charset="2"/>
              <a:buChar char="§"/>
            </a:pPr>
            <a:r>
              <a:rPr lang="en-GB">
                <a:solidFill>
                  <a:schemeClr val="tx1"/>
                </a:solidFill>
              </a:rPr>
              <a:t>Repowering extends the battery lifetime, allowing them to capture higher revenues</a:t>
            </a:r>
            <a:r>
              <a:rPr lang="en-GB"/>
              <a:t> and</a:t>
            </a:r>
            <a:r>
              <a:rPr lang="en-GB">
                <a:solidFill>
                  <a:schemeClr val="tx1"/>
                </a:solidFill>
              </a:rPr>
              <a:t> making projects more profitable. C</a:t>
            </a:r>
            <a:r>
              <a:rPr lang="en-GB"/>
              <a:t>o-location of batteries with renewable energy sources, e.g. solar or wind, </a:t>
            </a:r>
            <a:r>
              <a:rPr lang="en-GB">
                <a:solidFill>
                  <a:schemeClr val="tx1"/>
                </a:solidFill>
              </a:rPr>
              <a:t>could increase IRRs through cost savings and project optimisation.</a:t>
            </a:r>
            <a:endParaRPr lang="en-GB"/>
          </a:p>
          <a:p>
            <a:pPr marL="182880" indent="-182880">
              <a:buFont typeface="Wingdings" panose="05000000000000000000" pitchFamily="2" charset="2"/>
              <a:buChar char="§"/>
            </a:pPr>
            <a:r>
              <a:rPr lang="en-GB"/>
              <a:t>Favourable policy environments have enabled co-located projects to emerge in more mature markets such as </a:t>
            </a:r>
            <a:r>
              <a:rPr lang="en-GB" sz="1200">
                <a:solidFill>
                  <a:srgbClr val="7A7A7A"/>
                </a:solidFill>
                <a:highlight>
                  <a:srgbClr val="7A7A7A"/>
                </a:highlight>
                <a:latin typeface="Lato"/>
              </a:rPr>
              <a:t>X </a:t>
            </a:r>
            <a:r>
              <a:rPr lang="en-GB" sz="1200" err="1">
                <a:solidFill>
                  <a:srgbClr val="7A7A7A"/>
                </a:solidFill>
                <a:highlight>
                  <a:srgbClr val="7A7A7A"/>
                </a:highlight>
                <a:latin typeface="Lato"/>
              </a:rPr>
              <a:t>X</a:t>
            </a:r>
            <a:r>
              <a:rPr lang="en-GB"/>
              <a:t>, </a:t>
            </a:r>
            <a:r>
              <a:rPr lang="en-GB" sz="1200">
                <a:solidFill>
                  <a:srgbClr val="7A7A7A"/>
                </a:solidFill>
                <a:highlight>
                  <a:srgbClr val="7A7A7A"/>
                </a:highlight>
                <a:latin typeface="Lato"/>
              </a:rPr>
              <a:t>XX  </a:t>
            </a:r>
            <a:r>
              <a:rPr lang="en-GB"/>
              <a:t>and, </a:t>
            </a:r>
            <a:r>
              <a:rPr lang="en-GB" sz="1200">
                <a:solidFill>
                  <a:srgbClr val="7A7A7A"/>
                </a:solidFill>
                <a:highlight>
                  <a:srgbClr val="7A7A7A"/>
                </a:highlight>
                <a:latin typeface="Lato"/>
              </a:rPr>
              <a:t>XX</a:t>
            </a:r>
            <a:r>
              <a:rPr lang="en-GB"/>
              <a:t>, and markets with strong fundamentals such as </a:t>
            </a:r>
            <a:r>
              <a:rPr lang="en-GB" sz="1200">
                <a:solidFill>
                  <a:srgbClr val="7A7A7A"/>
                </a:solidFill>
                <a:highlight>
                  <a:srgbClr val="7A7A7A"/>
                </a:highlight>
                <a:latin typeface="Lato"/>
              </a:rPr>
              <a:t>XX</a:t>
            </a:r>
            <a:r>
              <a:rPr lang="en-GB"/>
              <a:t>.</a:t>
            </a:r>
            <a:endParaRPr lang="en-GB">
              <a:solidFill>
                <a:schemeClr val="tx1"/>
              </a:solidFill>
            </a:endParaRPr>
          </a:p>
          <a:p>
            <a:pPr marL="182880" indent="-182880">
              <a:buFont typeface="Wingdings" panose="05000000000000000000" pitchFamily="2" charset="2"/>
              <a:buChar char="§"/>
            </a:pPr>
            <a:r>
              <a:rPr lang="en-GB"/>
              <a:t>1-hour batteries are expected to achieve unlevered IRRs higher than </a:t>
            </a:r>
            <a:r>
              <a:rPr lang="en-GB" sz="1200">
                <a:solidFill>
                  <a:srgbClr val="7A7A7A"/>
                </a:solidFill>
                <a:highlight>
                  <a:srgbClr val="7A7A7A"/>
                </a:highlight>
                <a:latin typeface="Lato"/>
              </a:rPr>
              <a:t>XX </a:t>
            </a:r>
            <a:r>
              <a:rPr lang="en-GB"/>
              <a:t>% in most countries; </a:t>
            </a:r>
            <a:r>
              <a:rPr lang="en-GB" sz="1200">
                <a:solidFill>
                  <a:srgbClr val="7A7A7A"/>
                </a:solidFill>
                <a:highlight>
                  <a:srgbClr val="7A7A7A"/>
                </a:highlight>
                <a:latin typeface="Lato"/>
              </a:rPr>
              <a:t>XX</a:t>
            </a:r>
            <a:r>
              <a:rPr lang="en-GB"/>
              <a:t> and </a:t>
            </a:r>
            <a:r>
              <a:rPr lang="en-GB" sz="1200">
                <a:solidFill>
                  <a:srgbClr val="7A7A7A"/>
                </a:solidFill>
                <a:highlight>
                  <a:srgbClr val="7A7A7A"/>
                </a:highlight>
                <a:latin typeface="Lato"/>
              </a:rPr>
              <a:t>XX</a:t>
            </a:r>
            <a:r>
              <a:rPr lang="en-GB"/>
              <a:t> achieve the highest IRRs. However, in some countries, 1-hour business cases are not attractive anymore due to increased saturation of ancillary services.</a:t>
            </a:r>
          </a:p>
          <a:p>
            <a:pPr marL="182880" indent="-182880">
              <a:buFont typeface="Wingdings" panose="05000000000000000000" pitchFamily="2" charset="2"/>
              <a:buChar char="§"/>
            </a:pPr>
            <a:r>
              <a:rPr lang="en-GB"/>
              <a:t>In some countries, 2hr batteries can generate higher IRRs than 1hr batteries. Higher energy arbitrage revenues becomes increasingly important for longer duration storage than shorter duration assets, but also suffer from higher CAPEX; </a:t>
            </a:r>
            <a:r>
              <a:rPr lang="en-GB" sz="1200">
                <a:solidFill>
                  <a:srgbClr val="7A7A7A"/>
                </a:solidFill>
                <a:highlight>
                  <a:srgbClr val="7A7A7A"/>
                </a:highlight>
                <a:latin typeface="Lato"/>
              </a:rPr>
              <a:t>XX</a:t>
            </a:r>
            <a:r>
              <a:rPr lang="en-GB"/>
              <a:t> and </a:t>
            </a:r>
            <a:r>
              <a:rPr lang="en-GB" sz="1200">
                <a:solidFill>
                  <a:srgbClr val="7A7A7A"/>
                </a:solidFill>
                <a:highlight>
                  <a:srgbClr val="7A7A7A"/>
                </a:highlight>
                <a:latin typeface="Lato"/>
              </a:rPr>
              <a:t>XX</a:t>
            </a:r>
            <a:r>
              <a:rPr lang="en-GB"/>
              <a:t> see the highest 2-hour battery IRRs.</a:t>
            </a:r>
          </a:p>
          <a:p>
            <a:pPr marL="182880" indent="-182880">
              <a:buFont typeface="Wingdings" panose="05000000000000000000" pitchFamily="2" charset="2"/>
              <a:buChar char="§"/>
            </a:pPr>
            <a:r>
              <a:rPr lang="en-GB"/>
              <a:t>High capital costs tend to dampen IRRs for 4hr batteries despite high arbitrage opportunities. However, revenues are enough to offset the cost increase in some countries, like </a:t>
            </a:r>
            <a:r>
              <a:rPr lang="en-GB" sz="1200">
                <a:solidFill>
                  <a:srgbClr val="7A7A7A"/>
                </a:solidFill>
                <a:highlight>
                  <a:srgbClr val="7A7A7A"/>
                </a:highlight>
                <a:latin typeface="Lato"/>
              </a:rPr>
              <a:t>XX</a:t>
            </a:r>
            <a:r>
              <a:rPr lang="en-GB"/>
              <a:t> and </a:t>
            </a:r>
            <a:r>
              <a:rPr lang="en-GB" sz="1200">
                <a:solidFill>
                  <a:srgbClr val="7A7A7A"/>
                </a:solidFill>
                <a:highlight>
                  <a:srgbClr val="7A7A7A"/>
                </a:highlight>
                <a:latin typeface="Lato"/>
              </a:rPr>
              <a:t>XX</a:t>
            </a:r>
            <a:r>
              <a:rPr lang="en-GB"/>
              <a:t>, where 4hr batteries remain attractive.</a:t>
            </a:r>
          </a:p>
          <a:p>
            <a:pPr marL="182880" indent="-182880">
              <a:buFont typeface="Wingdings" panose="05000000000000000000" pitchFamily="2" charset="2"/>
              <a:buChar char="§"/>
            </a:pPr>
            <a:r>
              <a:rPr lang="en-GB"/>
              <a:t>Based on project IRRs and co-location environment potential, </a:t>
            </a:r>
            <a:r>
              <a:rPr lang="en-GB" sz="1200">
                <a:solidFill>
                  <a:srgbClr val="7A7A7A"/>
                </a:solidFill>
                <a:highlight>
                  <a:srgbClr val="7A7A7A"/>
                </a:highlight>
                <a:latin typeface="Lato"/>
              </a:rPr>
              <a:t>XX</a:t>
            </a:r>
            <a:r>
              <a:rPr lang="en-GB"/>
              <a:t> sees the most attractive project economics for battery storage, followed by </a:t>
            </a:r>
            <a:r>
              <a:rPr lang="en-GB" sz="1200">
                <a:solidFill>
                  <a:srgbClr val="7A7A7A"/>
                </a:solidFill>
                <a:highlight>
                  <a:srgbClr val="7A7A7A"/>
                </a:highlight>
                <a:latin typeface="Lato"/>
              </a:rPr>
              <a:t>XX</a:t>
            </a:r>
            <a:r>
              <a:rPr lang="en-GB"/>
              <a:t> and </a:t>
            </a:r>
            <a:r>
              <a:rPr lang="en-GB" sz="1200">
                <a:solidFill>
                  <a:srgbClr val="7A7A7A"/>
                </a:solidFill>
                <a:highlight>
                  <a:srgbClr val="7A7A7A"/>
                </a:highlight>
                <a:latin typeface="Lato"/>
              </a:rPr>
              <a:t>XX</a:t>
            </a:r>
            <a:r>
              <a:rPr lang="en-GB"/>
              <a:t>.</a:t>
            </a:r>
          </a:p>
        </p:txBody>
      </p:sp>
      <p:sp>
        <p:nvSpPr>
          <p:cNvPr id="15" name="Text Placeholder 14">
            <a:extLst>
              <a:ext uri="{FF2B5EF4-FFF2-40B4-BE49-F238E27FC236}">
                <a16:creationId xmlns:a16="http://schemas.microsoft.com/office/drawing/2014/main" id="{A409247C-3EE7-BABA-D904-728C14C1FEF3}"/>
              </a:ext>
            </a:extLst>
          </p:cNvPr>
          <p:cNvSpPr>
            <a:spLocks noGrp="1"/>
          </p:cNvSpPr>
          <p:nvPr>
            <p:ph type="body" sz="quarter" idx="22"/>
          </p:nvPr>
        </p:nvSpPr>
        <p:spPr>
          <a:xfrm>
            <a:off x="3814481" y="6715169"/>
            <a:ext cx="1455527" cy="110800"/>
          </a:xfrm>
        </p:spPr>
        <p:txBody>
          <a:bodyPr/>
          <a:lstStyle/>
          <a:p>
            <a:r>
              <a:rPr lang="en-GB"/>
              <a:t>Source: Aurora Energy Research</a:t>
            </a:r>
          </a:p>
        </p:txBody>
      </p:sp>
      <p:sp>
        <p:nvSpPr>
          <p:cNvPr id="18" name="Text Placeholder 17">
            <a:extLst>
              <a:ext uri="{FF2B5EF4-FFF2-40B4-BE49-F238E27FC236}">
                <a16:creationId xmlns:a16="http://schemas.microsoft.com/office/drawing/2014/main" id="{B6842CC2-E523-AFF1-A25D-4609BC0B84FD}"/>
              </a:ext>
            </a:extLst>
          </p:cNvPr>
          <p:cNvSpPr>
            <a:spLocks noGrp="1"/>
          </p:cNvSpPr>
          <p:nvPr>
            <p:ph type="body" sz="quarter" idx="32"/>
          </p:nvPr>
        </p:nvSpPr>
        <p:spPr/>
        <p:txBody>
          <a:bodyPr/>
          <a:lstStyle/>
          <a:p>
            <a:endParaRPr lang="en-GB"/>
          </a:p>
        </p:txBody>
      </p:sp>
      <p:sp>
        <p:nvSpPr>
          <p:cNvPr id="17" name="Text Placeholder 16">
            <a:extLst>
              <a:ext uri="{FF2B5EF4-FFF2-40B4-BE49-F238E27FC236}">
                <a16:creationId xmlns:a16="http://schemas.microsoft.com/office/drawing/2014/main" id="{3BE95EA9-7E9E-AE58-C6E4-D1EF72E64F13}"/>
              </a:ext>
            </a:extLst>
          </p:cNvPr>
          <p:cNvSpPr>
            <a:spLocks noGrp="1"/>
          </p:cNvSpPr>
          <p:nvPr>
            <p:ph type="body" sz="quarter" idx="31"/>
          </p:nvPr>
        </p:nvSpPr>
        <p:spPr>
          <a:xfrm>
            <a:off x="3814481" y="79401"/>
            <a:ext cx="1468672" cy="184666"/>
          </a:xfrm>
        </p:spPr>
        <p:txBody>
          <a:bodyPr/>
          <a:lstStyle/>
          <a:p>
            <a:r>
              <a:rPr lang="en-GB"/>
              <a:t>	Project economics</a:t>
            </a:r>
          </a:p>
        </p:txBody>
      </p:sp>
      <p:grpSp>
        <p:nvGrpSpPr>
          <p:cNvPr id="8" name="Group 179">
            <a:extLst>
              <a:ext uri="{FF2B5EF4-FFF2-40B4-BE49-F238E27FC236}">
                <a16:creationId xmlns:a16="http://schemas.microsoft.com/office/drawing/2014/main" id="{5C1A05D4-6122-CD71-5BB7-B42CA1055619}"/>
              </a:ext>
            </a:extLst>
          </p:cNvPr>
          <p:cNvGrpSpPr/>
          <p:nvPr/>
        </p:nvGrpSpPr>
        <p:grpSpPr>
          <a:xfrm>
            <a:off x="1101089" y="4156218"/>
            <a:ext cx="1735422" cy="1591434"/>
            <a:chOff x="5549330" y="1267173"/>
            <a:chExt cx="1030288" cy="1057275"/>
          </a:xfrm>
          <a:solidFill>
            <a:schemeClr val="tx1">
              <a:lumMod val="50000"/>
            </a:schemeClr>
          </a:solidFill>
        </p:grpSpPr>
        <p:sp>
          <p:nvSpPr>
            <p:cNvPr id="9" name="Freeform 99">
              <a:extLst>
                <a:ext uri="{FF2B5EF4-FFF2-40B4-BE49-F238E27FC236}">
                  <a16:creationId xmlns:a16="http://schemas.microsoft.com/office/drawing/2014/main" id="{CA68F3CA-3FFA-BE78-3447-571AC8FA3FF8}"/>
                </a:ext>
              </a:extLst>
            </p:cNvPr>
            <p:cNvSpPr>
              <a:spLocks/>
            </p:cNvSpPr>
            <p:nvPr/>
          </p:nvSpPr>
          <p:spPr bwMode="auto">
            <a:xfrm>
              <a:off x="5549330" y="2086323"/>
              <a:ext cx="484188" cy="211138"/>
            </a:xfrm>
            <a:custGeom>
              <a:avLst/>
              <a:gdLst/>
              <a:ahLst/>
              <a:cxnLst>
                <a:cxn ang="0">
                  <a:pos x="29" y="147"/>
                </a:cxn>
                <a:cxn ang="0">
                  <a:pos x="321" y="147"/>
                </a:cxn>
                <a:cxn ang="0">
                  <a:pos x="337" y="142"/>
                </a:cxn>
                <a:cxn ang="0">
                  <a:pos x="258" y="0"/>
                </a:cxn>
                <a:cxn ang="0">
                  <a:pos x="29" y="0"/>
                </a:cxn>
                <a:cxn ang="0">
                  <a:pos x="0" y="28"/>
                </a:cxn>
                <a:cxn ang="0">
                  <a:pos x="0" y="118"/>
                </a:cxn>
                <a:cxn ang="0">
                  <a:pos x="29" y="147"/>
                </a:cxn>
              </a:cxnLst>
              <a:rect l="0" t="0" r="r" b="b"/>
              <a:pathLst>
                <a:path w="337" h="147">
                  <a:moveTo>
                    <a:pt x="29" y="147"/>
                  </a:moveTo>
                  <a:cubicBezTo>
                    <a:pt x="321" y="147"/>
                    <a:pt x="321" y="147"/>
                    <a:pt x="321" y="147"/>
                  </a:cubicBezTo>
                  <a:cubicBezTo>
                    <a:pt x="327" y="147"/>
                    <a:pt x="333" y="145"/>
                    <a:pt x="337" y="142"/>
                  </a:cubicBezTo>
                  <a:cubicBezTo>
                    <a:pt x="297" y="105"/>
                    <a:pt x="268" y="56"/>
                    <a:pt x="258" y="0"/>
                  </a:cubicBezTo>
                  <a:cubicBezTo>
                    <a:pt x="29" y="0"/>
                    <a:pt x="29" y="0"/>
                    <a:pt x="29" y="0"/>
                  </a:cubicBezTo>
                  <a:cubicBezTo>
                    <a:pt x="13" y="0"/>
                    <a:pt x="0" y="12"/>
                    <a:pt x="0" y="28"/>
                  </a:cubicBezTo>
                  <a:cubicBezTo>
                    <a:pt x="0" y="118"/>
                    <a:pt x="0" y="118"/>
                    <a:pt x="0" y="118"/>
                  </a:cubicBezTo>
                  <a:cubicBezTo>
                    <a:pt x="0" y="134"/>
                    <a:pt x="13" y="147"/>
                    <a:pt x="29" y="147"/>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0" name="Freeform 100">
              <a:extLst>
                <a:ext uri="{FF2B5EF4-FFF2-40B4-BE49-F238E27FC236}">
                  <a16:creationId xmlns:a16="http://schemas.microsoft.com/office/drawing/2014/main" id="{641C838C-AC6C-BB11-79B9-92CB0378CA93}"/>
                </a:ext>
              </a:extLst>
            </p:cNvPr>
            <p:cNvSpPr>
              <a:spLocks/>
            </p:cNvSpPr>
            <p:nvPr/>
          </p:nvSpPr>
          <p:spPr bwMode="auto">
            <a:xfrm>
              <a:off x="5623943" y="1813273"/>
              <a:ext cx="358775" cy="211138"/>
            </a:xfrm>
            <a:custGeom>
              <a:avLst/>
              <a:gdLst/>
              <a:ahLst/>
              <a:cxnLst>
                <a:cxn ang="0">
                  <a:pos x="28" y="0"/>
                </a:cxn>
                <a:cxn ang="0">
                  <a:pos x="0" y="28"/>
                </a:cxn>
                <a:cxn ang="0">
                  <a:pos x="0" y="118"/>
                </a:cxn>
                <a:cxn ang="0">
                  <a:pos x="28" y="147"/>
                </a:cxn>
                <a:cxn ang="0">
                  <a:pos x="202" y="147"/>
                </a:cxn>
                <a:cxn ang="0">
                  <a:pos x="202" y="145"/>
                </a:cxn>
                <a:cxn ang="0">
                  <a:pos x="249" y="0"/>
                </a:cxn>
                <a:cxn ang="0">
                  <a:pos x="28" y="0"/>
                </a:cxn>
              </a:cxnLst>
              <a:rect l="0" t="0" r="r" b="b"/>
              <a:pathLst>
                <a:path w="249" h="147">
                  <a:moveTo>
                    <a:pt x="28" y="0"/>
                  </a:moveTo>
                  <a:cubicBezTo>
                    <a:pt x="12" y="0"/>
                    <a:pt x="0" y="12"/>
                    <a:pt x="0" y="28"/>
                  </a:cubicBezTo>
                  <a:cubicBezTo>
                    <a:pt x="0" y="118"/>
                    <a:pt x="0" y="118"/>
                    <a:pt x="0" y="118"/>
                  </a:cubicBezTo>
                  <a:cubicBezTo>
                    <a:pt x="0" y="134"/>
                    <a:pt x="12" y="147"/>
                    <a:pt x="28" y="147"/>
                  </a:cubicBezTo>
                  <a:cubicBezTo>
                    <a:pt x="202" y="147"/>
                    <a:pt x="202" y="147"/>
                    <a:pt x="202" y="147"/>
                  </a:cubicBezTo>
                  <a:cubicBezTo>
                    <a:pt x="202" y="147"/>
                    <a:pt x="202" y="146"/>
                    <a:pt x="202" y="145"/>
                  </a:cubicBezTo>
                  <a:cubicBezTo>
                    <a:pt x="202" y="91"/>
                    <a:pt x="220" y="41"/>
                    <a:pt x="249" y="0"/>
                  </a:cubicBezTo>
                  <a:lnTo>
                    <a:pt x="28"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1" name="Freeform 101">
              <a:extLst>
                <a:ext uri="{FF2B5EF4-FFF2-40B4-BE49-F238E27FC236}">
                  <a16:creationId xmlns:a16="http://schemas.microsoft.com/office/drawing/2014/main" id="{28FF06F6-3625-33D3-D794-9246BA13C959}"/>
                </a:ext>
              </a:extLst>
            </p:cNvPr>
            <p:cNvSpPr>
              <a:spLocks/>
            </p:cNvSpPr>
            <p:nvPr/>
          </p:nvSpPr>
          <p:spPr bwMode="auto">
            <a:xfrm>
              <a:off x="5549330" y="1540223"/>
              <a:ext cx="503238" cy="211138"/>
            </a:xfrm>
            <a:custGeom>
              <a:avLst/>
              <a:gdLst/>
              <a:ahLst/>
              <a:cxnLst>
                <a:cxn ang="0">
                  <a:pos x="29" y="147"/>
                </a:cxn>
                <a:cxn ang="0">
                  <a:pos x="321" y="147"/>
                </a:cxn>
                <a:cxn ang="0">
                  <a:pos x="350" y="118"/>
                </a:cxn>
                <a:cxn ang="0">
                  <a:pos x="350" y="28"/>
                </a:cxn>
                <a:cxn ang="0">
                  <a:pos x="321" y="0"/>
                </a:cxn>
                <a:cxn ang="0">
                  <a:pos x="29" y="0"/>
                </a:cxn>
                <a:cxn ang="0">
                  <a:pos x="0" y="28"/>
                </a:cxn>
                <a:cxn ang="0">
                  <a:pos x="0" y="118"/>
                </a:cxn>
                <a:cxn ang="0">
                  <a:pos x="29" y="147"/>
                </a:cxn>
              </a:cxnLst>
              <a:rect l="0" t="0" r="r" b="b"/>
              <a:pathLst>
                <a:path w="350" h="147">
                  <a:moveTo>
                    <a:pt x="29" y="147"/>
                  </a:moveTo>
                  <a:cubicBezTo>
                    <a:pt x="321" y="147"/>
                    <a:pt x="321" y="147"/>
                    <a:pt x="321" y="147"/>
                  </a:cubicBezTo>
                  <a:cubicBezTo>
                    <a:pt x="337" y="147"/>
                    <a:pt x="350" y="134"/>
                    <a:pt x="350" y="118"/>
                  </a:cubicBezTo>
                  <a:cubicBezTo>
                    <a:pt x="350" y="28"/>
                    <a:pt x="350" y="28"/>
                    <a:pt x="350" y="28"/>
                  </a:cubicBezTo>
                  <a:cubicBezTo>
                    <a:pt x="350" y="12"/>
                    <a:pt x="337" y="0"/>
                    <a:pt x="321" y="0"/>
                  </a:cubicBezTo>
                  <a:cubicBezTo>
                    <a:pt x="29" y="0"/>
                    <a:pt x="29" y="0"/>
                    <a:pt x="29" y="0"/>
                  </a:cubicBezTo>
                  <a:cubicBezTo>
                    <a:pt x="13" y="0"/>
                    <a:pt x="0" y="12"/>
                    <a:pt x="0" y="28"/>
                  </a:cubicBezTo>
                  <a:cubicBezTo>
                    <a:pt x="0" y="118"/>
                    <a:pt x="0" y="118"/>
                    <a:pt x="0" y="118"/>
                  </a:cubicBezTo>
                  <a:cubicBezTo>
                    <a:pt x="0" y="134"/>
                    <a:pt x="13" y="147"/>
                    <a:pt x="29" y="147"/>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2" name="Freeform 102">
              <a:extLst>
                <a:ext uri="{FF2B5EF4-FFF2-40B4-BE49-F238E27FC236}">
                  <a16:creationId xmlns:a16="http://schemas.microsoft.com/office/drawing/2014/main" id="{DCD95479-0D9C-BE3C-9AE5-5EE6287411B8}"/>
                </a:ext>
              </a:extLst>
            </p:cNvPr>
            <p:cNvSpPr>
              <a:spLocks/>
            </p:cNvSpPr>
            <p:nvPr/>
          </p:nvSpPr>
          <p:spPr bwMode="auto">
            <a:xfrm>
              <a:off x="5663630" y="1267173"/>
              <a:ext cx="504825" cy="212725"/>
            </a:xfrm>
            <a:custGeom>
              <a:avLst/>
              <a:gdLst/>
              <a:ahLst/>
              <a:cxnLst>
                <a:cxn ang="0">
                  <a:pos x="29" y="148"/>
                </a:cxn>
                <a:cxn ang="0">
                  <a:pos x="321" y="148"/>
                </a:cxn>
                <a:cxn ang="0">
                  <a:pos x="350" y="119"/>
                </a:cxn>
                <a:cxn ang="0">
                  <a:pos x="350" y="29"/>
                </a:cxn>
                <a:cxn ang="0">
                  <a:pos x="321" y="0"/>
                </a:cxn>
                <a:cxn ang="0">
                  <a:pos x="29" y="0"/>
                </a:cxn>
                <a:cxn ang="0">
                  <a:pos x="0" y="29"/>
                </a:cxn>
                <a:cxn ang="0">
                  <a:pos x="0" y="119"/>
                </a:cxn>
                <a:cxn ang="0">
                  <a:pos x="29" y="148"/>
                </a:cxn>
              </a:cxnLst>
              <a:rect l="0" t="0" r="r" b="b"/>
              <a:pathLst>
                <a:path w="350" h="148">
                  <a:moveTo>
                    <a:pt x="29" y="148"/>
                  </a:moveTo>
                  <a:cubicBezTo>
                    <a:pt x="321" y="148"/>
                    <a:pt x="321" y="148"/>
                    <a:pt x="321" y="148"/>
                  </a:cubicBezTo>
                  <a:cubicBezTo>
                    <a:pt x="337" y="148"/>
                    <a:pt x="350" y="135"/>
                    <a:pt x="350" y="119"/>
                  </a:cubicBezTo>
                  <a:cubicBezTo>
                    <a:pt x="350" y="29"/>
                    <a:pt x="350" y="29"/>
                    <a:pt x="350" y="29"/>
                  </a:cubicBezTo>
                  <a:cubicBezTo>
                    <a:pt x="350" y="13"/>
                    <a:pt x="337" y="0"/>
                    <a:pt x="321" y="0"/>
                  </a:cubicBezTo>
                  <a:cubicBezTo>
                    <a:pt x="29" y="0"/>
                    <a:pt x="29" y="0"/>
                    <a:pt x="29" y="0"/>
                  </a:cubicBezTo>
                  <a:cubicBezTo>
                    <a:pt x="13" y="0"/>
                    <a:pt x="0" y="13"/>
                    <a:pt x="0" y="29"/>
                  </a:cubicBezTo>
                  <a:cubicBezTo>
                    <a:pt x="0" y="119"/>
                    <a:pt x="0" y="119"/>
                    <a:pt x="0" y="119"/>
                  </a:cubicBezTo>
                  <a:cubicBezTo>
                    <a:pt x="0" y="135"/>
                    <a:pt x="13" y="148"/>
                    <a:pt x="29" y="148"/>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3" name="Freeform 103">
              <a:extLst>
                <a:ext uri="{FF2B5EF4-FFF2-40B4-BE49-F238E27FC236}">
                  <a16:creationId xmlns:a16="http://schemas.microsoft.com/office/drawing/2014/main" id="{9E99B833-F7CF-ABAE-9793-76B9318A4EBF}"/>
                </a:ext>
              </a:extLst>
            </p:cNvPr>
            <p:cNvSpPr>
              <a:spLocks noEditPoints="1"/>
            </p:cNvSpPr>
            <p:nvPr/>
          </p:nvSpPr>
          <p:spPr bwMode="auto">
            <a:xfrm>
              <a:off x="5974780" y="1721198"/>
              <a:ext cx="604838" cy="603250"/>
            </a:xfrm>
            <a:custGeom>
              <a:avLst/>
              <a:gdLst/>
              <a:ahLst/>
              <a:cxnLst>
                <a:cxn ang="0">
                  <a:pos x="0" y="211"/>
                </a:cxn>
                <a:cxn ang="0">
                  <a:pos x="54" y="350"/>
                </a:cxn>
                <a:cxn ang="0">
                  <a:pos x="420" y="209"/>
                </a:cxn>
                <a:cxn ang="0">
                  <a:pos x="59" y="64"/>
                </a:cxn>
                <a:cxn ang="0">
                  <a:pos x="41" y="209"/>
                </a:cxn>
                <a:cxn ang="0">
                  <a:pos x="48" y="167"/>
                </a:cxn>
                <a:cxn ang="0">
                  <a:pos x="67" y="173"/>
                </a:cxn>
                <a:cxn ang="0">
                  <a:pos x="70" y="155"/>
                </a:cxn>
                <a:cxn ang="0">
                  <a:pos x="52" y="149"/>
                </a:cxn>
                <a:cxn ang="0">
                  <a:pos x="85" y="98"/>
                </a:cxn>
                <a:cxn ang="0">
                  <a:pos x="104" y="113"/>
                </a:cxn>
                <a:cxn ang="0">
                  <a:pos x="110" y="111"/>
                </a:cxn>
                <a:cxn ang="0">
                  <a:pos x="105" y="93"/>
                </a:cxn>
                <a:cxn ang="0">
                  <a:pos x="97" y="84"/>
                </a:cxn>
                <a:cxn ang="0">
                  <a:pos x="149" y="52"/>
                </a:cxn>
                <a:cxn ang="0">
                  <a:pos x="154" y="70"/>
                </a:cxn>
                <a:cxn ang="0">
                  <a:pos x="166" y="76"/>
                </a:cxn>
                <a:cxn ang="0">
                  <a:pos x="166" y="48"/>
                </a:cxn>
                <a:cxn ang="0">
                  <a:pos x="210" y="41"/>
                </a:cxn>
                <a:cxn ang="0">
                  <a:pos x="226" y="43"/>
                </a:cxn>
                <a:cxn ang="0">
                  <a:pos x="231" y="71"/>
                </a:cxn>
                <a:cxn ang="0">
                  <a:pos x="242" y="63"/>
                </a:cxn>
                <a:cxn ang="0">
                  <a:pos x="244" y="44"/>
                </a:cxn>
                <a:cxn ang="0">
                  <a:pos x="300" y="68"/>
                </a:cxn>
                <a:cxn ang="0">
                  <a:pos x="292" y="96"/>
                </a:cxn>
                <a:cxn ang="0">
                  <a:pos x="304" y="94"/>
                </a:cxn>
                <a:cxn ang="0">
                  <a:pos x="315" y="78"/>
                </a:cxn>
                <a:cxn ang="0">
                  <a:pos x="354" y="125"/>
                </a:cxn>
                <a:cxn ang="0">
                  <a:pos x="334" y="145"/>
                </a:cxn>
                <a:cxn ang="0">
                  <a:pos x="347" y="149"/>
                </a:cxn>
                <a:cxn ang="0">
                  <a:pos x="363" y="140"/>
                </a:cxn>
                <a:cxn ang="0">
                  <a:pos x="377" y="200"/>
                </a:cxn>
                <a:cxn ang="0">
                  <a:pos x="359" y="200"/>
                </a:cxn>
                <a:cxn ang="0">
                  <a:pos x="359" y="218"/>
                </a:cxn>
                <a:cxn ang="0">
                  <a:pos x="377" y="218"/>
                </a:cxn>
                <a:cxn ang="0">
                  <a:pos x="364" y="277"/>
                </a:cxn>
                <a:cxn ang="0">
                  <a:pos x="347" y="268"/>
                </a:cxn>
                <a:cxn ang="0">
                  <a:pos x="339" y="285"/>
                </a:cxn>
                <a:cxn ang="0">
                  <a:pos x="356" y="293"/>
                </a:cxn>
                <a:cxn ang="0">
                  <a:pos x="316" y="339"/>
                </a:cxn>
                <a:cxn ang="0">
                  <a:pos x="293" y="322"/>
                </a:cxn>
                <a:cxn ang="0">
                  <a:pos x="301" y="350"/>
                </a:cxn>
                <a:cxn ang="0">
                  <a:pos x="219" y="378"/>
                </a:cxn>
                <a:cxn ang="0">
                  <a:pos x="219" y="359"/>
                </a:cxn>
                <a:cxn ang="0">
                  <a:pos x="200" y="359"/>
                </a:cxn>
                <a:cxn ang="0">
                  <a:pos x="201" y="378"/>
                </a:cxn>
                <a:cxn ang="0">
                  <a:pos x="142" y="363"/>
                </a:cxn>
                <a:cxn ang="0">
                  <a:pos x="146" y="334"/>
                </a:cxn>
                <a:cxn ang="0">
                  <a:pos x="126" y="354"/>
                </a:cxn>
                <a:cxn ang="0">
                  <a:pos x="79" y="316"/>
                </a:cxn>
                <a:cxn ang="0">
                  <a:pos x="94" y="305"/>
                </a:cxn>
                <a:cxn ang="0">
                  <a:pos x="83" y="290"/>
                </a:cxn>
                <a:cxn ang="0">
                  <a:pos x="68" y="301"/>
                </a:cxn>
                <a:cxn ang="0">
                  <a:pos x="46" y="245"/>
                </a:cxn>
                <a:cxn ang="0">
                  <a:pos x="71" y="232"/>
                </a:cxn>
                <a:cxn ang="0">
                  <a:pos x="43" y="227"/>
                </a:cxn>
                <a:cxn ang="0">
                  <a:pos x="41" y="211"/>
                </a:cxn>
              </a:cxnLst>
              <a:rect l="0" t="0" r="r" b="b"/>
              <a:pathLst>
                <a:path w="420" h="419">
                  <a:moveTo>
                    <a:pt x="0" y="209"/>
                  </a:moveTo>
                  <a:cubicBezTo>
                    <a:pt x="0" y="210"/>
                    <a:pt x="0" y="211"/>
                    <a:pt x="0" y="211"/>
                  </a:cubicBezTo>
                  <a:cubicBezTo>
                    <a:pt x="0" y="226"/>
                    <a:pt x="1" y="240"/>
                    <a:pt x="4" y="254"/>
                  </a:cubicBezTo>
                  <a:cubicBezTo>
                    <a:pt x="12" y="290"/>
                    <a:pt x="30" y="323"/>
                    <a:pt x="54" y="350"/>
                  </a:cubicBezTo>
                  <a:cubicBezTo>
                    <a:pt x="92" y="393"/>
                    <a:pt x="148" y="419"/>
                    <a:pt x="210" y="419"/>
                  </a:cubicBezTo>
                  <a:cubicBezTo>
                    <a:pt x="325" y="419"/>
                    <a:pt x="420" y="325"/>
                    <a:pt x="420" y="209"/>
                  </a:cubicBezTo>
                  <a:cubicBezTo>
                    <a:pt x="420" y="94"/>
                    <a:pt x="325" y="0"/>
                    <a:pt x="210" y="0"/>
                  </a:cubicBezTo>
                  <a:cubicBezTo>
                    <a:pt x="150" y="0"/>
                    <a:pt x="97" y="24"/>
                    <a:pt x="59" y="64"/>
                  </a:cubicBezTo>
                  <a:cubicBezTo>
                    <a:pt x="22" y="101"/>
                    <a:pt x="0" y="153"/>
                    <a:pt x="0" y="209"/>
                  </a:cubicBezTo>
                  <a:close/>
                  <a:moveTo>
                    <a:pt x="41" y="209"/>
                  </a:moveTo>
                  <a:cubicBezTo>
                    <a:pt x="41" y="195"/>
                    <a:pt x="43" y="180"/>
                    <a:pt x="47" y="166"/>
                  </a:cubicBezTo>
                  <a:cubicBezTo>
                    <a:pt x="47" y="167"/>
                    <a:pt x="47" y="167"/>
                    <a:pt x="48" y="167"/>
                  </a:cubicBezTo>
                  <a:cubicBezTo>
                    <a:pt x="65" y="172"/>
                    <a:pt x="65" y="172"/>
                    <a:pt x="65" y="172"/>
                  </a:cubicBezTo>
                  <a:cubicBezTo>
                    <a:pt x="66" y="173"/>
                    <a:pt x="66" y="173"/>
                    <a:pt x="67" y="173"/>
                  </a:cubicBezTo>
                  <a:cubicBezTo>
                    <a:pt x="71" y="173"/>
                    <a:pt x="75" y="170"/>
                    <a:pt x="76" y="166"/>
                  </a:cubicBezTo>
                  <a:cubicBezTo>
                    <a:pt x="78" y="162"/>
                    <a:pt x="75" y="156"/>
                    <a:pt x="70" y="155"/>
                  </a:cubicBezTo>
                  <a:cubicBezTo>
                    <a:pt x="53" y="149"/>
                    <a:pt x="53" y="149"/>
                    <a:pt x="53" y="149"/>
                  </a:cubicBezTo>
                  <a:cubicBezTo>
                    <a:pt x="53" y="149"/>
                    <a:pt x="52" y="149"/>
                    <a:pt x="52" y="149"/>
                  </a:cubicBezTo>
                  <a:cubicBezTo>
                    <a:pt x="59" y="130"/>
                    <a:pt x="70" y="112"/>
                    <a:pt x="84" y="97"/>
                  </a:cubicBezTo>
                  <a:cubicBezTo>
                    <a:pt x="84" y="97"/>
                    <a:pt x="84" y="98"/>
                    <a:pt x="85" y="98"/>
                  </a:cubicBezTo>
                  <a:cubicBezTo>
                    <a:pt x="97" y="111"/>
                    <a:pt x="97" y="111"/>
                    <a:pt x="97" y="111"/>
                  </a:cubicBezTo>
                  <a:cubicBezTo>
                    <a:pt x="99" y="112"/>
                    <a:pt x="101" y="113"/>
                    <a:pt x="104" y="113"/>
                  </a:cubicBezTo>
                  <a:cubicBezTo>
                    <a:pt x="104" y="113"/>
                    <a:pt x="105" y="113"/>
                    <a:pt x="105" y="113"/>
                  </a:cubicBezTo>
                  <a:cubicBezTo>
                    <a:pt x="107" y="113"/>
                    <a:pt x="109" y="112"/>
                    <a:pt x="110" y="111"/>
                  </a:cubicBezTo>
                  <a:cubicBezTo>
                    <a:pt x="114" y="107"/>
                    <a:pt x="114" y="101"/>
                    <a:pt x="110" y="98"/>
                  </a:cubicBezTo>
                  <a:cubicBezTo>
                    <a:pt x="105" y="93"/>
                    <a:pt x="105" y="93"/>
                    <a:pt x="105" y="93"/>
                  </a:cubicBezTo>
                  <a:cubicBezTo>
                    <a:pt x="98" y="85"/>
                    <a:pt x="98" y="85"/>
                    <a:pt x="98" y="85"/>
                  </a:cubicBezTo>
                  <a:cubicBezTo>
                    <a:pt x="97" y="85"/>
                    <a:pt x="97" y="85"/>
                    <a:pt x="97" y="84"/>
                  </a:cubicBezTo>
                  <a:cubicBezTo>
                    <a:pt x="98" y="83"/>
                    <a:pt x="100" y="81"/>
                    <a:pt x="102" y="80"/>
                  </a:cubicBezTo>
                  <a:cubicBezTo>
                    <a:pt x="116" y="68"/>
                    <a:pt x="132" y="59"/>
                    <a:pt x="149" y="52"/>
                  </a:cubicBezTo>
                  <a:cubicBezTo>
                    <a:pt x="149" y="53"/>
                    <a:pt x="149" y="53"/>
                    <a:pt x="149" y="53"/>
                  </a:cubicBezTo>
                  <a:cubicBezTo>
                    <a:pt x="154" y="70"/>
                    <a:pt x="154" y="70"/>
                    <a:pt x="154" y="70"/>
                  </a:cubicBezTo>
                  <a:cubicBezTo>
                    <a:pt x="156" y="74"/>
                    <a:pt x="159" y="77"/>
                    <a:pt x="163" y="77"/>
                  </a:cubicBezTo>
                  <a:cubicBezTo>
                    <a:pt x="164" y="77"/>
                    <a:pt x="165" y="77"/>
                    <a:pt x="166" y="76"/>
                  </a:cubicBezTo>
                  <a:cubicBezTo>
                    <a:pt x="171" y="75"/>
                    <a:pt x="173" y="69"/>
                    <a:pt x="172" y="65"/>
                  </a:cubicBezTo>
                  <a:cubicBezTo>
                    <a:pt x="166" y="48"/>
                    <a:pt x="166" y="48"/>
                    <a:pt x="166" y="48"/>
                  </a:cubicBezTo>
                  <a:cubicBezTo>
                    <a:pt x="166" y="47"/>
                    <a:pt x="166" y="47"/>
                    <a:pt x="166" y="47"/>
                  </a:cubicBezTo>
                  <a:cubicBezTo>
                    <a:pt x="180" y="43"/>
                    <a:pt x="194" y="41"/>
                    <a:pt x="210" y="41"/>
                  </a:cubicBezTo>
                  <a:cubicBezTo>
                    <a:pt x="215" y="41"/>
                    <a:pt x="221" y="41"/>
                    <a:pt x="226" y="42"/>
                  </a:cubicBezTo>
                  <a:cubicBezTo>
                    <a:pt x="226" y="42"/>
                    <a:pt x="226" y="42"/>
                    <a:pt x="226" y="43"/>
                  </a:cubicBezTo>
                  <a:cubicBezTo>
                    <a:pt x="223" y="60"/>
                    <a:pt x="223" y="60"/>
                    <a:pt x="223" y="60"/>
                  </a:cubicBezTo>
                  <a:cubicBezTo>
                    <a:pt x="223" y="65"/>
                    <a:pt x="226" y="70"/>
                    <a:pt x="231" y="71"/>
                  </a:cubicBezTo>
                  <a:cubicBezTo>
                    <a:pt x="232" y="71"/>
                    <a:pt x="232" y="71"/>
                    <a:pt x="232" y="71"/>
                  </a:cubicBezTo>
                  <a:cubicBezTo>
                    <a:pt x="237" y="71"/>
                    <a:pt x="241" y="68"/>
                    <a:pt x="242" y="63"/>
                  </a:cubicBezTo>
                  <a:cubicBezTo>
                    <a:pt x="244" y="46"/>
                    <a:pt x="244" y="46"/>
                    <a:pt x="244" y="46"/>
                  </a:cubicBezTo>
                  <a:cubicBezTo>
                    <a:pt x="244" y="45"/>
                    <a:pt x="244" y="45"/>
                    <a:pt x="244" y="44"/>
                  </a:cubicBezTo>
                  <a:cubicBezTo>
                    <a:pt x="265" y="49"/>
                    <a:pt x="284" y="57"/>
                    <a:pt x="301" y="68"/>
                  </a:cubicBezTo>
                  <a:cubicBezTo>
                    <a:pt x="300" y="68"/>
                    <a:pt x="300" y="68"/>
                    <a:pt x="300" y="68"/>
                  </a:cubicBezTo>
                  <a:cubicBezTo>
                    <a:pt x="290" y="83"/>
                    <a:pt x="290" y="83"/>
                    <a:pt x="290" y="83"/>
                  </a:cubicBezTo>
                  <a:cubicBezTo>
                    <a:pt x="287" y="87"/>
                    <a:pt x="288" y="93"/>
                    <a:pt x="292" y="96"/>
                  </a:cubicBezTo>
                  <a:cubicBezTo>
                    <a:pt x="293" y="97"/>
                    <a:pt x="295" y="97"/>
                    <a:pt x="297" y="97"/>
                  </a:cubicBezTo>
                  <a:cubicBezTo>
                    <a:pt x="300" y="97"/>
                    <a:pt x="303" y="96"/>
                    <a:pt x="304" y="94"/>
                  </a:cubicBezTo>
                  <a:cubicBezTo>
                    <a:pt x="315" y="79"/>
                    <a:pt x="315" y="79"/>
                    <a:pt x="315" y="79"/>
                  </a:cubicBezTo>
                  <a:cubicBezTo>
                    <a:pt x="315" y="79"/>
                    <a:pt x="315" y="79"/>
                    <a:pt x="315" y="78"/>
                  </a:cubicBezTo>
                  <a:cubicBezTo>
                    <a:pt x="331" y="91"/>
                    <a:pt x="345" y="107"/>
                    <a:pt x="355" y="124"/>
                  </a:cubicBezTo>
                  <a:cubicBezTo>
                    <a:pt x="355" y="125"/>
                    <a:pt x="354" y="125"/>
                    <a:pt x="354" y="125"/>
                  </a:cubicBezTo>
                  <a:cubicBezTo>
                    <a:pt x="338" y="133"/>
                    <a:pt x="338" y="133"/>
                    <a:pt x="338" y="133"/>
                  </a:cubicBezTo>
                  <a:cubicBezTo>
                    <a:pt x="334" y="135"/>
                    <a:pt x="332" y="141"/>
                    <a:pt x="334" y="145"/>
                  </a:cubicBezTo>
                  <a:cubicBezTo>
                    <a:pt x="336" y="148"/>
                    <a:pt x="339" y="150"/>
                    <a:pt x="342" y="150"/>
                  </a:cubicBezTo>
                  <a:cubicBezTo>
                    <a:pt x="344" y="150"/>
                    <a:pt x="345" y="150"/>
                    <a:pt x="347" y="149"/>
                  </a:cubicBezTo>
                  <a:cubicBezTo>
                    <a:pt x="362" y="141"/>
                    <a:pt x="362" y="141"/>
                    <a:pt x="362" y="141"/>
                  </a:cubicBezTo>
                  <a:cubicBezTo>
                    <a:pt x="363" y="141"/>
                    <a:pt x="363" y="141"/>
                    <a:pt x="363" y="140"/>
                  </a:cubicBezTo>
                  <a:cubicBezTo>
                    <a:pt x="372" y="159"/>
                    <a:pt x="377" y="179"/>
                    <a:pt x="378" y="200"/>
                  </a:cubicBezTo>
                  <a:cubicBezTo>
                    <a:pt x="378" y="200"/>
                    <a:pt x="377" y="200"/>
                    <a:pt x="377" y="200"/>
                  </a:cubicBezTo>
                  <a:cubicBezTo>
                    <a:pt x="377" y="200"/>
                    <a:pt x="377" y="200"/>
                    <a:pt x="377" y="200"/>
                  </a:cubicBezTo>
                  <a:cubicBezTo>
                    <a:pt x="359" y="200"/>
                    <a:pt x="359" y="200"/>
                    <a:pt x="359" y="200"/>
                  </a:cubicBezTo>
                  <a:cubicBezTo>
                    <a:pt x="354" y="200"/>
                    <a:pt x="350" y="204"/>
                    <a:pt x="350" y="209"/>
                  </a:cubicBezTo>
                  <a:cubicBezTo>
                    <a:pt x="350" y="214"/>
                    <a:pt x="354" y="218"/>
                    <a:pt x="359" y="218"/>
                  </a:cubicBezTo>
                  <a:cubicBezTo>
                    <a:pt x="359" y="218"/>
                    <a:pt x="359" y="218"/>
                    <a:pt x="359" y="218"/>
                  </a:cubicBezTo>
                  <a:cubicBezTo>
                    <a:pt x="377" y="218"/>
                    <a:pt x="377" y="218"/>
                    <a:pt x="377" y="218"/>
                  </a:cubicBezTo>
                  <a:cubicBezTo>
                    <a:pt x="377" y="218"/>
                    <a:pt x="378" y="218"/>
                    <a:pt x="378" y="218"/>
                  </a:cubicBezTo>
                  <a:cubicBezTo>
                    <a:pt x="377" y="239"/>
                    <a:pt x="372" y="259"/>
                    <a:pt x="364" y="277"/>
                  </a:cubicBezTo>
                  <a:cubicBezTo>
                    <a:pt x="364" y="277"/>
                    <a:pt x="363" y="277"/>
                    <a:pt x="363" y="276"/>
                  </a:cubicBezTo>
                  <a:cubicBezTo>
                    <a:pt x="347" y="268"/>
                    <a:pt x="347" y="268"/>
                    <a:pt x="347" y="268"/>
                  </a:cubicBezTo>
                  <a:cubicBezTo>
                    <a:pt x="343" y="266"/>
                    <a:pt x="337" y="268"/>
                    <a:pt x="335" y="273"/>
                  </a:cubicBezTo>
                  <a:cubicBezTo>
                    <a:pt x="333" y="277"/>
                    <a:pt x="334" y="283"/>
                    <a:pt x="339" y="285"/>
                  </a:cubicBezTo>
                  <a:cubicBezTo>
                    <a:pt x="355" y="293"/>
                    <a:pt x="355" y="293"/>
                    <a:pt x="355" y="293"/>
                  </a:cubicBezTo>
                  <a:cubicBezTo>
                    <a:pt x="355" y="293"/>
                    <a:pt x="356" y="293"/>
                    <a:pt x="356" y="293"/>
                  </a:cubicBezTo>
                  <a:cubicBezTo>
                    <a:pt x="346" y="311"/>
                    <a:pt x="332" y="327"/>
                    <a:pt x="317" y="340"/>
                  </a:cubicBezTo>
                  <a:cubicBezTo>
                    <a:pt x="316" y="339"/>
                    <a:pt x="316" y="339"/>
                    <a:pt x="316" y="339"/>
                  </a:cubicBezTo>
                  <a:cubicBezTo>
                    <a:pt x="305" y="324"/>
                    <a:pt x="305" y="324"/>
                    <a:pt x="305" y="324"/>
                  </a:cubicBezTo>
                  <a:cubicBezTo>
                    <a:pt x="302" y="320"/>
                    <a:pt x="297" y="319"/>
                    <a:pt x="293" y="322"/>
                  </a:cubicBezTo>
                  <a:cubicBezTo>
                    <a:pt x="289" y="325"/>
                    <a:pt x="288" y="331"/>
                    <a:pt x="291" y="335"/>
                  </a:cubicBezTo>
                  <a:cubicBezTo>
                    <a:pt x="301" y="350"/>
                    <a:pt x="301" y="350"/>
                    <a:pt x="301" y="350"/>
                  </a:cubicBezTo>
                  <a:cubicBezTo>
                    <a:pt x="302" y="350"/>
                    <a:pt x="302" y="350"/>
                    <a:pt x="302" y="351"/>
                  </a:cubicBezTo>
                  <a:cubicBezTo>
                    <a:pt x="278" y="366"/>
                    <a:pt x="249" y="376"/>
                    <a:pt x="219" y="378"/>
                  </a:cubicBezTo>
                  <a:cubicBezTo>
                    <a:pt x="219" y="378"/>
                    <a:pt x="219" y="377"/>
                    <a:pt x="219" y="377"/>
                  </a:cubicBezTo>
                  <a:cubicBezTo>
                    <a:pt x="219" y="359"/>
                    <a:pt x="219" y="359"/>
                    <a:pt x="219" y="359"/>
                  </a:cubicBezTo>
                  <a:cubicBezTo>
                    <a:pt x="219" y="354"/>
                    <a:pt x="215" y="350"/>
                    <a:pt x="210" y="350"/>
                  </a:cubicBezTo>
                  <a:cubicBezTo>
                    <a:pt x="205" y="350"/>
                    <a:pt x="200" y="354"/>
                    <a:pt x="200" y="359"/>
                  </a:cubicBezTo>
                  <a:cubicBezTo>
                    <a:pt x="200" y="377"/>
                    <a:pt x="200" y="377"/>
                    <a:pt x="200" y="377"/>
                  </a:cubicBezTo>
                  <a:cubicBezTo>
                    <a:pt x="200" y="377"/>
                    <a:pt x="201" y="378"/>
                    <a:pt x="201" y="378"/>
                  </a:cubicBezTo>
                  <a:cubicBezTo>
                    <a:pt x="180" y="377"/>
                    <a:pt x="160" y="372"/>
                    <a:pt x="141" y="364"/>
                  </a:cubicBezTo>
                  <a:cubicBezTo>
                    <a:pt x="141" y="363"/>
                    <a:pt x="142" y="363"/>
                    <a:pt x="142" y="363"/>
                  </a:cubicBezTo>
                  <a:cubicBezTo>
                    <a:pt x="150" y="347"/>
                    <a:pt x="150" y="347"/>
                    <a:pt x="150" y="347"/>
                  </a:cubicBezTo>
                  <a:cubicBezTo>
                    <a:pt x="152" y="342"/>
                    <a:pt x="150" y="337"/>
                    <a:pt x="146" y="334"/>
                  </a:cubicBezTo>
                  <a:cubicBezTo>
                    <a:pt x="141" y="332"/>
                    <a:pt x="136" y="334"/>
                    <a:pt x="134" y="338"/>
                  </a:cubicBezTo>
                  <a:cubicBezTo>
                    <a:pt x="126" y="354"/>
                    <a:pt x="126" y="354"/>
                    <a:pt x="126" y="354"/>
                  </a:cubicBezTo>
                  <a:cubicBezTo>
                    <a:pt x="125" y="355"/>
                    <a:pt x="125" y="355"/>
                    <a:pt x="125" y="355"/>
                  </a:cubicBezTo>
                  <a:cubicBezTo>
                    <a:pt x="107" y="345"/>
                    <a:pt x="92" y="332"/>
                    <a:pt x="79" y="316"/>
                  </a:cubicBezTo>
                  <a:cubicBezTo>
                    <a:pt x="79" y="316"/>
                    <a:pt x="79" y="316"/>
                    <a:pt x="80" y="315"/>
                  </a:cubicBezTo>
                  <a:cubicBezTo>
                    <a:pt x="94" y="305"/>
                    <a:pt x="94" y="305"/>
                    <a:pt x="94" y="305"/>
                  </a:cubicBezTo>
                  <a:cubicBezTo>
                    <a:pt x="98" y="302"/>
                    <a:pt x="99" y="296"/>
                    <a:pt x="96" y="292"/>
                  </a:cubicBezTo>
                  <a:cubicBezTo>
                    <a:pt x="93" y="288"/>
                    <a:pt x="87" y="287"/>
                    <a:pt x="83" y="290"/>
                  </a:cubicBezTo>
                  <a:cubicBezTo>
                    <a:pt x="69" y="301"/>
                    <a:pt x="69" y="301"/>
                    <a:pt x="69" y="301"/>
                  </a:cubicBezTo>
                  <a:cubicBezTo>
                    <a:pt x="69" y="301"/>
                    <a:pt x="68" y="301"/>
                    <a:pt x="68" y="301"/>
                  </a:cubicBezTo>
                  <a:cubicBezTo>
                    <a:pt x="57" y="284"/>
                    <a:pt x="49" y="265"/>
                    <a:pt x="45" y="245"/>
                  </a:cubicBezTo>
                  <a:cubicBezTo>
                    <a:pt x="45" y="245"/>
                    <a:pt x="45" y="245"/>
                    <a:pt x="46" y="245"/>
                  </a:cubicBezTo>
                  <a:cubicBezTo>
                    <a:pt x="63" y="242"/>
                    <a:pt x="63" y="242"/>
                    <a:pt x="63" y="242"/>
                  </a:cubicBezTo>
                  <a:cubicBezTo>
                    <a:pt x="68" y="241"/>
                    <a:pt x="72" y="237"/>
                    <a:pt x="71" y="232"/>
                  </a:cubicBezTo>
                  <a:cubicBezTo>
                    <a:pt x="70" y="227"/>
                    <a:pt x="66" y="223"/>
                    <a:pt x="61" y="224"/>
                  </a:cubicBezTo>
                  <a:cubicBezTo>
                    <a:pt x="43" y="227"/>
                    <a:pt x="43" y="227"/>
                    <a:pt x="43" y="227"/>
                  </a:cubicBezTo>
                  <a:cubicBezTo>
                    <a:pt x="43" y="227"/>
                    <a:pt x="42" y="227"/>
                    <a:pt x="42" y="227"/>
                  </a:cubicBezTo>
                  <a:cubicBezTo>
                    <a:pt x="41" y="222"/>
                    <a:pt x="41" y="217"/>
                    <a:pt x="41" y="211"/>
                  </a:cubicBezTo>
                  <a:cubicBezTo>
                    <a:pt x="41" y="211"/>
                    <a:pt x="41" y="210"/>
                    <a:pt x="41" y="209"/>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4" name="Freeform 104">
              <a:extLst>
                <a:ext uri="{FF2B5EF4-FFF2-40B4-BE49-F238E27FC236}">
                  <a16:creationId xmlns:a16="http://schemas.microsoft.com/office/drawing/2014/main" id="{D20A2EBF-A55A-460F-2918-EA77C78DB5D4}"/>
                </a:ext>
              </a:extLst>
            </p:cNvPr>
            <p:cNvSpPr>
              <a:spLocks noEditPoints="1"/>
            </p:cNvSpPr>
            <p:nvPr/>
          </p:nvSpPr>
          <p:spPr bwMode="auto">
            <a:xfrm>
              <a:off x="6106543" y="1851373"/>
              <a:ext cx="339725" cy="341313"/>
            </a:xfrm>
            <a:custGeom>
              <a:avLst/>
              <a:gdLst/>
              <a:ahLst/>
              <a:cxnLst>
                <a:cxn ang="0">
                  <a:pos x="119" y="237"/>
                </a:cxn>
                <a:cxn ang="0">
                  <a:pos x="237" y="118"/>
                </a:cxn>
                <a:cxn ang="0">
                  <a:pos x="119" y="0"/>
                </a:cxn>
                <a:cxn ang="0">
                  <a:pos x="14" y="64"/>
                </a:cxn>
                <a:cxn ang="0">
                  <a:pos x="1" y="116"/>
                </a:cxn>
                <a:cxn ang="0">
                  <a:pos x="0" y="118"/>
                </a:cxn>
                <a:cxn ang="0">
                  <a:pos x="119" y="237"/>
                </a:cxn>
                <a:cxn ang="0">
                  <a:pos x="119" y="19"/>
                </a:cxn>
                <a:cxn ang="0">
                  <a:pos x="218" y="118"/>
                </a:cxn>
                <a:cxn ang="0">
                  <a:pos x="119" y="218"/>
                </a:cxn>
                <a:cxn ang="0">
                  <a:pos x="20" y="118"/>
                </a:cxn>
                <a:cxn ang="0">
                  <a:pos x="119" y="19"/>
                </a:cxn>
              </a:cxnLst>
              <a:rect l="0" t="0" r="r" b="b"/>
              <a:pathLst>
                <a:path w="237" h="237">
                  <a:moveTo>
                    <a:pt x="119" y="237"/>
                  </a:moveTo>
                  <a:cubicBezTo>
                    <a:pt x="184" y="237"/>
                    <a:pt x="237" y="184"/>
                    <a:pt x="237" y="118"/>
                  </a:cubicBezTo>
                  <a:cubicBezTo>
                    <a:pt x="237" y="53"/>
                    <a:pt x="184" y="0"/>
                    <a:pt x="119" y="0"/>
                  </a:cubicBezTo>
                  <a:cubicBezTo>
                    <a:pt x="73" y="0"/>
                    <a:pt x="34" y="26"/>
                    <a:pt x="14" y="64"/>
                  </a:cubicBezTo>
                  <a:cubicBezTo>
                    <a:pt x="6" y="79"/>
                    <a:pt x="1" y="97"/>
                    <a:pt x="1" y="116"/>
                  </a:cubicBezTo>
                  <a:cubicBezTo>
                    <a:pt x="1" y="117"/>
                    <a:pt x="0" y="118"/>
                    <a:pt x="0" y="118"/>
                  </a:cubicBezTo>
                  <a:cubicBezTo>
                    <a:pt x="0" y="184"/>
                    <a:pt x="53" y="237"/>
                    <a:pt x="119" y="237"/>
                  </a:cubicBezTo>
                  <a:close/>
                  <a:moveTo>
                    <a:pt x="119" y="19"/>
                  </a:moveTo>
                  <a:cubicBezTo>
                    <a:pt x="173" y="19"/>
                    <a:pt x="218" y="64"/>
                    <a:pt x="218" y="118"/>
                  </a:cubicBezTo>
                  <a:cubicBezTo>
                    <a:pt x="218" y="173"/>
                    <a:pt x="173" y="218"/>
                    <a:pt x="119" y="218"/>
                  </a:cubicBezTo>
                  <a:cubicBezTo>
                    <a:pt x="64" y="218"/>
                    <a:pt x="20" y="173"/>
                    <a:pt x="20" y="118"/>
                  </a:cubicBezTo>
                  <a:cubicBezTo>
                    <a:pt x="20" y="64"/>
                    <a:pt x="64" y="19"/>
                    <a:pt x="119" y="19"/>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sp>
        <p:nvSpPr>
          <p:cNvPr id="16" name="TextBox 15">
            <a:extLst>
              <a:ext uri="{FF2B5EF4-FFF2-40B4-BE49-F238E27FC236}">
                <a16:creationId xmlns:a16="http://schemas.microsoft.com/office/drawing/2014/main" id="{8E6E434D-6C2B-E69A-12AF-37249DAB21B5}"/>
              </a:ext>
            </a:extLst>
          </p:cNvPr>
          <p:cNvSpPr txBox="1"/>
          <p:nvPr/>
        </p:nvSpPr>
        <p:spPr>
          <a:xfrm>
            <a:off x="2176339" y="5044904"/>
            <a:ext cx="296249" cy="492443"/>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3200" b="1">
                <a:solidFill>
                  <a:schemeClr val="tx1">
                    <a:lumMod val="50000"/>
                  </a:schemeClr>
                </a:solidFill>
              </a:rPr>
              <a:t>%</a:t>
            </a:r>
          </a:p>
        </p:txBody>
      </p:sp>
      <p:sp>
        <p:nvSpPr>
          <p:cNvPr id="19" name="Oval 18">
            <a:extLst>
              <a:ext uri="{FF2B5EF4-FFF2-40B4-BE49-F238E27FC236}">
                <a16:creationId xmlns:a16="http://schemas.microsoft.com/office/drawing/2014/main" id="{0BC58E50-522D-428B-9F05-49819E4DF99C}"/>
              </a:ext>
            </a:extLst>
          </p:cNvPr>
          <p:cNvSpPr/>
          <p:nvPr/>
        </p:nvSpPr>
        <p:spPr>
          <a:xfrm>
            <a:off x="3814481"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5" name="Rectangle 4">
            <a:extLst>
              <a:ext uri="{FF2B5EF4-FFF2-40B4-BE49-F238E27FC236}">
                <a16:creationId xmlns:a16="http://schemas.microsoft.com/office/drawing/2014/main" id="{16F1F765-7291-698E-5F5E-058D322FA213}"/>
              </a:ext>
            </a:extLst>
          </p:cNvPr>
          <p:cNvSpPr/>
          <p:nvPr/>
        </p:nvSpPr>
        <p:spPr>
          <a:xfrm>
            <a:off x="3904728" y="1171852"/>
            <a:ext cx="8176334" cy="517346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69467414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E69CE6-A077-4331-9700-35F6304FA5F3}"/>
              </a:ext>
            </a:extLst>
          </p:cNvPr>
          <p:cNvGraphicFramePr>
            <a:graphicFrameLocks noChangeAspect="1"/>
          </p:cNvGraphicFramePr>
          <p:nvPr>
            <p:custDataLst>
              <p:tags r:id="rId1"/>
            </p:custDataLst>
            <p:extLst>
              <p:ext uri="{D42A27DB-BD31-4B8C-83A1-F6EECF244321}">
                <p14:modId xmlns:p14="http://schemas.microsoft.com/office/powerpoint/2010/main" val="313828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7" name="Object 6" hidden="1">
                        <a:extLst>
                          <a:ext uri="{FF2B5EF4-FFF2-40B4-BE49-F238E27FC236}">
                            <a16:creationId xmlns:a16="http://schemas.microsoft.com/office/drawing/2014/main" id="{97E69CE6-A077-4331-9700-35F6304FA5F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61" name="Tabelle 7">
            <a:extLst>
              <a:ext uri="{FF2B5EF4-FFF2-40B4-BE49-F238E27FC236}">
                <a16:creationId xmlns:a16="http://schemas.microsoft.com/office/drawing/2014/main" id="{5A50EA5C-A482-F1C2-5AA0-9E3213D53E53}"/>
              </a:ext>
            </a:extLst>
          </p:cNvPr>
          <p:cNvGraphicFramePr>
            <a:graphicFrameLocks noGrp="1"/>
          </p:cNvGraphicFramePr>
          <p:nvPr>
            <p:custDataLst>
              <p:tags r:id="rId2"/>
            </p:custDataLst>
            <p:extLst>
              <p:ext uri="{D42A27DB-BD31-4B8C-83A1-F6EECF244321}">
                <p14:modId xmlns:p14="http://schemas.microsoft.com/office/powerpoint/2010/main" val="580618590"/>
              </p:ext>
            </p:extLst>
          </p:nvPr>
        </p:nvGraphicFramePr>
        <p:xfrm>
          <a:off x="394157" y="2688560"/>
          <a:ext cx="5362851" cy="3375141"/>
        </p:xfrm>
        <a:graphic>
          <a:graphicData uri="http://schemas.openxmlformats.org/drawingml/2006/table">
            <a:tbl>
              <a:tblPr firstRow="1" bandRow="1">
                <a:effectLst/>
                <a:tableStyleId>{5C22544A-7EE6-4342-B048-85BDC9FD1C3A}</a:tableStyleId>
              </a:tblPr>
              <a:tblGrid>
                <a:gridCol w="677552">
                  <a:extLst>
                    <a:ext uri="{9D8B030D-6E8A-4147-A177-3AD203B41FA5}">
                      <a16:colId xmlns:a16="http://schemas.microsoft.com/office/drawing/2014/main" val="1000583365"/>
                    </a:ext>
                  </a:extLst>
                </a:gridCol>
                <a:gridCol w="1400571">
                  <a:extLst>
                    <a:ext uri="{9D8B030D-6E8A-4147-A177-3AD203B41FA5}">
                      <a16:colId xmlns:a16="http://schemas.microsoft.com/office/drawing/2014/main" val="2561383920"/>
                    </a:ext>
                  </a:extLst>
                </a:gridCol>
                <a:gridCol w="116840">
                  <a:extLst>
                    <a:ext uri="{9D8B030D-6E8A-4147-A177-3AD203B41FA5}">
                      <a16:colId xmlns:a16="http://schemas.microsoft.com/office/drawing/2014/main" val="872547697"/>
                    </a:ext>
                  </a:extLst>
                </a:gridCol>
                <a:gridCol w="3167888">
                  <a:extLst>
                    <a:ext uri="{9D8B030D-6E8A-4147-A177-3AD203B41FA5}">
                      <a16:colId xmlns:a16="http://schemas.microsoft.com/office/drawing/2014/main" val="3029055405"/>
                    </a:ext>
                  </a:extLst>
                </a:gridCol>
              </a:tblGrid>
              <a:tr h="306831">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ank</a:t>
                      </a:r>
                    </a:p>
                  </a:txBody>
                  <a:tcPr marL="45720" marR="45720" anchor="b">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45720" marR="45720" anchor="b">
                    <a:lnR w="12700" cmpd="sng">
                      <a:noFill/>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200" b="1" i="0" kern="1200">
                        <a:solidFill>
                          <a:schemeClr val="tx1"/>
                        </a:solidFill>
                        <a:latin typeface="+mn-lt"/>
                        <a:ea typeface="Lato" panose="020F0502020204030203" pitchFamily="34" charset="0"/>
                        <a:cs typeface="Lato" panose="020F0502020204030203" pitchFamily="34" charset="0"/>
                      </a:endParaRPr>
                    </a:p>
                  </a:txBody>
                  <a:tcPr marL="45720" marR="4572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a:solidFill>
                            <a:schemeClr val="tx1"/>
                          </a:solidFill>
                          <a:latin typeface="+mn-lt"/>
                          <a:ea typeface="Lato" panose="020F0502020204030203" pitchFamily="34" charset="0"/>
                          <a:cs typeface="Lato" panose="020F0502020204030203" pitchFamily="34" charset="0"/>
                        </a:rPr>
                        <a:t>Market attractiveness score</a:t>
                      </a:r>
                    </a:p>
                  </a:txBody>
                  <a:tcPr marL="45720" marR="45720" anchor="b">
                    <a:lnL w="12700" cmpd="sng">
                      <a:noFill/>
                    </a:lnL>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5036239"/>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1</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2</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baseline="30000">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9210508"/>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3</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baseline="30000">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8080983"/>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4</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8261833"/>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5</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8506081"/>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6</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9309152"/>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7</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0424253"/>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8</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5004117"/>
                  </a:ext>
                </a:extLst>
              </a:tr>
              <a:tr h="306831">
                <a:tc>
                  <a:txBody>
                    <a:bodyPr/>
                    <a:lstStyle/>
                    <a:p>
                      <a:pPr algn="ctr" rtl="0" fontAlgn="b"/>
                      <a:r>
                        <a:rPr lang="en-GB" sz="1200" b="1" i="0" u="none" strike="noStrike">
                          <a:solidFill>
                            <a:schemeClr val="tx1"/>
                          </a:solidFill>
                          <a:effectLst/>
                          <a:latin typeface="+mn-lt"/>
                        </a:rPr>
                        <a:t>9</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675267"/>
                  </a:ext>
                </a:extLst>
              </a:tr>
              <a:tr h="306831">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10</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7503049"/>
                  </a:ext>
                </a:extLst>
              </a:tr>
            </a:tbl>
          </a:graphicData>
        </a:graphic>
      </p:graphicFrame>
      <p:sp>
        <p:nvSpPr>
          <p:cNvPr id="58" name="Oval 11">
            <a:extLst>
              <a:ext uri="{FF2B5EF4-FFF2-40B4-BE49-F238E27FC236}">
                <a16:creationId xmlns:a16="http://schemas.microsoft.com/office/drawing/2014/main" id="{8695559F-1F25-DC5A-1437-83564D561470}"/>
              </a:ext>
            </a:extLst>
          </p:cNvPr>
          <p:cNvSpPr>
            <a:spLocks/>
          </p:cNvSpPr>
          <p:nvPr/>
        </p:nvSpPr>
        <p:spPr>
          <a:xfrm>
            <a:off x="407136" y="1348099"/>
            <a:ext cx="2503967" cy="253119"/>
          </a:xfrm>
          <a:prstGeom prst="roundRect">
            <a:avLst>
              <a:gd name="adj" fmla="val 50000"/>
            </a:avLst>
          </a:prstGeom>
          <a:solidFill>
            <a:srgbClr val="4E5F6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eaLnBrk="1" fontAlgn="auto" latinLnBrk="0" hangingPunct="1">
              <a:lnSpc>
                <a:spcPct val="100000"/>
              </a:lnSpc>
              <a:spcBef>
                <a:spcPts val="0"/>
              </a:spcBef>
              <a:spcAft>
                <a:spcPts val="0"/>
              </a:spcAft>
              <a:buClrTx/>
              <a:buSzTx/>
              <a:buFontTx/>
              <a:buNone/>
              <a:tabLst/>
              <a:defRPr/>
            </a:pPr>
            <a:r>
              <a:rPr lang="en-GB" sz="1100" b="1">
                <a:solidFill>
                  <a:schemeClr val="bg1"/>
                </a:solidFill>
              </a:rPr>
              <a:t>Project economics</a:t>
            </a:r>
          </a:p>
        </p:txBody>
      </p:sp>
      <p:graphicFrame>
        <p:nvGraphicFramePr>
          <p:cNvPr id="57" name="Table 42">
            <a:extLst>
              <a:ext uri="{FF2B5EF4-FFF2-40B4-BE49-F238E27FC236}">
                <a16:creationId xmlns:a16="http://schemas.microsoft.com/office/drawing/2014/main" id="{56E201E0-3AB4-4A75-9ABD-E58FA733360C}"/>
              </a:ext>
            </a:extLst>
          </p:cNvPr>
          <p:cNvGraphicFramePr>
            <a:graphicFrameLocks noGrp="1"/>
          </p:cNvGraphicFramePr>
          <p:nvPr>
            <p:extLst>
              <p:ext uri="{D42A27DB-BD31-4B8C-83A1-F6EECF244321}">
                <p14:modId xmlns:p14="http://schemas.microsoft.com/office/powerpoint/2010/main" val="2779617264"/>
              </p:ext>
            </p:extLst>
          </p:nvPr>
        </p:nvGraphicFramePr>
        <p:xfrm>
          <a:off x="374689" y="1709168"/>
          <a:ext cx="11461990" cy="952500"/>
        </p:xfrm>
        <a:graphic>
          <a:graphicData uri="http://schemas.openxmlformats.org/drawingml/2006/table">
            <a:tbl>
              <a:tblPr firstRow="1" bandRow="1">
                <a:tableStyleId>{2D5ABB26-0587-4C30-8999-92F81FD0307C}</a:tableStyleId>
              </a:tblPr>
              <a:tblGrid>
                <a:gridCol w="4170151">
                  <a:extLst>
                    <a:ext uri="{9D8B030D-6E8A-4147-A177-3AD203B41FA5}">
                      <a16:colId xmlns:a16="http://schemas.microsoft.com/office/drawing/2014/main" val="501274450"/>
                    </a:ext>
                  </a:extLst>
                </a:gridCol>
                <a:gridCol w="959667">
                  <a:extLst>
                    <a:ext uri="{9D8B030D-6E8A-4147-A177-3AD203B41FA5}">
                      <a16:colId xmlns:a16="http://schemas.microsoft.com/office/drawing/2014/main" val="4065989005"/>
                    </a:ext>
                  </a:extLst>
                </a:gridCol>
                <a:gridCol w="6332172">
                  <a:extLst>
                    <a:ext uri="{9D8B030D-6E8A-4147-A177-3AD203B41FA5}">
                      <a16:colId xmlns:a16="http://schemas.microsoft.com/office/drawing/2014/main" val="3864269130"/>
                    </a:ext>
                  </a:extLst>
                </a:gridCol>
              </a:tblGrid>
              <a:tr h="0">
                <a:tc>
                  <a:txBody>
                    <a:bodyPr/>
                    <a:lstStyle/>
                    <a:p>
                      <a:pPr algn="l" rtl="0"/>
                      <a:r>
                        <a:rPr lang="en-GB" sz="1200" b="1"/>
                        <a:t>Metri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b="1"/>
                        <a:t>Weight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b="1"/>
                        <a:t>Rationa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1830504"/>
                  </a:ext>
                </a:extLst>
              </a:tr>
              <a:tr h="240032">
                <a:tc>
                  <a:txBody>
                    <a:bodyPr/>
                    <a:lstStyle/>
                    <a:p>
                      <a:pPr algn="l" rtl="0"/>
                      <a:r>
                        <a:rPr lang="en-GB" sz="1200" baseline="0"/>
                        <a:t>     Indicative fully merchant IRR for project starting in 2027</a:t>
                      </a:r>
                      <a:r>
                        <a:rPr lang="en-GB" sz="1200" baseline="30000"/>
                        <a:t>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200"/>
                        <a:t>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ts val="1340"/>
                        </a:lnSpc>
                        <a:spcBef>
                          <a:spcPts val="0"/>
                        </a:spcBef>
                        <a:spcAft>
                          <a:spcPts val="0"/>
                        </a:spcAft>
                        <a:buClrTx/>
                        <a:buSzTx/>
                        <a:buFontTx/>
                        <a:buNone/>
                        <a:tabLst/>
                        <a:defRPr/>
                      </a:pPr>
                      <a:r>
                        <a:rPr lang="en-GB" sz="1200"/>
                        <a:t>Captures the commercial viability of new build projects for final investment decisions in 2 - 3 years’ time based on fully merchant business mode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3895335"/>
                  </a:ext>
                </a:extLst>
              </a:tr>
              <a:tr h="240032">
                <a:tc>
                  <a:txBody>
                    <a:bodyPr/>
                    <a:lstStyle/>
                    <a:p>
                      <a:pPr marL="0" indent="0" algn="l" rtl="0">
                        <a:buFont typeface="Wingdings" panose="05000000000000000000" pitchFamily="2" charset="2"/>
                        <a:buNone/>
                      </a:pPr>
                      <a:r>
                        <a:rPr lang="en-GB" sz="1200" baseline="0"/>
                        <a:t>     Enabling environment for co-location</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200"/>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ts val="1340"/>
                        </a:lnSpc>
                        <a:spcBef>
                          <a:spcPts val="0"/>
                        </a:spcBef>
                        <a:spcAft>
                          <a:spcPts val="0"/>
                        </a:spcAft>
                        <a:buClrTx/>
                        <a:buSzTx/>
                        <a:buFontTx/>
                        <a:buNone/>
                        <a:tabLst/>
                        <a:defRPr/>
                      </a:pPr>
                      <a:r>
                        <a:rPr lang="en-GB" sz="1200"/>
                        <a:t>Accounts for access to other revenue streams and cost savings from cable pooling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3997983"/>
                  </a:ext>
                </a:extLst>
              </a:tr>
            </a:tbl>
          </a:graphicData>
        </a:graphic>
      </p:graphicFrame>
      <p:sp>
        <p:nvSpPr>
          <p:cNvPr id="208" name="Text Placeholder 207">
            <a:extLst>
              <a:ext uri="{FF2B5EF4-FFF2-40B4-BE49-F238E27FC236}">
                <a16:creationId xmlns:a16="http://schemas.microsoft.com/office/drawing/2014/main" id="{83729209-CEA6-404D-ABE4-51581910B7F2}"/>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3" name="Title 2">
            <a:extLst>
              <a:ext uri="{FF2B5EF4-FFF2-40B4-BE49-F238E27FC236}">
                <a16:creationId xmlns:a16="http://schemas.microsoft.com/office/drawing/2014/main" id="{83F456BF-D62F-4BA3-9D8F-8884BA87F243}"/>
              </a:ext>
            </a:extLst>
          </p:cNvPr>
          <p:cNvSpPr>
            <a:spLocks noGrp="1"/>
          </p:cNvSpPr>
          <p:nvPr>
            <p:ph type="title"/>
          </p:nvPr>
        </p:nvSpPr>
        <p:spPr/>
        <p:txBody>
          <a:bodyPr vert="horz"/>
          <a:lstStyle/>
          <a:p>
            <a:r>
              <a:rPr lang="en-GB" sz="2400">
                <a:solidFill>
                  <a:srgbClr val="7A7A7A"/>
                </a:solidFill>
                <a:highlight>
                  <a:srgbClr val="7A7A7A"/>
                </a:highlight>
                <a:latin typeface="Lato"/>
              </a:rPr>
              <a:t>XX</a:t>
            </a:r>
            <a:r>
              <a:rPr lang="en-GB">
                <a:solidFill>
                  <a:schemeClr val="tx1"/>
                </a:solidFill>
              </a:rPr>
              <a:t> sees the most attractive project economics for battery storage, followed by </a:t>
            </a:r>
            <a:r>
              <a:rPr lang="en-GB" sz="2400">
                <a:solidFill>
                  <a:srgbClr val="7A7A7A"/>
                </a:solidFill>
                <a:highlight>
                  <a:srgbClr val="7A7A7A"/>
                </a:highlight>
                <a:latin typeface="Lato"/>
              </a:rPr>
              <a:t>XX</a:t>
            </a:r>
            <a:r>
              <a:rPr lang="en-GB">
                <a:solidFill>
                  <a:schemeClr val="tx1"/>
                </a:solidFill>
              </a:rPr>
              <a:t> and </a:t>
            </a:r>
            <a:r>
              <a:rPr lang="en-GB" sz="2400">
                <a:solidFill>
                  <a:srgbClr val="7A7A7A"/>
                </a:solidFill>
                <a:highlight>
                  <a:srgbClr val="7A7A7A"/>
                </a:highlight>
                <a:latin typeface="Lato"/>
              </a:rPr>
              <a:t>XX</a:t>
            </a:r>
            <a:endParaRPr lang="en-GB"/>
          </a:p>
        </p:txBody>
      </p:sp>
      <p:sp>
        <p:nvSpPr>
          <p:cNvPr id="8" name="Text Placeholder 11">
            <a:extLst>
              <a:ext uri="{FF2B5EF4-FFF2-40B4-BE49-F238E27FC236}">
                <a16:creationId xmlns:a16="http://schemas.microsoft.com/office/drawing/2014/main" id="{A1E1712E-EF13-49EC-AA82-02B5EE448690}"/>
              </a:ext>
            </a:extLst>
          </p:cNvPr>
          <p:cNvSpPr txBox="1">
            <a:spLocks/>
          </p:cNvSpPr>
          <p:nvPr/>
        </p:nvSpPr>
        <p:spPr>
          <a:xfrm>
            <a:off x="3048000" y="1282473"/>
            <a:ext cx="8773302" cy="369332"/>
          </a:xfrm>
          <a:prstGeom prst="rect">
            <a:avLst/>
          </a:prstGeom>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r>
              <a:rPr lang="en-GB" i="1"/>
              <a:t>Countries are assessed in terms of their economic outlook for batteries, reflected through indicative fully merchant IRRs and potential for colocation, with scores assigned between 0-10 where the maximum IRR = 10 and minimum = 0.</a:t>
            </a:r>
          </a:p>
        </p:txBody>
      </p:sp>
      <p:sp>
        <p:nvSpPr>
          <p:cNvPr id="60" name="Text Placeholder 12">
            <a:extLst>
              <a:ext uri="{FF2B5EF4-FFF2-40B4-BE49-F238E27FC236}">
                <a16:creationId xmlns:a16="http://schemas.microsoft.com/office/drawing/2014/main" id="{A004D87F-2A81-AEA2-21E0-B942FE8AAFFB}"/>
              </a:ext>
            </a:extLst>
          </p:cNvPr>
          <p:cNvSpPr txBox="1">
            <a:spLocks/>
          </p:cNvSpPr>
          <p:nvPr/>
        </p:nvSpPr>
        <p:spPr>
          <a:xfrm>
            <a:off x="6421842" y="2798882"/>
            <a:ext cx="5376000" cy="184150"/>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u="sng"/>
              <a:t>Top markets</a:t>
            </a:r>
          </a:p>
        </p:txBody>
      </p:sp>
      <p:sp>
        <p:nvSpPr>
          <p:cNvPr id="36" name="Text Placeholder 17">
            <a:extLst>
              <a:ext uri="{FF2B5EF4-FFF2-40B4-BE49-F238E27FC236}">
                <a16:creationId xmlns:a16="http://schemas.microsoft.com/office/drawing/2014/main" id="{4E2ACDB1-51D6-3615-BA12-45BBA6E62379}"/>
              </a:ext>
            </a:extLst>
          </p:cNvPr>
          <p:cNvSpPr txBox="1">
            <a:spLocks/>
          </p:cNvSpPr>
          <p:nvPr/>
        </p:nvSpPr>
        <p:spPr>
          <a:xfrm>
            <a:off x="6421841" y="3170601"/>
            <a:ext cx="5375999" cy="242117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2880" indent="-182880">
              <a:buFont typeface="Wingdings" panose="05000000000000000000" pitchFamily="2" charset="2"/>
              <a:buChar char="§"/>
            </a:pPr>
            <a:r>
              <a:rPr lang="en-GB" sz="1200">
                <a:solidFill>
                  <a:srgbClr val="7A7A7A"/>
                </a:solidFill>
                <a:highlight>
                  <a:srgbClr val="7A7A7A"/>
                </a:highlight>
                <a:latin typeface="Lato"/>
              </a:rPr>
              <a:t>XX</a:t>
            </a:r>
            <a:r>
              <a:rPr lang="en-GB"/>
              <a:t> has the most attractive IRRs for 2hr batteries primarily driven by energy arbitrage. We expect the </a:t>
            </a:r>
            <a:r>
              <a:rPr lang="en-GB" sz="1200">
                <a:solidFill>
                  <a:srgbClr val="7A7A7A"/>
                </a:solidFill>
                <a:highlight>
                  <a:srgbClr val="7A7A7A"/>
                </a:highlight>
                <a:latin typeface="Lato"/>
              </a:rPr>
              <a:t>XX </a:t>
            </a:r>
            <a:r>
              <a:rPr lang="en-GB"/>
              <a:t>to continue to provide favourable economics beyond </a:t>
            </a:r>
            <a:r>
              <a:rPr lang="en-GB" sz="1200">
                <a:solidFill>
                  <a:srgbClr val="7A7A7A"/>
                </a:solidFill>
                <a:highlight>
                  <a:srgbClr val="7A7A7A"/>
                </a:highlight>
                <a:latin typeface="Lato"/>
              </a:rPr>
              <a:t>XX</a:t>
            </a:r>
            <a:r>
              <a:rPr lang="en-GB"/>
              <a:t>. Meanwhile, </a:t>
            </a:r>
            <a:r>
              <a:rPr lang="en-GB" sz="1200">
                <a:solidFill>
                  <a:srgbClr val="7A7A7A"/>
                </a:solidFill>
                <a:highlight>
                  <a:srgbClr val="7A7A7A"/>
                </a:highlight>
                <a:latin typeface="Lato"/>
              </a:rPr>
              <a:t>XX</a:t>
            </a:r>
            <a:r>
              <a:rPr lang="en-GB"/>
              <a:t> provides one of the best environment for co-location assets. </a:t>
            </a:r>
          </a:p>
          <a:p>
            <a:pPr marL="182880" indent="-182880">
              <a:buFont typeface="Wingdings" panose="05000000000000000000" pitchFamily="2" charset="2"/>
              <a:buChar char="§"/>
            </a:pPr>
            <a:r>
              <a:rPr lang="en-GB" sz="1200">
                <a:solidFill>
                  <a:srgbClr val="7A7A7A"/>
                </a:solidFill>
                <a:highlight>
                  <a:srgbClr val="7A7A7A"/>
                </a:highlight>
                <a:latin typeface="Lato"/>
              </a:rPr>
              <a:t>XX</a:t>
            </a:r>
            <a:r>
              <a:rPr lang="en-GB" b="1"/>
              <a:t> </a:t>
            </a:r>
            <a:r>
              <a:rPr lang="en-GB"/>
              <a:t>has both a good location and regulatory support for developing co-location projects. These projects can provide significantly higher returns than standalone batteries. Additionally, </a:t>
            </a:r>
            <a:r>
              <a:rPr lang="en-GB" sz="1200">
                <a:solidFill>
                  <a:srgbClr val="7A7A7A"/>
                </a:solidFill>
                <a:highlight>
                  <a:srgbClr val="7A7A7A"/>
                </a:highlight>
                <a:latin typeface="Lato"/>
              </a:rPr>
              <a:t>XX</a:t>
            </a:r>
            <a:r>
              <a:rPr lang="en-GB"/>
              <a:t> can also generate high revenue from the Capacity Market.</a:t>
            </a:r>
          </a:p>
          <a:p>
            <a:pPr marL="182880" indent="-182880">
              <a:buFont typeface="Wingdings" panose="05000000000000000000" pitchFamily="2" charset="2"/>
              <a:buChar char="§"/>
            </a:pPr>
            <a:r>
              <a:rPr lang="en-GB" sz="1200">
                <a:solidFill>
                  <a:srgbClr val="7A7A7A"/>
                </a:solidFill>
                <a:highlight>
                  <a:srgbClr val="7A7A7A"/>
                </a:highlight>
                <a:latin typeface="Lato"/>
              </a:rPr>
              <a:t>XX</a:t>
            </a:r>
            <a:r>
              <a:rPr lang="en-GB"/>
              <a:t> has the most attractive IRRs for 1h batteries driven by high frequency response revenues. We expect </a:t>
            </a:r>
            <a:r>
              <a:rPr lang="en-GB" sz="1200">
                <a:solidFill>
                  <a:srgbClr val="7A7A7A"/>
                </a:solidFill>
                <a:highlight>
                  <a:srgbClr val="7A7A7A"/>
                </a:highlight>
                <a:latin typeface="Lato"/>
              </a:rPr>
              <a:t>XX</a:t>
            </a:r>
            <a:r>
              <a:rPr lang="en-GB"/>
              <a:t> and </a:t>
            </a:r>
            <a:r>
              <a:rPr lang="en-GB" sz="1200">
                <a:solidFill>
                  <a:srgbClr val="7A7A7A"/>
                </a:solidFill>
                <a:highlight>
                  <a:srgbClr val="7A7A7A"/>
                </a:highlight>
                <a:latin typeface="Lato"/>
              </a:rPr>
              <a:t>XX</a:t>
            </a:r>
            <a:r>
              <a:rPr lang="en-GB"/>
              <a:t> markets to still present relative high prices, consequence of previous years extreme commodity prices, although with a downwards trend due to increased market saturation.</a:t>
            </a:r>
            <a:endParaRPr lang="en-GB" b="1"/>
          </a:p>
        </p:txBody>
      </p:sp>
      <p:sp>
        <p:nvSpPr>
          <p:cNvPr id="11" name="Text Placeholder 14">
            <a:extLst>
              <a:ext uri="{FF2B5EF4-FFF2-40B4-BE49-F238E27FC236}">
                <a16:creationId xmlns:a16="http://schemas.microsoft.com/office/drawing/2014/main" id="{2C896089-F2CC-2987-5924-B5A10572B80B}"/>
              </a:ext>
            </a:extLst>
          </p:cNvPr>
          <p:cNvSpPr txBox="1">
            <a:spLocks/>
          </p:cNvSpPr>
          <p:nvPr/>
        </p:nvSpPr>
        <p:spPr>
          <a:xfrm>
            <a:off x="384346" y="2004597"/>
            <a:ext cx="216000" cy="216000"/>
          </a:xfrm>
          <a:prstGeom prst="ellipse">
            <a:avLst/>
          </a:prstGeom>
          <a:solidFill>
            <a:srgbClr val="4C6C9C"/>
          </a:solidFill>
          <a:ln w="19050">
            <a:noFill/>
          </a:ln>
        </p:spPr>
        <p:txBody>
          <a:bodyPr lIns="0" r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sz="1000">
                <a:solidFill>
                  <a:schemeClr val="bg1"/>
                </a:solidFill>
              </a:rPr>
              <a:t>12</a:t>
            </a:r>
          </a:p>
        </p:txBody>
      </p:sp>
      <p:sp>
        <p:nvSpPr>
          <p:cNvPr id="49" name="Text Placeholder 14">
            <a:extLst>
              <a:ext uri="{FF2B5EF4-FFF2-40B4-BE49-F238E27FC236}">
                <a16:creationId xmlns:a16="http://schemas.microsoft.com/office/drawing/2014/main" id="{E166D36B-1970-6640-C749-FE80269E1460}"/>
              </a:ext>
            </a:extLst>
          </p:cNvPr>
          <p:cNvSpPr txBox="1">
            <a:spLocks/>
          </p:cNvSpPr>
          <p:nvPr/>
        </p:nvSpPr>
        <p:spPr>
          <a:xfrm>
            <a:off x="384346" y="2425128"/>
            <a:ext cx="216000" cy="216000"/>
          </a:xfrm>
          <a:prstGeom prst="ellipse">
            <a:avLst/>
          </a:prstGeom>
          <a:solidFill>
            <a:srgbClr val="4E5F6E"/>
          </a:solidFill>
          <a:ln w="19050">
            <a:noFill/>
          </a:ln>
        </p:spPr>
        <p:txBody>
          <a:bodyPr lIns="0" r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sz="1000">
                <a:solidFill>
                  <a:schemeClr val="bg1"/>
                </a:solidFill>
              </a:rPr>
              <a:t>13</a:t>
            </a:r>
          </a:p>
        </p:txBody>
      </p:sp>
      <p:sp>
        <p:nvSpPr>
          <p:cNvPr id="33" name="Text Placeholder 10"/>
          <p:cNvSpPr>
            <a:spLocks noGrp="1"/>
          </p:cNvSpPr>
          <p:nvPr>
            <p:ph type="body" sz="quarter" idx="31"/>
          </p:nvPr>
        </p:nvSpPr>
        <p:spPr>
          <a:xfrm>
            <a:off x="381599" y="79401"/>
            <a:ext cx="1468672" cy="184666"/>
          </a:xfrm>
        </p:spPr>
        <p:txBody>
          <a:bodyPr/>
          <a:lstStyle/>
          <a:p>
            <a:r>
              <a:rPr lang="en-GB"/>
              <a:t>	Project economics</a:t>
            </a:r>
          </a:p>
        </p:txBody>
      </p:sp>
      <p:sp>
        <p:nvSpPr>
          <p:cNvPr id="34" name="Oval 3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graphicFrame>
        <p:nvGraphicFramePr>
          <p:cNvPr id="10" name="Chart 9">
            <a:extLst>
              <a:ext uri="{FF2B5EF4-FFF2-40B4-BE49-F238E27FC236}">
                <a16:creationId xmlns:a16="http://schemas.microsoft.com/office/drawing/2014/main" id="{FBABD308-F23B-3D29-0A25-54210C9C9836}"/>
              </a:ext>
            </a:extLst>
          </p:cNvPr>
          <p:cNvGraphicFramePr/>
          <p:nvPr>
            <p:custDataLst>
              <p:tags r:id="rId3"/>
            </p:custDataLst>
            <p:extLst>
              <p:ext uri="{D42A27DB-BD31-4B8C-83A1-F6EECF244321}">
                <p14:modId xmlns:p14="http://schemas.microsoft.com/office/powerpoint/2010/main" val="1934587682"/>
              </p:ext>
            </p:extLst>
          </p:nvPr>
        </p:nvGraphicFramePr>
        <p:xfrm>
          <a:off x="2509838" y="2900363"/>
          <a:ext cx="3059112" cy="3246437"/>
        </p:xfrm>
        <a:graphic>
          <a:graphicData uri="http://schemas.openxmlformats.org/drawingml/2006/chart">
            <c:chart xmlns:c="http://schemas.openxmlformats.org/drawingml/2006/chart" xmlns:r="http://schemas.openxmlformats.org/officeDocument/2006/relationships" r:id="rId12"/>
          </a:graphicData>
        </a:graphic>
      </p:graphicFrame>
      <p:sp>
        <p:nvSpPr>
          <p:cNvPr id="599" name="Rectangle 598">
            <a:extLst>
              <a:ext uri="{FF2B5EF4-FFF2-40B4-BE49-F238E27FC236}">
                <a16:creationId xmlns:a16="http://schemas.microsoft.com/office/drawing/2014/main" id="{23070DAA-212B-D833-BC2E-068931AA4D15}"/>
              </a:ext>
            </a:extLst>
          </p:cNvPr>
          <p:cNvSpPr/>
          <p:nvPr>
            <p:custDataLst>
              <p:tags r:id="rId4"/>
            </p:custDataLst>
          </p:nvPr>
        </p:nvSpPr>
        <p:spPr bwMode="auto">
          <a:xfrm>
            <a:off x="457200" y="6227763"/>
            <a:ext cx="179388" cy="133350"/>
          </a:xfrm>
          <a:prstGeom prst="rect">
            <a:avLst/>
          </a:prstGeom>
          <a:solidFill>
            <a:srgbClr val="4C6C9C"/>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00" name="Rectangle 599">
            <a:extLst>
              <a:ext uri="{FF2B5EF4-FFF2-40B4-BE49-F238E27FC236}">
                <a16:creationId xmlns:a16="http://schemas.microsoft.com/office/drawing/2014/main" id="{5CD84C05-44A6-ED6A-2123-53CC7543B603}"/>
              </a:ext>
            </a:extLst>
          </p:cNvPr>
          <p:cNvSpPr/>
          <p:nvPr>
            <p:custDataLst>
              <p:tags r:id="rId5"/>
            </p:custDataLst>
          </p:nvPr>
        </p:nvSpPr>
        <p:spPr bwMode="auto">
          <a:xfrm>
            <a:off x="1768475" y="6227763"/>
            <a:ext cx="179388" cy="133350"/>
          </a:xfrm>
          <a:prstGeom prst="rect">
            <a:avLst/>
          </a:prstGeom>
          <a:solidFill>
            <a:srgbClr val="E9E261"/>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94"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auto">
          <a:xfrm>
            <a:off x="687388" y="6223000"/>
            <a:ext cx="979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D06877DF-2421-462D-8683-1C88B87C766D}" type="datetime'''''''''Ba''tt''''e''r''''''''y'' IR''R'' ''''sc''''''ore'">
              <a:rPr lang="en-GB" altLang="en-US" sz="1000" smtClean="0"/>
              <a:pPr lvl="0">
                <a:spcBef>
                  <a:spcPct val="0"/>
                </a:spcBef>
                <a:spcAft>
                  <a:spcPct val="0"/>
                </a:spcAft>
              </a:pPr>
              <a:t>Battery IRR score</a:t>
            </a:fld>
            <a:endParaRPr lang="en-GB" sz="1000"/>
          </a:p>
        </p:txBody>
      </p:sp>
      <p:sp>
        <p:nvSpPr>
          <p:cNvPr id="596"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auto">
          <a:xfrm>
            <a:off x="1998663" y="6223000"/>
            <a:ext cx="927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045F019-7783-4910-AB65-A8EC25925B37}" type="datetime'''C''''''olo''c''''a''''t''io''''''''n ''s''c''o''re'''''">
              <a:rPr lang="en-GB" altLang="en-US" sz="1000" smtClean="0">
                <a:effectLst/>
              </a:rPr>
              <a:pPr lvl="0">
                <a:spcBef>
                  <a:spcPct val="0"/>
                </a:spcBef>
                <a:spcAft>
                  <a:spcPct val="0"/>
                </a:spcAft>
              </a:pPr>
              <a:t>Colocation score</a:t>
            </a:fld>
            <a:endParaRPr lang="en-GB" sz="1000"/>
          </a:p>
        </p:txBody>
      </p:sp>
      <p:sp>
        <p:nvSpPr>
          <p:cNvPr id="2" name="Rectangle 1">
            <a:extLst>
              <a:ext uri="{FF2B5EF4-FFF2-40B4-BE49-F238E27FC236}">
                <a16:creationId xmlns:a16="http://schemas.microsoft.com/office/drawing/2014/main" id="{4AD60A67-02BE-7D9F-1BBC-D1AD6E7A6B9F}"/>
              </a:ext>
            </a:extLst>
          </p:cNvPr>
          <p:cNvSpPr/>
          <p:nvPr/>
        </p:nvSpPr>
        <p:spPr>
          <a:xfrm>
            <a:off x="6533965" y="3080551"/>
            <a:ext cx="5263875" cy="266330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9187178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a16="http://schemas.microsoft.com/office/drawing/2014/main" id="{A5C4A9E9-DAC9-456E-9467-E91E34358B4D}"/>
              </a:ext>
            </a:extLst>
          </p:cNvPr>
          <p:cNvGraphicFramePr>
            <a:graphicFrameLocks noChangeAspect="1"/>
          </p:cNvGraphicFramePr>
          <p:nvPr>
            <p:custDataLst>
              <p:tags r:id="rId1"/>
            </p:custDataLst>
            <p:extLst>
              <p:ext uri="{D42A27DB-BD31-4B8C-83A1-F6EECF244321}">
                <p14:modId xmlns:p14="http://schemas.microsoft.com/office/powerpoint/2010/main" val="3640366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67" name="Object 66" hidden="1">
                        <a:extLst>
                          <a:ext uri="{FF2B5EF4-FFF2-40B4-BE49-F238E27FC236}">
                            <a16:creationId xmlns:a16="http://schemas.microsoft.com/office/drawing/2014/main" id="{A5C4A9E9-DAC9-456E-9467-E91E34358B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9" name="Text Placeholder 48">
            <a:extLst>
              <a:ext uri="{FF2B5EF4-FFF2-40B4-BE49-F238E27FC236}">
                <a16:creationId xmlns:a16="http://schemas.microsoft.com/office/drawing/2014/main" id="{64F12697-3AD8-E776-265F-0E8C9C86E05D}"/>
              </a:ext>
            </a:extLst>
          </p:cNvPr>
          <p:cNvSpPr>
            <a:spLocks noGrp="1"/>
          </p:cNvSpPr>
          <p:nvPr>
            <p:ph type="body" sz="quarter" idx="28"/>
          </p:nvPr>
        </p:nvSpPr>
        <p:spPr>
          <a:xfrm>
            <a:off x="9499127" y="1279526"/>
            <a:ext cx="2335686" cy="184666"/>
          </a:xfrm>
        </p:spPr>
        <p:txBody>
          <a:bodyPr/>
          <a:lstStyle/>
          <a:p>
            <a:pPr marL="182880" indent="-182880">
              <a:buFont typeface="Wingdings" panose="05000000000000000000" pitchFamily="2" charset="2"/>
              <a:buChar char="§"/>
            </a:pPr>
            <a:endParaRPr lang="en-US"/>
          </a:p>
        </p:txBody>
      </p:sp>
      <p:sp>
        <p:nvSpPr>
          <p:cNvPr id="48" name="Text Placeholder 47">
            <a:extLst>
              <a:ext uri="{FF2B5EF4-FFF2-40B4-BE49-F238E27FC236}">
                <a16:creationId xmlns:a16="http://schemas.microsoft.com/office/drawing/2014/main" id="{989C0305-85BB-834A-DAFA-1E5A856EB087}"/>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216" name="Title 215">
            <a:extLst>
              <a:ext uri="{FF2B5EF4-FFF2-40B4-BE49-F238E27FC236}">
                <a16:creationId xmlns:a16="http://schemas.microsoft.com/office/drawing/2014/main" id="{16FB99D3-F236-4FA6-B5BD-5E3B2F2FC4D2}"/>
              </a:ext>
            </a:extLst>
          </p:cNvPr>
          <p:cNvSpPr>
            <a:spLocks noGrp="1"/>
          </p:cNvSpPr>
          <p:nvPr>
            <p:ph type="title"/>
          </p:nvPr>
        </p:nvSpPr>
        <p:spPr/>
        <p:txBody>
          <a:bodyPr vert="horz"/>
          <a:lstStyle/>
          <a:p>
            <a:r>
              <a:rPr lang="en-GB">
                <a:solidFill>
                  <a:schemeClr val="tx1"/>
                </a:solidFill>
              </a:rPr>
              <a:t>The gross margin stack is formed largely by capacity-based ancillary services in the </a:t>
            </a:r>
            <a:r>
              <a:rPr lang="en-GB" sz="2400">
                <a:solidFill>
                  <a:srgbClr val="7A7A7A"/>
                </a:solidFill>
                <a:highlight>
                  <a:srgbClr val="7A7A7A"/>
                </a:highlight>
                <a:latin typeface="Lato"/>
              </a:rPr>
              <a:t>XX</a:t>
            </a:r>
            <a:r>
              <a:rPr lang="en-GB">
                <a:solidFill>
                  <a:schemeClr val="tx1"/>
                </a:solidFill>
              </a:rPr>
              <a:t>, but energy arbitrage is prevalent elsewhere</a:t>
            </a:r>
            <a:br>
              <a:rPr lang="en-GB"/>
            </a:br>
            <a:endParaRPr lang="en-GB"/>
          </a:p>
        </p:txBody>
      </p:sp>
      <p:sp>
        <p:nvSpPr>
          <p:cNvPr id="52" name="Text Placeholder 51">
            <a:extLst>
              <a:ext uri="{FF2B5EF4-FFF2-40B4-BE49-F238E27FC236}">
                <a16:creationId xmlns:a16="http://schemas.microsoft.com/office/drawing/2014/main" id="{1F2B4FC3-7EE5-238A-9014-90DEA7F1E6CF}"/>
              </a:ext>
            </a:extLst>
          </p:cNvPr>
          <p:cNvSpPr>
            <a:spLocks noGrp="1"/>
          </p:cNvSpPr>
          <p:nvPr>
            <p:ph type="body" sz="quarter" idx="32"/>
          </p:nvPr>
        </p:nvSpPr>
        <p:spPr>
          <a:xfrm>
            <a:off x="381600" y="6474841"/>
            <a:ext cx="8601074" cy="110800"/>
          </a:xfrm>
        </p:spPr>
        <p:txBody>
          <a:bodyPr/>
          <a:lstStyle/>
          <a:p>
            <a:endParaRPr lang="en-GB"/>
          </a:p>
        </p:txBody>
      </p:sp>
      <p:sp>
        <p:nvSpPr>
          <p:cNvPr id="539" name="Text Placeholder 481">
            <a:extLst>
              <a:ext uri="{FF2B5EF4-FFF2-40B4-BE49-F238E27FC236}">
                <a16:creationId xmlns:a16="http://schemas.microsoft.com/office/drawing/2014/main" id="{2D94B3F2-299B-42D5-9644-FA17D98E3791}"/>
              </a:ext>
            </a:extLst>
          </p:cNvPr>
          <p:cNvSpPr txBox="1">
            <a:spLocks/>
          </p:cNvSpPr>
          <p:nvPr/>
        </p:nvSpPr>
        <p:spPr>
          <a:xfrm>
            <a:off x="381600" y="1279526"/>
            <a:ext cx="5580063" cy="369332"/>
          </a:xfrm>
          <a:prstGeom prst="rect">
            <a:avLst/>
          </a:prstGeom>
        </p:spPr>
        <p:txBody>
          <a:bodyPr wrap="square" lIns="0" tIns="0" rIns="0" bIns="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b="1"/>
              <a:t>Average composition of gross margin stack</a:t>
            </a:r>
            <a:br>
              <a:rPr lang="en-GB" b="1"/>
            </a:br>
            <a:r>
              <a:rPr lang="en-GB">
                <a:solidFill>
                  <a:schemeClr val="accent5"/>
                </a:solidFill>
              </a:rPr>
              <a:t>% of 2027 – 2041</a:t>
            </a:r>
          </a:p>
        </p:txBody>
      </p:sp>
      <p:sp>
        <p:nvSpPr>
          <p:cNvPr id="116" name="Rounded Rectangle 30">
            <a:extLst>
              <a:ext uri="{FF2B5EF4-FFF2-40B4-BE49-F238E27FC236}">
                <a16:creationId xmlns:a16="http://schemas.microsoft.com/office/drawing/2014/main" id="{48510998-9972-5352-58A4-22D2D1F599DD}"/>
              </a:ext>
            </a:extLst>
          </p:cNvPr>
          <p:cNvSpPr/>
          <p:nvPr/>
        </p:nvSpPr>
        <p:spPr>
          <a:xfrm rot="16200000">
            <a:off x="-188550" y="2505883"/>
            <a:ext cx="1661862" cy="287142"/>
          </a:xfrm>
          <a:prstGeom prst="roundRect">
            <a:avLst>
              <a:gd name="adj" fmla="val 50000"/>
            </a:avLst>
          </a:prstGeom>
          <a:solidFill>
            <a:srgbClr val="C8BD88"/>
          </a:solidFill>
          <a:ln w="6350">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r>
              <a:rPr lang="en-GB" sz="1400" b="1"/>
              <a:t>1 hr battery</a:t>
            </a:r>
          </a:p>
        </p:txBody>
      </p:sp>
      <p:sp>
        <p:nvSpPr>
          <p:cNvPr id="117" name="Rounded Rectangle 30">
            <a:extLst>
              <a:ext uri="{FF2B5EF4-FFF2-40B4-BE49-F238E27FC236}">
                <a16:creationId xmlns:a16="http://schemas.microsoft.com/office/drawing/2014/main" id="{58AE3374-74D3-88D1-828E-F24BF98EEB90}"/>
              </a:ext>
            </a:extLst>
          </p:cNvPr>
          <p:cNvSpPr/>
          <p:nvPr/>
        </p:nvSpPr>
        <p:spPr>
          <a:xfrm rot="16200000">
            <a:off x="-188913" y="4614863"/>
            <a:ext cx="1661862" cy="287338"/>
          </a:xfrm>
          <a:prstGeom prst="roundRect">
            <a:avLst>
              <a:gd name="adj" fmla="val 50000"/>
            </a:avLst>
          </a:prstGeom>
          <a:solidFill>
            <a:srgbClr val="A6964E"/>
          </a:solidFill>
          <a:ln w="6350">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r>
              <a:rPr lang="en-GB" sz="1400" b="1"/>
              <a:t>2 hr battery</a:t>
            </a:r>
          </a:p>
        </p:txBody>
      </p:sp>
      <p:sp>
        <p:nvSpPr>
          <p:cNvPr id="3" name="Text Placeholder 2"/>
          <p:cNvSpPr>
            <a:spLocks noGrp="1"/>
          </p:cNvSpPr>
          <p:nvPr>
            <p:ph type="body" sz="quarter" idx="31"/>
          </p:nvPr>
        </p:nvSpPr>
        <p:spPr>
          <a:xfrm>
            <a:off x="381599" y="79401"/>
            <a:ext cx="1468672" cy="184666"/>
          </a:xfrm>
        </p:spPr>
        <p:txBody>
          <a:bodyPr/>
          <a:lstStyle/>
          <a:p>
            <a:r>
              <a:rPr lang="en-GB"/>
              <a:t>	Project economics</a:t>
            </a:r>
          </a:p>
        </p:txBody>
      </p:sp>
      <p:sp>
        <p:nvSpPr>
          <p:cNvPr id="53" name="Oval 52">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graphicFrame>
        <p:nvGraphicFramePr>
          <p:cNvPr id="10" name="Chart 9">
            <a:extLst>
              <a:ext uri="{FF2B5EF4-FFF2-40B4-BE49-F238E27FC236}">
                <a16:creationId xmlns:a16="http://schemas.microsoft.com/office/drawing/2014/main" id="{B54CB0D6-2460-A13E-CC87-98A41E2710CF}"/>
              </a:ext>
            </a:extLst>
          </p:cNvPr>
          <p:cNvGraphicFramePr/>
          <p:nvPr>
            <p:custDataLst>
              <p:tags r:id="rId2"/>
            </p:custDataLst>
            <p:extLst>
              <p:ext uri="{D42A27DB-BD31-4B8C-83A1-F6EECF244321}">
                <p14:modId xmlns:p14="http://schemas.microsoft.com/office/powerpoint/2010/main" val="3818101875"/>
              </p:ext>
            </p:extLst>
          </p:nvPr>
        </p:nvGraphicFramePr>
        <p:xfrm>
          <a:off x="860425" y="3884613"/>
          <a:ext cx="8204200" cy="1787525"/>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6" name="Chart 5">
            <a:extLst>
              <a:ext uri="{FF2B5EF4-FFF2-40B4-BE49-F238E27FC236}">
                <a16:creationId xmlns:a16="http://schemas.microsoft.com/office/drawing/2014/main" id="{9280A739-579B-4C7A-9EF6-C527ADD1BE04}"/>
              </a:ext>
            </a:extLst>
          </p:cNvPr>
          <p:cNvGraphicFramePr/>
          <p:nvPr>
            <p:custDataLst>
              <p:tags r:id="rId3"/>
            </p:custDataLst>
            <p:extLst>
              <p:ext uri="{D42A27DB-BD31-4B8C-83A1-F6EECF244321}">
                <p14:modId xmlns:p14="http://schemas.microsoft.com/office/powerpoint/2010/main" val="284930536"/>
              </p:ext>
            </p:extLst>
          </p:nvPr>
        </p:nvGraphicFramePr>
        <p:xfrm>
          <a:off x="860425" y="1781175"/>
          <a:ext cx="8204200" cy="1789113"/>
        </p:xfrm>
        <a:graphic>
          <a:graphicData uri="http://schemas.openxmlformats.org/drawingml/2006/chart">
            <c:chart xmlns:c="http://schemas.openxmlformats.org/drawingml/2006/chart" xmlns:r="http://schemas.openxmlformats.org/officeDocument/2006/relationships" r:id="rId17"/>
          </a:graphicData>
        </a:graphic>
      </p:graphicFrame>
      <p:sp>
        <p:nvSpPr>
          <p:cNvPr id="923" name="Rectangle 922">
            <a:extLst>
              <a:ext uri="{FF2B5EF4-FFF2-40B4-BE49-F238E27FC236}">
                <a16:creationId xmlns:a16="http://schemas.microsoft.com/office/drawing/2014/main" id="{F567ACE9-10C7-0212-8050-6E03FAFD40F5}"/>
              </a:ext>
            </a:extLst>
          </p:cNvPr>
          <p:cNvSpPr/>
          <p:nvPr>
            <p:custDataLst>
              <p:tags r:id="rId4"/>
            </p:custDataLst>
          </p:nvPr>
        </p:nvSpPr>
        <p:spPr bwMode="auto">
          <a:xfrm>
            <a:off x="431800" y="6073775"/>
            <a:ext cx="179388" cy="133350"/>
          </a:xfrm>
          <a:prstGeom prst="rect">
            <a:avLst/>
          </a:prstGeom>
          <a:solidFill>
            <a:schemeClr val="accent3"/>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24" name="Rectangle 923">
            <a:extLst>
              <a:ext uri="{FF2B5EF4-FFF2-40B4-BE49-F238E27FC236}">
                <a16:creationId xmlns:a16="http://schemas.microsoft.com/office/drawing/2014/main" id="{743C9C30-1AB2-8C80-786A-545C47459910}"/>
              </a:ext>
            </a:extLst>
          </p:cNvPr>
          <p:cNvSpPr/>
          <p:nvPr>
            <p:custDataLst>
              <p:tags r:id="rId5"/>
            </p:custDataLst>
          </p:nvPr>
        </p:nvSpPr>
        <p:spPr bwMode="auto">
          <a:xfrm>
            <a:off x="431800" y="6276975"/>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25" name="Rectangle 924">
            <a:extLst>
              <a:ext uri="{FF2B5EF4-FFF2-40B4-BE49-F238E27FC236}">
                <a16:creationId xmlns:a16="http://schemas.microsoft.com/office/drawing/2014/main" id="{BB55F28E-6366-3D35-620B-AAAD82AA7C2F}"/>
              </a:ext>
            </a:extLst>
          </p:cNvPr>
          <p:cNvSpPr/>
          <p:nvPr>
            <p:custDataLst>
              <p:tags r:id="rId6"/>
            </p:custDataLst>
          </p:nvPr>
        </p:nvSpPr>
        <p:spPr bwMode="auto">
          <a:xfrm>
            <a:off x="5060950" y="6073775"/>
            <a:ext cx="179388" cy="133350"/>
          </a:xfrm>
          <a:prstGeom prst="rect">
            <a:avLst/>
          </a:prstGeom>
          <a:solidFill>
            <a:srgbClr val="C3CFE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26" name="Rectangle 925">
            <a:extLst>
              <a:ext uri="{FF2B5EF4-FFF2-40B4-BE49-F238E27FC236}">
                <a16:creationId xmlns:a16="http://schemas.microsoft.com/office/drawing/2014/main" id="{B93E2DD3-0A2C-1D58-AEC4-C34BA091125D}"/>
              </a:ext>
            </a:extLst>
          </p:cNvPr>
          <p:cNvSpPr/>
          <p:nvPr>
            <p:custDataLst>
              <p:tags r:id="rId7"/>
            </p:custDataLst>
          </p:nvPr>
        </p:nvSpPr>
        <p:spPr bwMode="auto">
          <a:xfrm>
            <a:off x="5060950" y="6276975"/>
            <a:ext cx="179388" cy="133350"/>
          </a:xfrm>
          <a:prstGeom prst="rect">
            <a:avLst/>
          </a:prstGeom>
          <a:solidFill>
            <a:srgbClr val="6F8DB9"/>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27" name="Text Placeholder 19">
            <a:extLst>
              <a:ext uri="{FF2B5EF4-FFF2-40B4-BE49-F238E27FC236}">
                <a16:creationId xmlns:a16="http://schemas.microsoft.com/office/drawing/2014/main" id="{2A839BD3-F734-C178-A3EA-36F107E6B951}"/>
              </a:ext>
            </a:extLst>
          </p:cNvPr>
          <p:cNvSpPr>
            <a:spLocks noGrp="1"/>
          </p:cNvSpPr>
          <p:nvPr>
            <p:custDataLst>
              <p:tags r:id="rId8"/>
            </p:custDataLst>
          </p:nvPr>
        </p:nvSpPr>
        <p:spPr bwMode="auto">
          <a:xfrm>
            <a:off x="661988" y="6069013"/>
            <a:ext cx="4297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4C59401D-FD67-4A9F-93EB-6D38C84D6701}" type="thinkcell&lt;?xml version=&quot;1.0&quot; encoding=&quot;UTF-16&quot; standalone=&quot;yes&quot;?&gt;&lt;root reqver=&quot;28224&quot;&gt;&lt;version val=&quot;35278&quot;/&gt;&lt;PersistentType&gt;&lt;m_guid val=&quot;33916fff-9f5f-4a5c-88e1-e550c9802999&quot;/&gt;&lt;m_prec&gt;&lt;m_yearfmt&gt;&lt;begin val=&quot;0&quot;/&gt;&lt;end val=&quot;4&quot;/&gt;&lt;/m_yearfmt&gt;&lt;/m_prec&gt;&lt;m_bUseExcelFont val=&quot;0&quot;/&gt;&lt;m_bUseExcelFontColor val=&quot;0&quot;/&gt;&lt;/PersistentType&gt;&lt;/root&gt;">
              <a:rPr lang="en-US" altLang="en-US" sz="1000" smtClean="0">
                <a:ea typeface="+mn-ea"/>
                <a:cs typeface="+mn-cs"/>
              </a:rPr>
              <a:pPr/>
              <a:t>Energy arbitrage (Wholesale Market + Ancillary Services + Balancing Services)</a:t>
            </a:fld>
            <a:endParaRPr lang="en-GB" sz="1000">
              <a:ea typeface="+mn-ea"/>
              <a:cs typeface="+mn-cs"/>
              <a:sym typeface="+mn-lt"/>
            </a:endParaRPr>
          </a:p>
        </p:txBody>
      </p:sp>
      <p:sp>
        <p:nvSpPr>
          <p:cNvPr id="928" name="Text Placeholder 19">
            <a:extLst>
              <a:ext uri="{FF2B5EF4-FFF2-40B4-BE49-F238E27FC236}">
                <a16:creationId xmlns:a16="http://schemas.microsoft.com/office/drawing/2014/main" id="{807E3304-658F-7E1C-B190-8C987D90FB21}"/>
              </a:ext>
            </a:extLst>
          </p:cNvPr>
          <p:cNvSpPr>
            <a:spLocks noGrp="1"/>
          </p:cNvSpPr>
          <p:nvPr>
            <p:custDataLst>
              <p:tags r:id="rId9"/>
            </p:custDataLst>
          </p:nvPr>
        </p:nvSpPr>
        <p:spPr bwMode="auto">
          <a:xfrm>
            <a:off x="661988" y="6272213"/>
            <a:ext cx="1504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C3578C0-8319-4BA4-AF7A-2FBCEBF76647}" type="datetime'Cap''''ac''i''ty M''''ark''et'''''''''''''''''' Pa''yments'">
              <a:rPr lang="en-GB" altLang="en-US" sz="1000" smtClean="0">
                <a:ea typeface="+mn-ea"/>
                <a:cs typeface="+mn-cs"/>
              </a:rPr>
              <a:pPr lvl="0">
                <a:spcBef>
                  <a:spcPct val="0"/>
                </a:spcBef>
                <a:spcAft>
                  <a:spcPct val="0"/>
                </a:spcAft>
              </a:pPr>
              <a:t>Capacity Market Payments</a:t>
            </a:fld>
            <a:endParaRPr lang="en-GB" sz="1000">
              <a:ea typeface="+mn-ea"/>
              <a:cs typeface="+mn-cs"/>
              <a:sym typeface="+mn-lt"/>
            </a:endParaRPr>
          </a:p>
        </p:txBody>
      </p:sp>
      <p:sp>
        <p:nvSpPr>
          <p:cNvPr id="929" name="Text Placeholder 19">
            <a:extLst>
              <a:ext uri="{FF2B5EF4-FFF2-40B4-BE49-F238E27FC236}">
                <a16:creationId xmlns:a16="http://schemas.microsoft.com/office/drawing/2014/main" id="{F5602925-8661-9643-8CE1-33C4CC0CF75C}"/>
              </a:ext>
            </a:extLst>
          </p:cNvPr>
          <p:cNvSpPr>
            <a:spLocks noGrp="1"/>
          </p:cNvSpPr>
          <p:nvPr>
            <p:custDataLst>
              <p:tags r:id="rId10"/>
            </p:custDataLst>
          </p:nvPr>
        </p:nvSpPr>
        <p:spPr bwMode="auto">
          <a:xfrm>
            <a:off x="5291138" y="6069013"/>
            <a:ext cx="2214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9A4C44F-86DB-49CC-B083-B89748FA14D8}" type="datetime'Capaci''ty ''''pay''ments for ancilla''ry s''erv''''i''ces'''">
              <a:rPr lang="en-GB" altLang="en-US" sz="1000" smtClean="0">
                <a:ea typeface="+mn-ea"/>
                <a:cs typeface="+mn-cs"/>
              </a:rPr>
              <a:pPr lvl="0">
                <a:spcBef>
                  <a:spcPct val="0"/>
                </a:spcBef>
                <a:spcAft>
                  <a:spcPct val="0"/>
                </a:spcAft>
              </a:pPr>
              <a:t>Capacity payments for ancillary services</a:t>
            </a:fld>
            <a:endParaRPr lang="en-GB" sz="1000">
              <a:ea typeface="+mn-ea"/>
              <a:cs typeface="+mn-cs"/>
              <a:sym typeface="+mn-lt"/>
            </a:endParaRPr>
          </a:p>
        </p:txBody>
      </p:sp>
      <p:sp>
        <p:nvSpPr>
          <p:cNvPr id="930" name="Text Placeholder 19">
            <a:extLst>
              <a:ext uri="{FF2B5EF4-FFF2-40B4-BE49-F238E27FC236}">
                <a16:creationId xmlns:a16="http://schemas.microsoft.com/office/drawing/2014/main" id="{7EED66D2-D020-AE68-0E6D-C96974A9F19A}"/>
              </a:ext>
            </a:extLst>
          </p:cNvPr>
          <p:cNvSpPr>
            <a:spLocks noGrp="1"/>
          </p:cNvSpPr>
          <p:nvPr>
            <p:custDataLst>
              <p:tags r:id="rId11"/>
            </p:custDataLst>
          </p:nvPr>
        </p:nvSpPr>
        <p:spPr bwMode="auto">
          <a:xfrm>
            <a:off x="5291138" y="6272213"/>
            <a:ext cx="1360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599685F-30EB-419D-B8B3-B08CCC74E450}" type="datetime'Othe''r ''a''''nci''''l''lary'''' ''''''''''mark''e''ts'''''">
              <a:rPr lang="en-GB" altLang="en-US" sz="1000" smtClean="0">
                <a:ea typeface="+mn-ea"/>
                <a:cs typeface="+mn-cs"/>
              </a:rPr>
              <a:pPr lvl="0">
                <a:spcBef>
                  <a:spcPct val="0"/>
                </a:spcBef>
                <a:spcAft>
                  <a:spcPct val="0"/>
                </a:spcAft>
              </a:pPr>
              <a:t>Other ancillary markets</a:t>
            </a:fld>
            <a:r>
              <a:rPr lang="en-GB" altLang="en-US" sz="1000" baseline="30000">
                <a:ea typeface="+mn-ea"/>
                <a:cs typeface="+mn-cs"/>
                <a:sym typeface="+mn-lt"/>
              </a:rPr>
              <a:t>6</a:t>
            </a:r>
            <a:endParaRPr lang="en-GB" sz="1000" baseline="30000">
              <a:ea typeface="+mn-ea"/>
              <a:cs typeface="+mn-cs"/>
              <a:sym typeface="+mn-lt"/>
            </a:endParaRPr>
          </a:p>
        </p:txBody>
      </p:sp>
      <p:sp>
        <p:nvSpPr>
          <p:cNvPr id="12" name="Text Placeholder 16">
            <a:extLst>
              <a:ext uri="{FF2B5EF4-FFF2-40B4-BE49-F238E27FC236}">
                <a16:creationId xmlns:a16="http://schemas.microsoft.com/office/drawing/2014/main" id="{14637E19-5175-CD96-CB10-1A41E6797835}"/>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2" name="TextBox 1">
            <a:extLst>
              <a:ext uri="{FF2B5EF4-FFF2-40B4-BE49-F238E27FC236}">
                <a16:creationId xmlns:a16="http://schemas.microsoft.com/office/drawing/2014/main" id="{B73A09D2-502B-64B8-F79A-AAAACA3C3339}"/>
              </a:ext>
            </a:extLst>
          </p:cNvPr>
          <p:cNvSpPr txBox="1"/>
          <p:nvPr/>
        </p:nvSpPr>
        <p:spPr>
          <a:xfrm>
            <a:off x="4172471" y="6450722"/>
            <a:ext cx="4984748" cy="384721"/>
          </a:xfrm>
          <a:prstGeom prst="rect">
            <a:avLst/>
          </a:prstGeom>
          <a:noFill/>
        </p:spPr>
        <p:txBody>
          <a:bodyPr wrap="square" lIns="0" tIns="0" rIns="0" bIns="0" rtlCol="0">
            <a:spAutoFit/>
          </a:bodyPr>
          <a:lstStyle/>
          <a:p>
            <a:pPr algn="r">
              <a:spcBef>
                <a:spcPts val="600"/>
              </a:spcBef>
            </a:pPr>
            <a:r>
              <a:rPr lang="en-GB" sz="1000" i="1">
                <a:solidFill>
                  <a:schemeClr val="tx1"/>
                </a:solidFill>
              </a:rPr>
              <a:t>(*)each bar indicates individual countries gross margins. </a:t>
            </a:r>
          </a:p>
          <a:p>
            <a:pPr algn="r">
              <a:spcBef>
                <a:spcPts val="600"/>
              </a:spcBef>
            </a:pPr>
            <a:r>
              <a:rPr lang="en-GB" sz="1000" i="1">
                <a:solidFill>
                  <a:schemeClr val="tx1"/>
                </a:solidFill>
              </a:rPr>
              <a:t>Detailed country data </a:t>
            </a:r>
            <a:r>
              <a:rPr lang="en-GB" sz="1000" i="1">
                <a:solidFill>
                  <a:schemeClr val="tx1"/>
                </a:solidFill>
                <a:hlinkClick r:id="rId18"/>
              </a:rPr>
              <a:t>available</a:t>
            </a:r>
            <a:r>
              <a:rPr lang="en-GB" sz="1000" i="1">
                <a:solidFill>
                  <a:schemeClr val="tx1"/>
                </a:solidFill>
              </a:rPr>
              <a:t> in Aurora’s Flexibility Energy Market subscriptions </a:t>
            </a:r>
            <a:endParaRPr lang="en-GB" sz="1000" i="1"/>
          </a:p>
        </p:txBody>
      </p:sp>
      <p:sp>
        <p:nvSpPr>
          <p:cNvPr id="4" name="Rectangle 3">
            <a:extLst>
              <a:ext uri="{FF2B5EF4-FFF2-40B4-BE49-F238E27FC236}">
                <a16:creationId xmlns:a16="http://schemas.microsoft.com/office/drawing/2014/main" id="{7979DC31-AA76-8E37-2563-25C34EE5A809}"/>
              </a:ext>
            </a:extLst>
          </p:cNvPr>
          <p:cNvSpPr/>
          <p:nvPr/>
        </p:nvSpPr>
        <p:spPr>
          <a:xfrm>
            <a:off x="860425" y="1689255"/>
            <a:ext cx="8204200" cy="4268727"/>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5" name="Group 4">
            <a:extLst>
              <a:ext uri="{FF2B5EF4-FFF2-40B4-BE49-F238E27FC236}">
                <a16:creationId xmlns:a16="http://schemas.microsoft.com/office/drawing/2014/main" id="{18164E6D-7ACB-6E8F-1C95-478651ED4390}"/>
              </a:ext>
            </a:extLst>
          </p:cNvPr>
          <p:cNvGrpSpPr/>
          <p:nvPr/>
        </p:nvGrpSpPr>
        <p:grpSpPr>
          <a:xfrm>
            <a:off x="4772296" y="3333070"/>
            <a:ext cx="2647407" cy="1001486"/>
            <a:chOff x="8251369" y="2255520"/>
            <a:chExt cx="2647407" cy="1001486"/>
          </a:xfrm>
        </p:grpSpPr>
        <p:sp>
          <p:nvSpPr>
            <p:cNvPr id="7" name="Rectangle: Rounded Corners 6">
              <a:extLst>
                <a:ext uri="{FF2B5EF4-FFF2-40B4-BE49-F238E27FC236}">
                  <a16:creationId xmlns:a16="http://schemas.microsoft.com/office/drawing/2014/main" id="{5C9A4AE0-0745-E3A2-29D0-BB7AFD71C415}"/>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9" name="TextBox 8">
              <a:extLst>
                <a:ext uri="{FF2B5EF4-FFF2-40B4-BE49-F238E27FC236}">
                  <a16:creationId xmlns:a16="http://schemas.microsoft.com/office/drawing/2014/main" id="{FBF70862-7BF4-CEEE-A6A0-C4D543CCE291}"/>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294524842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33A3B22-AFC4-A3B8-D8E4-EE3EB068B820}"/>
              </a:ext>
            </a:extLst>
          </p:cNvPr>
          <p:cNvGraphicFramePr>
            <a:graphicFrameLocks noChangeAspect="1"/>
          </p:cNvGraphicFramePr>
          <p:nvPr>
            <p:custDataLst>
              <p:tags r:id="rId1"/>
            </p:custDataLst>
            <p:extLst>
              <p:ext uri="{D42A27DB-BD31-4B8C-83A1-F6EECF244321}">
                <p14:modId xmlns:p14="http://schemas.microsoft.com/office/powerpoint/2010/main" val="3142848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17" name="Object 16" hidden="1">
                        <a:extLst>
                          <a:ext uri="{FF2B5EF4-FFF2-40B4-BE49-F238E27FC236}">
                            <a16:creationId xmlns:a16="http://schemas.microsoft.com/office/drawing/2014/main" id="{333A3B22-AFC4-A3B8-D8E4-EE3EB068B82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6D2F60A6-E89C-C1DC-64BD-B3C0A8F7D3DC}"/>
              </a:ext>
            </a:extLst>
          </p:cNvPr>
          <p:cNvSpPr>
            <a:spLocks noGrp="1"/>
          </p:cNvSpPr>
          <p:nvPr>
            <p:ph type="body" sz="quarter" idx="29"/>
          </p:nvPr>
        </p:nvSpPr>
        <p:spPr>
          <a:xfrm>
            <a:off x="381600" y="1278000"/>
            <a:ext cx="8601074" cy="369332"/>
          </a:xfrm>
        </p:spPr>
        <p:txBody>
          <a:bodyPr>
            <a:spAutoFit/>
          </a:bodyPr>
          <a:lstStyle/>
          <a:p>
            <a:r>
              <a:rPr lang="en-GB" b="1"/>
              <a:t>Average composition of gross margin stack</a:t>
            </a:r>
            <a:br>
              <a:rPr lang="en-GB" b="1"/>
            </a:br>
            <a:r>
              <a:rPr lang="en-GB" b="0">
                <a:solidFill>
                  <a:schemeClr val="accent5"/>
                </a:solidFill>
              </a:rPr>
              <a:t>% of 2027-2041</a:t>
            </a:r>
          </a:p>
        </p:txBody>
      </p:sp>
      <p:sp>
        <p:nvSpPr>
          <p:cNvPr id="14" name="Text Placeholder 13">
            <a:extLst>
              <a:ext uri="{FF2B5EF4-FFF2-40B4-BE49-F238E27FC236}">
                <a16:creationId xmlns:a16="http://schemas.microsoft.com/office/drawing/2014/main" id="{33DAC573-B9E1-4734-78F8-5807A2DC7488}"/>
              </a:ext>
            </a:extLst>
          </p:cNvPr>
          <p:cNvSpPr>
            <a:spLocks noGrp="1"/>
          </p:cNvSpPr>
          <p:nvPr>
            <p:ph type="body" sz="quarter" idx="30"/>
          </p:nvPr>
        </p:nvSpPr>
        <p:spPr/>
        <p:txBody>
          <a:bodyPr>
            <a:spAutoFit/>
          </a:bodyPr>
          <a:lstStyle/>
          <a:p>
            <a:pPr marL="0" indent="0" algn="l">
              <a:spcBef>
                <a:spcPts val="0"/>
              </a:spcBef>
              <a:buFont typeface="Wingdings" panose="05000000000000000000" pitchFamily="2" charset="2"/>
              <a:buNone/>
            </a:pPr>
            <a:r>
              <a:rPr lang="en-GB" sz="1200" b="1"/>
              <a:t>Battery gross margins</a:t>
            </a:r>
            <a:endParaRPr lang="en-GB" sz="1200" b="1" baseline="30000"/>
          </a:p>
          <a:p>
            <a:pPr marL="0" indent="0" algn="l">
              <a:spcBef>
                <a:spcPts val="0"/>
              </a:spcBef>
              <a:buFont typeface="Wingdings" panose="05000000000000000000" pitchFamily="2" charset="2"/>
              <a:buNone/>
            </a:pPr>
            <a:r>
              <a:rPr lang="en-GB" b="0">
                <a:solidFill>
                  <a:schemeClr val="accent5"/>
                </a:solidFill>
              </a:rPr>
              <a:t>Central scenario</a:t>
            </a:r>
            <a:endParaRPr lang="en-GB" sz="1200" b="0">
              <a:solidFill>
                <a:schemeClr val="accent5"/>
              </a:solidFill>
            </a:endParaRPr>
          </a:p>
        </p:txBody>
      </p:sp>
      <p:sp>
        <p:nvSpPr>
          <p:cNvPr id="10" name="Text Placeholder 9">
            <a:extLst>
              <a:ext uri="{FF2B5EF4-FFF2-40B4-BE49-F238E27FC236}">
                <a16:creationId xmlns:a16="http://schemas.microsoft.com/office/drawing/2014/main" id="{22F54008-6DFC-5FB3-BC75-FCA2F844894F}"/>
              </a:ext>
            </a:extLst>
          </p:cNvPr>
          <p:cNvSpPr>
            <a:spLocks noGrp="1"/>
          </p:cNvSpPr>
          <p:nvPr>
            <p:ph type="body" sz="quarter" idx="22"/>
          </p:nvPr>
        </p:nvSpPr>
        <p:spPr/>
        <p:txBody>
          <a:bodyPr/>
          <a:lstStyle/>
          <a:p>
            <a:r>
              <a:rPr lang="en-GB"/>
              <a:t>Source: Aurora Energy Research</a:t>
            </a:r>
          </a:p>
        </p:txBody>
      </p:sp>
      <p:sp>
        <p:nvSpPr>
          <p:cNvPr id="9" name="Title 8">
            <a:extLst>
              <a:ext uri="{FF2B5EF4-FFF2-40B4-BE49-F238E27FC236}">
                <a16:creationId xmlns:a16="http://schemas.microsoft.com/office/drawing/2014/main" id="{53A24CAE-96F3-91CE-9EF3-93183187B4EA}"/>
              </a:ext>
            </a:extLst>
          </p:cNvPr>
          <p:cNvSpPr>
            <a:spLocks noGrp="1"/>
          </p:cNvSpPr>
          <p:nvPr>
            <p:ph type="title"/>
          </p:nvPr>
        </p:nvSpPr>
        <p:spPr>
          <a:xfrm>
            <a:off x="381599" y="411856"/>
            <a:ext cx="8683026" cy="609398"/>
          </a:xfrm>
        </p:spPr>
        <p:txBody>
          <a:bodyPr vert="horz"/>
          <a:lstStyle/>
          <a:p>
            <a:r>
              <a:rPr lang="en-GB"/>
              <a:t>The need for longer duration storage increases with rising renewables penetration; 4-hour batteries benefit most from arbitrage revenues</a:t>
            </a:r>
          </a:p>
        </p:txBody>
      </p:sp>
      <p:sp>
        <p:nvSpPr>
          <p:cNvPr id="16" name="Text Placeholder 15">
            <a:extLst>
              <a:ext uri="{FF2B5EF4-FFF2-40B4-BE49-F238E27FC236}">
                <a16:creationId xmlns:a16="http://schemas.microsoft.com/office/drawing/2014/main" id="{BCF6D211-9F44-B763-31B7-A36A75181A7C}"/>
              </a:ext>
            </a:extLst>
          </p:cNvPr>
          <p:cNvSpPr>
            <a:spLocks noGrp="1"/>
          </p:cNvSpPr>
          <p:nvPr>
            <p:ph type="body" sz="quarter" idx="32"/>
          </p:nvPr>
        </p:nvSpPr>
        <p:spPr>
          <a:xfrm>
            <a:off x="381600" y="6474841"/>
            <a:ext cx="8601074" cy="110800"/>
          </a:xfrm>
        </p:spPr>
        <p:txBody>
          <a:bodyPr/>
          <a:lstStyle/>
          <a:p>
            <a:endParaRPr lang="en-GB"/>
          </a:p>
        </p:txBody>
      </p:sp>
      <p:sp>
        <p:nvSpPr>
          <p:cNvPr id="2" name="Text Placeholder 1"/>
          <p:cNvSpPr>
            <a:spLocks noGrp="1"/>
          </p:cNvSpPr>
          <p:nvPr>
            <p:ph type="body" sz="quarter" idx="31"/>
          </p:nvPr>
        </p:nvSpPr>
        <p:spPr/>
        <p:txBody>
          <a:bodyPr/>
          <a:lstStyle/>
          <a:p>
            <a:r>
              <a:rPr lang="en-GB"/>
              <a:t>	Project economics</a:t>
            </a:r>
          </a:p>
        </p:txBody>
      </p:sp>
      <p:sp>
        <p:nvSpPr>
          <p:cNvPr id="59" name="Rounded Rectangle 30">
            <a:extLst>
              <a:ext uri="{FF2B5EF4-FFF2-40B4-BE49-F238E27FC236}">
                <a16:creationId xmlns:a16="http://schemas.microsoft.com/office/drawing/2014/main" id="{364194C5-003F-5F6E-8500-F03B94FBF354}"/>
              </a:ext>
            </a:extLst>
          </p:cNvPr>
          <p:cNvSpPr/>
          <p:nvPr/>
        </p:nvSpPr>
        <p:spPr>
          <a:xfrm>
            <a:off x="398574" y="1732711"/>
            <a:ext cx="1661862" cy="287142"/>
          </a:xfrm>
          <a:prstGeom prst="roundRect">
            <a:avLst>
              <a:gd name="adj" fmla="val 50000"/>
            </a:avLst>
          </a:prstGeom>
          <a:solidFill>
            <a:srgbClr val="736835"/>
          </a:solidFill>
          <a:ln w="6350">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r>
              <a:rPr lang="en-GB" sz="1400" b="1">
                <a:solidFill>
                  <a:schemeClr val="bg1"/>
                </a:solidFill>
              </a:rPr>
              <a:t>4 hr battery</a:t>
            </a:r>
          </a:p>
        </p:txBody>
      </p:sp>
      <p:sp>
        <p:nvSpPr>
          <p:cNvPr id="89" name="Oval 8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graphicFrame>
        <p:nvGraphicFramePr>
          <p:cNvPr id="6" name="Chart 5">
            <a:extLst>
              <a:ext uri="{FF2B5EF4-FFF2-40B4-BE49-F238E27FC236}">
                <a16:creationId xmlns:a16="http://schemas.microsoft.com/office/drawing/2014/main" id="{5FD07986-E4B8-3977-51C7-4118687A093C}"/>
              </a:ext>
            </a:extLst>
          </p:cNvPr>
          <p:cNvGraphicFramePr/>
          <p:nvPr>
            <p:custDataLst>
              <p:tags r:id="rId2"/>
            </p:custDataLst>
            <p:extLst>
              <p:ext uri="{D42A27DB-BD31-4B8C-83A1-F6EECF244321}">
                <p14:modId xmlns:p14="http://schemas.microsoft.com/office/powerpoint/2010/main" val="1794602366"/>
              </p:ext>
            </p:extLst>
          </p:nvPr>
        </p:nvGraphicFramePr>
        <p:xfrm>
          <a:off x="315913" y="2149475"/>
          <a:ext cx="8748712" cy="3621088"/>
        </p:xfrm>
        <a:graphic>
          <a:graphicData uri="http://schemas.openxmlformats.org/drawingml/2006/chart">
            <c:chart xmlns:c="http://schemas.openxmlformats.org/drawingml/2006/chart" xmlns:r="http://schemas.openxmlformats.org/officeDocument/2006/relationships" r:id="rId15"/>
          </a:graphicData>
        </a:graphic>
      </p:graphicFrame>
      <p:sp>
        <p:nvSpPr>
          <p:cNvPr id="48" name="Rectangle 47">
            <a:extLst>
              <a:ext uri="{FF2B5EF4-FFF2-40B4-BE49-F238E27FC236}">
                <a16:creationId xmlns:a16="http://schemas.microsoft.com/office/drawing/2014/main" id="{0BAC273C-AC39-80B2-9750-F4E1A5368875}"/>
              </a:ext>
            </a:extLst>
          </p:cNvPr>
          <p:cNvSpPr/>
          <p:nvPr>
            <p:custDataLst>
              <p:tags r:id="rId3"/>
            </p:custDataLst>
          </p:nvPr>
        </p:nvSpPr>
        <p:spPr bwMode="auto">
          <a:xfrm>
            <a:off x="431800" y="6073775"/>
            <a:ext cx="179388" cy="133350"/>
          </a:xfrm>
          <a:prstGeom prst="rect">
            <a:avLst/>
          </a:prstGeom>
          <a:solidFill>
            <a:schemeClr val="accent3"/>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9" name="Rectangle 48">
            <a:extLst>
              <a:ext uri="{FF2B5EF4-FFF2-40B4-BE49-F238E27FC236}">
                <a16:creationId xmlns:a16="http://schemas.microsoft.com/office/drawing/2014/main" id="{03465BC8-F83D-8E26-F631-AD5C1D1E1BCD}"/>
              </a:ext>
            </a:extLst>
          </p:cNvPr>
          <p:cNvSpPr/>
          <p:nvPr>
            <p:custDataLst>
              <p:tags r:id="rId4"/>
            </p:custDataLst>
          </p:nvPr>
        </p:nvSpPr>
        <p:spPr bwMode="auto">
          <a:xfrm>
            <a:off x="431800" y="6276975"/>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0" name="Rectangle 49">
            <a:extLst>
              <a:ext uri="{FF2B5EF4-FFF2-40B4-BE49-F238E27FC236}">
                <a16:creationId xmlns:a16="http://schemas.microsoft.com/office/drawing/2014/main" id="{04A4C155-F6F8-48B6-8CC3-F84EBBF62A44}"/>
              </a:ext>
            </a:extLst>
          </p:cNvPr>
          <p:cNvSpPr/>
          <p:nvPr>
            <p:custDataLst>
              <p:tags r:id="rId5"/>
            </p:custDataLst>
          </p:nvPr>
        </p:nvSpPr>
        <p:spPr bwMode="auto">
          <a:xfrm>
            <a:off x="5060950" y="6073775"/>
            <a:ext cx="179388" cy="133350"/>
          </a:xfrm>
          <a:prstGeom prst="rect">
            <a:avLst/>
          </a:prstGeom>
          <a:solidFill>
            <a:srgbClr val="C3CFE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1" name="Rectangle 50">
            <a:extLst>
              <a:ext uri="{FF2B5EF4-FFF2-40B4-BE49-F238E27FC236}">
                <a16:creationId xmlns:a16="http://schemas.microsoft.com/office/drawing/2014/main" id="{07BACB2E-9715-F82F-A5DC-1983E7754411}"/>
              </a:ext>
            </a:extLst>
          </p:cNvPr>
          <p:cNvSpPr/>
          <p:nvPr>
            <p:custDataLst>
              <p:tags r:id="rId6"/>
            </p:custDataLst>
          </p:nvPr>
        </p:nvSpPr>
        <p:spPr bwMode="auto">
          <a:xfrm>
            <a:off x="5060950" y="6276975"/>
            <a:ext cx="179388" cy="133350"/>
          </a:xfrm>
          <a:prstGeom prst="rect">
            <a:avLst/>
          </a:prstGeom>
          <a:solidFill>
            <a:srgbClr val="6F8DB9"/>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2" name="Text Placeholder 19">
            <a:extLst>
              <a:ext uri="{FF2B5EF4-FFF2-40B4-BE49-F238E27FC236}">
                <a16:creationId xmlns:a16="http://schemas.microsoft.com/office/drawing/2014/main" id="{095028CC-227C-2193-C17E-BAA5C9772F35}"/>
              </a:ext>
            </a:extLst>
          </p:cNvPr>
          <p:cNvSpPr>
            <a:spLocks noGrp="1"/>
          </p:cNvSpPr>
          <p:nvPr>
            <p:custDataLst>
              <p:tags r:id="rId7"/>
            </p:custDataLst>
          </p:nvPr>
        </p:nvSpPr>
        <p:spPr bwMode="auto">
          <a:xfrm>
            <a:off x="661988" y="6069013"/>
            <a:ext cx="4297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3EFE902-D8B1-4400-A6B6-4B0D1A185F47}" type="thinkcell&lt;?xml version=&quot;1.0&quot; encoding=&quot;UTF-16&quot; standalone=&quot;yes&quot;?&gt;&lt;root reqver=&quot;28224&quot;&gt;&lt;version val=&quot;35278&quot;/&gt;&lt;PersistentType&gt;&lt;m_guid val=&quot;778f3b49-0a23-4bd7-8375-fe2ed43c3f57&quot;/&gt;&lt;m_prec&gt;&lt;m_yearfmt&gt;&lt;begin val=&quot;0&quot;/&gt;&lt;end val=&quot;4&quot;/&gt;&lt;/m_yearfmt&gt;&lt;/m_prec&gt;&lt;m_bUseExcelFont val=&quot;0&quot;/&gt;&lt;m_bUseExcelFontColor val=&quot;0&quot;/&gt;&lt;/PersistentType&gt;&lt;/root&gt;">
              <a:rPr lang="en-US" altLang="en-US" sz="1000" smtClean="0">
                <a:ea typeface="+mn-ea"/>
                <a:cs typeface="+mn-cs"/>
              </a:rPr>
              <a:pPr/>
              <a:t>Energy arbitrage (Wholesale Market + Ancillary Services + Balancing Services)</a:t>
            </a:fld>
            <a:endParaRPr lang="en-GB" sz="1000">
              <a:ea typeface="+mn-ea"/>
              <a:cs typeface="+mn-cs"/>
              <a:sym typeface="+mn-lt"/>
            </a:endParaRPr>
          </a:p>
        </p:txBody>
      </p:sp>
      <p:sp>
        <p:nvSpPr>
          <p:cNvPr id="53" name="Text Placeholder 19">
            <a:extLst>
              <a:ext uri="{FF2B5EF4-FFF2-40B4-BE49-F238E27FC236}">
                <a16:creationId xmlns:a16="http://schemas.microsoft.com/office/drawing/2014/main" id="{AFD1764E-55AB-5915-F4B0-6456C1DEBD0E}"/>
              </a:ext>
            </a:extLst>
          </p:cNvPr>
          <p:cNvSpPr>
            <a:spLocks noGrp="1"/>
          </p:cNvSpPr>
          <p:nvPr>
            <p:custDataLst>
              <p:tags r:id="rId8"/>
            </p:custDataLst>
          </p:nvPr>
        </p:nvSpPr>
        <p:spPr bwMode="auto">
          <a:xfrm>
            <a:off x="661988" y="6272213"/>
            <a:ext cx="1504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03A47775-1CB6-46F8-BA04-98FF9C287D8E}" type="datetime'''Cap''ac''it''''''y'' ''''Mar''''''k''''et'' P''''ayment''s'">
              <a:rPr lang="en-GB" altLang="en-US" sz="1000" smtClean="0">
                <a:ea typeface="+mn-ea"/>
                <a:cs typeface="+mn-cs"/>
              </a:rPr>
              <a:pPr lvl="0">
                <a:spcBef>
                  <a:spcPct val="0"/>
                </a:spcBef>
                <a:spcAft>
                  <a:spcPct val="0"/>
                </a:spcAft>
              </a:pPr>
              <a:t>Capacity Market Payments</a:t>
            </a:fld>
            <a:endParaRPr lang="en-GB" sz="1000">
              <a:ea typeface="+mn-ea"/>
              <a:cs typeface="+mn-cs"/>
              <a:sym typeface="+mn-lt"/>
            </a:endParaRPr>
          </a:p>
        </p:txBody>
      </p:sp>
      <p:sp>
        <p:nvSpPr>
          <p:cNvPr id="54" name="Text Placeholder 19">
            <a:extLst>
              <a:ext uri="{FF2B5EF4-FFF2-40B4-BE49-F238E27FC236}">
                <a16:creationId xmlns:a16="http://schemas.microsoft.com/office/drawing/2014/main" id="{40D52DD4-1CB7-1BDF-A093-5112E5EBC400}"/>
              </a:ext>
            </a:extLst>
          </p:cNvPr>
          <p:cNvSpPr>
            <a:spLocks noGrp="1"/>
          </p:cNvSpPr>
          <p:nvPr>
            <p:custDataLst>
              <p:tags r:id="rId9"/>
            </p:custDataLst>
          </p:nvPr>
        </p:nvSpPr>
        <p:spPr bwMode="auto">
          <a:xfrm>
            <a:off x="5291138" y="6069013"/>
            <a:ext cx="2214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268AF474-61B2-4545-B42C-0B67603C7586}" type="datetime'Cap''''acity'' payment''s ''f''''or anci''llary ''services'''">
              <a:rPr lang="en-GB" altLang="en-US" sz="1000" smtClean="0">
                <a:ea typeface="+mn-ea"/>
                <a:cs typeface="+mn-cs"/>
              </a:rPr>
              <a:pPr lvl="0">
                <a:spcBef>
                  <a:spcPct val="0"/>
                </a:spcBef>
                <a:spcAft>
                  <a:spcPct val="0"/>
                </a:spcAft>
              </a:pPr>
              <a:t>Capacity payments for ancillary services</a:t>
            </a:fld>
            <a:endParaRPr lang="en-GB" sz="1000">
              <a:ea typeface="+mn-ea"/>
              <a:cs typeface="+mn-cs"/>
              <a:sym typeface="+mn-lt"/>
            </a:endParaRPr>
          </a:p>
        </p:txBody>
      </p:sp>
      <p:sp>
        <p:nvSpPr>
          <p:cNvPr id="55" name="Text Placeholder 19">
            <a:extLst>
              <a:ext uri="{FF2B5EF4-FFF2-40B4-BE49-F238E27FC236}">
                <a16:creationId xmlns:a16="http://schemas.microsoft.com/office/drawing/2014/main" id="{7813E736-FF72-1F19-7710-593399F657C9}"/>
              </a:ext>
            </a:extLst>
          </p:cNvPr>
          <p:cNvSpPr>
            <a:spLocks noGrp="1"/>
          </p:cNvSpPr>
          <p:nvPr>
            <p:custDataLst>
              <p:tags r:id="rId10"/>
            </p:custDataLst>
          </p:nvPr>
        </p:nvSpPr>
        <p:spPr bwMode="auto">
          <a:xfrm>
            <a:off x="5291138" y="6272213"/>
            <a:ext cx="1360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B55217B6-9083-4CC7-A131-AB94BBC70590}" type="datetime'O''the''''''''r'' a''''''n''''ci''''ll''''a''''ry'' marke''ts'">
              <a:rPr lang="en-GB" altLang="en-US" sz="1000" smtClean="0">
                <a:ea typeface="+mn-ea"/>
                <a:cs typeface="+mn-cs"/>
              </a:rPr>
              <a:pPr lvl="0">
                <a:spcBef>
                  <a:spcPct val="0"/>
                </a:spcBef>
                <a:spcAft>
                  <a:spcPct val="0"/>
                </a:spcAft>
              </a:pPr>
              <a:t>Other ancillary markets</a:t>
            </a:fld>
            <a:r>
              <a:rPr lang="en-GB" altLang="en-US" sz="1000" baseline="30000">
                <a:ea typeface="+mn-ea"/>
                <a:cs typeface="+mn-cs"/>
              </a:rPr>
              <a:t>4</a:t>
            </a:r>
            <a:endParaRPr lang="en-GB" sz="1000" baseline="30000">
              <a:ea typeface="+mn-ea"/>
              <a:cs typeface="+mn-cs"/>
              <a:sym typeface="+mn-lt"/>
            </a:endParaRPr>
          </a:p>
        </p:txBody>
      </p:sp>
      <p:sp>
        <p:nvSpPr>
          <p:cNvPr id="11" name="Text Placeholder 16">
            <a:extLst>
              <a:ext uri="{FF2B5EF4-FFF2-40B4-BE49-F238E27FC236}">
                <a16:creationId xmlns:a16="http://schemas.microsoft.com/office/drawing/2014/main" id="{D3E6CB98-EC98-6CA1-272F-04FF36E00983}"/>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3" name="TextBox 2">
            <a:extLst>
              <a:ext uri="{FF2B5EF4-FFF2-40B4-BE49-F238E27FC236}">
                <a16:creationId xmlns:a16="http://schemas.microsoft.com/office/drawing/2014/main" id="{235F55E5-FC11-2F7F-06F5-68AFB0F9944E}"/>
              </a:ext>
            </a:extLst>
          </p:cNvPr>
          <p:cNvSpPr txBox="1"/>
          <p:nvPr/>
        </p:nvSpPr>
        <p:spPr>
          <a:xfrm>
            <a:off x="4172471" y="6450722"/>
            <a:ext cx="4984748" cy="384721"/>
          </a:xfrm>
          <a:prstGeom prst="rect">
            <a:avLst/>
          </a:prstGeom>
          <a:noFill/>
        </p:spPr>
        <p:txBody>
          <a:bodyPr wrap="square" lIns="0" tIns="0" rIns="0" bIns="0" rtlCol="0">
            <a:spAutoFit/>
          </a:bodyPr>
          <a:lstStyle/>
          <a:p>
            <a:pPr algn="r">
              <a:spcBef>
                <a:spcPts val="600"/>
              </a:spcBef>
            </a:pPr>
            <a:r>
              <a:rPr lang="en-GB" sz="1000" i="1">
                <a:solidFill>
                  <a:schemeClr val="tx1"/>
                </a:solidFill>
              </a:rPr>
              <a:t>(*)each bar indicates individual countries gross margins. </a:t>
            </a:r>
          </a:p>
          <a:p>
            <a:pPr algn="r">
              <a:spcBef>
                <a:spcPts val="600"/>
              </a:spcBef>
            </a:pPr>
            <a:r>
              <a:rPr lang="en-GB" sz="1000" i="1">
                <a:solidFill>
                  <a:schemeClr val="tx1"/>
                </a:solidFill>
              </a:rPr>
              <a:t>Detailed country data </a:t>
            </a:r>
            <a:r>
              <a:rPr lang="en-GB" sz="1000" i="1">
                <a:solidFill>
                  <a:schemeClr val="tx1"/>
                </a:solidFill>
                <a:hlinkClick r:id="rId16"/>
              </a:rPr>
              <a:t>available</a:t>
            </a:r>
            <a:r>
              <a:rPr lang="en-GB" sz="1000" i="1">
                <a:solidFill>
                  <a:schemeClr val="tx1"/>
                </a:solidFill>
              </a:rPr>
              <a:t> in Aurora’s Flexibility Energy Market subscriptions </a:t>
            </a:r>
            <a:endParaRPr lang="en-GB" sz="1000" i="1"/>
          </a:p>
        </p:txBody>
      </p:sp>
      <p:sp>
        <p:nvSpPr>
          <p:cNvPr id="4" name="Rectangle 3">
            <a:extLst>
              <a:ext uri="{FF2B5EF4-FFF2-40B4-BE49-F238E27FC236}">
                <a16:creationId xmlns:a16="http://schemas.microsoft.com/office/drawing/2014/main" id="{388BE164-001B-8DCD-6D69-8B513440B93D}"/>
              </a:ext>
            </a:extLst>
          </p:cNvPr>
          <p:cNvSpPr/>
          <p:nvPr/>
        </p:nvSpPr>
        <p:spPr>
          <a:xfrm>
            <a:off x="398574" y="2149475"/>
            <a:ext cx="8601074" cy="3790010"/>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642817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6D2B01B8-74E3-47F5-90CC-59FBB24DC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4" name="Object 23" hidden="1">
                        <a:extLst>
                          <a:ext uri="{FF2B5EF4-FFF2-40B4-BE49-F238E27FC236}">
                            <a16:creationId xmlns:a16="http://schemas.microsoft.com/office/drawing/2014/main" id="{6D2B01B8-74E3-47F5-90CC-59FBB24DC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B2130D57-8D46-4415-A971-4D2F8559A343}"/>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7" name="Title 6">
            <a:extLst>
              <a:ext uri="{FF2B5EF4-FFF2-40B4-BE49-F238E27FC236}">
                <a16:creationId xmlns:a16="http://schemas.microsoft.com/office/drawing/2014/main" id="{71B5BB38-6D19-4FC6-9A62-ECF08752A421}"/>
              </a:ext>
            </a:extLst>
          </p:cNvPr>
          <p:cNvSpPr>
            <a:spLocks noGrp="1"/>
          </p:cNvSpPr>
          <p:nvPr>
            <p:ph type="title"/>
          </p:nvPr>
        </p:nvSpPr>
        <p:spPr/>
        <p:txBody>
          <a:bodyPr vert="horz"/>
          <a:lstStyle/>
          <a:p>
            <a:r>
              <a:rPr lang="en-GB"/>
              <a:t>Aurora’s rating combines 13 metrics to derive an overall attractiveness score for 24 European grid scale battery markets</a:t>
            </a:r>
          </a:p>
        </p:txBody>
      </p:sp>
      <p:sp>
        <p:nvSpPr>
          <p:cNvPr id="51" name="Text Placeholder 13">
            <a:extLst>
              <a:ext uri="{FF2B5EF4-FFF2-40B4-BE49-F238E27FC236}">
                <a16:creationId xmlns:a16="http://schemas.microsoft.com/office/drawing/2014/main" id="{4F4A67DA-DC88-4C18-A255-33FE5C846EDD}"/>
              </a:ext>
            </a:extLst>
          </p:cNvPr>
          <p:cNvSpPr txBox="1">
            <a:spLocks/>
          </p:cNvSpPr>
          <p:nvPr/>
        </p:nvSpPr>
        <p:spPr>
          <a:xfrm>
            <a:off x="381599" y="79401"/>
            <a:ext cx="1561646"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Executive Summary</a:t>
            </a:r>
          </a:p>
        </p:txBody>
      </p:sp>
      <p:graphicFrame>
        <p:nvGraphicFramePr>
          <p:cNvPr id="192" name="Table 42">
            <a:extLst>
              <a:ext uri="{FF2B5EF4-FFF2-40B4-BE49-F238E27FC236}">
                <a16:creationId xmlns:a16="http://schemas.microsoft.com/office/drawing/2014/main" id="{17115AE9-6A5C-EC08-7F41-7CFE0B09B99D}"/>
              </a:ext>
            </a:extLst>
          </p:cNvPr>
          <p:cNvGraphicFramePr>
            <a:graphicFrameLocks noGrp="1"/>
          </p:cNvGraphicFramePr>
          <p:nvPr>
            <p:extLst>
              <p:ext uri="{D42A27DB-BD31-4B8C-83A1-F6EECF244321}">
                <p14:modId xmlns:p14="http://schemas.microsoft.com/office/powerpoint/2010/main" val="4278449321"/>
              </p:ext>
            </p:extLst>
          </p:nvPr>
        </p:nvGraphicFramePr>
        <p:xfrm>
          <a:off x="374689" y="1325854"/>
          <a:ext cx="11461989" cy="5158918"/>
        </p:xfrm>
        <a:graphic>
          <a:graphicData uri="http://schemas.openxmlformats.org/drawingml/2006/table">
            <a:tbl>
              <a:tblPr firstRow="1" bandRow="1">
                <a:tableStyleId>{2D5ABB26-0587-4C30-8999-92F81FD0307C}</a:tableStyleId>
              </a:tblPr>
              <a:tblGrid>
                <a:gridCol w="3802675">
                  <a:extLst>
                    <a:ext uri="{9D8B030D-6E8A-4147-A177-3AD203B41FA5}">
                      <a16:colId xmlns:a16="http://schemas.microsoft.com/office/drawing/2014/main" val="501274450"/>
                    </a:ext>
                  </a:extLst>
                </a:gridCol>
                <a:gridCol w="914400">
                  <a:extLst>
                    <a:ext uri="{9D8B030D-6E8A-4147-A177-3AD203B41FA5}">
                      <a16:colId xmlns:a16="http://schemas.microsoft.com/office/drawing/2014/main" val="4065989005"/>
                    </a:ext>
                  </a:extLst>
                </a:gridCol>
                <a:gridCol w="4560236">
                  <a:extLst>
                    <a:ext uri="{9D8B030D-6E8A-4147-A177-3AD203B41FA5}">
                      <a16:colId xmlns:a16="http://schemas.microsoft.com/office/drawing/2014/main" val="3864269130"/>
                    </a:ext>
                  </a:extLst>
                </a:gridCol>
                <a:gridCol w="2184678">
                  <a:extLst>
                    <a:ext uri="{9D8B030D-6E8A-4147-A177-3AD203B41FA5}">
                      <a16:colId xmlns:a16="http://schemas.microsoft.com/office/drawing/2014/main" val="2710860609"/>
                    </a:ext>
                  </a:extLst>
                </a:gridCol>
              </a:tblGrid>
              <a:tr h="268239">
                <a:tc>
                  <a:txBody>
                    <a:bodyPr/>
                    <a:lstStyle/>
                    <a:p>
                      <a:pPr rtl="0"/>
                      <a:r>
                        <a:rPr lang="en-GB" sz="1100" b="1"/>
                        <a:t>Categories and metr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b="1"/>
                        <a:t>Weighting</a:t>
                      </a:r>
                    </a:p>
                  </a:txBody>
                  <a:tcPr marL="72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100" b="1"/>
                        <a:t>Rationa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100" b="1"/>
                        <a:t>Source of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1830504"/>
                  </a:ext>
                </a:extLst>
              </a:tr>
              <a:tr h="268239">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10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endParaRPr lang="en-GB" sz="11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endParaRPr lang="en-GB" sz="11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endParaRPr lang="en-GB" sz="1100"/>
                    </a:p>
                  </a:txBody>
                  <a:tcPr marL="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3895335"/>
                  </a:ext>
                </a:extLst>
              </a:tr>
              <a:tr h="268239">
                <a:tc>
                  <a:txBody>
                    <a:bodyPr/>
                    <a:lstStyle/>
                    <a:p>
                      <a:pPr marL="171450" indent="-171450" rtl="0">
                        <a:buFont typeface="Wingdings" panose="05000000000000000000" pitchFamily="2" charset="2"/>
                        <a:buChar char="§"/>
                      </a:pPr>
                      <a:r>
                        <a:rPr lang="en-GB" sz="1100"/>
                        <a:t>Current installed battery capac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100" i="1"/>
                        <a:t>4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Demonstrates current market size and impact on energy security</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Aurora fundamental modelling*</a:t>
                      </a:r>
                    </a:p>
                  </a:txBody>
                  <a:tcPr marL="5400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048218"/>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a:t>Battery capacity deployment to 20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100" i="1"/>
                        <a:t>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Indicates expected future market size</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Aurora fundamental modelling*</a:t>
                      </a:r>
                      <a:endParaRPr kumimoji="0" lang="en-GB" sz="1100" b="0" i="0" u="none" strike="noStrike" kern="1200" cap="none" spc="0" normalizeH="0" baseline="0" noProof="0">
                        <a:ln>
                          <a:noFill/>
                        </a:ln>
                        <a:solidFill>
                          <a:srgbClr val="3C3C3B"/>
                        </a:solidFill>
                        <a:effectLst/>
                        <a:uLnTx/>
                        <a:uFillTx/>
                        <a:latin typeface="Lato"/>
                        <a:ea typeface="+mn-ea"/>
                        <a:cs typeface="+mn-cs"/>
                      </a:endParaRPr>
                    </a:p>
                  </a:txBody>
                  <a:tcPr marL="5400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5652731"/>
                  </a:ext>
                </a:extLst>
              </a:tr>
              <a:tr h="430951">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a:t>Battery investment required by 20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100" i="1"/>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ts val="1340"/>
                        </a:lnSpc>
                      </a:pPr>
                      <a:r>
                        <a:rPr lang="en-GB" sz="1100"/>
                        <a:t>Indicates future investment need, reflecting storage duration and repowering</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Aurora fundamental modelling*</a:t>
                      </a:r>
                      <a:endParaRPr kumimoji="0" lang="en-GB" sz="1100" b="0" i="0" u="none" strike="noStrike" kern="1200" cap="none" spc="0" normalizeH="0" baseline="0" noProof="0">
                        <a:ln>
                          <a:noFill/>
                        </a:ln>
                        <a:solidFill>
                          <a:srgbClr val="3C3C3B"/>
                        </a:solidFill>
                        <a:effectLst/>
                        <a:uLnTx/>
                        <a:uFillTx/>
                        <a:latin typeface="Lato"/>
                        <a:ea typeface="+mn-ea"/>
                        <a:cs typeface="+mn-cs"/>
                      </a:endParaRPr>
                    </a:p>
                  </a:txBody>
                  <a:tcPr marL="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8744179"/>
                  </a:ext>
                </a:extLst>
              </a:tr>
              <a:tr h="268239">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100" baseline="3000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endParaRPr lang="en-GB" sz="11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1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100"/>
                    </a:p>
                  </a:txBody>
                  <a:tcPr marL="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8495021"/>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a:t>National battery targets and policies by 2030</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100" i="1"/>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Demonstrates policy ambition for battery storage 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Aurora analysi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7360493"/>
                  </a:ext>
                </a:extLst>
              </a:tr>
              <a:tr h="268239">
                <a:tc>
                  <a:txBody>
                    <a:bodyPr/>
                    <a:lstStyle/>
                    <a:p>
                      <a:pPr marL="171450" indent="-171450" rtl="0">
                        <a:buFont typeface="Wingdings" panose="05000000000000000000" pitchFamily="2" charset="2"/>
                        <a:buChar char="§"/>
                      </a:pPr>
                      <a:r>
                        <a:rPr lang="en-GB" sz="1100"/>
                        <a:t>Renewables targets by 2030</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100" i="1"/>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Demonstrates policy ambition around renewables 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Aurora analysi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5879947"/>
                  </a:ext>
                </a:extLst>
              </a:tr>
              <a:tr h="268239">
                <a:tc>
                  <a:txBody>
                    <a:bodyPr/>
                    <a:lstStyle/>
                    <a:p>
                      <a:pPr marL="171450" indent="-171450" rtl="0">
                        <a:buFont typeface="Wingdings" panose="05000000000000000000" pitchFamily="2" charset="2"/>
                        <a:buChar char="§"/>
                      </a:pPr>
                      <a:r>
                        <a:rPr lang="en-GB" sz="1100"/>
                        <a:t>Availability and contractability of revenue stream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100" i="1"/>
                        <a:t>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Indicates availability and long term contractability of revenu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Aurora analysi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8051799"/>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a:t>Grid Integration risk </a:t>
                      </a:r>
                      <a:endParaRPr lang="en-GB" sz="1100" baseline="3000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100" i="1"/>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Indicates current regulatory risks around grid connection and fe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Aurora analysi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0799765"/>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a:t>Competition risk</a:t>
                      </a:r>
                      <a:endParaRPr lang="en-GB" sz="1100" baseline="3000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100" i="1"/>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Indicates regulatory risks around aggregation</a:t>
                      </a:r>
                      <a:r>
                        <a:rPr lang="en-GB" sz="1100" baseline="30000"/>
                        <a:t>1</a:t>
                      </a:r>
                      <a:r>
                        <a:rPr lang="en-GB" sz="1100"/>
                        <a:t>, electrolysers and EV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 Aurora analysis</a:t>
                      </a:r>
                    </a:p>
                  </a:txBody>
                  <a:tcPr marL="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6596562"/>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100" baseline="3000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endParaRPr lang="en-GB" sz="11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1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100"/>
                    </a:p>
                  </a:txBody>
                  <a:tcPr marL="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3617218"/>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baseline="0"/>
                        <a:t>Average wholesale market daily spread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kumimoji="0" lang="en-GB" sz="1100" b="0" i="1" u="none" strike="noStrike" kern="1200" cap="none" spc="0" normalizeH="0" baseline="0" noProof="0">
                          <a:ln>
                            <a:noFill/>
                          </a:ln>
                          <a:solidFill>
                            <a:srgbClr val="3C3C3B"/>
                          </a:solidFill>
                          <a:effectLst/>
                          <a:uLnTx/>
                          <a:uFillTx/>
                          <a:latin typeface="Lato"/>
                          <a:ea typeface="+mn-ea"/>
                          <a:cs typeface="+mn-cs"/>
                        </a:rPr>
                        <a:t>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Indicates the value available from energy arbitrag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 Aurora fundamental modelling*</a:t>
                      </a:r>
                    </a:p>
                  </a:txBody>
                  <a:tcPr marL="5400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6225559"/>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baseline="0"/>
                        <a:t>Frequency and balancing markets saturation risk</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kumimoji="0" lang="en-GB" sz="1100" b="0" i="1" u="none" strike="noStrike" kern="1200" cap="none" spc="0" normalizeH="0" baseline="0" noProof="0">
                          <a:ln>
                            <a:noFill/>
                          </a:ln>
                          <a:solidFill>
                            <a:srgbClr val="3C3C3B"/>
                          </a:solidFill>
                          <a:effectLst/>
                          <a:uLnTx/>
                          <a:uFillTx/>
                          <a:latin typeface="Lato"/>
                          <a:ea typeface="+mn-ea"/>
                          <a:cs typeface="+mn-cs"/>
                        </a:rPr>
                        <a:t>2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Demonstrates the risks of market satur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C3C3B"/>
                          </a:solidFill>
                          <a:effectLst/>
                          <a:uLnTx/>
                          <a:uFillTx/>
                          <a:latin typeface="Lato"/>
                          <a:ea typeface="+mn-ea"/>
                          <a:cs typeface="+mn-cs"/>
                        </a:rPr>
                        <a:t> Aurora analysis</a:t>
                      </a:r>
                    </a:p>
                  </a:txBody>
                  <a:tcPr marL="5400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7932649"/>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baseline="0"/>
                        <a:t>Capacity market revenue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kumimoji="0" lang="en-GB" sz="1100" b="0" i="1" u="none" strike="noStrike" kern="1200" cap="none" spc="0" normalizeH="0" baseline="0" noProof="0">
                          <a:ln>
                            <a:noFill/>
                          </a:ln>
                          <a:solidFill>
                            <a:srgbClr val="3C3C3B"/>
                          </a:solidFill>
                          <a:effectLst/>
                          <a:uLnTx/>
                          <a:uFillTx/>
                          <a:latin typeface="Lato"/>
                          <a:ea typeface="+mn-ea"/>
                          <a:cs typeface="+mn-cs"/>
                        </a:rPr>
                        <a:t>2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t>Indicates the value available from receiving capacity market pay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C3C3B"/>
                          </a:solidFill>
                          <a:effectLst/>
                          <a:uLnTx/>
                          <a:uFillTx/>
                          <a:latin typeface="+mn-lt"/>
                          <a:ea typeface="+mn-ea"/>
                          <a:cs typeface="+mn-cs"/>
                        </a:rPr>
                        <a:t> Aurora analysis</a:t>
                      </a:r>
                      <a:endParaRPr kumimoji="0" lang="en-GB" sz="1100" b="0" i="0" u="none" strike="noStrike" kern="1200" cap="none" spc="0" normalizeH="0" baseline="0" noProof="0">
                        <a:ln>
                          <a:noFill/>
                        </a:ln>
                        <a:solidFill>
                          <a:srgbClr val="3C3C3B"/>
                        </a:solidFill>
                        <a:effectLst/>
                        <a:uLnTx/>
                        <a:uFillTx/>
                        <a:latin typeface="Lato"/>
                        <a:ea typeface="+mn-ea"/>
                        <a:cs typeface="+mn-cs"/>
                      </a:endParaRPr>
                    </a:p>
                  </a:txBody>
                  <a:tcPr marL="5400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2761564"/>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100" baseline="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endParaRPr kumimoji="0" lang="en-GB" sz="1100" b="0" i="1" u="none" strike="noStrike" kern="1200" cap="none" spc="0" normalizeH="0" baseline="0" noProof="0">
                        <a:ln>
                          <a:noFill/>
                        </a:ln>
                        <a:solidFill>
                          <a:srgbClr val="3C3C3B"/>
                        </a:solidFill>
                        <a:effectLst/>
                        <a:uLnTx/>
                        <a:uFillTx/>
                        <a:latin typeface="Lato"/>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1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C3C3B"/>
                        </a:solidFill>
                        <a:effectLst/>
                        <a:uLnTx/>
                        <a:uFillTx/>
                        <a:latin typeface="Lato"/>
                        <a:ea typeface="+mn-ea"/>
                        <a:cs typeface="+mn-cs"/>
                      </a:endParaRPr>
                    </a:p>
                  </a:txBody>
                  <a:tcPr marL="5400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0884087"/>
                  </a:ext>
                </a:extLst>
              </a:tr>
              <a:tr h="436143">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baseline="0"/>
                        <a:t>Indicative merchant IRR for projects starting in 2027 (</a:t>
                      </a:r>
                      <a:r>
                        <a:rPr lang="en-GB" sz="1100"/>
                        <a:t>incorporates IRRs for 1,2,4 hr and co-located assets)</a:t>
                      </a:r>
                      <a:endParaRPr lang="en-GB" sz="1100" baseline="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100" i="1"/>
                        <a:t>8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Captures the commercial viability of new build merchant projects for final investment decisions in the next few year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Aurora fundamental modelling*</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60277063"/>
                  </a:ext>
                </a:extLst>
              </a:tr>
              <a:tr h="268239">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100" baseline="0"/>
                        <a:t>Co-location potential</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100" i="1"/>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100"/>
                        <a:t>Indicates the policy environment value from co-locating with renewable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kumimoji="0" lang="en-GB" sz="1100" b="0" i="0" u="none" strike="noStrike" kern="1200" cap="none" spc="0" normalizeH="0" baseline="0" noProof="0">
                          <a:ln>
                            <a:noFill/>
                          </a:ln>
                          <a:solidFill>
                            <a:srgbClr val="3C3C3B"/>
                          </a:solidFill>
                          <a:effectLst/>
                          <a:uLnTx/>
                          <a:uFillTx/>
                          <a:latin typeface="+mn-lt"/>
                          <a:ea typeface="+mn-ea"/>
                          <a:cs typeface="+mn-cs"/>
                        </a:rPr>
                        <a:t>Aurora analysis</a:t>
                      </a:r>
                      <a:endParaRPr lang="en-GB" sz="110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125034"/>
                  </a:ext>
                </a:extLst>
              </a:tr>
            </a:tbl>
          </a:graphicData>
        </a:graphic>
      </p:graphicFrame>
      <p:sp>
        <p:nvSpPr>
          <p:cNvPr id="188" name="Text Placeholder 3">
            <a:extLst>
              <a:ext uri="{FF2B5EF4-FFF2-40B4-BE49-F238E27FC236}">
                <a16:creationId xmlns:a16="http://schemas.microsoft.com/office/drawing/2014/main" id="{3AEB637D-14BC-43BC-A726-D7D5A159E650}"/>
              </a:ext>
            </a:extLst>
          </p:cNvPr>
          <p:cNvSpPr txBox="1">
            <a:spLocks/>
          </p:cNvSpPr>
          <p:nvPr/>
        </p:nvSpPr>
        <p:spPr>
          <a:xfrm>
            <a:off x="381600" y="6475305"/>
            <a:ext cx="11428800" cy="221599"/>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1) Aggregation of Distributed Energy Resources, such as behind-the-meter batteries and demand-side response</a:t>
            </a:r>
          </a:p>
          <a:p>
            <a:r>
              <a:rPr lang="en-GB"/>
              <a:t>* </a:t>
            </a:r>
            <a:r>
              <a:rPr lang="en-GB" i="1"/>
              <a:t>Detailed analysis and forecasts available in Aurora’s Flexibility Energy Market subscriptions for individual countries.</a:t>
            </a:r>
            <a:endParaRPr lang="en-GB"/>
          </a:p>
        </p:txBody>
      </p:sp>
      <p:sp>
        <p:nvSpPr>
          <p:cNvPr id="193" name="Oval 11">
            <a:extLst>
              <a:ext uri="{FF2B5EF4-FFF2-40B4-BE49-F238E27FC236}">
                <a16:creationId xmlns:a16="http://schemas.microsoft.com/office/drawing/2014/main" id="{61E88E73-8C52-E8C8-9B86-E0492002A449}"/>
              </a:ext>
            </a:extLst>
          </p:cNvPr>
          <p:cNvSpPr>
            <a:spLocks/>
          </p:cNvSpPr>
          <p:nvPr/>
        </p:nvSpPr>
        <p:spPr>
          <a:xfrm>
            <a:off x="393185" y="1643278"/>
            <a:ext cx="2503967" cy="253119"/>
          </a:xfrm>
          <a:prstGeom prst="roundRect">
            <a:avLst>
              <a:gd name="adj" fmla="val 50000"/>
            </a:avLst>
          </a:prstGeom>
          <a:solidFill>
            <a:srgbClr val="FFE680"/>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eaLnBrk="1" fontAlgn="auto" latinLnBrk="0" hangingPunct="1">
              <a:lnSpc>
                <a:spcPct val="100000"/>
              </a:lnSpc>
              <a:spcBef>
                <a:spcPts val="0"/>
              </a:spcBef>
              <a:spcAft>
                <a:spcPts val="0"/>
              </a:spcAft>
              <a:buClrTx/>
              <a:buSzTx/>
              <a:buFontTx/>
              <a:buNone/>
              <a:tabLst/>
              <a:defRPr/>
            </a:pPr>
            <a:r>
              <a:rPr lang="en-GB" sz="1100" b="1"/>
              <a:t>Market size and outlook</a:t>
            </a:r>
          </a:p>
        </p:txBody>
      </p:sp>
      <p:sp>
        <p:nvSpPr>
          <p:cNvPr id="194" name="Oval 11">
            <a:extLst>
              <a:ext uri="{FF2B5EF4-FFF2-40B4-BE49-F238E27FC236}">
                <a16:creationId xmlns:a16="http://schemas.microsoft.com/office/drawing/2014/main" id="{EFB013F9-B047-AD5E-BC37-AD6CBF1A0420}"/>
              </a:ext>
            </a:extLst>
          </p:cNvPr>
          <p:cNvSpPr>
            <a:spLocks/>
          </p:cNvSpPr>
          <p:nvPr/>
        </p:nvSpPr>
        <p:spPr>
          <a:xfrm>
            <a:off x="384314" y="2753390"/>
            <a:ext cx="2503967" cy="253119"/>
          </a:xfrm>
          <a:prstGeom prst="roundRect">
            <a:avLst>
              <a:gd name="adj" fmla="val 50000"/>
            </a:avLst>
          </a:prstGeom>
          <a:solidFill>
            <a:srgbClr val="A6964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eaLnBrk="1" fontAlgn="auto" latinLnBrk="0" hangingPunct="1">
              <a:lnSpc>
                <a:spcPct val="100000"/>
              </a:lnSpc>
              <a:spcBef>
                <a:spcPts val="0"/>
              </a:spcBef>
              <a:spcAft>
                <a:spcPts val="0"/>
              </a:spcAft>
              <a:buClrTx/>
              <a:buSzTx/>
              <a:buFontTx/>
              <a:buNone/>
              <a:tabLst/>
              <a:defRPr/>
            </a:pPr>
            <a:r>
              <a:rPr lang="en-GB" sz="1100" b="1"/>
              <a:t>Policy environment</a:t>
            </a:r>
          </a:p>
        </p:txBody>
      </p:sp>
      <p:sp>
        <p:nvSpPr>
          <p:cNvPr id="195" name="Oval 11">
            <a:extLst>
              <a:ext uri="{FF2B5EF4-FFF2-40B4-BE49-F238E27FC236}">
                <a16:creationId xmlns:a16="http://schemas.microsoft.com/office/drawing/2014/main" id="{0E96F33C-E49C-CF2E-E406-A7D2E892FCA0}"/>
              </a:ext>
            </a:extLst>
          </p:cNvPr>
          <p:cNvSpPr>
            <a:spLocks/>
          </p:cNvSpPr>
          <p:nvPr/>
        </p:nvSpPr>
        <p:spPr>
          <a:xfrm>
            <a:off x="381000" y="5493193"/>
            <a:ext cx="2503967" cy="253119"/>
          </a:xfrm>
          <a:prstGeom prst="roundRect">
            <a:avLst>
              <a:gd name="adj" fmla="val 50000"/>
            </a:avLst>
          </a:prstGeom>
          <a:solidFill>
            <a:srgbClr val="4E5F6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eaLnBrk="1" fontAlgn="auto" latinLnBrk="0" hangingPunct="1">
              <a:lnSpc>
                <a:spcPct val="100000"/>
              </a:lnSpc>
              <a:spcBef>
                <a:spcPts val="0"/>
              </a:spcBef>
              <a:spcAft>
                <a:spcPts val="0"/>
              </a:spcAft>
              <a:buClrTx/>
              <a:buSzTx/>
              <a:buFontTx/>
              <a:buNone/>
              <a:tabLst/>
              <a:defRPr/>
            </a:pPr>
            <a:r>
              <a:rPr lang="en-GB" sz="1100" b="1">
                <a:solidFill>
                  <a:schemeClr val="bg1"/>
                </a:solidFill>
              </a:rPr>
              <a:t>Business models and cases</a:t>
            </a:r>
          </a:p>
        </p:txBody>
      </p:sp>
      <p:sp>
        <p:nvSpPr>
          <p:cNvPr id="15" name="Oval 11">
            <a:extLst>
              <a:ext uri="{FF2B5EF4-FFF2-40B4-BE49-F238E27FC236}">
                <a16:creationId xmlns:a16="http://schemas.microsoft.com/office/drawing/2014/main" id="{795BE233-77B8-A699-26BA-217B41B61DA1}"/>
              </a:ext>
            </a:extLst>
          </p:cNvPr>
          <p:cNvSpPr>
            <a:spLocks/>
          </p:cNvSpPr>
          <p:nvPr/>
        </p:nvSpPr>
        <p:spPr>
          <a:xfrm>
            <a:off x="381599" y="4390232"/>
            <a:ext cx="2503967" cy="253119"/>
          </a:xfrm>
          <a:prstGeom prst="roundRect">
            <a:avLst>
              <a:gd name="adj" fmla="val 50000"/>
            </a:avLst>
          </a:prstGeom>
          <a:solidFill>
            <a:srgbClr val="6F854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r>
              <a:rPr lang="en-GB" sz="1100" b="1">
                <a:effectLst/>
                <a:ea typeface="Calibri" panose="020F0502020204030204" pitchFamily="34" charset="0"/>
              </a:rPr>
              <a:t>Revenue Streams for battery storage</a:t>
            </a:r>
          </a:p>
        </p:txBody>
      </p:sp>
      <p:sp>
        <p:nvSpPr>
          <p:cNvPr id="16" name="Oval 11">
            <a:extLst>
              <a:ext uri="{FF2B5EF4-FFF2-40B4-BE49-F238E27FC236}">
                <a16:creationId xmlns:a16="http://schemas.microsoft.com/office/drawing/2014/main" id="{19569777-C875-5755-DBBD-71E104F9CBC6}"/>
              </a:ext>
            </a:extLst>
          </p:cNvPr>
          <p:cNvSpPr>
            <a:spLocks/>
          </p:cNvSpPr>
          <p:nvPr/>
        </p:nvSpPr>
        <p:spPr>
          <a:xfrm>
            <a:off x="4362293" y="1639231"/>
            <a:ext cx="518404" cy="253101"/>
          </a:xfrm>
          <a:prstGeom prst="roundRect">
            <a:avLst>
              <a:gd name="adj" fmla="val 50000"/>
            </a:avLst>
          </a:prstGeom>
          <a:noFill/>
          <a:ln>
            <a:solidFill>
              <a:srgbClr val="FFE680"/>
            </a:solid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lang="en-GB" sz="1100" b="1"/>
              <a:t>25%</a:t>
            </a:r>
          </a:p>
        </p:txBody>
      </p:sp>
      <p:sp>
        <p:nvSpPr>
          <p:cNvPr id="17" name="Oval 11">
            <a:extLst>
              <a:ext uri="{FF2B5EF4-FFF2-40B4-BE49-F238E27FC236}">
                <a16:creationId xmlns:a16="http://schemas.microsoft.com/office/drawing/2014/main" id="{594D90C3-A6BF-228E-2613-5A838B671791}"/>
              </a:ext>
            </a:extLst>
          </p:cNvPr>
          <p:cNvSpPr>
            <a:spLocks/>
          </p:cNvSpPr>
          <p:nvPr/>
        </p:nvSpPr>
        <p:spPr>
          <a:xfrm>
            <a:off x="4362293" y="2707908"/>
            <a:ext cx="518404" cy="253101"/>
          </a:xfrm>
          <a:prstGeom prst="roundRect">
            <a:avLst>
              <a:gd name="adj" fmla="val 50000"/>
            </a:avLst>
          </a:prstGeom>
          <a:noFill/>
          <a:ln>
            <a:solidFill>
              <a:srgbClr val="A6964E"/>
            </a:solid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lang="en-GB" sz="1100" b="1"/>
              <a:t>25%</a:t>
            </a:r>
          </a:p>
        </p:txBody>
      </p:sp>
      <p:sp>
        <p:nvSpPr>
          <p:cNvPr id="18" name="Oval 11">
            <a:extLst>
              <a:ext uri="{FF2B5EF4-FFF2-40B4-BE49-F238E27FC236}">
                <a16:creationId xmlns:a16="http://schemas.microsoft.com/office/drawing/2014/main" id="{13D73875-60E3-C66E-77AE-8239E950E9FE}"/>
              </a:ext>
            </a:extLst>
          </p:cNvPr>
          <p:cNvSpPr>
            <a:spLocks/>
          </p:cNvSpPr>
          <p:nvPr/>
        </p:nvSpPr>
        <p:spPr>
          <a:xfrm>
            <a:off x="4381692" y="4390241"/>
            <a:ext cx="518404" cy="253101"/>
          </a:xfrm>
          <a:prstGeom prst="roundRect">
            <a:avLst>
              <a:gd name="adj" fmla="val 50000"/>
            </a:avLst>
          </a:prstGeom>
          <a:noFill/>
          <a:ln>
            <a:solidFill>
              <a:srgbClr val="4E5F6E"/>
            </a:solid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lang="en-GB" sz="1100" b="1"/>
              <a:t>25%</a:t>
            </a:r>
          </a:p>
        </p:txBody>
      </p:sp>
      <p:sp>
        <p:nvSpPr>
          <p:cNvPr id="20" name="Oval 11">
            <a:extLst>
              <a:ext uri="{FF2B5EF4-FFF2-40B4-BE49-F238E27FC236}">
                <a16:creationId xmlns:a16="http://schemas.microsoft.com/office/drawing/2014/main" id="{CF6EB87A-F963-40D2-D49F-7136A05A69A8}"/>
              </a:ext>
            </a:extLst>
          </p:cNvPr>
          <p:cNvSpPr>
            <a:spLocks/>
          </p:cNvSpPr>
          <p:nvPr/>
        </p:nvSpPr>
        <p:spPr>
          <a:xfrm>
            <a:off x="4362293" y="5513729"/>
            <a:ext cx="518404" cy="253101"/>
          </a:xfrm>
          <a:prstGeom prst="roundRect">
            <a:avLst>
              <a:gd name="adj" fmla="val 50000"/>
            </a:avLst>
          </a:prstGeom>
          <a:noFill/>
          <a:ln>
            <a:solidFill>
              <a:srgbClr val="4E5F6E"/>
            </a:solid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lang="en-GB" sz="1100" b="1"/>
              <a:t>25%</a:t>
            </a:r>
          </a:p>
        </p:txBody>
      </p:sp>
      <p:sp>
        <p:nvSpPr>
          <p:cNvPr id="21" name="Text Placeholder 14">
            <a:extLst>
              <a:ext uri="{FF2B5EF4-FFF2-40B4-BE49-F238E27FC236}">
                <a16:creationId xmlns:a16="http://schemas.microsoft.com/office/drawing/2014/main" id="{57958BAF-9AB0-FFC1-9312-2DAAD8E0E6AF}"/>
              </a:ext>
            </a:extLst>
          </p:cNvPr>
          <p:cNvSpPr txBox="1">
            <a:spLocks/>
          </p:cNvSpPr>
          <p:nvPr/>
        </p:nvSpPr>
        <p:spPr>
          <a:xfrm>
            <a:off x="393185" y="1954529"/>
            <a:ext cx="180000" cy="180000"/>
          </a:xfrm>
          <a:prstGeom prst="ellipse">
            <a:avLst/>
          </a:prstGeom>
          <a:solidFill>
            <a:srgbClr val="FFF2B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1</a:t>
            </a:r>
          </a:p>
        </p:txBody>
      </p:sp>
      <p:sp>
        <p:nvSpPr>
          <p:cNvPr id="22" name="Text Placeholder 14">
            <a:extLst>
              <a:ext uri="{FF2B5EF4-FFF2-40B4-BE49-F238E27FC236}">
                <a16:creationId xmlns:a16="http://schemas.microsoft.com/office/drawing/2014/main" id="{FA1E6292-8B78-C398-F6F9-3498AF5C83AC}"/>
              </a:ext>
            </a:extLst>
          </p:cNvPr>
          <p:cNvSpPr txBox="1">
            <a:spLocks/>
          </p:cNvSpPr>
          <p:nvPr/>
        </p:nvSpPr>
        <p:spPr>
          <a:xfrm>
            <a:off x="393185" y="2236160"/>
            <a:ext cx="180000" cy="180000"/>
          </a:xfrm>
          <a:prstGeom prst="ellipse">
            <a:avLst/>
          </a:prstGeom>
          <a:solidFill>
            <a:srgbClr val="FFE680"/>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2</a:t>
            </a:r>
          </a:p>
        </p:txBody>
      </p:sp>
      <p:sp>
        <p:nvSpPr>
          <p:cNvPr id="23" name="Text Placeholder 14">
            <a:extLst>
              <a:ext uri="{FF2B5EF4-FFF2-40B4-BE49-F238E27FC236}">
                <a16:creationId xmlns:a16="http://schemas.microsoft.com/office/drawing/2014/main" id="{F7CBE0A9-CF5C-23CD-00FB-C778D4FB1C13}"/>
              </a:ext>
            </a:extLst>
          </p:cNvPr>
          <p:cNvSpPr txBox="1">
            <a:spLocks/>
          </p:cNvSpPr>
          <p:nvPr/>
        </p:nvSpPr>
        <p:spPr>
          <a:xfrm>
            <a:off x="393185" y="2508026"/>
            <a:ext cx="180000" cy="180000"/>
          </a:xfrm>
          <a:prstGeom prst="ellipse">
            <a:avLst/>
          </a:prstGeom>
          <a:solidFill>
            <a:srgbClr val="FFCC00"/>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3</a:t>
            </a:r>
          </a:p>
        </p:txBody>
      </p:sp>
      <p:sp>
        <p:nvSpPr>
          <p:cNvPr id="25" name="Text Placeholder 14">
            <a:extLst>
              <a:ext uri="{FF2B5EF4-FFF2-40B4-BE49-F238E27FC236}">
                <a16:creationId xmlns:a16="http://schemas.microsoft.com/office/drawing/2014/main" id="{C6713F1B-B985-054B-1AB6-AFFBE756F6E5}"/>
              </a:ext>
            </a:extLst>
          </p:cNvPr>
          <p:cNvSpPr txBox="1">
            <a:spLocks/>
          </p:cNvSpPr>
          <p:nvPr/>
        </p:nvSpPr>
        <p:spPr>
          <a:xfrm>
            <a:off x="409693" y="3080884"/>
            <a:ext cx="180000" cy="180000"/>
          </a:xfrm>
          <a:prstGeom prst="ellipse">
            <a:avLst/>
          </a:prstGeom>
          <a:solidFill>
            <a:srgbClr val="E9E261"/>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4</a:t>
            </a:r>
          </a:p>
        </p:txBody>
      </p:sp>
      <p:sp>
        <p:nvSpPr>
          <p:cNvPr id="26" name="Text Placeholder 14">
            <a:extLst>
              <a:ext uri="{FF2B5EF4-FFF2-40B4-BE49-F238E27FC236}">
                <a16:creationId xmlns:a16="http://schemas.microsoft.com/office/drawing/2014/main" id="{ADFC7CAD-8B98-3CC5-DFAC-8EDB7B7994FC}"/>
              </a:ext>
            </a:extLst>
          </p:cNvPr>
          <p:cNvSpPr txBox="1">
            <a:spLocks/>
          </p:cNvSpPr>
          <p:nvPr/>
        </p:nvSpPr>
        <p:spPr>
          <a:xfrm>
            <a:off x="409693" y="3361377"/>
            <a:ext cx="180000" cy="180000"/>
          </a:xfrm>
          <a:prstGeom prst="ellipse">
            <a:avLst/>
          </a:prstGeom>
          <a:solidFill>
            <a:srgbClr val="C8BD88"/>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5</a:t>
            </a:r>
          </a:p>
        </p:txBody>
      </p:sp>
      <p:sp>
        <p:nvSpPr>
          <p:cNvPr id="27" name="Text Placeholder 14">
            <a:extLst>
              <a:ext uri="{FF2B5EF4-FFF2-40B4-BE49-F238E27FC236}">
                <a16:creationId xmlns:a16="http://schemas.microsoft.com/office/drawing/2014/main" id="{CB62E871-8B8F-D0BF-CA4D-36636BB806D9}"/>
              </a:ext>
            </a:extLst>
          </p:cNvPr>
          <p:cNvSpPr txBox="1">
            <a:spLocks/>
          </p:cNvSpPr>
          <p:nvPr/>
        </p:nvSpPr>
        <p:spPr>
          <a:xfrm>
            <a:off x="409693" y="3641870"/>
            <a:ext cx="180000" cy="180000"/>
          </a:xfrm>
          <a:prstGeom prst="ellipse">
            <a:avLst/>
          </a:prstGeom>
          <a:solidFill>
            <a:srgbClr val="A6964E"/>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6</a:t>
            </a:r>
          </a:p>
        </p:txBody>
      </p:sp>
      <p:sp>
        <p:nvSpPr>
          <p:cNvPr id="28" name="Text Placeholder 14">
            <a:extLst>
              <a:ext uri="{FF2B5EF4-FFF2-40B4-BE49-F238E27FC236}">
                <a16:creationId xmlns:a16="http://schemas.microsoft.com/office/drawing/2014/main" id="{77D19D97-53FD-E23E-3A85-1C2B36B9EDD5}"/>
              </a:ext>
            </a:extLst>
          </p:cNvPr>
          <p:cNvSpPr txBox="1">
            <a:spLocks/>
          </p:cNvSpPr>
          <p:nvPr/>
        </p:nvSpPr>
        <p:spPr>
          <a:xfrm>
            <a:off x="409693" y="3896963"/>
            <a:ext cx="180000" cy="180000"/>
          </a:xfrm>
          <a:prstGeom prst="ellipse">
            <a:avLst/>
          </a:prstGeom>
          <a:solidFill>
            <a:srgbClr val="7B7039"/>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solidFill>
                  <a:schemeClr val="bg1"/>
                </a:solidFill>
              </a:rPr>
              <a:t>7</a:t>
            </a:r>
          </a:p>
        </p:txBody>
      </p:sp>
      <p:sp>
        <p:nvSpPr>
          <p:cNvPr id="29" name="Text Placeholder 14">
            <a:extLst>
              <a:ext uri="{FF2B5EF4-FFF2-40B4-BE49-F238E27FC236}">
                <a16:creationId xmlns:a16="http://schemas.microsoft.com/office/drawing/2014/main" id="{455388BE-89E8-8681-00E8-FFD40A678D79}"/>
              </a:ext>
            </a:extLst>
          </p:cNvPr>
          <p:cNvSpPr txBox="1">
            <a:spLocks/>
          </p:cNvSpPr>
          <p:nvPr/>
        </p:nvSpPr>
        <p:spPr>
          <a:xfrm>
            <a:off x="417244" y="4177495"/>
            <a:ext cx="180000" cy="180000"/>
          </a:xfrm>
          <a:prstGeom prst="ellipse">
            <a:avLst/>
          </a:prstGeom>
          <a:solidFill>
            <a:srgbClr val="736835"/>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solidFill>
                  <a:schemeClr val="bg1"/>
                </a:solidFill>
              </a:rPr>
              <a:t>8</a:t>
            </a:r>
          </a:p>
        </p:txBody>
      </p:sp>
      <p:sp>
        <p:nvSpPr>
          <p:cNvPr id="30" name="Text Placeholder 14">
            <a:extLst>
              <a:ext uri="{FF2B5EF4-FFF2-40B4-BE49-F238E27FC236}">
                <a16:creationId xmlns:a16="http://schemas.microsoft.com/office/drawing/2014/main" id="{BF2E1C55-3CC6-F2A1-9DF4-35EEE1FC3D56}"/>
              </a:ext>
            </a:extLst>
          </p:cNvPr>
          <p:cNvSpPr txBox="1">
            <a:spLocks/>
          </p:cNvSpPr>
          <p:nvPr/>
        </p:nvSpPr>
        <p:spPr>
          <a:xfrm>
            <a:off x="409693" y="4688253"/>
            <a:ext cx="180000" cy="180000"/>
          </a:xfrm>
          <a:prstGeom prst="ellipse">
            <a:avLst/>
          </a:prstGeom>
          <a:solidFill>
            <a:srgbClr val="9DA464"/>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solidFill>
                  <a:schemeClr val="bg1"/>
                </a:solidFill>
              </a:rPr>
              <a:t>9</a:t>
            </a:r>
          </a:p>
        </p:txBody>
      </p:sp>
      <p:sp>
        <p:nvSpPr>
          <p:cNvPr id="31" name="Text Placeholder 14">
            <a:extLst>
              <a:ext uri="{FF2B5EF4-FFF2-40B4-BE49-F238E27FC236}">
                <a16:creationId xmlns:a16="http://schemas.microsoft.com/office/drawing/2014/main" id="{CADB8A63-ED10-7C5A-6C79-4493D3980CE3}"/>
              </a:ext>
            </a:extLst>
          </p:cNvPr>
          <p:cNvSpPr txBox="1">
            <a:spLocks/>
          </p:cNvSpPr>
          <p:nvPr/>
        </p:nvSpPr>
        <p:spPr>
          <a:xfrm>
            <a:off x="400168" y="4945983"/>
            <a:ext cx="216000" cy="216000"/>
          </a:xfrm>
          <a:prstGeom prst="ellipse">
            <a:avLst/>
          </a:prstGeom>
          <a:solidFill>
            <a:srgbClr val="808000"/>
          </a:solidFill>
          <a:ln w="19050">
            <a:noFill/>
          </a:ln>
        </p:spPr>
        <p:txBody>
          <a:bodyPr lIns="0" r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sz="1000">
                <a:solidFill>
                  <a:schemeClr val="bg1"/>
                </a:solidFill>
              </a:rPr>
              <a:t>10</a:t>
            </a:r>
          </a:p>
        </p:txBody>
      </p:sp>
      <p:sp>
        <p:nvSpPr>
          <p:cNvPr id="32" name="Text Placeholder 14">
            <a:extLst>
              <a:ext uri="{FF2B5EF4-FFF2-40B4-BE49-F238E27FC236}">
                <a16:creationId xmlns:a16="http://schemas.microsoft.com/office/drawing/2014/main" id="{AF540536-08E5-73A1-4B3E-0FEAA30CC9E6}"/>
              </a:ext>
            </a:extLst>
          </p:cNvPr>
          <p:cNvSpPr txBox="1">
            <a:spLocks/>
          </p:cNvSpPr>
          <p:nvPr/>
        </p:nvSpPr>
        <p:spPr>
          <a:xfrm>
            <a:off x="400168" y="6214751"/>
            <a:ext cx="216000" cy="216000"/>
          </a:xfrm>
          <a:prstGeom prst="ellipse">
            <a:avLst/>
          </a:prstGeom>
          <a:solidFill>
            <a:srgbClr val="4C6C9C"/>
          </a:solidFill>
          <a:ln w="19050">
            <a:noFill/>
          </a:ln>
        </p:spPr>
        <p:txBody>
          <a:bodyPr lIns="0" r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sz="1000">
                <a:solidFill>
                  <a:schemeClr val="bg1"/>
                </a:solidFill>
              </a:rPr>
              <a:t>13</a:t>
            </a:r>
          </a:p>
        </p:txBody>
      </p:sp>
      <p:sp>
        <p:nvSpPr>
          <p:cNvPr id="11" name="Text Placeholder 14">
            <a:extLst>
              <a:ext uri="{FF2B5EF4-FFF2-40B4-BE49-F238E27FC236}">
                <a16:creationId xmlns:a16="http://schemas.microsoft.com/office/drawing/2014/main" id="{D470DAB0-62CE-0B5D-3D73-D1247C66F961}"/>
              </a:ext>
            </a:extLst>
          </p:cNvPr>
          <p:cNvSpPr txBox="1">
            <a:spLocks/>
          </p:cNvSpPr>
          <p:nvPr/>
        </p:nvSpPr>
        <p:spPr>
          <a:xfrm>
            <a:off x="399244" y="5819467"/>
            <a:ext cx="216000" cy="216000"/>
          </a:xfrm>
          <a:prstGeom prst="ellipse">
            <a:avLst/>
          </a:prstGeom>
          <a:solidFill>
            <a:srgbClr val="6F8DB9"/>
          </a:solidFill>
          <a:ln w="19050">
            <a:noFill/>
          </a:ln>
        </p:spPr>
        <p:txBody>
          <a:bodyPr lIns="0" r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sz="1000">
                <a:solidFill>
                  <a:schemeClr val="bg1"/>
                </a:solidFill>
              </a:rPr>
              <a:t>12</a:t>
            </a:r>
          </a:p>
        </p:txBody>
      </p:sp>
      <p:sp>
        <p:nvSpPr>
          <p:cNvPr id="130" name="Text Placeholder 15">
            <a:extLst>
              <a:ext uri="{FF2B5EF4-FFF2-40B4-BE49-F238E27FC236}">
                <a16:creationId xmlns:a16="http://schemas.microsoft.com/office/drawing/2014/main" id="{286290DD-9693-4128-A0C4-393AE59057B5}"/>
              </a:ext>
            </a:extLst>
          </p:cNvPr>
          <p:cNvSpPr txBox="1">
            <a:spLocks/>
          </p:cNvSpPr>
          <p:nvPr/>
        </p:nvSpPr>
        <p:spPr>
          <a:xfrm>
            <a:off x="387251" y="1116570"/>
            <a:ext cx="11363945" cy="311753"/>
          </a:xfrm>
          <a:prstGeom prst="rect">
            <a:avLst/>
          </a:prstGeom>
        </p:spPr>
        <p:txBody>
          <a:bodyPr lIns="0" rIns="0"/>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600"/>
              </a:spcBef>
            </a:pPr>
            <a:r>
              <a:rPr lang="en-GB" sz="1100">
                <a:solidFill>
                  <a:schemeClr val="bg1">
                    <a:lumMod val="50000"/>
                  </a:schemeClr>
                </a:solidFill>
              </a:rPr>
              <a:t>The overall market attractiveness score for each European battery market covers the following four categories and 13 metrics, which are set out in detail in this report.</a:t>
            </a:r>
          </a:p>
        </p:txBody>
      </p:sp>
      <p:sp>
        <p:nvSpPr>
          <p:cNvPr id="33" name="Oval 32">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
        <p:nvSpPr>
          <p:cNvPr id="4" name="Text Placeholder 14">
            <a:extLst>
              <a:ext uri="{FF2B5EF4-FFF2-40B4-BE49-F238E27FC236}">
                <a16:creationId xmlns:a16="http://schemas.microsoft.com/office/drawing/2014/main" id="{86ED10DA-ED1E-C592-0416-E248F3F55021}"/>
              </a:ext>
            </a:extLst>
          </p:cNvPr>
          <p:cNvSpPr txBox="1">
            <a:spLocks/>
          </p:cNvSpPr>
          <p:nvPr/>
        </p:nvSpPr>
        <p:spPr>
          <a:xfrm>
            <a:off x="400168" y="5239714"/>
            <a:ext cx="216000" cy="216000"/>
          </a:xfrm>
          <a:prstGeom prst="ellipse">
            <a:avLst/>
          </a:prstGeom>
          <a:solidFill>
            <a:srgbClr val="657D1A"/>
          </a:solidFill>
          <a:ln w="19050">
            <a:noFill/>
          </a:ln>
        </p:spPr>
        <p:txBody>
          <a:bodyPr lIns="0" r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sz="1000">
                <a:solidFill>
                  <a:schemeClr val="bg1"/>
                </a:solidFill>
              </a:rPr>
              <a:t>11</a:t>
            </a:r>
          </a:p>
        </p:txBody>
      </p:sp>
    </p:spTree>
    <p:extLst>
      <p:ext uri="{BB962C8B-B14F-4D97-AF65-F5344CB8AC3E}">
        <p14:creationId xmlns:p14="http://schemas.microsoft.com/office/powerpoint/2010/main" val="192624968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F4D111-C2F0-40B0-96CD-BC10C63FBD34}"/>
              </a:ext>
            </a:extLst>
          </p:cNvPr>
          <p:cNvGraphicFramePr>
            <a:graphicFrameLocks noChangeAspect="1"/>
          </p:cNvGraphicFramePr>
          <p:nvPr>
            <p:custDataLst>
              <p:tags r:id="rId1"/>
            </p:custDataLst>
            <p:extLst>
              <p:ext uri="{D42A27DB-BD31-4B8C-83A1-F6EECF244321}">
                <p14:modId xmlns:p14="http://schemas.microsoft.com/office/powerpoint/2010/main" val="1396916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47" imgH="348" progId="TCLayout.ActiveDocument.1">
                  <p:embed/>
                </p:oleObj>
              </mc:Choice>
              <mc:Fallback>
                <p:oleObj name="think-cell Slide" r:id="rId31" imgW="347" imgH="348" progId="TCLayout.ActiveDocument.1">
                  <p:embed/>
                  <p:pic>
                    <p:nvPicPr>
                      <p:cNvPr id="7" name="Object 6" hidden="1">
                        <a:extLst>
                          <a:ext uri="{FF2B5EF4-FFF2-40B4-BE49-F238E27FC236}">
                            <a16:creationId xmlns:a16="http://schemas.microsoft.com/office/drawing/2014/main" id="{01F4D111-C2F0-40B0-96CD-BC10C63FBD3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9B30F05-2797-4A89-B43C-804B3199DCAD}"/>
              </a:ext>
            </a:extLst>
          </p:cNvPr>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2" name="Text Placeholder 21">
            <a:extLst>
              <a:ext uri="{FF2B5EF4-FFF2-40B4-BE49-F238E27FC236}">
                <a16:creationId xmlns:a16="http://schemas.microsoft.com/office/drawing/2014/main" id="{CF6B18E7-1474-DD0B-C124-2B37546FF21F}"/>
              </a:ext>
            </a:extLst>
          </p:cNvPr>
          <p:cNvSpPr>
            <a:spLocks noGrp="1"/>
          </p:cNvSpPr>
          <p:nvPr>
            <p:ph type="body" sz="quarter" idx="29"/>
          </p:nvPr>
        </p:nvSpPr>
        <p:spPr>
          <a:xfrm>
            <a:off x="381000" y="1268129"/>
            <a:ext cx="4117975" cy="369332"/>
          </a:xfrm>
        </p:spPr>
        <p:txBody>
          <a:bodyPr/>
          <a:lstStyle/>
          <a:p>
            <a:pPr marL="0" indent="0" algn="l" defTabSz="180000">
              <a:spcBef>
                <a:spcPts val="0"/>
              </a:spcBef>
              <a:buFont typeface="Wingdings" panose="05000000000000000000" pitchFamily="2" charset="2"/>
              <a:buNone/>
            </a:pPr>
            <a:r>
              <a:rPr lang="en-GB" sz="1200" b="1"/>
              <a:t>		2h Battery gross margins – </a:t>
            </a:r>
            <a:r>
              <a:rPr lang="en-GB" sz="1200">
                <a:solidFill>
                  <a:srgbClr val="7A7A7A"/>
                </a:solidFill>
                <a:highlight>
                  <a:srgbClr val="7A7A7A"/>
                </a:highlight>
                <a:latin typeface="Lato"/>
              </a:rPr>
              <a:t>XX </a:t>
            </a:r>
            <a:endParaRPr lang="en-GB" sz="1200" b="1" baseline="30000"/>
          </a:p>
          <a:p>
            <a:pPr marL="0" indent="0" algn="l">
              <a:spcBef>
                <a:spcPts val="0"/>
              </a:spcBef>
              <a:buFont typeface="Wingdings" panose="05000000000000000000" pitchFamily="2" charset="2"/>
              <a:buNone/>
            </a:pPr>
            <a:r>
              <a:rPr lang="en-GB" b="0">
                <a:solidFill>
                  <a:schemeClr val="accent5"/>
                </a:solidFill>
              </a:rPr>
              <a:t>€/kW</a:t>
            </a:r>
            <a:endParaRPr lang="en-GB" sz="1200" b="0">
              <a:solidFill>
                <a:schemeClr val="accent5"/>
              </a:solidFill>
            </a:endParaRPr>
          </a:p>
        </p:txBody>
      </p:sp>
      <p:sp>
        <p:nvSpPr>
          <p:cNvPr id="21" name="Text Placeholder 20">
            <a:extLst>
              <a:ext uri="{FF2B5EF4-FFF2-40B4-BE49-F238E27FC236}">
                <a16:creationId xmlns:a16="http://schemas.microsoft.com/office/drawing/2014/main" id="{6951C9F5-8B87-6673-8B3A-C550305E4A2E}"/>
              </a:ext>
            </a:extLst>
          </p:cNvPr>
          <p:cNvSpPr>
            <a:spLocks noGrp="1"/>
          </p:cNvSpPr>
          <p:nvPr>
            <p:ph type="body" sz="quarter" idx="28"/>
          </p:nvPr>
        </p:nvSpPr>
        <p:spPr>
          <a:xfrm>
            <a:off x="9467850" y="1285141"/>
            <a:ext cx="2367562" cy="184666"/>
          </a:xfrm>
        </p:spPr>
        <p:txBody>
          <a:bodyPr/>
          <a:lstStyle/>
          <a:p>
            <a:endParaRPr lang="en-GB"/>
          </a:p>
        </p:txBody>
      </p:sp>
      <p:sp>
        <p:nvSpPr>
          <p:cNvPr id="4" name="Text Placeholder 3">
            <a:extLst>
              <a:ext uri="{FF2B5EF4-FFF2-40B4-BE49-F238E27FC236}">
                <a16:creationId xmlns:a16="http://schemas.microsoft.com/office/drawing/2014/main" id="{D583A25A-7E34-4619-A0F2-2A903C37EC3E}"/>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72760CB7-9BB9-40D0-8181-F77E36A4C10C}"/>
              </a:ext>
            </a:extLst>
          </p:cNvPr>
          <p:cNvSpPr>
            <a:spLocks noGrp="1"/>
          </p:cNvSpPr>
          <p:nvPr>
            <p:ph type="title"/>
          </p:nvPr>
        </p:nvSpPr>
        <p:spPr>
          <a:xfrm>
            <a:off x="381598" y="411856"/>
            <a:ext cx="8300389" cy="609398"/>
          </a:xfrm>
        </p:spPr>
        <p:txBody>
          <a:bodyPr vert="horz"/>
          <a:lstStyle/>
          <a:p>
            <a:r>
              <a:rPr lang="en-GB"/>
              <a:t>Gross margins decrease over time as batteries degrade, and the composition of gross margins changes in diverse ways</a:t>
            </a:r>
          </a:p>
        </p:txBody>
      </p:sp>
      <p:sp>
        <p:nvSpPr>
          <p:cNvPr id="25" name="Text Placeholder 24">
            <a:extLst>
              <a:ext uri="{FF2B5EF4-FFF2-40B4-BE49-F238E27FC236}">
                <a16:creationId xmlns:a16="http://schemas.microsoft.com/office/drawing/2014/main" id="{0AA7E281-02D0-A9AA-F638-E3F49398EE5C}"/>
              </a:ext>
            </a:extLst>
          </p:cNvPr>
          <p:cNvSpPr>
            <a:spLocks noGrp="1"/>
          </p:cNvSpPr>
          <p:nvPr>
            <p:ph type="body" sz="quarter" idx="32"/>
          </p:nvPr>
        </p:nvSpPr>
        <p:spPr/>
        <p:txBody>
          <a:bodyPr/>
          <a:lstStyle/>
          <a:p>
            <a:endParaRPr lang="en-GB"/>
          </a:p>
        </p:txBody>
      </p:sp>
      <p:sp>
        <p:nvSpPr>
          <p:cNvPr id="2" name="Text Placeholder 1"/>
          <p:cNvSpPr>
            <a:spLocks noGrp="1"/>
          </p:cNvSpPr>
          <p:nvPr>
            <p:ph type="body" sz="quarter" idx="31"/>
          </p:nvPr>
        </p:nvSpPr>
        <p:spPr>
          <a:xfrm>
            <a:off x="381599" y="79401"/>
            <a:ext cx="1468672" cy="184666"/>
          </a:xfrm>
        </p:spPr>
        <p:txBody>
          <a:bodyPr/>
          <a:lstStyle/>
          <a:p>
            <a:r>
              <a:rPr lang="en-GB"/>
              <a:t>	Project economics</a:t>
            </a:r>
          </a:p>
        </p:txBody>
      </p:sp>
      <p:sp>
        <p:nvSpPr>
          <p:cNvPr id="162" name="Oval 161">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1872" name="Text Placeholder 21">
            <a:extLst>
              <a:ext uri="{FF2B5EF4-FFF2-40B4-BE49-F238E27FC236}">
                <a16:creationId xmlns:a16="http://schemas.microsoft.com/office/drawing/2014/main" id="{EAFFBB12-B1CD-7630-156F-36EC371247D7}"/>
              </a:ext>
            </a:extLst>
          </p:cNvPr>
          <p:cNvSpPr txBox="1">
            <a:spLocks/>
          </p:cNvSpPr>
          <p:nvPr/>
        </p:nvSpPr>
        <p:spPr>
          <a:xfrm>
            <a:off x="381000" y="3739548"/>
            <a:ext cx="4117975" cy="369888"/>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180000"/>
            <a:r>
              <a:rPr lang="en-GB"/>
              <a:t>		2h Battery gross margins – </a:t>
            </a:r>
            <a:r>
              <a:rPr lang="en-GB" sz="1200">
                <a:solidFill>
                  <a:srgbClr val="7A7A7A"/>
                </a:solidFill>
                <a:highlight>
                  <a:srgbClr val="7A7A7A"/>
                </a:highlight>
                <a:latin typeface="Lato"/>
              </a:rPr>
              <a:t>XX </a:t>
            </a:r>
            <a:endParaRPr lang="en-GB" baseline="30000"/>
          </a:p>
          <a:p>
            <a:r>
              <a:rPr lang="en-GB" b="0">
                <a:solidFill>
                  <a:schemeClr val="accent5"/>
                </a:solidFill>
              </a:rPr>
              <a:t>€/kW</a:t>
            </a:r>
          </a:p>
        </p:txBody>
      </p:sp>
      <p:sp>
        <p:nvSpPr>
          <p:cNvPr id="23" name="Text Placeholder 21">
            <a:extLst>
              <a:ext uri="{FF2B5EF4-FFF2-40B4-BE49-F238E27FC236}">
                <a16:creationId xmlns:a16="http://schemas.microsoft.com/office/drawing/2014/main" id="{CED62C0C-BCC7-335B-90FD-8393096BAE81}"/>
              </a:ext>
            </a:extLst>
          </p:cNvPr>
          <p:cNvSpPr txBox="1">
            <a:spLocks/>
          </p:cNvSpPr>
          <p:nvPr/>
        </p:nvSpPr>
        <p:spPr>
          <a:xfrm>
            <a:off x="4864100" y="1268413"/>
            <a:ext cx="4117975" cy="368300"/>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180000"/>
            <a:r>
              <a:rPr lang="en-GB"/>
              <a:t>		2h Battery gross margins – </a:t>
            </a:r>
            <a:r>
              <a:rPr lang="en-GB" sz="1200">
                <a:solidFill>
                  <a:srgbClr val="7A7A7A"/>
                </a:solidFill>
                <a:highlight>
                  <a:srgbClr val="7A7A7A"/>
                </a:highlight>
                <a:latin typeface="Lato"/>
              </a:rPr>
              <a:t>XX </a:t>
            </a:r>
            <a:endParaRPr lang="en-GB" baseline="30000"/>
          </a:p>
          <a:p>
            <a:r>
              <a:rPr lang="en-GB" b="0">
                <a:solidFill>
                  <a:schemeClr val="accent5"/>
                </a:solidFill>
              </a:rPr>
              <a:t>€/kW</a:t>
            </a:r>
          </a:p>
        </p:txBody>
      </p:sp>
      <p:sp>
        <p:nvSpPr>
          <p:cNvPr id="60" name="Text Placeholder 21">
            <a:extLst>
              <a:ext uri="{FF2B5EF4-FFF2-40B4-BE49-F238E27FC236}">
                <a16:creationId xmlns:a16="http://schemas.microsoft.com/office/drawing/2014/main" id="{EA0CA048-48B3-FE85-FC1F-05CF22ACE333}"/>
              </a:ext>
            </a:extLst>
          </p:cNvPr>
          <p:cNvSpPr txBox="1">
            <a:spLocks/>
          </p:cNvSpPr>
          <p:nvPr/>
        </p:nvSpPr>
        <p:spPr>
          <a:xfrm>
            <a:off x="4864100" y="3768725"/>
            <a:ext cx="4117975" cy="368300"/>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180000"/>
            <a:r>
              <a:rPr lang="en-GB"/>
              <a:t>		2h Battery gross margins – </a:t>
            </a:r>
            <a:r>
              <a:rPr lang="en-GB" sz="1200">
                <a:solidFill>
                  <a:srgbClr val="7A7A7A"/>
                </a:solidFill>
                <a:highlight>
                  <a:srgbClr val="7A7A7A"/>
                </a:highlight>
                <a:latin typeface="Lato"/>
              </a:rPr>
              <a:t>XX </a:t>
            </a:r>
            <a:endParaRPr lang="en-GB" baseline="30000"/>
          </a:p>
          <a:p>
            <a:r>
              <a:rPr lang="en-GB" b="0">
                <a:solidFill>
                  <a:schemeClr val="accent5"/>
                </a:solidFill>
              </a:rPr>
              <a:t>€/kW</a:t>
            </a:r>
          </a:p>
        </p:txBody>
      </p:sp>
      <p:graphicFrame>
        <p:nvGraphicFramePr>
          <p:cNvPr id="13" name="Chart 12">
            <a:extLst>
              <a:ext uri="{FF2B5EF4-FFF2-40B4-BE49-F238E27FC236}">
                <a16:creationId xmlns:a16="http://schemas.microsoft.com/office/drawing/2014/main" id="{4F072671-1830-14B8-6E52-2D86E370ADF1}"/>
              </a:ext>
            </a:extLst>
          </p:cNvPr>
          <p:cNvGraphicFramePr/>
          <p:nvPr>
            <p:custDataLst>
              <p:tags r:id="rId3"/>
            </p:custDataLst>
            <p:extLst>
              <p:ext uri="{D42A27DB-BD31-4B8C-83A1-F6EECF244321}">
                <p14:modId xmlns:p14="http://schemas.microsoft.com/office/powerpoint/2010/main" val="1724564942"/>
              </p:ext>
            </p:extLst>
          </p:nvPr>
        </p:nvGraphicFramePr>
        <p:xfrm>
          <a:off x="298450" y="1754188"/>
          <a:ext cx="4283075" cy="1697037"/>
        </p:xfrm>
        <a:graphic>
          <a:graphicData uri="http://schemas.openxmlformats.org/drawingml/2006/chart">
            <c:chart xmlns:c="http://schemas.openxmlformats.org/drawingml/2006/chart" xmlns:r="http://schemas.openxmlformats.org/officeDocument/2006/relationships" r:id="rId33"/>
          </a:graphicData>
        </a:graphic>
      </p:graphicFrame>
      <p:sp>
        <p:nvSpPr>
          <p:cNvPr id="20" name="Text Placeholder 19">
            <a:extLst>
              <a:ext uri="{FF2B5EF4-FFF2-40B4-BE49-F238E27FC236}">
                <a16:creationId xmlns:a16="http://schemas.microsoft.com/office/drawing/2014/main" id="{A98421D5-0789-9303-0C66-F1550204FC67}"/>
              </a:ext>
            </a:extLst>
          </p:cNvPr>
          <p:cNvSpPr>
            <a:spLocks noGrp="1"/>
          </p:cNvSpPr>
          <p:nvPr>
            <p:custDataLst>
              <p:tags r:id="rId4"/>
            </p:custDataLst>
          </p:nvPr>
        </p:nvSpPr>
        <p:spPr bwMode="auto">
          <a:xfrm>
            <a:off x="742950" y="34115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CA4AE82-8120-4F14-938A-105865E8FCE7}" type="datetime'2''''''''''''027'''''''''''''''''''''''''''''''''''''''''">
              <a:rPr lang="en-GB" altLang="en-US" sz="1000" smtClean="0">
                <a:ea typeface="+mn-ea"/>
                <a:cs typeface="+mn-cs"/>
              </a:rPr>
              <a:pPr lvl="0" algn="ctr">
                <a:spcBef>
                  <a:spcPct val="0"/>
                </a:spcBef>
                <a:spcAft>
                  <a:spcPct val="0"/>
                </a:spcAft>
              </a:pPr>
              <a:t>2027</a:t>
            </a:fld>
            <a:endParaRPr lang="en-GB" sz="1000">
              <a:ea typeface="+mn-ea"/>
              <a:cs typeface="+mn-cs"/>
            </a:endParaRPr>
          </a:p>
        </p:txBody>
      </p:sp>
      <p:sp>
        <p:nvSpPr>
          <p:cNvPr id="27" name="Text Placeholder 19">
            <a:extLst>
              <a:ext uri="{FF2B5EF4-FFF2-40B4-BE49-F238E27FC236}">
                <a16:creationId xmlns:a16="http://schemas.microsoft.com/office/drawing/2014/main" id="{103D6DB8-CB9F-59F1-BD43-363C576663A7}"/>
              </a:ext>
            </a:extLst>
          </p:cNvPr>
          <p:cNvSpPr>
            <a:spLocks noGrp="1"/>
          </p:cNvSpPr>
          <p:nvPr>
            <p:custDataLst>
              <p:tags r:id="rId5"/>
            </p:custDataLst>
          </p:nvPr>
        </p:nvSpPr>
        <p:spPr bwMode="auto">
          <a:xfrm>
            <a:off x="1773238" y="34115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96871C07-E93E-4462-83B1-0C1179D87DDF}" type="datetime'''''''''''2''''''''''0''''''''''3''''''''''''''''''''''''0'">
              <a:rPr lang="en-GB" altLang="en-US" sz="1000" smtClean="0">
                <a:ea typeface="+mn-ea"/>
                <a:cs typeface="+mn-cs"/>
              </a:rPr>
              <a:pPr lvl="0" algn="ctr">
                <a:spcBef>
                  <a:spcPct val="0"/>
                </a:spcBef>
                <a:spcAft>
                  <a:spcPct val="0"/>
                </a:spcAft>
              </a:pPr>
              <a:t>2030</a:t>
            </a:fld>
            <a:endParaRPr lang="en-GB" sz="1000">
              <a:ea typeface="+mn-ea"/>
              <a:cs typeface="+mn-cs"/>
            </a:endParaRPr>
          </a:p>
        </p:txBody>
      </p:sp>
      <p:sp>
        <p:nvSpPr>
          <p:cNvPr id="30" name="Text Placeholder 19">
            <a:extLst>
              <a:ext uri="{FF2B5EF4-FFF2-40B4-BE49-F238E27FC236}">
                <a16:creationId xmlns:a16="http://schemas.microsoft.com/office/drawing/2014/main" id="{0156DEA8-E031-4F0F-6803-ECF18495D83C}"/>
              </a:ext>
            </a:extLst>
          </p:cNvPr>
          <p:cNvSpPr>
            <a:spLocks noGrp="1"/>
          </p:cNvSpPr>
          <p:nvPr>
            <p:custDataLst>
              <p:tags r:id="rId6"/>
            </p:custDataLst>
          </p:nvPr>
        </p:nvSpPr>
        <p:spPr bwMode="auto">
          <a:xfrm>
            <a:off x="2801938" y="34115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F4B8F5E-EE05-4CBA-B22C-73489A55ED10}" type="datetime'''''''''''''''''2''''''''0''''35'''''''''''''''''">
              <a:rPr lang="en-GB" altLang="en-US" sz="1000" smtClean="0">
                <a:ea typeface="+mn-ea"/>
                <a:cs typeface="+mn-cs"/>
              </a:rPr>
              <a:pPr lvl="0" algn="ctr">
                <a:spcBef>
                  <a:spcPct val="0"/>
                </a:spcBef>
                <a:spcAft>
                  <a:spcPct val="0"/>
                </a:spcAft>
              </a:pPr>
              <a:t>2035</a:t>
            </a:fld>
            <a:endParaRPr lang="en-GB" sz="1000">
              <a:ea typeface="+mn-ea"/>
              <a:cs typeface="+mn-cs"/>
            </a:endParaRPr>
          </a:p>
        </p:txBody>
      </p:sp>
      <p:sp>
        <p:nvSpPr>
          <p:cNvPr id="35" name="Text Placeholder 19">
            <a:extLst>
              <a:ext uri="{FF2B5EF4-FFF2-40B4-BE49-F238E27FC236}">
                <a16:creationId xmlns:a16="http://schemas.microsoft.com/office/drawing/2014/main" id="{99D7221C-D499-F58F-25F0-0733D5F9B644}"/>
              </a:ext>
            </a:extLst>
          </p:cNvPr>
          <p:cNvSpPr>
            <a:spLocks noGrp="1"/>
          </p:cNvSpPr>
          <p:nvPr>
            <p:custDataLst>
              <p:tags r:id="rId7"/>
            </p:custDataLst>
          </p:nvPr>
        </p:nvSpPr>
        <p:spPr bwMode="auto">
          <a:xfrm>
            <a:off x="3832225" y="34115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8DC2C67-1996-4C49-A659-AD913BF7277C}" type="datetime'''''''''''''2''0''''''''''''''''''4''''''''''''''''''0'''''''">
              <a:rPr lang="en-GB" altLang="en-US" sz="1000" smtClean="0">
                <a:ea typeface="+mn-ea"/>
                <a:cs typeface="+mn-cs"/>
              </a:rPr>
              <a:pPr lvl="0" algn="ctr">
                <a:spcBef>
                  <a:spcPct val="0"/>
                </a:spcBef>
                <a:spcAft>
                  <a:spcPct val="0"/>
                </a:spcAft>
              </a:pPr>
              <a:t>2040</a:t>
            </a:fld>
            <a:endParaRPr lang="en-GB" sz="1000">
              <a:ea typeface="+mn-ea"/>
              <a:cs typeface="+mn-cs"/>
            </a:endParaRPr>
          </a:p>
        </p:txBody>
      </p:sp>
      <p:graphicFrame>
        <p:nvGraphicFramePr>
          <p:cNvPr id="15" name="Chart 14">
            <a:extLst>
              <a:ext uri="{FF2B5EF4-FFF2-40B4-BE49-F238E27FC236}">
                <a16:creationId xmlns:a16="http://schemas.microsoft.com/office/drawing/2014/main" id="{6733F9D0-96E0-437F-288A-DF206EB30B1D}"/>
              </a:ext>
            </a:extLst>
          </p:cNvPr>
          <p:cNvGraphicFramePr/>
          <p:nvPr>
            <p:custDataLst>
              <p:tags r:id="rId8"/>
            </p:custDataLst>
            <p:extLst>
              <p:ext uri="{D42A27DB-BD31-4B8C-83A1-F6EECF244321}">
                <p14:modId xmlns:p14="http://schemas.microsoft.com/office/powerpoint/2010/main" val="210068695"/>
              </p:ext>
            </p:extLst>
          </p:nvPr>
        </p:nvGraphicFramePr>
        <p:xfrm>
          <a:off x="4781550" y="1754188"/>
          <a:ext cx="4200525" cy="1697037"/>
        </p:xfrm>
        <a:graphic>
          <a:graphicData uri="http://schemas.openxmlformats.org/drawingml/2006/chart">
            <c:chart xmlns:c="http://schemas.openxmlformats.org/drawingml/2006/chart" xmlns:r="http://schemas.openxmlformats.org/officeDocument/2006/relationships" r:id="rId34"/>
          </a:graphicData>
        </a:graphic>
      </p:graphicFrame>
      <p:sp>
        <p:nvSpPr>
          <p:cNvPr id="44" name="Text Placeholder 19">
            <a:extLst>
              <a:ext uri="{FF2B5EF4-FFF2-40B4-BE49-F238E27FC236}">
                <a16:creationId xmlns:a16="http://schemas.microsoft.com/office/drawing/2014/main" id="{B0361C27-8A0B-A508-1B15-BB09267BF35D}"/>
              </a:ext>
            </a:extLst>
          </p:cNvPr>
          <p:cNvSpPr>
            <a:spLocks noGrp="1"/>
          </p:cNvSpPr>
          <p:nvPr>
            <p:custDataLst>
              <p:tags r:id="rId9"/>
            </p:custDataLst>
          </p:nvPr>
        </p:nvSpPr>
        <p:spPr bwMode="auto">
          <a:xfrm>
            <a:off x="5216525" y="34115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69163B9-4306-4CDA-8D41-16DBDAECF4BA}" type="datetime'''''''''''2''''''''''''''''''''0''''''''''''''28'">
              <a:rPr lang="en-GB" altLang="en-US" sz="1000" smtClean="0">
                <a:ea typeface="+mn-ea"/>
                <a:cs typeface="+mn-cs"/>
              </a:rPr>
              <a:pPr lvl="0" algn="ctr">
                <a:spcBef>
                  <a:spcPct val="0"/>
                </a:spcBef>
                <a:spcAft>
                  <a:spcPct val="0"/>
                </a:spcAft>
              </a:pPr>
              <a:t>2028</a:t>
            </a:fld>
            <a:endParaRPr lang="en-GB" sz="1000">
              <a:ea typeface="+mn-ea"/>
              <a:cs typeface="+mn-cs"/>
            </a:endParaRPr>
          </a:p>
        </p:txBody>
      </p:sp>
      <p:sp>
        <p:nvSpPr>
          <p:cNvPr id="55" name="Text Placeholder 19">
            <a:extLst>
              <a:ext uri="{FF2B5EF4-FFF2-40B4-BE49-F238E27FC236}">
                <a16:creationId xmlns:a16="http://schemas.microsoft.com/office/drawing/2014/main" id="{74471FD8-F87A-A6CA-0D69-BBCCF1173D22}"/>
              </a:ext>
            </a:extLst>
          </p:cNvPr>
          <p:cNvSpPr>
            <a:spLocks noGrp="1"/>
          </p:cNvSpPr>
          <p:nvPr>
            <p:custDataLst>
              <p:tags r:id="rId10"/>
            </p:custDataLst>
          </p:nvPr>
        </p:nvSpPr>
        <p:spPr bwMode="auto">
          <a:xfrm>
            <a:off x="6224588" y="34115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2AAC795-2678-4714-BAA6-8779F34588C2}" type="datetime'''''2''''''0''''''''''''''''''''''''''''''3''''''''0'''">
              <a:rPr lang="en-GB" altLang="en-US" sz="1000" smtClean="0">
                <a:ea typeface="+mn-ea"/>
                <a:cs typeface="+mn-cs"/>
              </a:rPr>
              <a:pPr lvl="0" algn="ctr">
                <a:spcBef>
                  <a:spcPct val="0"/>
                </a:spcBef>
                <a:spcAft>
                  <a:spcPct val="0"/>
                </a:spcAft>
              </a:pPr>
              <a:t>2030</a:t>
            </a:fld>
            <a:endParaRPr lang="en-GB" sz="1000">
              <a:ea typeface="+mn-ea"/>
              <a:cs typeface="+mn-cs"/>
            </a:endParaRPr>
          </a:p>
        </p:txBody>
      </p:sp>
      <p:sp>
        <p:nvSpPr>
          <p:cNvPr id="1860" name="Text Placeholder 19">
            <a:extLst>
              <a:ext uri="{FF2B5EF4-FFF2-40B4-BE49-F238E27FC236}">
                <a16:creationId xmlns:a16="http://schemas.microsoft.com/office/drawing/2014/main" id="{4552E89E-AD9C-D0A6-22A1-8BC4C1AF96DF}"/>
              </a:ext>
            </a:extLst>
          </p:cNvPr>
          <p:cNvSpPr>
            <a:spLocks noGrp="1"/>
          </p:cNvSpPr>
          <p:nvPr>
            <p:custDataLst>
              <p:tags r:id="rId11"/>
            </p:custDataLst>
          </p:nvPr>
        </p:nvSpPr>
        <p:spPr bwMode="auto">
          <a:xfrm>
            <a:off x="7234238" y="34115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3F4B14AE-595D-4E02-B207-88B87A20B7A7}" type="datetime'''''''''''20''''''''''''''''''''''''''''''''''''''3''''''5'''">
              <a:rPr lang="en-GB" altLang="en-US" sz="1000" smtClean="0">
                <a:ea typeface="+mn-ea"/>
                <a:cs typeface="+mn-cs"/>
              </a:rPr>
              <a:pPr lvl="0" algn="ctr">
                <a:spcBef>
                  <a:spcPct val="0"/>
                </a:spcBef>
                <a:spcAft>
                  <a:spcPct val="0"/>
                </a:spcAft>
              </a:pPr>
              <a:t>2035</a:t>
            </a:fld>
            <a:endParaRPr lang="en-GB" sz="1000">
              <a:ea typeface="+mn-ea"/>
              <a:cs typeface="+mn-cs"/>
            </a:endParaRPr>
          </a:p>
        </p:txBody>
      </p:sp>
      <p:sp>
        <p:nvSpPr>
          <p:cNvPr id="1866" name="Text Placeholder 19">
            <a:extLst>
              <a:ext uri="{FF2B5EF4-FFF2-40B4-BE49-F238E27FC236}">
                <a16:creationId xmlns:a16="http://schemas.microsoft.com/office/drawing/2014/main" id="{AB3C396C-8E4F-6378-B707-BCA6F1A95122}"/>
              </a:ext>
            </a:extLst>
          </p:cNvPr>
          <p:cNvSpPr>
            <a:spLocks noGrp="1"/>
          </p:cNvSpPr>
          <p:nvPr>
            <p:custDataLst>
              <p:tags r:id="rId12"/>
            </p:custDataLst>
          </p:nvPr>
        </p:nvSpPr>
        <p:spPr bwMode="auto">
          <a:xfrm>
            <a:off x="8242300" y="3411538"/>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3E98E030-4DE8-42FD-94D5-60AE707352B1}" type="datetime'''''''''''''''''''2''''''''''''''''0''''''''''''''4''''0'''">
              <a:rPr lang="en-GB" altLang="en-US" sz="1000" smtClean="0">
                <a:ea typeface="+mn-ea"/>
                <a:cs typeface="+mn-cs"/>
              </a:rPr>
              <a:pPr lvl="0" algn="ctr">
                <a:spcBef>
                  <a:spcPct val="0"/>
                </a:spcBef>
                <a:spcAft>
                  <a:spcPct val="0"/>
                </a:spcAft>
              </a:pPr>
              <a:t>2040</a:t>
            </a:fld>
            <a:endParaRPr lang="en-GB" sz="1000">
              <a:ea typeface="+mn-ea"/>
              <a:cs typeface="+mn-cs"/>
            </a:endParaRPr>
          </a:p>
        </p:txBody>
      </p:sp>
      <p:graphicFrame>
        <p:nvGraphicFramePr>
          <p:cNvPr id="36" name="Chart 35">
            <a:extLst>
              <a:ext uri="{FF2B5EF4-FFF2-40B4-BE49-F238E27FC236}">
                <a16:creationId xmlns:a16="http://schemas.microsoft.com/office/drawing/2014/main" id="{7DE03791-3B53-0260-0183-4547C158618E}"/>
              </a:ext>
            </a:extLst>
          </p:cNvPr>
          <p:cNvGraphicFramePr/>
          <p:nvPr>
            <p:custDataLst>
              <p:tags r:id="rId13"/>
            </p:custDataLst>
            <p:extLst>
              <p:ext uri="{D42A27DB-BD31-4B8C-83A1-F6EECF244321}">
                <p14:modId xmlns:p14="http://schemas.microsoft.com/office/powerpoint/2010/main" val="3598330063"/>
              </p:ext>
            </p:extLst>
          </p:nvPr>
        </p:nvGraphicFramePr>
        <p:xfrm>
          <a:off x="298450" y="4197350"/>
          <a:ext cx="4283075" cy="1697038"/>
        </p:xfrm>
        <a:graphic>
          <a:graphicData uri="http://schemas.openxmlformats.org/drawingml/2006/chart">
            <c:chart xmlns:c="http://schemas.openxmlformats.org/drawingml/2006/chart" xmlns:r="http://schemas.openxmlformats.org/officeDocument/2006/relationships" r:id="rId35"/>
          </a:graphicData>
        </a:graphic>
      </p:graphicFrame>
      <p:sp>
        <p:nvSpPr>
          <p:cNvPr id="1874" name="Text Placeholder 19">
            <a:extLst>
              <a:ext uri="{FF2B5EF4-FFF2-40B4-BE49-F238E27FC236}">
                <a16:creationId xmlns:a16="http://schemas.microsoft.com/office/drawing/2014/main" id="{8266919A-3C67-101A-CB55-31A4D9613250}"/>
              </a:ext>
            </a:extLst>
          </p:cNvPr>
          <p:cNvSpPr>
            <a:spLocks noGrp="1"/>
          </p:cNvSpPr>
          <p:nvPr>
            <p:custDataLst>
              <p:tags r:id="rId14"/>
            </p:custDataLst>
          </p:nvPr>
        </p:nvSpPr>
        <p:spPr bwMode="auto">
          <a:xfrm>
            <a:off x="742950" y="58547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C7DA52E-D1D3-4AA7-B9C8-CE5A47B2D886}" type="datetime'''''''''''''''''''''''''''''''2''''''''''0''''27'''''">
              <a:rPr lang="en-GB" altLang="en-US" sz="1000" smtClean="0">
                <a:ea typeface="+mn-ea"/>
                <a:cs typeface="+mn-cs"/>
              </a:rPr>
              <a:pPr lvl="0" algn="ctr">
                <a:spcBef>
                  <a:spcPct val="0"/>
                </a:spcBef>
                <a:spcAft>
                  <a:spcPct val="0"/>
                </a:spcAft>
              </a:pPr>
              <a:t>2027</a:t>
            </a:fld>
            <a:endParaRPr lang="en-GB" sz="1000">
              <a:ea typeface="+mn-ea"/>
              <a:cs typeface="+mn-cs"/>
            </a:endParaRPr>
          </a:p>
        </p:txBody>
      </p:sp>
      <p:sp>
        <p:nvSpPr>
          <p:cNvPr id="1879" name="Text Placeholder 19">
            <a:extLst>
              <a:ext uri="{FF2B5EF4-FFF2-40B4-BE49-F238E27FC236}">
                <a16:creationId xmlns:a16="http://schemas.microsoft.com/office/drawing/2014/main" id="{357C094F-4C93-DD2E-6F6C-DDE73FEECC0C}"/>
              </a:ext>
            </a:extLst>
          </p:cNvPr>
          <p:cNvSpPr>
            <a:spLocks noGrp="1"/>
          </p:cNvSpPr>
          <p:nvPr>
            <p:custDataLst>
              <p:tags r:id="rId15"/>
            </p:custDataLst>
          </p:nvPr>
        </p:nvSpPr>
        <p:spPr bwMode="auto">
          <a:xfrm>
            <a:off x="1773238" y="58547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D4452105-D386-4D10-B334-887337353B37}" type="datetime'''2''0''''''''''''''''''''''''3''0'''''''''">
              <a:rPr lang="en-GB" altLang="en-US" sz="1000" smtClean="0">
                <a:ea typeface="+mn-ea"/>
                <a:cs typeface="+mn-cs"/>
              </a:rPr>
              <a:pPr lvl="0" algn="ctr">
                <a:spcBef>
                  <a:spcPct val="0"/>
                </a:spcBef>
                <a:spcAft>
                  <a:spcPct val="0"/>
                </a:spcAft>
              </a:pPr>
              <a:t>2030</a:t>
            </a:fld>
            <a:endParaRPr lang="en-GB" sz="1000">
              <a:ea typeface="+mn-ea"/>
              <a:cs typeface="+mn-cs"/>
            </a:endParaRPr>
          </a:p>
        </p:txBody>
      </p:sp>
      <p:sp>
        <p:nvSpPr>
          <p:cNvPr id="1883" name="Text Placeholder 19">
            <a:extLst>
              <a:ext uri="{FF2B5EF4-FFF2-40B4-BE49-F238E27FC236}">
                <a16:creationId xmlns:a16="http://schemas.microsoft.com/office/drawing/2014/main" id="{8A830972-43B5-FA31-1BD2-7DCE630C038E}"/>
              </a:ext>
            </a:extLst>
          </p:cNvPr>
          <p:cNvSpPr>
            <a:spLocks noGrp="1"/>
          </p:cNvSpPr>
          <p:nvPr>
            <p:custDataLst>
              <p:tags r:id="rId16"/>
            </p:custDataLst>
          </p:nvPr>
        </p:nvSpPr>
        <p:spPr bwMode="auto">
          <a:xfrm>
            <a:off x="2801938" y="58547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D318015F-0CAD-4F30-8A27-08C18F000AEE}" type="datetime'''''''''''''''''''''''''2''0''''''35'''''''''''''''''''''''">
              <a:rPr lang="en-GB" altLang="en-US" sz="1000" smtClean="0">
                <a:ea typeface="+mn-ea"/>
                <a:cs typeface="+mn-cs"/>
              </a:rPr>
              <a:pPr lvl="0" algn="ctr">
                <a:spcBef>
                  <a:spcPct val="0"/>
                </a:spcBef>
                <a:spcAft>
                  <a:spcPct val="0"/>
                </a:spcAft>
              </a:pPr>
              <a:t>2035</a:t>
            </a:fld>
            <a:endParaRPr lang="en-GB" sz="1000">
              <a:ea typeface="+mn-ea"/>
              <a:cs typeface="+mn-cs"/>
            </a:endParaRPr>
          </a:p>
        </p:txBody>
      </p:sp>
      <p:sp>
        <p:nvSpPr>
          <p:cNvPr id="1887" name="Text Placeholder 19">
            <a:extLst>
              <a:ext uri="{FF2B5EF4-FFF2-40B4-BE49-F238E27FC236}">
                <a16:creationId xmlns:a16="http://schemas.microsoft.com/office/drawing/2014/main" id="{49CD850F-BE09-76DF-1D9B-1B85C1965968}"/>
              </a:ext>
            </a:extLst>
          </p:cNvPr>
          <p:cNvSpPr>
            <a:spLocks noGrp="1"/>
          </p:cNvSpPr>
          <p:nvPr>
            <p:custDataLst>
              <p:tags r:id="rId17"/>
            </p:custDataLst>
          </p:nvPr>
        </p:nvSpPr>
        <p:spPr bwMode="auto">
          <a:xfrm>
            <a:off x="3832225" y="58547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C5F2D058-233D-4814-AB08-5B97316192DE}" type="datetime'''''2''''''''''''''''''''''''''04''''''''''''''''''''''0'">
              <a:rPr lang="en-GB" altLang="en-US" sz="1000" smtClean="0">
                <a:ea typeface="+mn-ea"/>
                <a:cs typeface="+mn-cs"/>
              </a:rPr>
              <a:pPr lvl="0" algn="ctr">
                <a:spcBef>
                  <a:spcPct val="0"/>
                </a:spcBef>
                <a:spcAft>
                  <a:spcPct val="0"/>
                </a:spcAft>
              </a:pPr>
              <a:t>2040</a:t>
            </a:fld>
            <a:endParaRPr lang="en-GB" sz="1000">
              <a:ea typeface="+mn-ea"/>
              <a:cs typeface="+mn-cs"/>
            </a:endParaRPr>
          </a:p>
        </p:txBody>
      </p:sp>
      <p:sp>
        <p:nvSpPr>
          <p:cNvPr id="1890" name="Rectangle 1889">
            <a:extLst>
              <a:ext uri="{FF2B5EF4-FFF2-40B4-BE49-F238E27FC236}">
                <a16:creationId xmlns:a16="http://schemas.microsoft.com/office/drawing/2014/main" id="{E217CFE6-D348-53D1-B2E9-37338C063E4A}"/>
              </a:ext>
            </a:extLst>
          </p:cNvPr>
          <p:cNvSpPr/>
          <p:nvPr>
            <p:custDataLst>
              <p:tags r:id="rId18"/>
            </p:custDataLst>
          </p:nvPr>
        </p:nvSpPr>
        <p:spPr bwMode="auto">
          <a:xfrm>
            <a:off x="431800" y="6073775"/>
            <a:ext cx="179388" cy="133350"/>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889" name="Rectangle 1888">
            <a:extLst>
              <a:ext uri="{FF2B5EF4-FFF2-40B4-BE49-F238E27FC236}">
                <a16:creationId xmlns:a16="http://schemas.microsoft.com/office/drawing/2014/main" id="{8AC3E1EC-673A-5211-F4B2-8470139BD06B}"/>
              </a:ext>
            </a:extLst>
          </p:cNvPr>
          <p:cNvSpPr/>
          <p:nvPr>
            <p:custDataLst>
              <p:tags r:id="rId19"/>
            </p:custDataLst>
          </p:nvPr>
        </p:nvSpPr>
        <p:spPr bwMode="auto">
          <a:xfrm>
            <a:off x="431800" y="6276975"/>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888" name="Rectangle 1887">
            <a:extLst>
              <a:ext uri="{FF2B5EF4-FFF2-40B4-BE49-F238E27FC236}">
                <a16:creationId xmlns:a16="http://schemas.microsoft.com/office/drawing/2014/main" id="{007F4C40-E429-5BAC-B6D3-E3E01C526DD6}"/>
              </a:ext>
            </a:extLst>
          </p:cNvPr>
          <p:cNvSpPr/>
          <p:nvPr>
            <p:custDataLst>
              <p:tags r:id="rId20"/>
            </p:custDataLst>
          </p:nvPr>
        </p:nvSpPr>
        <p:spPr bwMode="auto">
          <a:xfrm>
            <a:off x="5060950" y="6073775"/>
            <a:ext cx="179388" cy="133350"/>
          </a:xfrm>
          <a:prstGeom prst="rect">
            <a:avLst/>
          </a:prstGeom>
          <a:solidFill>
            <a:srgbClr val="C3CFE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893" name="Text Placeholder 19">
            <a:extLst>
              <a:ext uri="{FF2B5EF4-FFF2-40B4-BE49-F238E27FC236}">
                <a16:creationId xmlns:a16="http://schemas.microsoft.com/office/drawing/2014/main" id="{B96A3E0A-33E2-E2FF-AB50-24788CDA1E3D}"/>
              </a:ext>
            </a:extLst>
          </p:cNvPr>
          <p:cNvSpPr>
            <a:spLocks noGrp="1"/>
          </p:cNvSpPr>
          <p:nvPr>
            <p:custDataLst>
              <p:tags r:id="rId21"/>
            </p:custDataLst>
          </p:nvPr>
        </p:nvSpPr>
        <p:spPr bwMode="auto">
          <a:xfrm>
            <a:off x="661988" y="6069013"/>
            <a:ext cx="4297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4BB00375-3207-4B7B-A674-EADDDF1DBBF7}" type="thinkcell&lt;?xml version=&quot;1.0&quot; encoding=&quot;UTF-16&quot; standalone=&quot;yes&quot;?&gt;&lt;root reqver=&quot;28224&quot;&gt;&lt;version val=&quot;35278&quot;/&gt;&lt;PersistentType&gt;&lt;m_guid val=&quot;dbe5ebce-c260-44b8-8153-035b9796589e&quot;/&gt;&lt;m_prec&gt;&lt;m_yearfmt&gt;&lt;begin val=&quot;0&quot;/&gt;&lt;end val=&quot;4&quot;/&gt;&lt;/m_yearfmt&gt;&lt;/m_prec&gt;&lt;m_bUseExcelFont val=&quot;0&quot;/&gt;&lt;m_bUseExcelFontColor val=&quot;0&quot;/&gt;&lt;/PersistentType&gt;&lt;/root&gt;">
              <a:rPr lang="en-US" altLang="en-US" sz="1000" smtClean="0">
                <a:ea typeface="+mn-ea"/>
                <a:cs typeface="+mn-cs"/>
              </a:rPr>
              <a:pPr/>
              <a:t>Energy arbitrage (Wholesale Market + Ancillary Services + Balancing Services)</a:t>
            </a:fld>
            <a:endParaRPr lang="en-GB" sz="1000">
              <a:ea typeface="+mn-ea"/>
              <a:cs typeface="+mn-cs"/>
            </a:endParaRPr>
          </a:p>
        </p:txBody>
      </p:sp>
      <p:sp>
        <p:nvSpPr>
          <p:cNvPr id="1892" name="Text Placeholder 19">
            <a:extLst>
              <a:ext uri="{FF2B5EF4-FFF2-40B4-BE49-F238E27FC236}">
                <a16:creationId xmlns:a16="http://schemas.microsoft.com/office/drawing/2014/main" id="{B341FF50-43B4-A9E7-231F-A8CA6B1C5FC4}"/>
              </a:ext>
            </a:extLst>
          </p:cNvPr>
          <p:cNvSpPr>
            <a:spLocks noGrp="1"/>
          </p:cNvSpPr>
          <p:nvPr>
            <p:custDataLst>
              <p:tags r:id="rId22"/>
            </p:custDataLst>
          </p:nvPr>
        </p:nvSpPr>
        <p:spPr bwMode="auto">
          <a:xfrm>
            <a:off x="661988" y="6272213"/>
            <a:ext cx="1504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83B28F6-70EA-4AD0-B980-7CDFBF74AEA1}" type="datetime'C''''a''p''aci''ty ''Mark''et'''' ''''Pa''ymen''''t''''s'">
              <a:rPr lang="en-GB" altLang="en-US" sz="1000" smtClean="0">
                <a:ea typeface="+mn-ea"/>
                <a:cs typeface="+mn-cs"/>
              </a:rPr>
              <a:pPr lvl="0">
                <a:spcBef>
                  <a:spcPct val="0"/>
                </a:spcBef>
                <a:spcAft>
                  <a:spcPct val="0"/>
                </a:spcAft>
              </a:pPr>
              <a:t>Capacity Market Payments</a:t>
            </a:fld>
            <a:endParaRPr lang="en-GB" sz="1000">
              <a:ea typeface="+mn-ea"/>
              <a:cs typeface="+mn-cs"/>
            </a:endParaRPr>
          </a:p>
        </p:txBody>
      </p:sp>
      <p:sp>
        <p:nvSpPr>
          <p:cNvPr id="1891" name="Text Placeholder 19">
            <a:extLst>
              <a:ext uri="{FF2B5EF4-FFF2-40B4-BE49-F238E27FC236}">
                <a16:creationId xmlns:a16="http://schemas.microsoft.com/office/drawing/2014/main" id="{E790AEED-F3E2-8A92-C606-7A14D595EEDA}"/>
              </a:ext>
            </a:extLst>
          </p:cNvPr>
          <p:cNvSpPr>
            <a:spLocks noGrp="1"/>
          </p:cNvSpPr>
          <p:nvPr>
            <p:custDataLst>
              <p:tags r:id="rId23"/>
            </p:custDataLst>
          </p:nvPr>
        </p:nvSpPr>
        <p:spPr bwMode="auto">
          <a:xfrm>
            <a:off x="5291138" y="6069013"/>
            <a:ext cx="2214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9BACCE9-C06D-4B39-8C97-DD07ABA0AD73}" type="datetime'Capacity paymen''ts'' fo''r anci''''llary s''er''vi''''ce''s'">
              <a:rPr lang="en-GB" altLang="en-US" sz="1000" smtClean="0">
                <a:ea typeface="+mn-ea"/>
                <a:cs typeface="+mn-cs"/>
              </a:rPr>
              <a:pPr lvl="0">
                <a:spcBef>
                  <a:spcPct val="0"/>
                </a:spcBef>
                <a:spcAft>
                  <a:spcPct val="0"/>
                </a:spcAft>
              </a:pPr>
              <a:t>Capacity payments for ancillary services</a:t>
            </a:fld>
            <a:endParaRPr lang="en-GB" sz="1000">
              <a:ea typeface="+mn-ea"/>
              <a:cs typeface="+mn-cs"/>
            </a:endParaRPr>
          </a:p>
        </p:txBody>
      </p:sp>
      <p:graphicFrame>
        <p:nvGraphicFramePr>
          <p:cNvPr id="37" name="Chart 36">
            <a:extLst>
              <a:ext uri="{FF2B5EF4-FFF2-40B4-BE49-F238E27FC236}">
                <a16:creationId xmlns:a16="http://schemas.microsoft.com/office/drawing/2014/main" id="{D0F7E1CF-B071-B59D-20C7-466D6B9A73A1}"/>
              </a:ext>
            </a:extLst>
          </p:cNvPr>
          <p:cNvGraphicFramePr/>
          <p:nvPr>
            <p:custDataLst>
              <p:tags r:id="rId24"/>
            </p:custDataLst>
            <p:extLst>
              <p:ext uri="{D42A27DB-BD31-4B8C-83A1-F6EECF244321}">
                <p14:modId xmlns:p14="http://schemas.microsoft.com/office/powerpoint/2010/main" val="3949934700"/>
              </p:ext>
            </p:extLst>
          </p:nvPr>
        </p:nvGraphicFramePr>
        <p:xfrm>
          <a:off x="4781550" y="4197350"/>
          <a:ext cx="4200525" cy="1697038"/>
        </p:xfrm>
        <a:graphic>
          <a:graphicData uri="http://schemas.openxmlformats.org/drawingml/2006/chart">
            <c:chart xmlns:c="http://schemas.openxmlformats.org/drawingml/2006/chart" xmlns:r="http://schemas.openxmlformats.org/officeDocument/2006/relationships" r:id="rId36"/>
          </a:graphicData>
        </a:graphic>
      </p:graphicFrame>
      <p:sp>
        <p:nvSpPr>
          <p:cNvPr id="1899" name="Text Placeholder 19">
            <a:extLst>
              <a:ext uri="{FF2B5EF4-FFF2-40B4-BE49-F238E27FC236}">
                <a16:creationId xmlns:a16="http://schemas.microsoft.com/office/drawing/2014/main" id="{62762FEE-EE40-68ED-76AC-E764B397E7DF}"/>
              </a:ext>
            </a:extLst>
          </p:cNvPr>
          <p:cNvSpPr>
            <a:spLocks noGrp="1"/>
          </p:cNvSpPr>
          <p:nvPr>
            <p:custDataLst>
              <p:tags r:id="rId25"/>
            </p:custDataLst>
          </p:nvPr>
        </p:nvSpPr>
        <p:spPr bwMode="auto">
          <a:xfrm>
            <a:off x="5216525" y="58547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8C0925C-BED2-4A6F-B3E7-93CD891E0D7C}" type="datetime'''''''''''''''''''''''2''0''''''2''7'''''''">
              <a:rPr lang="en-GB" altLang="en-US" sz="1000" smtClean="0">
                <a:ea typeface="+mn-ea"/>
                <a:cs typeface="+mn-cs"/>
              </a:rPr>
              <a:pPr lvl="0" algn="ctr">
                <a:spcBef>
                  <a:spcPct val="0"/>
                </a:spcBef>
                <a:spcAft>
                  <a:spcPct val="0"/>
                </a:spcAft>
              </a:pPr>
              <a:t>2027</a:t>
            </a:fld>
            <a:endParaRPr lang="en-GB" sz="1000">
              <a:ea typeface="+mn-ea"/>
              <a:cs typeface="+mn-cs"/>
            </a:endParaRPr>
          </a:p>
        </p:txBody>
      </p:sp>
      <p:sp>
        <p:nvSpPr>
          <p:cNvPr id="1902" name="Text Placeholder 19">
            <a:extLst>
              <a:ext uri="{FF2B5EF4-FFF2-40B4-BE49-F238E27FC236}">
                <a16:creationId xmlns:a16="http://schemas.microsoft.com/office/drawing/2014/main" id="{213D35A2-098E-C36A-BDB0-5EBBE69B0354}"/>
              </a:ext>
            </a:extLst>
          </p:cNvPr>
          <p:cNvSpPr>
            <a:spLocks noGrp="1"/>
          </p:cNvSpPr>
          <p:nvPr>
            <p:custDataLst>
              <p:tags r:id="rId26"/>
            </p:custDataLst>
          </p:nvPr>
        </p:nvSpPr>
        <p:spPr bwMode="auto">
          <a:xfrm>
            <a:off x="6224588" y="58547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19823579-703A-445C-BF4E-1E8F9C745CCB}" type="datetime'''''''''''2''0''''''''''''''''''''''''''30'''''''''">
              <a:rPr lang="en-GB" altLang="en-US" sz="1000" smtClean="0">
                <a:ea typeface="+mn-ea"/>
                <a:cs typeface="+mn-cs"/>
              </a:rPr>
              <a:pPr lvl="0" algn="ctr">
                <a:spcBef>
                  <a:spcPct val="0"/>
                </a:spcBef>
                <a:spcAft>
                  <a:spcPct val="0"/>
                </a:spcAft>
              </a:pPr>
              <a:t>2030</a:t>
            </a:fld>
            <a:endParaRPr lang="en-GB" sz="1000">
              <a:ea typeface="+mn-ea"/>
              <a:cs typeface="+mn-cs"/>
            </a:endParaRPr>
          </a:p>
        </p:txBody>
      </p:sp>
      <p:sp>
        <p:nvSpPr>
          <p:cNvPr id="1905" name="Text Placeholder 19">
            <a:extLst>
              <a:ext uri="{FF2B5EF4-FFF2-40B4-BE49-F238E27FC236}">
                <a16:creationId xmlns:a16="http://schemas.microsoft.com/office/drawing/2014/main" id="{7CDA6366-8D4A-3A25-CFD2-1031357EF6FB}"/>
              </a:ext>
            </a:extLst>
          </p:cNvPr>
          <p:cNvSpPr>
            <a:spLocks noGrp="1"/>
          </p:cNvSpPr>
          <p:nvPr>
            <p:custDataLst>
              <p:tags r:id="rId27"/>
            </p:custDataLst>
          </p:nvPr>
        </p:nvSpPr>
        <p:spPr bwMode="auto">
          <a:xfrm>
            <a:off x="7234238" y="58547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71494B06-178D-49A6-A5DF-E9E248A5D575}" type="datetime'''''''''''''''''''2''''''''''''''''''03''''''''''''''5'">
              <a:rPr lang="en-GB" altLang="en-US" sz="1000" smtClean="0">
                <a:ea typeface="+mn-ea"/>
                <a:cs typeface="+mn-cs"/>
              </a:rPr>
              <a:pPr lvl="0" algn="ctr">
                <a:spcBef>
                  <a:spcPct val="0"/>
                </a:spcBef>
                <a:spcAft>
                  <a:spcPct val="0"/>
                </a:spcAft>
              </a:pPr>
              <a:t>2035</a:t>
            </a:fld>
            <a:endParaRPr lang="en-GB" sz="1000">
              <a:ea typeface="+mn-ea"/>
              <a:cs typeface="+mn-cs"/>
            </a:endParaRPr>
          </a:p>
        </p:txBody>
      </p:sp>
      <p:sp>
        <p:nvSpPr>
          <p:cNvPr id="1908" name="Text Placeholder 19">
            <a:extLst>
              <a:ext uri="{FF2B5EF4-FFF2-40B4-BE49-F238E27FC236}">
                <a16:creationId xmlns:a16="http://schemas.microsoft.com/office/drawing/2014/main" id="{CDED971D-04CF-FCB0-98DB-4EF9938311D5}"/>
              </a:ext>
            </a:extLst>
          </p:cNvPr>
          <p:cNvSpPr>
            <a:spLocks noGrp="1"/>
          </p:cNvSpPr>
          <p:nvPr>
            <p:custDataLst>
              <p:tags r:id="rId28"/>
            </p:custDataLst>
          </p:nvPr>
        </p:nvSpPr>
        <p:spPr bwMode="auto">
          <a:xfrm>
            <a:off x="8242300" y="5854700"/>
            <a:ext cx="304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466644DE-2DCF-498B-84CE-679DEEC046BC}" type="datetime'2''''''0''''''''''''''''''''''''''''''4''''''''''''''''0'''''">
              <a:rPr lang="en-GB" altLang="en-US" sz="1000" smtClean="0">
                <a:ea typeface="+mn-ea"/>
                <a:cs typeface="+mn-cs"/>
              </a:rPr>
              <a:pPr lvl="0" algn="ctr">
                <a:spcBef>
                  <a:spcPct val="0"/>
                </a:spcBef>
                <a:spcAft>
                  <a:spcPct val="0"/>
                </a:spcAft>
              </a:pPr>
              <a:t>2040</a:t>
            </a:fld>
            <a:endParaRPr lang="en-GB" sz="1000">
              <a:ea typeface="+mn-ea"/>
              <a:cs typeface="+mn-cs"/>
            </a:endParaRPr>
          </a:p>
        </p:txBody>
      </p:sp>
      <p:sp>
        <p:nvSpPr>
          <p:cNvPr id="5" name="Text Placeholder 16">
            <a:extLst>
              <a:ext uri="{FF2B5EF4-FFF2-40B4-BE49-F238E27FC236}">
                <a16:creationId xmlns:a16="http://schemas.microsoft.com/office/drawing/2014/main" id="{0BF93FA4-99DE-1E14-31B1-3B907ECAA74B}"/>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8" name="TextBox 7">
            <a:extLst>
              <a:ext uri="{FF2B5EF4-FFF2-40B4-BE49-F238E27FC236}">
                <a16:creationId xmlns:a16="http://schemas.microsoft.com/office/drawing/2014/main" id="{657C4D63-DAE4-D11C-B56D-78B6F9BD595C}"/>
              </a:ext>
            </a:extLst>
          </p:cNvPr>
          <p:cNvSpPr txBox="1"/>
          <p:nvPr/>
        </p:nvSpPr>
        <p:spPr>
          <a:xfrm>
            <a:off x="4023326" y="6292255"/>
            <a:ext cx="4984748" cy="384721"/>
          </a:xfrm>
          <a:prstGeom prst="rect">
            <a:avLst/>
          </a:prstGeom>
          <a:noFill/>
        </p:spPr>
        <p:txBody>
          <a:bodyPr wrap="square" lIns="0" tIns="0" rIns="0" bIns="0" rtlCol="0">
            <a:spAutoFit/>
          </a:bodyPr>
          <a:lstStyle/>
          <a:p>
            <a:pPr algn="r">
              <a:spcBef>
                <a:spcPts val="600"/>
              </a:spcBef>
            </a:pPr>
            <a:r>
              <a:rPr lang="en-GB" sz="1000" i="1">
                <a:solidFill>
                  <a:schemeClr val="tx1"/>
                </a:solidFill>
              </a:rPr>
              <a:t>(*)each graph indicates individual countries gross margins. </a:t>
            </a:r>
          </a:p>
          <a:p>
            <a:pPr algn="r">
              <a:spcBef>
                <a:spcPts val="600"/>
              </a:spcBef>
            </a:pPr>
            <a:r>
              <a:rPr lang="en-GB" sz="1000" i="1">
                <a:solidFill>
                  <a:schemeClr val="tx1"/>
                </a:solidFill>
              </a:rPr>
              <a:t>Detailed country data </a:t>
            </a:r>
            <a:r>
              <a:rPr lang="en-GB" sz="1000" i="1">
                <a:solidFill>
                  <a:schemeClr val="tx1"/>
                </a:solidFill>
                <a:hlinkClick r:id="rId37"/>
              </a:rPr>
              <a:t>available</a:t>
            </a:r>
            <a:r>
              <a:rPr lang="en-GB" sz="1000" i="1">
                <a:solidFill>
                  <a:schemeClr val="tx1"/>
                </a:solidFill>
              </a:rPr>
              <a:t> in Aurora’s Flexibility Energy Market subscriptions </a:t>
            </a:r>
            <a:endParaRPr lang="en-GB" sz="1000" i="1"/>
          </a:p>
        </p:txBody>
      </p:sp>
    </p:spTree>
    <p:extLst>
      <p:ext uri="{BB962C8B-B14F-4D97-AF65-F5344CB8AC3E}">
        <p14:creationId xmlns:p14="http://schemas.microsoft.com/office/powerpoint/2010/main" val="206775969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CF4AFA0-8396-4951-931D-400D091B36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2" name="Object 11" hidden="1">
                        <a:extLst>
                          <a:ext uri="{FF2B5EF4-FFF2-40B4-BE49-F238E27FC236}">
                            <a16:creationId xmlns:a16="http://schemas.microsoft.com/office/drawing/2014/main" id="{2CF4AFA0-8396-4951-931D-400D091B36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16FCAF-B41F-44D0-A156-3883AE164BAF}"/>
              </a:ext>
            </a:extLst>
          </p:cNvPr>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 name="Text Placeholder 16">
            <a:extLst>
              <a:ext uri="{FF2B5EF4-FFF2-40B4-BE49-F238E27FC236}">
                <a16:creationId xmlns:a16="http://schemas.microsoft.com/office/drawing/2014/main" id="{C4E2F83A-3AD5-85C3-E49B-0748C6A92C2F}"/>
              </a:ext>
            </a:extLst>
          </p:cNvPr>
          <p:cNvSpPr>
            <a:spLocks noGrp="1"/>
          </p:cNvSpPr>
          <p:nvPr>
            <p:ph type="body" sz="quarter" idx="30"/>
          </p:nvPr>
        </p:nvSpPr>
        <p:spPr>
          <a:xfrm>
            <a:off x="9500714" y="1263129"/>
            <a:ext cx="2335686" cy="184666"/>
          </a:xfrm>
        </p:spPr>
        <p:txBody>
          <a:bodyPr/>
          <a:lstStyle/>
          <a:p>
            <a:endParaRPr lang="en-GB"/>
          </a:p>
        </p:txBody>
      </p:sp>
      <p:sp>
        <p:nvSpPr>
          <p:cNvPr id="19" name="Text Placeholder 18">
            <a:extLst>
              <a:ext uri="{FF2B5EF4-FFF2-40B4-BE49-F238E27FC236}">
                <a16:creationId xmlns:a16="http://schemas.microsoft.com/office/drawing/2014/main" id="{375536C9-D31D-429B-A10B-36CAFF285739}"/>
              </a:ext>
            </a:extLst>
          </p:cNvPr>
          <p:cNvSpPr>
            <a:spLocks noGrp="1"/>
          </p:cNvSpPr>
          <p:nvPr>
            <p:ph type="body" sz="quarter" idx="28"/>
          </p:nvPr>
        </p:nvSpPr>
        <p:spPr>
          <a:xfrm>
            <a:off x="9500714" y="1712755"/>
            <a:ext cx="2335686" cy="4585871"/>
          </a:xfrm>
        </p:spPr>
        <p:txBody>
          <a:bodyPr/>
          <a:lstStyle/>
          <a:p>
            <a:pPr marL="182880" indent="-182880">
              <a:spcBef>
                <a:spcPts val="600"/>
              </a:spcBef>
              <a:buFont typeface="Wingdings" panose="05000000000000000000" pitchFamily="2" charset="2"/>
              <a:buChar char="§"/>
            </a:pPr>
            <a:r>
              <a:rPr lang="en-GB"/>
              <a:t>The asset has foresight into the Day-Ahead (DA) and FCR prices for 1 day and uses that to determine prices to charge and discharge at.  It has only limited  foresight into the Intraday (ID) and no foresight into aFRR energy markets </a:t>
            </a:r>
          </a:p>
          <a:p>
            <a:pPr marL="182880" indent="-182880" algn="l">
              <a:spcBef>
                <a:spcPts val="600"/>
              </a:spcBef>
              <a:buFont typeface="Wingdings" panose="05000000000000000000" pitchFamily="2" charset="2"/>
              <a:buChar char="§"/>
            </a:pPr>
            <a:r>
              <a:rPr lang="en-GB" b="1"/>
              <a:t>Sell threshold </a:t>
            </a:r>
            <a:r>
              <a:rPr lang="en-GB"/>
              <a:t>and </a:t>
            </a:r>
            <a:r>
              <a:rPr lang="en-GB" b="1"/>
              <a:t>buy threshold </a:t>
            </a:r>
            <a:r>
              <a:rPr lang="en-GB"/>
              <a:t>represent the lowest and highest price at which the battery is willing to sell and buy power. As the battery has imperfect foresight, the thresholds are determined based on the prices the battery has observed in DA and FCR, and partly Intraday</a:t>
            </a:r>
            <a:r>
              <a:rPr lang="en-GB" baseline="30000"/>
              <a:t>3</a:t>
            </a:r>
          </a:p>
          <a:p>
            <a:pPr marL="182880" indent="-182880" algn="l">
              <a:spcBef>
                <a:spcPts val="600"/>
              </a:spcBef>
              <a:buFont typeface="Wingdings" panose="05000000000000000000" pitchFamily="2" charset="2"/>
              <a:buChar char="§"/>
            </a:pPr>
            <a:r>
              <a:rPr lang="en-GB"/>
              <a:t>When calculating the value of combining market positions, the model iterates over all possible combinations of the profitable trades within market rules and limits</a:t>
            </a:r>
          </a:p>
        </p:txBody>
      </p:sp>
      <p:sp>
        <p:nvSpPr>
          <p:cNvPr id="9" name="Text Placeholder 8">
            <a:extLst>
              <a:ext uri="{FF2B5EF4-FFF2-40B4-BE49-F238E27FC236}">
                <a16:creationId xmlns:a16="http://schemas.microsoft.com/office/drawing/2014/main" id="{C9A011CE-CB56-44F9-A5DC-3865AC07DA56}"/>
              </a:ext>
            </a:extLst>
          </p:cNvPr>
          <p:cNvSpPr>
            <a:spLocks noGrp="1"/>
          </p:cNvSpPr>
          <p:nvPr>
            <p:ph type="body" sz="quarter" idx="22"/>
          </p:nvPr>
        </p:nvSpPr>
        <p:spPr>
          <a:xfrm>
            <a:off x="381001" y="6715169"/>
            <a:ext cx="1452321" cy="110800"/>
          </a:xfrm>
        </p:spPr>
        <p:txBody>
          <a:bodyPr/>
          <a:lstStyle/>
          <a:p>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urce: Aurora Energy Research</a:t>
            </a:r>
          </a:p>
        </p:txBody>
      </p:sp>
      <p:sp>
        <p:nvSpPr>
          <p:cNvPr id="6" name="Title 5">
            <a:extLst>
              <a:ext uri="{FF2B5EF4-FFF2-40B4-BE49-F238E27FC236}">
                <a16:creationId xmlns:a16="http://schemas.microsoft.com/office/drawing/2014/main" id="{B7FE6929-531D-4F05-902E-A45ACC12C34A}"/>
              </a:ext>
            </a:extLst>
          </p:cNvPr>
          <p:cNvSpPr>
            <a:spLocks noGrp="1"/>
          </p:cNvSpPr>
          <p:nvPr>
            <p:ph type="title"/>
          </p:nvPr>
        </p:nvSpPr>
        <p:spPr/>
        <p:txBody>
          <a:bodyPr vert="horz"/>
          <a:lstStyle/>
          <a:p>
            <a:pPr lvl="1" rtl="0">
              <a:lnSpc>
                <a:spcPct val="90000"/>
              </a:lnSpc>
            </a:pPr>
            <a:r>
              <a:rPr lang="en-GB" sz="2200" b="1">
                <a:solidFill>
                  <a:schemeClr val="tx1"/>
                </a:solidFill>
                <a:latin typeface="Lato" panose="020F0502020204030203" pitchFamily="34" charset="0"/>
                <a:ea typeface="Lato" panose="020F0502020204030203" pitchFamily="34" charset="0"/>
                <a:cs typeface="Lato" panose="020F0502020204030203" pitchFamily="34" charset="0"/>
              </a:rPr>
              <a:t>Modelling approach: Based on real market mechanisms, our model dispatches according to the following logic</a:t>
            </a:r>
          </a:p>
        </p:txBody>
      </p:sp>
      <p:sp>
        <p:nvSpPr>
          <p:cNvPr id="24" name="Text Placeholder 23">
            <a:extLst>
              <a:ext uri="{FF2B5EF4-FFF2-40B4-BE49-F238E27FC236}">
                <a16:creationId xmlns:a16="http://schemas.microsoft.com/office/drawing/2014/main" id="{7DC88045-6131-4DD8-A7C1-F252EF7C31C5}"/>
              </a:ext>
            </a:extLst>
          </p:cNvPr>
          <p:cNvSpPr>
            <a:spLocks noGrp="1"/>
          </p:cNvSpPr>
          <p:nvPr>
            <p:ph type="body" sz="quarter" idx="32"/>
          </p:nvPr>
        </p:nvSpPr>
        <p:spPr>
          <a:xfrm>
            <a:off x="381600" y="6474841"/>
            <a:ext cx="8601074" cy="221599"/>
          </a:xfrm>
        </p:spPr>
        <p:txBody>
          <a:bodyPr/>
          <a:lstStyle/>
          <a:p>
            <a:r>
              <a:rPr lang="en-GB"/>
              <a:t>1) Given an option value parameter for how much capacity the battery wants to reserve for ID/aFRR; 2) State of charge; 3) Foresight on Intraday prices is limited to next committed DA trade. No foresight on aFRR energy</a:t>
            </a:r>
          </a:p>
        </p:txBody>
      </p:sp>
      <p:sp>
        <p:nvSpPr>
          <p:cNvPr id="146" name="TextBox 145">
            <a:extLst>
              <a:ext uri="{FF2B5EF4-FFF2-40B4-BE49-F238E27FC236}">
                <a16:creationId xmlns:a16="http://schemas.microsoft.com/office/drawing/2014/main" id="{C537A75B-F560-4F95-BC44-BAB2EAB966A8}"/>
              </a:ext>
            </a:extLst>
          </p:cNvPr>
          <p:cNvSpPr txBox="1"/>
          <p:nvPr/>
        </p:nvSpPr>
        <p:spPr>
          <a:xfrm>
            <a:off x="381001" y="1254988"/>
            <a:ext cx="275930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Overview of trading heuristic (DEU example):</a:t>
            </a:r>
          </a:p>
        </p:txBody>
      </p:sp>
      <p:sp>
        <p:nvSpPr>
          <p:cNvPr id="71" name="Rectangle 70">
            <a:extLst>
              <a:ext uri="{FF2B5EF4-FFF2-40B4-BE49-F238E27FC236}">
                <a16:creationId xmlns:a16="http://schemas.microsoft.com/office/drawing/2014/main" id="{BB5D445E-8FC1-4EE3-BE07-924D9A78943A}"/>
              </a:ext>
            </a:extLst>
          </p:cNvPr>
          <p:cNvSpPr/>
          <p:nvPr/>
        </p:nvSpPr>
        <p:spPr>
          <a:xfrm>
            <a:off x="397496" y="2146928"/>
            <a:ext cx="562655" cy="933120"/>
          </a:xfrm>
          <a:prstGeom prst="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Start</a:t>
            </a:r>
          </a:p>
        </p:txBody>
      </p:sp>
      <p:sp>
        <p:nvSpPr>
          <p:cNvPr id="78" name="TextBox 77">
            <a:extLst>
              <a:ext uri="{FF2B5EF4-FFF2-40B4-BE49-F238E27FC236}">
                <a16:creationId xmlns:a16="http://schemas.microsoft.com/office/drawing/2014/main" id="{A66FB05F-DCDF-42C1-851A-55740484A1BD}"/>
              </a:ext>
            </a:extLst>
          </p:cNvPr>
          <p:cNvSpPr txBox="1"/>
          <p:nvPr/>
        </p:nvSpPr>
        <p:spPr>
          <a:xfrm>
            <a:off x="7891351" y="2328033"/>
            <a:ext cx="1038508"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400" b="1" i="0" u="none" strike="noStrike" kern="1200" cap="none" spc="0" normalizeH="0" baseline="0" noProof="0">
                <a:ln>
                  <a:noFill/>
                </a:ln>
                <a:solidFill>
                  <a:srgbClr val="3C3C3B"/>
                </a:solidFill>
                <a:effectLst/>
                <a:uLnTx/>
                <a:uFillTx/>
                <a:latin typeface="Lato"/>
                <a:ea typeface="+mn-ea"/>
                <a:cs typeface="+mn-cs"/>
              </a:rPr>
              <a:t>Calculating trading value</a:t>
            </a:r>
          </a:p>
        </p:txBody>
      </p:sp>
      <p:sp>
        <p:nvSpPr>
          <p:cNvPr id="81" name="Flowchart: Decision 80">
            <a:extLst>
              <a:ext uri="{FF2B5EF4-FFF2-40B4-BE49-F238E27FC236}">
                <a16:creationId xmlns:a16="http://schemas.microsoft.com/office/drawing/2014/main" id="{C605B93B-2BCE-4915-9799-A806F59A0BF0}"/>
              </a:ext>
            </a:extLst>
          </p:cNvPr>
          <p:cNvSpPr/>
          <p:nvPr/>
        </p:nvSpPr>
        <p:spPr>
          <a:xfrm>
            <a:off x="3819621" y="2492700"/>
            <a:ext cx="1396918" cy="585667"/>
          </a:xfrm>
          <a:prstGeom prst="flowChartDecision">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800" b="0" i="0" u="none" strike="noStrike" kern="1200" cap="none" spc="0" normalizeH="0" baseline="0" noProof="0">
                <a:ln>
                  <a:noFill/>
                </a:ln>
                <a:solidFill>
                  <a:srgbClr val="3C3C3B"/>
                </a:solidFill>
                <a:effectLst/>
                <a:uLnTx/>
                <a:uFillTx/>
                <a:latin typeface="Lato"/>
                <a:ea typeface="+mn-ea"/>
                <a:cs typeface="+mn-cs"/>
              </a:rPr>
              <a:t>ID price &gt; sell threshold ?</a:t>
            </a:r>
          </a:p>
        </p:txBody>
      </p:sp>
      <p:sp>
        <p:nvSpPr>
          <p:cNvPr id="82" name="Rectangle 81">
            <a:extLst>
              <a:ext uri="{FF2B5EF4-FFF2-40B4-BE49-F238E27FC236}">
                <a16:creationId xmlns:a16="http://schemas.microsoft.com/office/drawing/2014/main" id="{0E39E3F2-968F-4E38-8C8F-2E322ED095AF}"/>
              </a:ext>
            </a:extLst>
          </p:cNvPr>
          <p:cNvSpPr/>
          <p:nvPr/>
        </p:nvSpPr>
        <p:spPr>
          <a:xfrm>
            <a:off x="3819622" y="1622815"/>
            <a:ext cx="4044516" cy="171198"/>
          </a:xfrm>
          <a:prstGeom prst="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Ignore the market for this trading interval as it is not profitable</a:t>
            </a:r>
          </a:p>
        </p:txBody>
      </p:sp>
      <p:sp>
        <p:nvSpPr>
          <p:cNvPr id="85" name="Rectangle 84">
            <a:extLst>
              <a:ext uri="{FF2B5EF4-FFF2-40B4-BE49-F238E27FC236}">
                <a16:creationId xmlns:a16="http://schemas.microsoft.com/office/drawing/2014/main" id="{9192E7E8-D7E6-46E3-8A51-DA69046B80F6}"/>
              </a:ext>
            </a:extLst>
          </p:cNvPr>
          <p:cNvSpPr/>
          <p:nvPr/>
        </p:nvSpPr>
        <p:spPr>
          <a:xfrm>
            <a:off x="6688485" y="3546276"/>
            <a:ext cx="1157867" cy="633656"/>
          </a:xfrm>
          <a:prstGeom prst="rect">
            <a:avLst/>
          </a:prstGeom>
          <a:solidFill>
            <a:srgbClr val="CFDE6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0" noProof="0">
                <a:ln>
                  <a:noFill/>
                </a:ln>
                <a:solidFill>
                  <a:srgbClr val="3C3C3B"/>
                </a:solidFill>
                <a:effectLst/>
                <a:uLnTx/>
                <a:uFillTx/>
                <a:latin typeface="Lato"/>
                <a:ea typeface="+mn-ea"/>
                <a:cs typeface="+mn-cs"/>
              </a:rPr>
              <a:t>Calculate value of combining several market positions within market rules</a:t>
            </a:r>
          </a:p>
        </p:txBody>
      </p:sp>
      <p:sp>
        <p:nvSpPr>
          <p:cNvPr id="91" name="Rectangle 90">
            <a:extLst>
              <a:ext uri="{FF2B5EF4-FFF2-40B4-BE49-F238E27FC236}">
                <a16:creationId xmlns:a16="http://schemas.microsoft.com/office/drawing/2014/main" id="{803EB948-866D-4CCB-BE3E-5C1EC12CFCF7}"/>
              </a:ext>
            </a:extLst>
          </p:cNvPr>
          <p:cNvSpPr/>
          <p:nvPr/>
        </p:nvSpPr>
        <p:spPr>
          <a:xfrm>
            <a:off x="1202815" y="4820871"/>
            <a:ext cx="2241005" cy="568755"/>
          </a:xfrm>
          <a:prstGeom prst="rect">
            <a:avLst/>
          </a:prstGeom>
          <a:solidFill>
            <a:srgbClr val="9DB1C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Choose the most profitable trades</a:t>
            </a:r>
          </a:p>
        </p:txBody>
      </p:sp>
      <p:sp>
        <p:nvSpPr>
          <p:cNvPr id="92" name="Flowchart: Decision 91">
            <a:extLst>
              <a:ext uri="{FF2B5EF4-FFF2-40B4-BE49-F238E27FC236}">
                <a16:creationId xmlns:a16="http://schemas.microsoft.com/office/drawing/2014/main" id="{7E95F35F-D4C9-4E8F-BC6A-96A36E0FC718}"/>
              </a:ext>
            </a:extLst>
          </p:cNvPr>
          <p:cNvSpPr/>
          <p:nvPr/>
        </p:nvSpPr>
        <p:spPr>
          <a:xfrm>
            <a:off x="3861329" y="3461338"/>
            <a:ext cx="2279147" cy="795029"/>
          </a:xfrm>
          <a:prstGeom prst="flowChartDecision">
            <a:avLst/>
          </a:prstGeom>
          <a:solidFill>
            <a:srgbClr val="CFDE6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0" noProof="0">
                <a:ln>
                  <a:noFill/>
                </a:ln>
                <a:solidFill>
                  <a:srgbClr val="3C3C3B"/>
                </a:solidFill>
                <a:effectLst/>
                <a:uLnTx/>
                <a:uFillTx/>
                <a:latin typeface="Lato"/>
                <a:ea typeface="+mn-ea"/>
                <a:cs typeface="+mn-cs"/>
              </a:rPr>
              <a:t>Does the battery have enough soc</a:t>
            </a:r>
            <a:r>
              <a:rPr kumimoji="0" lang="en-GB" sz="900" b="0" i="0" u="none" strike="noStrike" kern="1200" cap="none" spc="0" normalizeH="0" baseline="30000" noProof="0">
                <a:ln>
                  <a:noFill/>
                </a:ln>
                <a:solidFill>
                  <a:srgbClr val="3C3C3B"/>
                </a:solidFill>
                <a:effectLst/>
                <a:uLnTx/>
                <a:uFillTx/>
                <a:latin typeface="Lato"/>
                <a:ea typeface="+mn-ea"/>
                <a:cs typeface="+mn-cs"/>
              </a:rPr>
              <a:t>2</a:t>
            </a:r>
            <a:r>
              <a:rPr kumimoji="0" lang="en-GB" sz="900" b="0" i="0" u="none" strike="noStrike" kern="1200" cap="none" spc="0" normalizeH="0" baseline="0" noProof="0">
                <a:ln>
                  <a:noFill/>
                </a:ln>
                <a:solidFill>
                  <a:srgbClr val="3C3C3B"/>
                </a:solidFill>
                <a:effectLst/>
                <a:uLnTx/>
                <a:uFillTx/>
                <a:latin typeface="Lato"/>
                <a:ea typeface="+mn-ea"/>
                <a:cs typeface="+mn-cs"/>
              </a:rPr>
              <a:t> to do the trades?</a:t>
            </a:r>
          </a:p>
        </p:txBody>
      </p:sp>
      <p:sp>
        <p:nvSpPr>
          <p:cNvPr id="93" name="Flowchart: Decision 92">
            <a:extLst>
              <a:ext uri="{FF2B5EF4-FFF2-40B4-BE49-F238E27FC236}">
                <a16:creationId xmlns:a16="http://schemas.microsoft.com/office/drawing/2014/main" id="{B14D06D2-AA69-44AF-B7F0-A8FFC74F95FD}"/>
              </a:ext>
            </a:extLst>
          </p:cNvPr>
          <p:cNvSpPr/>
          <p:nvPr/>
        </p:nvSpPr>
        <p:spPr>
          <a:xfrm>
            <a:off x="1169074" y="3461415"/>
            <a:ext cx="2278800" cy="795029"/>
          </a:xfrm>
          <a:prstGeom prst="flowChartDecision">
            <a:avLst/>
          </a:prstGeom>
          <a:solidFill>
            <a:srgbClr val="CFDE6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0" noProof="0">
                <a:ln>
                  <a:noFill/>
                </a:ln>
                <a:solidFill>
                  <a:srgbClr val="3C3C3B"/>
                </a:solidFill>
                <a:effectLst/>
                <a:uLnTx/>
                <a:uFillTx/>
                <a:latin typeface="Lato"/>
                <a:ea typeface="+mn-ea"/>
                <a:cs typeface="+mn-cs"/>
              </a:rPr>
              <a:t>Does the battery have enough spare capacity to do more trades?</a:t>
            </a:r>
          </a:p>
        </p:txBody>
      </p:sp>
      <p:cxnSp>
        <p:nvCxnSpPr>
          <p:cNvPr id="94" name="Straight Arrow Connector 93">
            <a:extLst>
              <a:ext uri="{FF2B5EF4-FFF2-40B4-BE49-F238E27FC236}">
                <a16:creationId xmlns:a16="http://schemas.microsoft.com/office/drawing/2014/main" id="{FF9D72EF-D08D-4E8A-A1AC-C4079006C294}"/>
              </a:ext>
            </a:extLst>
          </p:cNvPr>
          <p:cNvCxnSpPr>
            <a:cxnSpLocks/>
            <a:stCxn id="71" idx="3"/>
            <a:endCxn id="2" idx="1"/>
          </p:cNvCxnSpPr>
          <p:nvPr/>
        </p:nvCxnSpPr>
        <p:spPr>
          <a:xfrm flipV="1">
            <a:off x="960151" y="2612902"/>
            <a:ext cx="242665" cy="5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2123C768-C97E-4B89-ACD7-8E6DE966933B}"/>
              </a:ext>
            </a:extLst>
          </p:cNvPr>
          <p:cNvCxnSpPr>
            <a:cxnSpLocks/>
            <a:stCxn id="85" idx="1"/>
            <a:endCxn id="92" idx="3"/>
          </p:cNvCxnSpPr>
          <p:nvPr/>
        </p:nvCxnSpPr>
        <p:spPr>
          <a:xfrm flipH="1" flipV="1">
            <a:off x="6140476" y="3858853"/>
            <a:ext cx="548009" cy="42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6CAA6692-B418-4E55-92CE-A6BE04253462}"/>
              </a:ext>
            </a:extLst>
          </p:cNvPr>
          <p:cNvCxnSpPr>
            <a:cxnSpLocks/>
            <a:stCxn id="92" idx="1"/>
            <a:endCxn id="93" idx="3"/>
          </p:cNvCxnSpPr>
          <p:nvPr/>
        </p:nvCxnSpPr>
        <p:spPr>
          <a:xfrm flipH="1">
            <a:off x="3447874" y="3858853"/>
            <a:ext cx="413455" cy="7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E573EDA5-D7BF-4219-8FFC-E03F0E056E9F}"/>
              </a:ext>
            </a:extLst>
          </p:cNvPr>
          <p:cNvCxnSpPr>
            <a:cxnSpLocks/>
            <a:stCxn id="93" idx="2"/>
            <a:endCxn id="91" idx="0"/>
          </p:cNvCxnSpPr>
          <p:nvPr/>
        </p:nvCxnSpPr>
        <p:spPr>
          <a:xfrm>
            <a:off x="2308474" y="4256444"/>
            <a:ext cx="14844" cy="5644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858008AA-3CEF-472A-8516-B6CB24642A7E}"/>
              </a:ext>
            </a:extLst>
          </p:cNvPr>
          <p:cNvCxnSpPr/>
          <p:nvPr/>
        </p:nvCxnSpPr>
        <p:spPr>
          <a:xfrm>
            <a:off x="2961233" y="4041282"/>
            <a:ext cx="0" cy="4716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2C1B54A9-DF4E-48BD-88B1-68C6341BBAF1}"/>
              </a:ext>
            </a:extLst>
          </p:cNvPr>
          <p:cNvCxnSpPr>
            <a:cxnSpLocks/>
          </p:cNvCxnSpPr>
          <p:nvPr/>
        </p:nvCxnSpPr>
        <p:spPr>
          <a:xfrm>
            <a:off x="2954956" y="4511245"/>
            <a:ext cx="4240904" cy="152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Arrow Connector 252">
            <a:extLst>
              <a:ext uri="{FF2B5EF4-FFF2-40B4-BE49-F238E27FC236}">
                <a16:creationId xmlns:a16="http://schemas.microsoft.com/office/drawing/2014/main" id="{9A4F7C06-AD80-4653-8F15-3E5CF33FC21C}"/>
              </a:ext>
            </a:extLst>
          </p:cNvPr>
          <p:cNvCxnSpPr>
            <a:cxnSpLocks/>
          </p:cNvCxnSpPr>
          <p:nvPr/>
        </p:nvCxnSpPr>
        <p:spPr>
          <a:xfrm flipV="1">
            <a:off x="7195860" y="4179932"/>
            <a:ext cx="0" cy="3409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065624C-4AF9-43EB-856A-ABF00B69BEFF}"/>
              </a:ext>
            </a:extLst>
          </p:cNvPr>
          <p:cNvCxnSpPr>
            <a:cxnSpLocks/>
            <a:stCxn id="92" idx="2"/>
          </p:cNvCxnSpPr>
          <p:nvPr/>
        </p:nvCxnSpPr>
        <p:spPr>
          <a:xfrm>
            <a:off x="5000903" y="4256367"/>
            <a:ext cx="0" cy="2645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0791343C-A238-448F-9F3D-7BDECD0DDA4B}"/>
              </a:ext>
            </a:extLst>
          </p:cNvPr>
          <p:cNvSpPr txBox="1"/>
          <p:nvPr/>
        </p:nvSpPr>
        <p:spPr>
          <a:xfrm>
            <a:off x="3574832" y="3661699"/>
            <a:ext cx="29805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Y</a:t>
            </a:r>
          </a:p>
        </p:txBody>
      </p:sp>
      <p:sp>
        <p:nvSpPr>
          <p:cNvPr id="180" name="Rectangle 179">
            <a:extLst>
              <a:ext uri="{FF2B5EF4-FFF2-40B4-BE49-F238E27FC236}">
                <a16:creationId xmlns:a16="http://schemas.microsoft.com/office/drawing/2014/main" id="{A33FCC0C-C6CB-43DC-A9DD-4473DE8D9FC4}"/>
              </a:ext>
            </a:extLst>
          </p:cNvPr>
          <p:cNvSpPr/>
          <p:nvPr/>
        </p:nvSpPr>
        <p:spPr>
          <a:xfrm>
            <a:off x="4542793" y="4822790"/>
            <a:ext cx="3311505" cy="568755"/>
          </a:xfrm>
          <a:prstGeom prst="rect">
            <a:avLst/>
          </a:prstGeom>
          <a:solidFill>
            <a:srgbClr val="9DB1C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Update duration due to degradation, cycles used, state of charge, etc.</a:t>
            </a:r>
          </a:p>
        </p:txBody>
      </p:sp>
      <p:cxnSp>
        <p:nvCxnSpPr>
          <p:cNvPr id="65" name="Straight Arrow Connector 64">
            <a:extLst>
              <a:ext uri="{FF2B5EF4-FFF2-40B4-BE49-F238E27FC236}">
                <a16:creationId xmlns:a16="http://schemas.microsoft.com/office/drawing/2014/main" id="{28A06DD7-894F-4989-B62B-1219F1EDEF05}"/>
              </a:ext>
            </a:extLst>
          </p:cNvPr>
          <p:cNvCxnSpPr>
            <a:cxnSpLocks/>
            <a:stCxn id="91" idx="3"/>
            <a:endCxn id="180" idx="1"/>
          </p:cNvCxnSpPr>
          <p:nvPr/>
        </p:nvCxnSpPr>
        <p:spPr>
          <a:xfrm>
            <a:off x="3443820" y="5105249"/>
            <a:ext cx="1098973" cy="19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A007EE-AC3C-4D9C-A19F-4494874C1AB7}"/>
              </a:ext>
            </a:extLst>
          </p:cNvPr>
          <p:cNvCxnSpPr>
            <a:cxnSpLocks/>
            <a:stCxn id="180" idx="2"/>
          </p:cNvCxnSpPr>
          <p:nvPr/>
        </p:nvCxnSpPr>
        <p:spPr>
          <a:xfrm>
            <a:off x="6198546" y="5391545"/>
            <a:ext cx="9137" cy="5932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D073508-738D-47FC-B53F-7700F92DB66A}"/>
              </a:ext>
            </a:extLst>
          </p:cNvPr>
          <p:cNvCxnSpPr>
            <a:cxnSpLocks/>
          </p:cNvCxnSpPr>
          <p:nvPr/>
        </p:nvCxnSpPr>
        <p:spPr>
          <a:xfrm flipH="1" flipV="1">
            <a:off x="4190875" y="5968345"/>
            <a:ext cx="2016808" cy="164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E2E43CB5-1F7C-444E-B4BF-9D1D2638553F}"/>
              </a:ext>
            </a:extLst>
          </p:cNvPr>
          <p:cNvCxnSpPr>
            <a:cxnSpLocks/>
          </p:cNvCxnSpPr>
          <p:nvPr/>
        </p:nvCxnSpPr>
        <p:spPr>
          <a:xfrm flipV="1">
            <a:off x="681938" y="3196180"/>
            <a:ext cx="0" cy="27891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6B9CD1D8-996E-47B4-A59B-6E04EAE15D99}"/>
              </a:ext>
            </a:extLst>
          </p:cNvPr>
          <p:cNvSpPr/>
          <p:nvPr/>
        </p:nvSpPr>
        <p:spPr>
          <a:xfrm>
            <a:off x="2177914" y="5683968"/>
            <a:ext cx="2012961" cy="568755"/>
          </a:xfrm>
          <a:prstGeom prst="rect">
            <a:avLst/>
          </a:prstGeom>
          <a:solidFill>
            <a:srgbClr val="B1B1B0"/>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Update buy and sell thresholds and go to next time interval</a:t>
            </a:r>
          </a:p>
        </p:txBody>
      </p:sp>
      <p:cxnSp>
        <p:nvCxnSpPr>
          <p:cNvPr id="183" name="Straight Connector 182">
            <a:extLst>
              <a:ext uri="{FF2B5EF4-FFF2-40B4-BE49-F238E27FC236}">
                <a16:creationId xmlns:a16="http://schemas.microsoft.com/office/drawing/2014/main" id="{2415574D-BDDF-4E60-B6E9-1EF747BF806B}"/>
              </a:ext>
            </a:extLst>
          </p:cNvPr>
          <p:cNvCxnSpPr>
            <a:cxnSpLocks/>
            <a:stCxn id="181" idx="1"/>
          </p:cNvCxnSpPr>
          <p:nvPr/>
        </p:nvCxnSpPr>
        <p:spPr>
          <a:xfrm flipH="1">
            <a:off x="681938" y="5968346"/>
            <a:ext cx="1495976" cy="164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83ED286-B492-4A9F-A41E-0E79460037DC}"/>
              </a:ext>
            </a:extLst>
          </p:cNvPr>
          <p:cNvSpPr txBox="1"/>
          <p:nvPr/>
        </p:nvSpPr>
        <p:spPr>
          <a:xfrm>
            <a:off x="4837377" y="4288384"/>
            <a:ext cx="17296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N</a:t>
            </a:r>
          </a:p>
        </p:txBody>
      </p:sp>
      <p:sp>
        <p:nvSpPr>
          <p:cNvPr id="190" name="TextBox 189">
            <a:extLst>
              <a:ext uri="{FF2B5EF4-FFF2-40B4-BE49-F238E27FC236}">
                <a16:creationId xmlns:a16="http://schemas.microsoft.com/office/drawing/2014/main" id="{9E3EE620-3B34-4300-A31C-8F17D32DB97E}"/>
              </a:ext>
            </a:extLst>
          </p:cNvPr>
          <p:cNvSpPr txBox="1"/>
          <p:nvPr/>
        </p:nvSpPr>
        <p:spPr>
          <a:xfrm>
            <a:off x="2850161" y="4288384"/>
            <a:ext cx="300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Y</a:t>
            </a:r>
          </a:p>
        </p:txBody>
      </p:sp>
      <p:sp>
        <p:nvSpPr>
          <p:cNvPr id="191" name="TextBox 190">
            <a:extLst>
              <a:ext uri="{FF2B5EF4-FFF2-40B4-BE49-F238E27FC236}">
                <a16:creationId xmlns:a16="http://schemas.microsoft.com/office/drawing/2014/main" id="{95716D69-FDCF-4E23-8A9C-2835C80A7A47}"/>
              </a:ext>
            </a:extLst>
          </p:cNvPr>
          <p:cNvSpPr txBox="1"/>
          <p:nvPr/>
        </p:nvSpPr>
        <p:spPr>
          <a:xfrm>
            <a:off x="7861299" y="3598091"/>
            <a:ext cx="1098613"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400" b="1" i="0" u="none" strike="noStrike" kern="1200" cap="none" spc="0" normalizeH="0" baseline="0" noProof="0">
                <a:ln>
                  <a:noFill/>
                </a:ln>
                <a:solidFill>
                  <a:srgbClr val="3C3C3B"/>
                </a:solidFill>
                <a:effectLst/>
                <a:uLnTx/>
                <a:uFillTx/>
                <a:latin typeface="Lato"/>
                <a:ea typeface="+mn-ea"/>
                <a:cs typeface="+mn-cs"/>
              </a:rPr>
              <a:t>Selecting trade combinations</a:t>
            </a:r>
          </a:p>
        </p:txBody>
      </p:sp>
      <p:sp>
        <p:nvSpPr>
          <p:cNvPr id="192" name="TextBox 191">
            <a:extLst>
              <a:ext uri="{FF2B5EF4-FFF2-40B4-BE49-F238E27FC236}">
                <a16:creationId xmlns:a16="http://schemas.microsoft.com/office/drawing/2014/main" id="{E0165F66-A0A1-4288-A8D8-188C55067A30}"/>
              </a:ext>
            </a:extLst>
          </p:cNvPr>
          <p:cNvSpPr txBox="1"/>
          <p:nvPr/>
        </p:nvSpPr>
        <p:spPr>
          <a:xfrm>
            <a:off x="7891351" y="4828115"/>
            <a:ext cx="1038508"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400" b="1" i="0" u="none" strike="noStrike" kern="1200" cap="none" spc="0" normalizeH="0" baseline="0" noProof="0">
                <a:ln>
                  <a:noFill/>
                </a:ln>
                <a:solidFill>
                  <a:srgbClr val="3C3C3B"/>
                </a:solidFill>
                <a:effectLst/>
                <a:uLnTx/>
                <a:uFillTx/>
                <a:latin typeface="Lato"/>
                <a:ea typeface="+mn-ea"/>
                <a:cs typeface="+mn-cs"/>
              </a:rPr>
              <a:t>Updating battery parameters</a:t>
            </a:r>
          </a:p>
        </p:txBody>
      </p:sp>
      <p:sp>
        <p:nvSpPr>
          <p:cNvPr id="61" name="Flowchart: Decision 60">
            <a:extLst>
              <a:ext uri="{FF2B5EF4-FFF2-40B4-BE49-F238E27FC236}">
                <a16:creationId xmlns:a16="http://schemas.microsoft.com/office/drawing/2014/main" id="{79B24925-FBDF-49CD-BE76-FB6B4D1A10C7}"/>
              </a:ext>
            </a:extLst>
          </p:cNvPr>
          <p:cNvSpPr/>
          <p:nvPr/>
        </p:nvSpPr>
        <p:spPr>
          <a:xfrm>
            <a:off x="4707974" y="2148607"/>
            <a:ext cx="1396918" cy="585667"/>
          </a:xfrm>
          <a:prstGeom prst="flowChartDecision">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800" b="0" i="0" u="none" strike="noStrike" kern="1200" cap="none" spc="0" normalizeH="0" baseline="0" noProof="0">
                <a:ln>
                  <a:noFill/>
                </a:ln>
                <a:solidFill>
                  <a:srgbClr val="3C3C3B"/>
                </a:solidFill>
                <a:effectLst/>
                <a:uLnTx/>
                <a:uFillTx/>
                <a:latin typeface="Lato"/>
                <a:ea typeface="+mn-ea"/>
                <a:cs typeface="+mn-cs"/>
              </a:rPr>
              <a:t>ID price &lt; buy threshold?</a:t>
            </a:r>
          </a:p>
        </p:txBody>
      </p:sp>
      <p:sp>
        <p:nvSpPr>
          <p:cNvPr id="62" name="Flowchart: Decision 61">
            <a:extLst>
              <a:ext uri="{FF2B5EF4-FFF2-40B4-BE49-F238E27FC236}">
                <a16:creationId xmlns:a16="http://schemas.microsoft.com/office/drawing/2014/main" id="{6EC8C69F-9088-4D9B-A1A1-502AF27F67C3}"/>
              </a:ext>
            </a:extLst>
          </p:cNvPr>
          <p:cNvSpPr/>
          <p:nvPr/>
        </p:nvSpPr>
        <p:spPr>
          <a:xfrm>
            <a:off x="5592335" y="2494380"/>
            <a:ext cx="1396918" cy="585667"/>
          </a:xfrm>
          <a:prstGeom prst="flowChartDecision">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750" b="0" i="0" u="none" strike="noStrike" kern="1200" cap="none" spc="0" normalizeH="0" baseline="0" noProof="0">
                <a:ln>
                  <a:noFill/>
                </a:ln>
                <a:solidFill>
                  <a:srgbClr val="3C3C3B"/>
                </a:solidFill>
                <a:effectLst/>
                <a:uLnTx/>
                <a:uFillTx/>
                <a:latin typeface="Lato"/>
                <a:ea typeface="+mn-ea"/>
                <a:cs typeface="+mn-cs"/>
              </a:rPr>
              <a:t>aFRR energy down price &lt; buy threshold ?</a:t>
            </a:r>
          </a:p>
        </p:txBody>
      </p:sp>
      <p:sp>
        <p:nvSpPr>
          <p:cNvPr id="2" name="Rectangle 1">
            <a:extLst>
              <a:ext uri="{FF2B5EF4-FFF2-40B4-BE49-F238E27FC236}">
                <a16:creationId xmlns:a16="http://schemas.microsoft.com/office/drawing/2014/main" id="{2299FD52-3554-4426-8524-9BBB5ED80EEF}"/>
              </a:ext>
            </a:extLst>
          </p:cNvPr>
          <p:cNvSpPr/>
          <p:nvPr/>
        </p:nvSpPr>
        <p:spPr>
          <a:xfrm>
            <a:off x="1202816" y="2090988"/>
            <a:ext cx="6641845" cy="1043827"/>
          </a:xfrm>
          <a:prstGeom prst="rect">
            <a:avLst/>
          </a:prstGeom>
          <a:noFill/>
          <a:ln w="12700">
            <a:solidFill>
              <a:srgbClr val="FFE680"/>
            </a:solidFill>
            <a:prstDash val="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cxnSp>
        <p:nvCxnSpPr>
          <p:cNvPr id="66" name="Straight Arrow Connector 65">
            <a:extLst>
              <a:ext uri="{FF2B5EF4-FFF2-40B4-BE49-F238E27FC236}">
                <a16:creationId xmlns:a16="http://schemas.microsoft.com/office/drawing/2014/main" id="{1E6BBB30-ED63-419A-A10E-93E421354503}"/>
              </a:ext>
            </a:extLst>
          </p:cNvPr>
          <p:cNvCxnSpPr>
            <a:cxnSpLocks/>
          </p:cNvCxnSpPr>
          <p:nvPr/>
        </p:nvCxnSpPr>
        <p:spPr>
          <a:xfrm>
            <a:off x="7164126" y="2724205"/>
            <a:ext cx="0" cy="8220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47C0586-6EFD-43F4-8E44-0A75C785DC04}"/>
              </a:ext>
            </a:extLst>
          </p:cNvPr>
          <p:cNvCxnSpPr>
            <a:cxnSpLocks/>
          </p:cNvCxnSpPr>
          <p:nvPr/>
        </p:nvCxnSpPr>
        <p:spPr>
          <a:xfrm>
            <a:off x="4496830" y="3261319"/>
            <a:ext cx="266729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8D4F69A-F2F2-48E0-B053-CCEA6FA84612}"/>
              </a:ext>
            </a:extLst>
          </p:cNvPr>
          <p:cNvCxnSpPr>
            <a:cxnSpLocks/>
          </p:cNvCxnSpPr>
          <p:nvPr/>
        </p:nvCxnSpPr>
        <p:spPr>
          <a:xfrm>
            <a:off x="4498949" y="3060846"/>
            <a:ext cx="0" cy="1972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9FA3FD0-E47B-4986-A0FE-EF96781F184E}"/>
              </a:ext>
            </a:extLst>
          </p:cNvPr>
          <p:cNvCxnSpPr>
            <a:cxnSpLocks/>
          </p:cNvCxnSpPr>
          <p:nvPr/>
        </p:nvCxnSpPr>
        <p:spPr>
          <a:xfrm>
            <a:off x="5429109" y="2724205"/>
            <a:ext cx="0" cy="5338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FA4E72D-D641-4F07-83AE-44A52E853D2B}"/>
              </a:ext>
            </a:extLst>
          </p:cNvPr>
          <p:cNvSpPr txBox="1"/>
          <p:nvPr/>
        </p:nvSpPr>
        <p:spPr>
          <a:xfrm>
            <a:off x="4347802" y="3057799"/>
            <a:ext cx="29805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Y</a:t>
            </a:r>
          </a:p>
        </p:txBody>
      </p:sp>
      <p:sp>
        <p:nvSpPr>
          <p:cNvPr id="98" name="TextBox 97">
            <a:extLst>
              <a:ext uri="{FF2B5EF4-FFF2-40B4-BE49-F238E27FC236}">
                <a16:creationId xmlns:a16="http://schemas.microsoft.com/office/drawing/2014/main" id="{7407B98A-ED72-45DA-9362-91FBDC3B56C4}"/>
              </a:ext>
            </a:extLst>
          </p:cNvPr>
          <p:cNvSpPr txBox="1"/>
          <p:nvPr/>
        </p:nvSpPr>
        <p:spPr>
          <a:xfrm>
            <a:off x="7024524" y="2901463"/>
            <a:ext cx="29856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Y</a:t>
            </a:r>
          </a:p>
        </p:txBody>
      </p:sp>
      <p:sp>
        <p:nvSpPr>
          <p:cNvPr id="102" name="TextBox 101">
            <a:extLst>
              <a:ext uri="{FF2B5EF4-FFF2-40B4-BE49-F238E27FC236}">
                <a16:creationId xmlns:a16="http://schemas.microsoft.com/office/drawing/2014/main" id="{24DBAD5A-734B-46C2-922D-1F1297E22C16}"/>
              </a:ext>
            </a:extLst>
          </p:cNvPr>
          <p:cNvSpPr txBox="1"/>
          <p:nvPr/>
        </p:nvSpPr>
        <p:spPr>
          <a:xfrm>
            <a:off x="5294494" y="2901463"/>
            <a:ext cx="29805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Y</a:t>
            </a:r>
          </a:p>
        </p:txBody>
      </p:sp>
      <p:cxnSp>
        <p:nvCxnSpPr>
          <p:cNvPr id="105" name="Straight Arrow Connector 104">
            <a:extLst>
              <a:ext uri="{FF2B5EF4-FFF2-40B4-BE49-F238E27FC236}">
                <a16:creationId xmlns:a16="http://schemas.microsoft.com/office/drawing/2014/main" id="{17165898-67A2-481D-A865-1F2700C7A511}"/>
              </a:ext>
            </a:extLst>
          </p:cNvPr>
          <p:cNvCxnSpPr>
            <a:cxnSpLocks/>
          </p:cNvCxnSpPr>
          <p:nvPr/>
        </p:nvCxnSpPr>
        <p:spPr>
          <a:xfrm flipV="1">
            <a:off x="5408668" y="1832207"/>
            <a:ext cx="0" cy="3341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71362437-B5DF-4CDD-A72B-693FB808F94B}"/>
              </a:ext>
            </a:extLst>
          </p:cNvPr>
          <p:cNvSpPr txBox="1"/>
          <p:nvPr/>
        </p:nvSpPr>
        <p:spPr>
          <a:xfrm>
            <a:off x="5249970" y="1909453"/>
            <a:ext cx="1527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N</a:t>
            </a:r>
          </a:p>
        </p:txBody>
      </p:sp>
      <p:cxnSp>
        <p:nvCxnSpPr>
          <p:cNvPr id="109" name="Straight Arrow Connector 108">
            <a:extLst>
              <a:ext uri="{FF2B5EF4-FFF2-40B4-BE49-F238E27FC236}">
                <a16:creationId xmlns:a16="http://schemas.microsoft.com/office/drawing/2014/main" id="{2332C050-C10E-4F41-9C40-96B2E2D079D4}"/>
              </a:ext>
            </a:extLst>
          </p:cNvPr>
          <p:cNvCxnSpPr>
            <a:cxnSpLocks/>
            <a:stCxn id="81" idx="0"/>
          </p:cNvCxnSpPr>
          <p:nvPr/>
        </p:nvCxnSpPr>
        <p:spPr>
          <a:xfrm flipH="1" flipV="1">
            <a:off x="4517348" y="1798114"/>
            <a:ext cx="732" cy="6945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63EFCE42-381E-492D-B9F6-F1A789DD0D7A}"/>
              </a:ext>
            </a:extLst>
          </p:cNvPr>
          <p:cNvSpPr txBox="1"/>
          <p:nvPr/>
        </p:nvSpPr>
        <p:spPr>
          <a:xfrm>
            <a:off x="4340496" y="1912367"/>
            <a:ext cx="1527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N</a:t>
            </a:r>
          </a:p>
        </p:txBody>
      </p:sp>
      <p:cxnSp>
        <p:nvCxnSpPr>
          <p:cNvPr id="111" name="Straight Arrow Connector 110">
            <a:extLst>
              <a:ext uri="{FF2B5EF4-FFF2-40B4-BE49-F238E27FC236}">
                <a16:creationId xmlns:a16="http://schemas.microsoft.com/office/drawing/2014/main" id="{8AC947F2-473D-43D8-8CA6-CE77C0CF779E}"/>
              </a:ext>
            </a:extLst>
          </p:cNvPr>
          <p:cNvCxnSpPr>
            <a:cxnSpLocks/>
            <a:stCxn id="62" idx="0"/>
          </p:cNvCxnSpPr>
          <p:nvPr/>
        </p:nvCxnSpPr>
        <p:spPr>
          <a:xfrm flipV="1">
            <a:off x="6290794" y="1831016"/>
            <a:ext cx="604" cy="663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999F47C9-0AFA-4E01-A1ED-B939F030633C}"/>
              </a:ext>
            </a:extLst>
          </p:cNvPr>
          <p:cNvSpPr txBox="1"/>
          <p:nvPr/>
        </p:nvSpPr>
        <p:spPr>
          <a:xfrm>
            <a:off x="6135589" y="1916790"/>
            <a:ext cx="1527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N</a:t>
            </a:r>
          </a:p>
        </p:txBody>
      </p:sp>
      <p:sp>
        <p:nvSpPr>
          <p:cNvPr id="99" name="Flowchart: Decision 98">
            <a:extLst>
              <a:ext uri="{FF2B5EF4-FFF2-40B4-BE49-F238E27FC236}">
                <a16:creationId xmlns:a16="http://schemas.microsoft.com/office/drawing/2014/main" id="{F748BE19-7EDC-DD8E-0AC3-A924E6157247}"/>
              </a:ext>
            </a:extLst>
          </p:cNvPr>
          <p:cNvSpPr/>
          <p:nvPr/>
        </p:nvSpPr>
        <p:spPr>
          <a:xfrm>
            <a:off x="6449207" y="2146926"/>
            <a:ext cx="1396918" cy="585667"/>
          </a:xfrm>
          <a:prstGeom prst="flowChartDecision">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750" b="0" i="0" u="none" strike="noStrike" kern="1200" cap="none" spc="0" normalizeH="0" baseline="0" noProof="0">
                <a:ln>
                  <a:noFill/>
                </a:ln>
                <a:solidFill>
                  <a:srgbClr val="3C3C3B"/>
                </a:solidFill>
                <a:effectLst/>
                <a:uLnTx/>
                <a:uFillTx/>
                <a:latin typeface="Lato"/>
                <a:ea typeface="+mn-ea"/>
                <a:cs typeface="+mn-cs"/>
              </a:rPr>
              <a:t>aFRR energy up price &gt; sell threshold ?</a:t>
            </a:r>
          </a:p>
        </p:txBody>
      </p:sp>
      <p:cxnSp>
        <p:nvCxnSpPr>
          <p:cNvPr id="100" name="Straight Arrow Connector 99">
            <a:extLst>
              <a:ext uri="{FF2B5EF4-FFF2-40B4-BE49-F238E27FC236}">
                <a16:creationId xmlns:a16="http://schemas.microsoft.com/office/drawing/2014/main" id="{DFA96470-1095-AC6B-346C-AE9F3EA9C651}"/>
              </a:ext>
            </a:extLst>
          </p:cNvPr>
          <p:cNvCxnSpPr>
            <a:cxnSpLocks/>
            <a:stCxn id="99" idx="0"/>
          </p:cNvCxnSpPr>
          <p:nvPr/>
        </p:nvCxnSpPr>
        <p:spPr>
          <a:xfrm flipH="1" flipV="1">
            <a:off x="7145956" y="1807658"/>
            <a:ext cx="1710" cy="33926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D5533A40-DDF7-66C1-6D51-5E41BA6F8405}"/>
              </a:ext>
            </a:extLst>
          </p:cNvPr>
          <p:cNvSpPr txBox="1"/>
          <p:nvPr/>
        </p:nvSpPr>
        <p:spPr>
          <a:xfrm>
            <a:off x="6984761" y="1901131"/>
            <a:ext cx="1527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N</a:t>
            </a:r>
          </a:p>
        </p:txBody>
      </p:sp>
      <p:sp>
        <p:nvSpPr>
          <p:cNvPr id="116" name="TextBox 115">
            <a:extLst>
              <a:ext uri="{FF2B5EF4-FFF2-40B4-BE49-F238E27FC236}">
                <a16:creationId xmlns:a16="http://schemas.microsoft.com/office/drawing/2014/main" id="{AAD4F0EF-4841-76F1-49E7-D172778F7478}"/>
              </a:ext>
            </a:extLst>
          </p:cNvPr>
          <p:cNvSpPr txBox="1"/>
          <p:nvPr/>
        </p:nvSpPr>
        <p:spPr>
          <a:xfrm>
            <a:off x="2157523" y="4288384"/>
            <a:ext cx="1527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N</a:t>
            </a:r>
          </a:p>
        </p:txBody>
      </p:sp>
      <p:cxnSp>
        <p:nvCxnSpPr>
          <p:cNvPr id="117" name="Straight Connector 116">
            <a:extLst>
              <a:ext uri="{FF2B5EF4-FFF2-40B4-BE49-F238E27FC236}">
                <a16:creationId xmlns:a16="http://schemas.microsoft.com/office/drawing/2014/main" id="{9C8AF3F6-DE72-A096-25B7-3643BD491DDD}"/>
              </a:ext>
            </a:extLst>
          </p:cNvPr>
          <p:cNvCxnSpPr>
            <a:cxnSpLocks/>
            <a:stCxn id="62" idx="2"/>
          </p:cNvCxnSpPr>
          <p:nvPr/>
        </p:nvCxnSpPr>
        <p:spPr>
          <a:xfrm>
            <a:off x="6290794" y="3078836"/>
            <a:ext cx="0" cy="1704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2FBA6D8C-D196-A456-4F6E-123E8F2A42EB}"/>
              </a:ext>
            </a:extLst>
          </p:cNvPr>
          <p:cNvSpPr txBox="1"/>
          <p:nvPr/>
        </p:nvSpPr>
        <p:spPr>
          <a:xfrm>
            <a:off x="6147590" y="3057799"/>
            <a:ext cx="29805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Y</a:t>
            </a:r>
          </a:p>
        </p:txBody>
      </p:sp>
      <p:sp>
        <p:nvSpPr>
          <p:cNvPr id="89" name="Rectangle 88">
            <a:extLst>
              <a:ext uri="{FF2B5EF4-FFF2-40B4-BE49-F238E27FC236}">
                <a16:creationId xmlns:a16="http://schemas.microsoft.com/office/drawing/2014/main" id="{1552BF5F-C6A8-656E-1B16-D954BC73D39E}"/>
              </a:ext>
            </a:extLst>
          </p:cNvPr>
          <p:cNvSpPr/>
          <p:nvPr/>
        </p:nvSpPr>
        <p:spPr>
          <a:xfrm>
            <a:off x="1201352" y="2297387"/>
            <a:ext cx="2242473" cy="568755"/>
          </a:xfrm>
          <a:prstGeom prst="rect">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Optimisation of Day-Ahead and FCR dispatch to maximise profits</a:t>
            </a:r>
            <a:r>
              <a:rPr kumimoji="0" lang="en-GB" sz="1050" b="0" i="0" u="none" strike="noStrike" kern="1200" cap="none" spc="0" normalizeH="0" baseline="30000" noProof="0">
                <a:ln>
                  <a:noFill/>
                </a:ln>
                <a:solidFill>
                  <a:srgbClr val="3C3C3B"/>
                </a:solidFill>
                <a:effectLst/>
                <a:uLnTx/>
                <a:uFillTx/>
                <a:latin typeface="Lato"/>
                <a:ea typeface="+mn-ea"/>
                <a:cs typeface="+mn-cs"/>
              </a:rPr>
              <a:t>1 </a:t>
            </a:r>
          </a:p>
        </p:txBody>
      </p:sp>
      <p:cxnSp>
        <p:nvCxnSpPr>
          <p:cNvPr id="115" name="Straight Arrow Connector 114">
            <a:extLst>
              <a:ext uri="{FF2B5EF4-FFF2-40B4-BE49-F238E27FC236}">
                <a16:creationId xmlns:a16="http://schemas.microsoft.com/office/drawing/2014/main" id="{6DAB8A72-5731-C3E9-F0C2-E8C79D3DE829}"/>
              </a:ext>
            </a:extLst>
          </p:cNvPr>
          <p:cNvCxnSpPr>
            <a:cxnSpLocks/>
            <a:stCxn id="89" idx="3"/>
          </p:cNvCxnSpPr>
          <p:nvPr/>
        </p:nvCxnSpPr>
        <p:spPr>
          <a:xfrm flipV="1">
            <a:off x="3443825" y="2581764"/>
            <a:ext cx="32101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 Placeholder 1">
            <a:extLst>
              <a:ext uri="{FF2B5EF4-FFF2-40B4-BE49-F238E27FC236}">
                <a16:creationId xmlns:a16="http://schemas.microsoft.com/office/drawing/2014/main" id="{A1E0CEB8-4D0E-7E2A-A3FB-519D673E110B}"/>
              </a:ext>
            </a:extLst>
          </p:cNvPr>
          <p:cNvSpPr txBox="1">
            <a:spLocks/>
          </p:cNvSpPr>
          <p:nvPr/>
        </p:nvSpPr>
        <p:spPr>
          <a:xfrm>
            <a:off x="381599" y="79401"/>
            <a:ext cx="1468672"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roject economics</a:t>
            </a:r>
          </a:p>
        </p:txBody>
      </p:sp>
      <p:sp>
        <p:nvSpPr>
          <p:cNvPr id="10" name="Oval 9">
            <a:extLst>
              <a:ext uri="{FF2B5EF4-FFF2-40B4-BE49-F238E27FC236}">
                <a16:creationId xmlns:a16="http://schemas.microsoft.com/office/drawing/2014/main" id="{2CA50BBA-8F13-67F4-FD52-193510939414}"/>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Tree>
    <p:extLst>
      <p:ext uri="{BB962C8B-B14F-4D97-AF65-F5344CB8AC3E}">
        <p14:creationId xmlns:p14="http://schemas.microsoft.com/office/powerpoint/2010/main" val="253150191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504E19-9954-6CF0-1F08-BD295F24B056}"/>
              </a:ext>
            </a:extLst>
          </p:cNvPr>
          <p:cNvGraphicFramePr>
            <a:graphicFrameLocks noChangeAspect="1"/>
          </p:cNvGraphicFramePr>
          <p:nvPr>
            <p:custDataLst>
              <p:tags r:id="rId1"/>
            </p:custDataLst>
            <p:extLst>
              <p:ext uri="{D42A27DB-BD31-4B8C-83A1-F6EECF244321}">
                <p14:modId xmlns:p14="http://schemas.microsoft.com/office/powerpoint/2010/main" val="5421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95" imgH="394" progId="TCLayout.ActiveDocument.1">
                  <p:embed/>
                </p:oleObj>
              </mc:Choice>
              <mc:Fallback>
                <p:oleObj name="think-cell Slide" r:id="rId59" imgW="395" imgH="394" progId="TCLayout.ActiveDocument.1">
                  <p:embed/>
                  <p:pic>
                    <p:nvPicPr>
                      <p:cNvPr id="9" name="Object 8" hidden="1">
                        <a:extLst>
                          <a:ext uri="{FF2B5EF4-FFF2-40B4-BE49-F238E27FC236}">
                            <a16:creationId xmlns:a16="http://schemas.microsoft.com/office/drawing/2014/main" id="{6D504E19-9954-6CF0-1F08-BD295F24B056}"/>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FE32614-0EC8-78B2-A22C-33605FFA5310}"/>
              </a:ext>
            </a:extLst>
          </p:cNvPr>
          <p:cNvSpPr>
            <a:spLocks noGrp="1"/>
          </p:cNvSpPr>
          <p:nvPr>
            <p:ph type="title"/>
          </p:nvPr>
        </p:nvSpPr>
        <p:spPr>
          <a:xfrm>
            <a:off x="381599" y="411856"/>
            <a:ext cx="8733826" cy="609398"/>
          </a:xfrm>
        </p:spPr>
        <p:txBody>
          <a:bodyPr vert="horz"/>
          <a:lstStyle/>
          <a:p>
            <a:r>
              <a:rPr lang="en-GB"/>
              <a:t>High capacity-based ancillary market revenues drives 1h batteries business cases …</a:t>
            </a:r>
          </a:p>
        </p:txBody>
      </p:sp>
      <p:sp>
        <p:nvSpPr>
          <p:cNvPr id="5" name="Text Placeholder 4">
            <a:extLst>
              <a:ext uri="{FF2B5EF4-FFF2-40B4-BE49-F238E27FC236}">
                <a16:creationId xmlns:a16="http://schemas.microsoft.com/office/drawing/2014/main" id="{5AA49280-3812-1061-EF8B-2DB41235E6C6}"/>
              </a:ext>
            </a:extLst>
          </p:cNvPr>
          <p:cNvSpPr>
            <a:spLocks noGrp="1"/>
          </p:cNvSpPr>
          <p:nvPr>
            <p:ph type="body" sz="quarter" idx="32"/>
          </p:nvPr>
        </p:nvSpPr>
        <p:spPr>
          <a:xfrm>
            <a:off x="381600" y="6474841"/>
            <a:ext cx="11428800" cy="110800"/>
          </a:xfrm>
        </p:spPr>
        <p:txBody>
          <a:bodyPr/>
          <a:lstStyle/>
          <a:p>
            <a:r>
              <a:rPr lang="en-GB"/>
              <a:t>1) Standard case represents standalone business cases for assets optimising among energy arbitrage, capacity-based ancillary services, and capacity markets cashflow. IRRs are based on Aurora’s internal cost assumptions.  Ranges are inclusive of lower bound.</a:t>
            </a:r>
          </a:p>
        </p:txBody>
      </p:sp>
      <p:sp>
        <p:nvSpPr>
          <p:cNvPr id="3" name="Text Placeholder 2">
            <a:extLst>
              <a:ext uri="{FF2B5EF4-FFF2-40B4-BE49-F238E27FC236}">
                <a16:creationId xmlns:a16="http://schemas.microsoft.com/office/drawing/2014/main" id="{501FFE25-0B3C-4BDA-7EBC-8CCC3EBAC96D}"/>
              </a:ext>
            </a:extLst>
          </p:cNvPr>
          <p:cNvSpPr>
            <a:spLocks noGrp="1"/>
          </p:cNvSpPr>
          <p:nvPr>
            <p:ph type="body" sz="quarter" idx="22"/>
          </p:nvPr>
        </p:nvSpPr>
        <p:spPr>
          <a:xfrm>
            <a:off x="381001" y="6715169"/>
            <a:ext cx="1452321" cy="110800"/>
          </a:xfrm>
        </p:spPr>
        <p:txBody>
          <a:bodyPr/>
          <a:lstStyle/>
          <a:p>
            <a:r>
              <a:rPr lang="en-GB"/>
              <a:t>Source: Aurora Energy Research</a:t>
            </a:r>
          </a:p>
        </p:txBody>
      </p:sp>
      <p:graphicFrame>
        <p:nvGraphicFramePr>
          <p:cNvPr id="22" name="Tabelle 7">
            <a:extLst>
              <a:ext uri="{FF2B5EF4-FFF2-40B4-BE49-F238E27FC236}">
                <a16:creationId xmlns:a16="http://schemas.microsoft.com/office/drawing/2014/main" id="{DD112C02-A006-F927-1E91-3B5DB30AF401}"/>
              </a:ext>
            </a:extLst>
          </p:cNvPr>
          <p:cNvGraphicFramePr>
            <a:graphicFrameLocks noGrp="1"/>
          </p:cNvGraphicFramePr>
          <p:nvPr>
            <p:custDataLst>
              <p:tags r:id="rId2"/>
            </p:custDataLst>
            <p:extLst>
              <p:ext uri="{D42A27DB-BD31-4B8C-83A1-F6EECF244321}">
                <p14:modId xmlns:p14="http://schemas.microsoft.com/office/powerpoint/2010/main" val="1057332863"/>
              </p:ext>
            </p:extLst>
          </p:nvPr>
        </p:nvGraphicFramePr>
        <p:xfrm>
          <a:off x="371869" y="1634272"/>
          <a:ext cx="11443698" cy="4743840"/>
        </p:xfrm>
        <a:graphic>
          <a:graphicData uri="http://schemas.openxmlformats.org/drawingml/2006/table">
            <a:tbl>
              <a:tblPr firstRow="1" bandRow="1">
                <a:effectLst/>
                <a:tableStyleId>{5C22544A-7EE6-4342-B048-85BDC9FD1C3A}</a:tableStyleId>
              </a:tblPr>
              <a:tblGrid>
                <a:gridCol w="1327811">
                  <a:extLst>
                    <a:ext uri="{9D8B030D-6E8A-4147-A177-3AD203B41FA5}">
                      <a16:colId xmlns:a16="http://schemas.microsoft.com/office/drawing/2014/main" val="20000"/>
                    </a:ext>
                  </a:extLst>
                </a:gridCol>
                <a:gridCol w="35887">
                  <a:extLst>
                    <a:ext uri="{9D8B030D-6E8A-4147-A177-3AD203B41FA5}">
                      <a16:colId xmlns:a16="http://schemas.microsoft.com/office/drawing/2014/main" val="2133620686"/>
                    </a:ext>
                  </a:extLst>
                </a:gridCol>
                <a:gridCol w="2340000">
                  <a:extLst>
                    <a:ext uri="{9D8B030D-6E8A-4147-A177-3AD203B41FA5}">
                      <a16:colId xmlns:a16="http://schemas.microsoft.com/office/drawing/2014/main" val="2503764876"/>
                    </a:ext>
                  </a:extLst>
                </a:gridCol>
                <a:gridCol w="7740000">
                  <a:extLst>
                    <a:ext uri="{9D8B030D-6E8A-4147-A177-3AD203B41FA5}">
                      <a16:colId xmlns:a16="http://schemas.microsoft.com/office/drawing/2014/main" val="3499584609"/>
                    </a:ext>
                  </a:extLst>
                </a:gridCol>
              </a:tblGrid>
              <a:tr h="216000">
                <a:tc>
                  <a:txBody>
                    <a:bodyPr/>
                    <a:lstStyle/>
                    <a:p>
                      <a:pPr algn="ctr" rtl="0"/>
                      <a:r>
                        <a:rPr lang="en-GB" sz="10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gion</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0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000" b="1">
                          <a:solidFill>
                            <a:schemeClr val="tx1"/>
                          </a:solidFill>
                          <a:sym typeface="+mj-lt"/>
                        </a:rPr>
                        <a:t>Project IRR</a:t>
                      </a:r>
                      <a:r>
                        <a:rPr lang="en-GB" sz="1000" b="1" baseline="30000">
                          <a:solidFill>
                            <a:schemeClr val="tx1"/>
                          </a:solidFill>
                          <a:sym typeface="+mj-lt"/>
                        </a:rPr>
                        <a:t>2</a:t>
                      </a:r>
                      <a:endParaRPr lang="en-GB" sz="1000" b="0" baseline="30000">
                        <a:solidFill>
                          <a:schemeClr val="accent5"/>
                        </a:solidFill>
                        <a:sym typeface="+mj-lt"/>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000" b="1" i="0" kern="1200">
                          <a:solidFill>
                            <a:schemeClr val="tx1"/>
                          </a:solidFill>
                          <a:latin typeface="Lato" panose="020F0502020204030203" pitchFamily="34" charset="0"/>
                          <a:ea typeface="Lato" panose="020F0502020204030203" pitchFamily="34" charset="0"/>
                          <a:cs typeface="Lato" panose="020F0502020204030203" pitchFamily="34" charset="0"/>
                        </a:rPr>
                        <a:t>Comments</a:t>
                      </a: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900000">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182880" indent="-182880" algn="l" rtl="0" fontAlgn="b">
                        <a:spcAft>
                          <a:spcPts val="300"/>
                        </a:spcAft>
                        <a:buFont typeface="Wingdings" panose="05000000000000000000" pitchFamily="2" charset="2"/>
                        <a:buChar char="§"/>
                      </a:pPr>
                      <a:endParaRPr lang="en-GB" sz="1000"/>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0000">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indent="-182880" algn="l" rtl="0" fontAlgn="b">
                        <a:spcAft>
                          <a:spcPts val="300"/>
                        </a:spcAft>
                        <a:buFont typeface="Wingdings" panose="05000000000000000000" pitchFamily="2" charset="2"/>
                        <a:buChar char="§"/>
                      </a:pPr>
                      <a:r>
                        <a:rPr lang="en-GB" sz="1000">
                          <a:highlight>
                            <a:srgbClr val="FFFF00"/>
                          </a:highlight>
                        </a:rPr>
                        <a:t>[Sample comment] </a:t>
                      </a:r>
                      <a:r>
                        <a:rPr lang="en-GB" sz="1000" b="0" i="0" u="none" strike="noStrike">
                          <a:solidFill>
                            <a:schemeClr val="tx1"/>
                          </a:solidFill>
                          <a:effectLst/>
                          <a:latin typeface="+mn-lt"/>
                        </a:rPr>
                        <a:t>Despite saturated FCR-D prices and low energy arbitrage revenues, high FFR and FCR-N prices make Finland slightly attractive for 1h batteries</a:t>
                      </a:r>
                    </a:p>
                    <a:p>
                      <a:pPr marL="182880" indent="-182880" algn="l" rtl="0" fontAlgn="b">
                        <a:spcAft>
                          <a:spcPts val="300"/>
                        </a:spcAft>
                        <a:buFont typeface="Wingdings" panose="05000000000000000000" pitchFamily="2" charset="2"/>
                        <a:buChar char="§"/>
                      </a:pPr>
                      <a:r>
                        <a:rPr lang="en-GB" sz="1000">
                          <a:highlight>
                            <a:srgbClr val="FFFF00"/>
                          </a:highlight>
                        </a:rPr>
                        <a:t>[Sample comment] </a:t>
                      </a:r>
                      <a:r>
                        <a:rPr lang="en-GB" sz="1000" b="0" i="0" u="none" strike="noStrike">
                          <a:solidFill>
                            <a:schemeClr val="tx1"/>
                          </a:solidFill>
                          <a:effectLst/>
                          <a:latin typeface="+mn-lt"/>
                        </a:rPr>
                        <a:t>Due to high FFR and FCR-N prices, Finland presents attractive investment opportunities for batteries, albeit at lower IRRs than 1 hr batteries due to higher CAPEX</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400881"/>
                  </a:ext>
                </a:extLst>
              </a:tr>
              <a:tr h="900000">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b="0" kern="1200" noProof="0">
                        <a:solidFill>
                          <a:schemeClr val="dk1"/>
                        </a:solidFill>
                        <a:latin typeface="+mn-lt"/>
                        <a:ea typeface="+mn-ea"/>
                        <a:cs typeface="+mn-cs"/>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kern="1200">
                        <a:solidFill>
                          <a:sysClr val="windowText" lastClr="000000"/>
                        </a:solidFill>
                        <a:latin typeface="+mn-lt"/>
                        <a:ea typeface="+mn-ea"/>
                        <a:cs typeface="+mn-cs"/>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indent="-182880" algn="l" rtl="0" fontAlgn="b">
                        <a:spcAft>
                          <a:spcPts val="300"/>
                        </a:spcAft>
                        <a:buFont typeface="Wingdings" panose="05000000000000000000" pitchFamily="2" charset="2"/>
                        <a:buChar char="§"/>
                      </a:pPr>
                      <a:r>
                        <a:rPr lang="en-GB" sz="1000">
                          <a:highlight>
                            <a:srgbClr val="FFFF00"/>
                          </a:highlight>
                        </a:rPr>
                        <a:t>[Sample comment] </a:t>
                      </a:r>
                      <a:r>
                        <a:rPr lang="en-GB" sz="1000"/>
                        <a:t>Due to high FFR and FCR-D prices, Sweden presents attractive investment opportunities for batteries</a:t>
                      </a:r>
                    </a:p>
                    <a:p>
                      <a:pPr marL="182880" indent="-182880" algn="l" rtl="0" fontAlgn="b">
                        <a:spcAft>
                          <a:spcPts val="300"/>
                        </a:spcAft>
                        <a:buFont typeface="Wingdings" panose="05000000000000000000" pitchFamily="2" charset="2"/>
                        <a:buChar char="§"/>
                      </a:pPr>
                      <a:endParaRPr lang="en-GB" sz="1000"/>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880521"/>
                  </a:ext>
                </a:extLst>
              </a:tr>
              <a:tr h="900000">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kern="1200">
                        <a:solidFill>
                          <a:sysClr val="windowText" lastClr="000000"/>
                        </a:solidFill>
                        <a:latin typeface="+mn-lt"/>
                        <a:ea typeface="+mn-ea"/>
                        <a:cs typeface="+mn-cs"/>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182880" algn="l" defTabSz="685783" rtl="0" eaLnBrk="1" fontAlgn="b" latinLnBrk="0" hangingPunct="1">
                        <a:lnSpc>
                          <a:spcPct val="100000"/>
                        </a:lnSpc>
                        <a:spcBef>
                          <a:spcPts val="0"/>
                        </a:spcBef>
                        <a:spcAft>
                          <a:spcPts val="300"/>
                        </a:spcAft>
                        <a:buClrTx/>
                        <a:buSzTx/>
                        <a:buFont typeface="Wingdings" panose="05000000000000000000" pitchFamily="2" charset="2"/>
                        <a:buChar char="§"/>
                        <a:tabLst/>
                        <a:defRPr/>
                      </a:pPr>
                      <a:endParaRPr lang="en-GB" sz="1000" b="0" i="0" u="none" strike="noStrike">
                        <a:solidFill>
                          <a:schemeClr val="tx1"/>
                        </a:solidFill>
                        <a:effectLst/>
                        <a:latin typeface="+mn-lt"/>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185541"/>
                  </a:ext>
                </a:extLst>
              </a:tr>
              <a:tr h="900000">
                <a:tc>
                  <a:txBody>
                    <a:bodyPr/>
                    <a:lstStyle/>
                    <a:p>
                      <a:pPr marL="0" algn="l" defTabSz="685783" rtl="0" eaLnBrk="1" fontAlgn="t" latinLnBrk="0" hangingPunct="1">
                        <a:spcAft>
                          <a:spcPts val="300"/>
                        </a:spcAft>
                      </a:pPr>
                      <a:endParaRPr lang="en-GB" sz="1000" b="1" i="0" u="none" strike="noStrike" kern="12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indent="-182880" algn="l" rtl="0" fontAlgn="b">
                        <a:spcAft>
                          <a:spcPts val="300"/>
                        </a:spcAft>
                        <a:buFont typeface="Wingdings" panose="05000000000000000000" pitchFamily="2" charset="2"/>
                        <a:buChar char="§"/>
                      </a:pPr>
                      <a:r>
                        <a:rPr lang="en-GB" sz="1000" b="0" i="0" u="none" strike="noStrike">
                          <a:solidFill>
                            <a:schemeClr val="tx1"/>
                          </a:solidFill>
                          <a:effectLst/>
                          <a:latin typeface="+mn-lt"/>
                        </a:rPr>
                        <a:t>Portugal</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353843"/>
                  </a:ext>
                </a:extLst>
              </a:tr>
            </a:tbl>
          </a:graphicData>
        </a:graphic>
      </p:graphicFrame>
      <p:sp>
        <p:nvSpPr>
          <p:cNvPr id="7" name="Text Placeholder 6"/>
          <p:cNvSpPr>
            <a:spLocks noGrp="1"/>
          </p:cNvSpPr>
          <p:nvPr>
            <p:ph type="body" sz="quarter" idx="31"/>
          </p:nvPr>
        </p:nvSpPr>
        <p:spPr>
          <a:xfrm>
            <a:off x="381599" y="79401"/>
            <a:ext cx="1468672" cy="184666"/>
          </a:xfrm>
        </p:spPr>
        <p:txBody>
          <a:bodyPr/>
          <a:lstStyle/>
          <a:p>
            <a:r>
              <a:rPr lang="en-GB"/>
              <a:t>	Project economics</a:t>
            </a:r>
          </a:p>
        </p:txBody>
      </p:sp>
      <p:sp>
        <p:nvSpPr>
          <p:cNvPr id="34" name="Oval 3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408" name="Text Placeholder 481">
            <a:extLst>
              <a:ext uri="{FF2B5EF4-FFF2-40B4-BE49-F238E27FC236}">
                <a16:creationId xmlns:a16="http://schemas.microsoft.com/office/drawing/2014/main" id="{2A5BC2A5-83B1-AB0D-0ED6-3FA2089FE907}"/>
              </a:ext>
            </a:extLst>
          </p:cNvPr>
          <p:cNvSpPr txBox="1">
            <a:spLocks/>
          </p:cNvSpPr>
          <p:nvPr/>
        </p:nvSpPr>
        <p:spPr>
          <a:xfrm>
            <a:off x="390525" y="1279526"/>
            <a:ext cx="5452010" cy="369332"/>
          </a:xfrm>
          <a:prstGeom prst="rect">
            <a:avLst/>
          </a:prstGeom>
        </p:spPr>
        <p:txBody>
          <a:bodyPr wrap="square" lIns="0" tIns="0" rIns="0" bIns="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600"/>
              </a:spcBef>
            </a:pPr>
            <a:r>
              <a:rPr lang="en-GB" sz="1200" b="1">
                <a:solidFill>
                  <a:schemeClr val="tx1"/>
                </a:solidFill>
                <a:sym typeface="+mj-lt"/>
              </a:rPr>
              <a:t>Project IRR ranges for standard projects (2027 as entry year – unlevered</a:t>
            </a:r>
            <a:r>
              <a:rPr lang="en-GB" sz="1200" b="1">
                <a:sym typeface="+mj-lt"/>
              </a:rPr>
              <a:t>)</a:t>
            </a:r>
            <a:r>
              <a:rPr lang="en-GB" sz="1200" b="1" baseline="30000">
                <a:sym typeface="+mj-lt"/>
              </a:rPr>
              <a:t>1</a:t>
            </a:r>
            <a:br>
              <a:rPr lang="en-GB" sz="1200" b="1">
                <a:solidFill>
                  <a:srgbClr val="000000"/>
                </a:solidFill>
                <a:sym typeface="+mj-lt"/>
              </a:rPr>
            </a:br>
            <a:r>
              <a:rPr lang="en-GB" sz="1200" b="0">
                <a:solidFill>
                  <a:schemeClr val="accent5"/>
                </a:solidFill>
              </a:rPr>
              <a:t>%, </a:t>
            </a:r>
            <a:r>
              <a:rPr lang="en-GB" sz="1200" b="0">
                <a:solidFill>
                  <a:schemeClr val="accent5"/>
                </a:solidFill>
                <a:sym typeface="+mj-lt"/>
              </a:rPr>
              <a:t>pre-tax, Central scenario</a:t>
            </a:r>
          </a:p>
        </p:txBody>
      </p:sp>
      <p:sp>
        <p:nvSpPr>
          <p:cNvPr id="29" name="Text Placeholder 16">
            <a:extLst>
              <a:ext uri="{FF2B5EF4-FFF2-40B4-BE49-F238E27FC236}">
                <a16:creationId xmlns:a16="http://schemas.microsoft.com/office/drawing/2014/main" id="{6EA4949A-257C-64E3-F4CE-37B329B4AE48}"/>
              </a:ext>
            </a:extLst>
          </p:cNvPr>
          <p:cNvSpPr txBox="1">
            <a:spLocks/>
          </p:cNvSpPr>
          <p:nvPr/>
        </p:nvSpPr>
        <p:spPr>
          <a:xfrm>
            <a:off x="4910930" y="3019063"/>
            <a:ext cx="6445327" cy="2769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00"/>
              <a:t>This is a redacted sample of the European Battery Market Attractiveness Report. If you are interested in the full report, contact Alex Hutcheson (</a:t>
            </a:r>
            <a:r>
              <a:rPr lang="en-GB" sz="1000" u="sng"/>
              <a:t>alex.hutcheson@auroraer.com)</a:t>
            </a:r>
            <a:endParaRPr lang="en-GB" sz="1000"/>
          </a:p>
        </p:txBody>
      </p:sp>
      <p:graphicFrame>
        <p:nvGraphicFramePr>
          <p:cNvPr id="43" name="Chart 42">
            <a:extLst>
              <a:ext uri="{FF2B5EF4-FFF2-40B4-BE49-F238E27FC236}">
                <a16:creationId xmlns:a16="http://schemas.microsoft.com/office/drawing/2014/main" id="{E2D900E4-1583-208D-E6AF-B1AB57A653B6}"/>
              </a:ext>
            </a:extLst>
          </p:cNvPr>
          <p:cNvGraphicFramePr/>
          <p:nvPr>
            <p:custDataLst>
              <p:tags r:id="rId3"/>
            </p:custDataLst>
            <p:extLst>
              <p:ext uri="{D42A27DB-BD31-4B8C-83A1-F6EECF244321}">
                <p14:modId xmlns:p14="http://schemas.microsoft.com/office/powerpoint/2010/main" val="3275767020"/>
              </p:ext>
            </p:extLst>
          </p:nvPr>
        </p:nvGraphicFramePr>
        <p:xfrm>
          <a:off x="2073275" y="1992313"/>
          <a:ext cx="1698625" cy="725487"/>
        </p:xfrm>
        <a:graphic>
          <a:graphicData uri="http://schemas.openxmlformats.org/drawingml/2006/chart">
            <c:chart xmlns:c="http://schemas.openxmlformats.org/drawingml/2006/chart" xmlns:r="http://schemas.openxmlformats.org/officeDocument/2006/relationships" r:id="rId61"/>
          </a:graphicData>
        </a:graphic>
      </p:graphicFrame>
      <p:sp>
        <p:nvSpPr>
          <p:cNvPr id="12" name="Text Placeholder 19">
            <a:extLst>
              <a:ext uri="{FF2B5EF4-FFF2-40B4-BE49-F238E27FC236}">
                <a16:creationId xmlns:a16="http://schemas.microsoft.com/office/drawing/2014/main" id="{137C4E51-BD90-BEA6-3551-595A07B67D52}"/>
              </a:ext>
            </a:extLst>
          </p:cNvPr>
          <p:cNvSpPr>
            <a:spLocks noGrp="1"/>
          </p:cNvSpPr>
          <p:nvPr>
            <p:custDataLst>
              <p:tags r:id="rId4"/>
            </p:custDataLst>
          </p:nvPr>
        </p:nvSpPr>
        <p:spPr bwMode="auto">
          <a:xfrm>
            <a:off x="1881188" y="20780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5D2E67D8-7B32-48DF-8465-1CEF9241A845}"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14" name="Text Placeholder 19">
            <a:extLst>
              <a:ext uri="{FF2B5EF4-FFF2-40B4-BE49-F238E27FC236}">
                <a16:creationId xmlns:a16="http://schemas.microsoft.com/office/drawing/2014/main" id="{E0FBF772-8F89-DF3D-9BEC-C1DC8984988F}"/>
              </a:ext>
            </a:extLst>
          </p:cNvPr>
          <p:cNvSpPr>
            <a:spLocks noGrp="1"/>
          </p:cNvSpPr>
          <p:nvPr>
            <p:custDataLst>
              <p:tags r:id="rId5"/>
            </p:custDataLst>
          </p:nvPr>
        </p:nvSpPr>
        <p:spPr bwMode="auto">
          <a:xfrm>
            <a:off x="1881188" y="22637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66B37FC-D9B8-46D2-89D4-BADF54095DF4}"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15" name="Text Placeholder 19">
            <a:extLst>
              <a:ext uri="{FF2B5EF4-FFF2-40B4-BE49-F238E27FC236}">
                <a16:creationId xmlns:a16="http://schemas.microsoft.com/office/drawing/2014/main" id="{AB53472B-61D5-4077-040A-CBBF673AB944}"/>
              </a:ext>
            </a:extLst>
          </p:cNvPr>
          <p:cNvSpPr>
            <a:spLocks noGrp="1"/>
          </p:cNvSpPr>
          <p:nvPr>
            <p:custDataLst>
              <p:tags r:id="rId6"/>
            </p:custDataLst>
          </p:nvPr>
        </p:nvSpPr>
        <p:spPr bwMode="auto">
          <a:xfrm>
            <a:off x="1881188" y="24511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7DA396DC-EE00-4D46-8F7B-123F969F3BAF}"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4" name="Chart 43">
            <a:extLst>
              <a:ext uri="{FF2B5EF4-FFF2-40B4-BE49-F238E27FC236}">
                <a16:creationId xmlns:a16="http://schemas.microsoft.com/office/drawing/2014/main" id="{56B860D8-951E-62F6-7145-95A4EF257B38}"/>
              </a:ext>
            </a:extLst>
          </p:cNvPr>
          <p:cNvGraphicFramePr/>
          <p:nvPr>
            <p:custDataLst>
              <p:tags r:id="rId7"/>
            </p:custDataLst>
            <p:extLst>
              <p:ext uri="{D42A27DB-BD31-4B8C-83A1-F6EECF244321}">
                <p14:modId xmlns:p14="http://schemas.microsoft.com/office/powerpoint/2010/main" val="352430499"/>
              </p:ext>
            </p:extLst>
          </p:nvPr>
        </p:nvGraphicFramePr>
        <p:xfrm>
          <a:off x="2073275" y="2894013"/>
          <a:ext cx="1698625" cy="725487"/>
        </p:xfrm>
        <a:graphic>
          <a:graphicData uri="http://schemas.openxmlformats.org/drawingml/2006/chart">
            <c:chart xmlns:c="http://schemas.openxmlformats.org/drawingml/2006/chart" xmlns:r="http://schemas.openxmlformats.org/officeDocument/2006/relationships" r:id="rId62"/>
          </a:graphicData>
        </a:graphic>
      </p:graphicFrame>
      <p:sp>
        <p:nvSpPr>
          <p:cNvPr id="19" name="Text Placeholder 19">
            <a:extLst>
              <a:ext uri="{FF2B5EF4-FFF2-40B4-BE49-F238E27FC236}">
                <a16:creationId xmlns:a16="http://schemas.microsoft.com/office/drawing/2014/main" id="{E61B5210-82B4-6C7F-0BC0-19EEA9F43BA8}"/>
              </a:ext>
            </a:extLst>
          </p:cNvPr>
          <p:cNvSpPr>
            <a:spLocks noGrp="1"/>
          </p:cNvSpPr>
          <p:nvPr>
            <p:custDataLst>
              <p:tags r:id="rId8"/>
            </p:custDataLst>
          </p:nvPr>
        </p:nvSpPr>
        <p:spPr bwMode="auto">
          <a:xfrm>
            <a:off x="1881188" y="29797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53F236E-FE8C-4521-ADEC-55FFFA88EB2D}"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20" name="Text Placeholder 19">
            <a:extLst>
              <a:ext uri="{FF2B5EF4-FFF2-40B4-BE49-F238E27FC236}">
                <a16:creationId xmlns:a16="http://schemas.microsoft.com/office/drawing/2014/main" id="{722C6CBF-6C6A-F2A3-B0D2-D3E52521009F}"/>
              </a:ext>
            </a:extLst>
          </p:cNvPr>
          <p:cNvSpPr>
            <a:spLocks noGrp="1"/>
          </p:cNvSpPr>
          <p:nvPr>
            <p:custDataLst>
              <p:tags r:id="rId9"/>
            </p:custDataLst>
          </p:nvPr>
        </p:nvSpPr>
        <p:spPr bwMode="auto">
          <a:xfrm>
            <a:off x="1881188" y="31654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DB7B99DB-2591-4ED6-AE1D-6A5C92D9C9D9}"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23" name="Text Placeholder 19">
            <a:extLst>
              <a:ext uri="{FF2B5EF4-FFF2-40B4-BE49-F238E27FC236}">
                <a16:creationId xmlns:a16="http://schemas.microsoft.com/office/drawing/2014/main" id="{5B3B8A14-CF7E-1C0C-DAD2-CB7A7C967510}"/>
              </a:ext>
            </a:extLst>
          </p:cNvPr>
          <p:cNvSpPr>
            <a:spLocks noGrp="1"/>
          </p:cNvSpPr>
          <p:nvPr>
            <p:custDataLst>
              <p:tags r:id="rId10"/>
            </p:custDataLst>
          </p:nvPr>
        </p:nvSpPr>
        <p:spPr bwMode="auto">
          <a:xfrm>
            <a:off x="1881188" y="33528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4462086-D78D-4308-B843-FA8DDC33BA8F}"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5" name="Chart 44">
            <a:extLst>
              <a:ext uri="{FF2B5EF4-FFF2-40B4-BE49-F238E27FC236}">
                <a16:creationId xmlns:a16="http://schemas.microsoft.com/office/drawing/2014/main" id="{B76E7A2A-D4D0-AA63-E890-D5551EA3394A}"/>
              </a:ext>
            </a:extLst>
          </p:cNvPr>
          <p:cNvGraphicFramePr/>
          <p:nvPr>
            <p:custDataLst>
              <p:tags r:id="rId11"/>
            </p:custDataLst>
            <p:extLst>
              <p:ext uri="{D42A27DB-BD31-4B8C-83A1-F6EECF244321}">
                <p14:modId xmlns:p14="http://schemas.microsoft.com/office/powerpoint/2010/main" val="192957248"/>
              </p:ext>
            </p:extLst>
          </p:nvPr>
        </p:nvGraphicFramePr>
        <p:xfrm>
          <a:off x="2073275" y="3770313"/>
          <a:ext cx="1698625" cy="725487"/>
        </p:xfrm>
        <a:graphic>
          <a:graphicData uri="http://schemas.openxmlformats.org/drawingml/2006/chart">
            <c:chart xmlns:c="http://schemas.openxmlformats.org/drawingml/2006/chart" xmlns:r="http://schemas.openxmlformats.org/officeDocument/2006/relationships" r:id="rId63"/>
          </a:graphicData>
        </a:graphic>
      </p:graphicFrame>
      <p:sp>
        <p:nvSpPr>
          <p:cNvPr id="30" name="Text Placeholder 19">
            <a:extLst>
              <a:ext uri="{FF2B5EF4-FFF2-40B4-BE49-F238E27FC236}">
                <a16:creationId xmlns:a16="http://schemas.microsoft.com/office/drawing/2014/main" id="{D0D96812-2970-88D9-6A6B-1FFA2897AEB6}"/>
              </a:ext>
            </a:extLst>
          </p:cNvPr>
          <p:cNvSpPr>
            <a:spLocks noGrp="1"/>
          </p:cNvSpPr>
          <p:nvPr>
            <p:custDataLst>
              <p:tags r:id="rId12"/>
            </p:custDataLst>
          </p:nvPr>
        </p:nvSpPr>
        <p:spPr bwMode="auto">
          <a:xfrm>
            <a:off x="1881188" y="38560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D9EDA93-2209-403A-AAF2-ACF46CB65C31}"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1" name="Text Placeholder 19">
            <a:extLst>
              <a:ext uri="{FF2B5EF4-FFF2-40B4-BE49-F238E27FC236}">
                <a16:creationId xmlns:a16="http://schemas.microsoft.com/office/drawing/2014/main" id="{21B1D327-8CE7-362E-0283-67B263B2DE6D}"/>
              </a:ext>
            </a:extLst>
          </p:cNvPr>
          <p:cNvSpPr>
            <a:spLocks noGrp="1"/>
          </p:cNvSpPr>
          <p:nvPr>
            <p:custDataLst>
              <p:tags r:id="rId13"/>
            </p:custDataLst>
          </p:nvPr>
        </p:nvSpPr>
        <p:spPr bwMode="auto">
          <a:xfrm>
            <a:off x="1881188" y="40417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A3269B6A-34E1-4C7B-B914-F389574D0AAD}"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2" name="Text Placeholder 19">
            <a:extLst>
              <a:ext uri="{FF2B5EF4-FFF2-40B4-BE49-F238E27FC236}">
                <a16:creationId xmlns:a16="http://schemas.microsoft.com/office/drawing/2014/main" id="{745089CD-3B87-D70A-1BB0-84EE43E4EE40}"/>
              </a:ext>
            </a:extLst>
          </p:cNvPr>
          <p:cNvSpPr>
            <a:spLocks noGrp="1"/>
          </p:cNvSpPr>
          <p:nvPr>
            <p:custDataLst>
              <p:tags r:id="rId14"/>
            </p:custDataLst>
          </p:nvPr>
        </p:nvSpPr>
        <p:spPr bwMode="auto">
          <a:xfrm>
            <a:off x="1881188" y="42291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CDF67B3-C40F-4BEB-880B-581B598ED328}"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6" name="Chart 45">
            <a:extLst>
              <a:ext uri="{FF2B5EF4-FFF2-40B4-BE49-F238E27FC236}">
                <a16:creationId xmlns:a16="http://schemas.microsoft.com/office/drawing/2014/main" id="{B316F670-4A8F-9F84-AC3F-65E68DE875DF}"/>
              </a:ext>
            </a:extLst>
          </p:cNvPr>
          <p:cNvGraphicFramePr/>
          <p:nvPr>
            <p:custDataLst>
              <p:tags r:id="rId15"/>
            </p:custDataLst>
            <p:extLst>
              <p:ext uri="{D42A27DB-BD31-4B8C-83A1-F6EECF244321}">
                <p14:modId xmlns:p14="http://schemas.microsoft.com/office/powerpoint/2010/main" val="2813221858"/>
              </p:ext>
            </p:extLst>
          </p:nvPr>
        </p:nvGraphicFramePr>
        <p:xfrm>
          <a:off x="2073275" y="4646613"/>
          <a:ext cx="1698625" cy="725487"/>
        </p:xfrm>
        <a:graphic>
          <a:graphicData uri="http://schemas.openxmlformats.org/drawingml/2006/chart">
            <c:chart xmlns:c="http://schemas.openxmlformats.org/drawingml/2006/chart" xmlns:r="http://schemas.openxmlformats.org/officeDocument/2006/relationships" r:id="rId64"/>
          </a:graphicData>
        </a:graphic>
      </p:graphicFrame>
      <p:sp>
        <p:nvSpPr>
          <p:cNvPr id="35" name="Text Placeholder 19">
            <a:extLst>
              <a:ext uri="{FF2B5EF4-FFF2-40B4-BE49-F238E27FC236}">
                <a16:creationId xmlns:a16="http://schemas.microsoft.com/office/drawing/2014/main" id="{ACCDB39A-16EC-D3BA-630A-55A90D78F800}"/>
              </a:ext>
            </a:extLst>
          </p:cNvPr>
          <p:cNvSpPr>
            <a:spLocks noGrp="1"/>
          </p:cNvSpPr>
          <p:nvPr>
            <p:custDataLst>
              <p:tags r:id="rId16"/>
            </p:custDataLst>
          </p:nvPr>
        </p:nvSpPr>
        <p:spPr bwMode="auto">
          <a:xfrm>
            <a:off x="1881188" y="47323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F454420-3912-453C-8E5E-A7C3371EF2EC}"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6" name="Text Placeholder 19">
            <a:extLst>
              <a:ext uri="{FF2B5EF4-FFF2-40B4-BE49-F238E27FC236}">
                <a16:creationId xmlns:a16="http://schemas.microsoft.com/office/drawing/2014/main" id="{1BF8A254-0612-105A-C513-EDD0D670B2C7}"/>
              </a:ext>
            </a:extLst>
          </p:cNvPr>
          <p:cNvSpPr>
            <a:spLocks noGrp="1"/>
          </p:cNvSpPr>
          <p:nvPr>
            <p:custDataLst>
              <p:tags r:id="rId17"/>
            </p:custDataLst>
          </p:nvPr>
        </p:nvSpPr>
        <p:spPr bwMode="auto">
          <a:xfrm>
            <a:off x="1881188" y="49180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A0D1B6CA-0FDD-4438-B629-741D784B49E8}"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7" name="Text Placeholder 19">
            <a:extLst>
              <a:ext uri="{FF2B5EF4-FFF2-40B4-BE49-F238E27FC236}">
                <a16:creationId xmlns:a16="http://schemas.microsoft.com/office/drawing/2014/main" id="{3B501738-71CC-12F0-1438-174D5B7441F5}"/>
              </a:ext>
            </a:extLst>
          </p:cNvPr>
          <p:cNvSpPr>
            <a:spLocks noGrp="1"/>
          </p:cNvSpPr>
          <p:nvPr>
            <p:custDataLst>
              <p:tags r:id="rId18"/>
            </p:custDataLst>
          </p:nvPr>
        </p:nvSpPr>
        <p:spPr bwMode="auto">
          <a:xfrm>
            <a:off x="1881188" y="51054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41BAE46-4679-4B87-950B-BBFE5E65F372}"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7" name="Chart 46">
            <a:extLst>
              <a:ext uri="{FF2B5EF4-FFF2-40B4-BE49-F238E27FC236}">
                <a16:creationId xmlns:a16="http://schemas.microsoft.com/office/drawing/2014/main" id="{4BFC22B3-A99C-1C0D-2816-4D0EE6DA2BF8}"/>
              </a:ext>
            </a:extLst>
          </p:cNvPr>
          <p:cNvGraphicFramePr/>
          <p:nvPr>
            <p:custDataLst>
              <p:tags r:id="rId19"/>
            </p:custDataLst>
            <p:extLst>
              <p:ext uri="{D42A27DB-BD31-4B8C-83A1-F6EECF244321}">
                <p14:modId xmlns:p14="http://schemas.microsoft.com/office/powerpoint/2010/main" val="3477273313"/>
              </p:ext>
            </p:extLst>
          </p:nvPr>
        </p:nvGraphicFramePr>
        <p:xfrm>
          <a:off x="2073275" y="5586413"/>
          <a:ext cx="1698625" cy="725487"/>
        </p:xfrm>
        <a:graphic>
          <a:graphicData uri="http://schemas.openxmlformats.org/drawingml/2006/chart">
            <c:chart xmlns:c="http://schemas.openxmlformats.org/drawingml/2006/chart" xmlns:r="http://schemas.openxmlformats.org/officeDocument/2006/relationships" r:id="rId65"/>
          </a:graphicData>
        </a:graphic>
      </p:graphicFrame>
      <p:sp>
        <p:nvSpPr>
          <p:cNvPr id="39" name="Text Placeholder 19">
            <a:extLst>
              <a:ext uri="{FF2B5EF4-FFF2-40B4-BE49-F238E27FC236}">
                <a16:creationId xmlns:a16="http://schemas.microsoft.com/office/drawing/2014/main" id="{41119AAB-52E9-4530-92DC-DB6146F9A67D}"/>
              </a:ext>
            </a:extLst>
          </p:cNvPr>
          <p:cNvSpPr>
            <a:spLocks noGrp="1"/>
          </p:cNvSpPr>
          <p:nvPr>
            <p:custDataLst>
              <p:tags r:id="rId20"/>
            </p:custDataLst>
          </p:nvPr>
        </p:nvSpPr>
        <p:spPr bwMode="auto">
          <a:xfrm>
            <a:off x="1881188" y="56721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80F2FC9C-DFE5-4398-8F5D-D9E607FE18AA}"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0" name="Text Placeholder 19">
            <a:extLst>
              <a:ext uri="{FF2B5EF4-FFF2-40B4-BE49-F238E27FC236}">
                <a16:creationId xmlns:a16="http://schemas.microsoft.com/office/drawing/2014/main" id="{280823BF-BEBD-6DA4-D24F-F82773E23C3B}"/>
              </a:ext>
            </a:extLst>
          </p:cNvPr>
          <p:cNvSpPr>
            <a:spLocks noGrp="1"/>
          </p:cNvSpPr>
          <p:nvPr>
            <p:custDataLst>
              <p:tags r:id="rId21"/>
            </p:custDataLst>
          </p:nvPr>
        </p:nvSpPr>
        <p:spPr bwMode="auto">
          <a:xfrm>
            <a:off x="1881188" y="58578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64C09002-E6A2-4E38-82D1-24A6227352D3}"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1" name="Text Placeholder 19">
            <a:extLst>
              <a:ext uri="{FF2B5EF4-FFF2-40B4-BE49-F238E27FC236}">
                <a16:creationId xmlns:a16="http://schemas.microsoft.com/office/drawing/2014/main" id="{127E299A-20BA-9A11-B7AA-06338878AFFC}"/>
              </a:ext>
            </a:extLst>
          </p:cNvPr>
          <p:cNvSpPr>
            <a:spLocks noGrp="1"/>
          </p:cNvSpPr>
          <p:nvPr>
            <p:custDataLst>
              <p:tags r:id="rId22"/>
            </p:custDataLst>
          </p:nvPr>
        </p:nvSpPr>
        <p:spPr bwMode="auto">
          <a:xfrm>
            <a:off x="1881188" y="60452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55128454-718E-4582-9615-E8AC22F734A5}"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03" name="Chart 402">
            <a:extLst>
              <a:ext uri="{FF2B5EF4-FFF2-40B4-BE49-F238E27FC236}">
                <a16:creationId xmlns:a16="http://schemas.microsoft.com/office/drawing/2014/main" id="{2CDB29FA-528F-C4FA-7A67-3651721F5A35}"/>
              </a:ext>
            </a:extLst>
          </p:cNvPr>
          <p:cNvGraphicFramePr/>
          <p:nvPr>
            <p:custDataLst>
              <p:tags r:id="rId23"/>
            </p:custDataLst>
            <p:extLst>
              <p:ext uri="{D42A27DB-BD31-4B8C-83A1-F6EECF244321}">
                <p14:modId xmlns:p14="http://schemas.microsoft.com/office/powerpoint/2010/main" val="1699463595"/>
              </p:ext>
            </p:extLst>
          </p:nvPr>
        </p:nvGraphicFramePr>
        <p:xfrm>
          <a:off x="2073275" y="1992313"/>
          <a:ext cx="1698625" cy="725487"/>
        </p:xfrm>
        <a:graphic>
          <a:graphicData uri="http://schemas.openxmlformats.org/drawingml/2006/chart">
            <c:chart xmlns:c="http://schemas.openxmlformats.org/drawingml/2006/chart" xmlns:r="http://schemas.openxmlformats.org/officeDocument/2006/relationships" r:id="rId66"/>
          </a:graphicData>
        </a:graphic>
      </p:graphicFrame>
      <p:sp>
        <p:nvSpPr>
          <p:cNvPr id="49" name="Text Placeholder 19">
            <a:extLst>
              <a:ext uri="{FF2B5EF4-FFF2-40B4-BE49-F238E27FC236}">
                <a16:creationId xmlns:a16="http://schemas.microsoft.com/office/drawing/2014/main" id="{48E92AF4-FD8B-58DA-6FAB-BE0AB519E27F}"/>
              </a:ext>
            </a:extLst>
          </p:cNvPr>
          <p:cNvSpPr>
            <a:spLocks noGrp="1"/>
          </p:cNvSpPr>
          <p:nvPr>
            <p:custDataLst>
              <p:tags r:id="rId24"/>
            </p:custDataLst>
          </p:nvPr>
        </p:nvSpPr>
        <p:spPr bwMode="auto">
          <a:xfrm>
            <a:off x="1881188" y="20780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0CE758C-94DE-468D-8A0D-925EC3F6A635}"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50" name="Text Placeholder 19">
            <a:extLst>
              <a:ext uri="{FF2B5EF4-FFF2-40B4-BE49-F238E27FC236}">
                <a16:creationId xmlns:a16="http://schemas.microsoft.com/office/drawing/2014/main" id="{4229B773-0D4B-AEC9-4A0C-D154E28D4BBA}"/>
              </a:ext>
            </a:extLst>
          </p:cNvPr>
          <p:cNvSpPr>
            <a:spLocks noGrp="1"/>
          </p:cNvSpPr>
          <p:nvPr>
            <p:custDataLst>
              <p:tags r:id="rId25"/>
            </p:custDataLst>
          </p:nvPr>
        </p:nvSpPr>
        <p:spPr bwMode="auto">
          <a:xfrm>
            <a:off x="1881188" y="22637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00054C7-14D6-4A10-8F50-7F5373FBE3C4}"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51" name="Text Placeholder 19">
            <a:extLst>
              <a:ext uri="{FF2B5EF4-FFF2-40B4-BE49-F238E27FC236}">
                <a16:creationId xmlns:a16="http://schemas.microsoft.com/office/drawing/2014/main" id="{D2533E72-9B01-A04F-5D29-15C087AFB598}"/>
              </a:ext>
            </a:extLst>
          </p:cNvPr>
          <p:cNvSpPr>
            <a:spLocks noGrp="1"/>
          </p:cNvSpPr>
          <p:nvPr>
            <p:custDataLst>
              <p:tags r:id="rId26"/>
            </p:custDataLst>
          </p:nvPr>
        </p:nvSpPr>
        <p:spPr bwMode="auto">
          <a:xfrm>
            <a:off x="1881188" y="24511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A1C99D13-A063-45D4-9FAF-C0B2A6EB78DD}"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04" name="Chart 403">
            <a:extLst>
              <a:ext uri="{FF2B5EF4-FFF2-40B4-BE49-F238E27FC236}">
                <a16:creationId xmlns:a16="http://schemas.microsoft.com/office/drawing/2014/main" id="{4A49EF33-4BD6-175E-E17C-09B098AC6C3A}"/>
              </a:ext>
            </a:extLst>
          </p:cNvPr>
          <p:cNvGraphicFramePr/>
          <p:nvPr>
            <p:custDataLst>
              <p:tags r:id="rId27"/>
            </p:custDataLst>
            <p:extLst>
              <p:ext uri="{D42A27DB-BD31-4B8C-83A1-F6EECF244321}">
                <p14:modId xmlns:p14="http://schemas.microsoft.com/office/powerpoint/2010/main" val="129733038"/>
              </p:ext>
            </p:extLst>
          </p:nvPr>
        </p:nvGraphicFramePr>
        <p:xfrm>
          <a:off x="12825413" y="1701800"/>
          <a:ext cx="1698625" cy="725488"/>
        </p:xfrm>
        <a:graphic>
          <a:graphicData uri="http://schemas.openxmlformats.org/drawingml/2006/chart">
            <c:chart xmlns:c="http://schemas.openxmlformats.org/drawingml/2006/chart" xmlns:r="http://schemas.openxmlformats.org/officeDocument/2006/relationships" r:id="rId67"/>
          </a:graphicData>
        </a:graphic>
      </p:graphicFrame>
      <p:sp>
        <p:nvSpPr>
          <p:cNvPr id="53" name="Text Placeholder 19">
            <a:extLst>
              <a:ext uri="{FF2B5EF4-FFF2-40B4-BE49-F238E27FC236}">
                <a16:creationId xmlns:a16="http://schemas.microsoft.com/office/drawing/2014/main" id="{B779EAEE-3F35-C87C-8017-DCEE0FEF118D}"/>
              </a:ext>
            </a:extLst>
          </p:cNvPr>
          <p:cNvSpPr>
            <a:spLocks noGrp="1"/>
          </p:cNvSpPr>
          <p:nvPr>
            <p:custDataLst>
              <p:tags r:id="rId28"/>
            </p:custDataLst>
          </p:nvPr>
        </p:nvSpPr>
        <p:spPr bwMode="auto">
          <a:xfrm>
            <a:off x="12633325" y="178752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E3BE621-711C-442B-9E48-D409D3834F2F}"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54" name="Text Placeholder 19">
            <a:extLst>
              <a:ext uri="{FF2B5EF4-FFF2-40B4-BE49-F238E27FC236}">
                <a16:creationId xmlns:a16="http://schemas.microsoft.com/office/drawing/2014/main" id="{C1FB1788-51B3-87FA-BE18-B32D17B8710F}"/>
              </a:ext>
            </a:extLst>
          </p:cNvPr>
          <p:cNvSpPr>
            <a:spLocks noGrp="1"/>
          </p:cNvSpPr>
          <p:nvPr>
            <p:custDataLst>
              <p:tags r:id="rId29"/>
            </p:custDataLst>
          </p:nvPr>
        </p:nvSpPr>
        <p:spPr bwMode="auto">
          <a:xfrm>
            <a:off x="12633325" y="1973263"/>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105AB8A-26E3-48A9-97A9-A8A316B96B4A}"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55" name="Text Placeholder 19">
            <a:extLst>
              <a:ext uri="{FF2B5EF4-FFF2-40B4-BE49-F238E27FC236}">
                <a16:creationId xmlns:a16="http://schemas.microsoft.com/office/drawing/2014/main" id="{4DAD6DBC-3974-93DB-5E48-61A299A5B101}"/>
              </a:ext>
            </a:extLst>
          </p:cNvPr>
          <p:cNvSpPr>
            <a:spLocks noGrp="1"/>
          </p:cNvSpPr>
          <p:nvPr>
            <p:custDataLst>
              <p:tags r:id="rId30"/>
            </p:custDataLst>
          </p:nvPr>
        </p:nvSpPr>
        <p:spPr bwMode="auto">
          <a:xfrm>
            <a:off x="12633325" y="216058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6C07C63-0CCA-4FB6-99CE-AB265682883D}"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56" name="Rectangle 55">
            <a:extLst>
              <a:ext uri="{FF2B5EF4-FFF2-40B4-BE49-F238E27FC236}">
                <a16:creationId xmlns:a16="http://schemas.microsoft.com/office/drawing/2014/main" id="{BC7DE214-0120-C0DC-558D-9BBD27721F25}"/>
              </a:ext>
            </a:extLst>
          </p:cNvPr>
          <p:cNvSpPr/>
          <p:nvPr>
            <p:custDataLst>
              <p:tags r:id="rId31"/>
            </p:custDataLst>
          </p:nvPr>
        </p:nvSpPr>
        <p:spPr bwMode="auto">
          <a:xfrm>
            <a:off x="5551488" y="1335088"/>
            <a:ext cx="179388" cy="133350"/>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7" name="Rectangle 56">
            <a:extLst>
              <a:ext uri="{FF2B5EF4-FFF2-40B4-BE49-F238E27FC236}">
                <a16:creationId xmlns:a16="http://schemas.microsoft.com/office/drawing/2014/main" id="{828E410C-4369-C980-02E3-A68B66F9BDA5}"/>
              </a:ext>
            </a:extLst>
          </p:cNvPr>
          <p:cNvSpPr/>
          <p:nvPr>
            <p:custDataLst>
              <p:tags r:id="rId32"/>
            </p:custDataLst>
          </p:nvPr>
        </p:nvSpPr>
        <p:spPr bwMode="auto">
          <a:xfrm>
            <a:off x="6129338" y="1335088"/>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8" name="Rectangle 57">
            <a:extLst>
              <a:ext uri="{FF2B5EF4-FFF2-40B4-BE49-F238E27FC236}">
                <a16:creationId xmlns:a16="http://schemas.microsoft.com/office/drawing/2014/main" id="{46E153F0-1BCE-8A35-0360-DE55CDDC4868}"/>
              </a:ext>
            </a:extLst>
          </p:cNvPr>
          <p:cNvSpPr/>
          <p:nvPr>
            <p:custDataLst>
              <p:tags r:id="rId33"/>
            </p:custDataLst>
          </p:nvPr>
        </p:nvSpPr>
        <p:spPr bwMode="auto">
          <a:xfrm>
            <a:off x="6751638" y="1335088"/>
            <a:ext cx="179388" cy="133350"/>
          </a:xfrm>
          <a:prstGeom prst="rect">
            <a:avLst/>
          </a:prstGeom>
          <a:solidFill>
            <a:srgbClr val="CFDE6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9" name="Rectangle 58">
            <a:extLst>
              <a:ext uri="{FF2B5EF4-FFF2-40B4-BE49-F238E27FC236}">
                <a16:creationId xmlns:a16="http://schemas.microsoft.com/office/drawing/2014/main" id="{CCEC48F3-83F0-9C63-20F6-B47B956D5C43}"/>
              </a:ext>
            </a:extLst>
          </p:cNvPr>
          <p:cNvSpPr/>
          <p:nvPr>
            <p:custDataLst>
              <p:tags r:id="rId34"/>
            </p:custDataLst>
          </p:nvPr>
        </p:nvSpPr>
        <p:spPr bwMode="auto">
          <a:xfrm>
            <a:off x="7446963" y="1335088"/>
            <a:ext cx="179388" cy="13335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0" name="Rectangle 59">
            <a:extLst>
              <a:ext uri="{FF2B5EF4-FFF2-40B4-BE49-F238E27FC236}">
                <a16:creationId xmlns:a16="http://schemas.microsoft.com/office/drawing/2014/main" id="{65C4805C-60B0-A58D-12F4-FBFDEA8A9208}"/>
              </a:ext>
            </a:extLst>
          </p:cNvPr>
          <p:cNvSpPr/>
          <p:nvPr>
            <p:custDataLst>
              <p:tags r:id="rId35"/>
            </p:custDataLst>
          </p:nvPr>
        </p:nvSpPr>
        <p:spPr bwMode="auto">
          <a:xfrm>
            <a:off x="8215313" y="1335088"/>
            <a:ext cx="179388" cy="133350"/>
          </a:xfrm>
          <a:prstGeom prst="rect">
            <a:avLst/>
          </a:prstGeom>
          <a:solidFill>
            <a:srgbClr val="657D1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1" name="Text Placeholder 19">
            <a:extLst>
              <a:ext uri="{FF2B5EF4-FFF2-40B4-BE49-F238E27FC236}">
                <a16:creationId xmlns:a16="http://schemas.microsoft.com/office/drawing/2014/main" id="{3F0F8ADF-A8AB-17F9-92A8-D2E8EA3D5FD8}"/>
              </a:ext>
            </a:extLst>
          </p:cNvPr>
          <p:cNvSpPr>
            <a:spLocks noGrp="1"/>
          </p:cNvSpPr>
          <p:nvPr>
            <p:custDataLst>
              <p:tags r:id="rId36"/>
            </p:custDataLst>
          </p:nvPr>
        </p:nvSpPr>
        <p:spPr bwMode="auto">
          <a:xfrm>
            <a:off x="5781675" y="1330325"/>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63EFF2D7-7D27-409B-98C1-F0D0F1DF5ADB}" type="datetime'''''&lt;''''''''6''''''''''''''''''''%'''''''''''''''''''">
              <a:rPr lang="en-GB" altLang="en-US" sz="1000" smtClean="0">
                <a:solidFill>
                  <a:srgbClr val="3C3C3B"/>
                </a:solidFill>
                <a:ea typeface="+mn-ea"/>
                <a:cs typeface="+mn-cs"/>
              </a:rPr>
              <a:pPr lvl="0">
                <a:spcBef>
                  <a:spcPct val="0"/>
                </a:spcBef>
                <a:spcAft>
                  <a:spcPct val="0"/>
                </a:spcAft>
              </a:pPr>
              <a:t>&lt;6%</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62" name="Text Placeholder 19">
            <a:extLst>
              <a:ext uri="{FF2B5EF4-FFF2-40B4-BE49-F238E27FC236}">
                <a16:creationId xmlns:a16="http://schemas.microsoft.com/office/drawing/2014/main" id="{161005E4-2138-DB8F-9886-B25459B61C72}"/>
              </a:ext>
            </a:extLst>
          </p:cNvPr>
          <p:cNvSpPr>
            <a:spLocks noGrp="1"/>
          </p:cNvSpPr>
          <p:nvPr>
            <p:custDataLst>
              <p:tags r:id="rId37"/>
            </p:custDataLst>
          </p:nvPr>
        </p:nvSpPr>
        <p:spPr bwMode="auto">
          <a:xfrm>
            <a:off x="6359526" y="1330325"/>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FDE6265-03B4-4193-B55B-E47E48425706}" type="datetime'''''''''''''''6''''''''-''''''8''''''''''''%'''">
              <a:rPr lang="en-GB" altLang="en-US" sz="1000" smtClean="0">
                <a:solidFill>
                  <a:srgbClr val="3C3C3B"/>
                </a:solidFill>
                <a:ea typeface="+mn-ea"/>
                <a:cs typeface="+mn-cs"/>
              </a:rPr>
              <a:pPr lvl="0">
                <a:spcBef>
                  <a:spcPct val="0"/>
                </a:spcBef>
                <a:spcAft>
                  <a:spcPct val="0"/>
                </a:spcAft>
              </a:pPr>
              <a:t>6-8%</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63" name="Text Placeholder 19">
            <a:extLst>
              <a:ext uri="{FF2B5EF4-FFF2-40B4-BE49-F238E27FC236}">
                <a16:creationId xmlns:a16="http://schemas.microsoft.com/office/drawing/2014/main" id="{0C2BABCF-7CC3-3BCE-3C16-F3518A2C630E}"/>
              </a:ext>
            </a:extLst>
          </p:cNvPr>
          <p:cNvSpPr>
            <a:spLocks noGrp="1"/>
          </p:cNvSpPr>
          <p:nvPr>
            <p:custDataLst>
              <p:tags r:id="rId38"/>
            </p:custDataLst>
          </p:nvPr>
        </p:nvSpPr>
        <p:spPr bwMode="auto">
          <a:xfrm>
            <a:off x="6981825" y="1330325"/>
            <a:ext cx="363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488453F5-61C6-46FF-ABD9-551B62D8A7A4}" type="datetime'''''''8''''''''''-''''''1''0''''''''''''''''''''''%'''">
              <a:rPr lang="en-GB" altLang="en-US" sz="1000" smtClean="0">
                <a:solidFill>
                  <a:srgbClr val="3C3C3B"/>
                </a:solidFill>
                <a:ea typeface="+mn-ea"/>
                <a:cs typeface="+mn-cs"/>
              </a:rPr>
              <a:pPr lvl="0">
                <a:spcBef>
                  <a:spcPct val="0"/>
                </a:spcBef>
                <a:spcAft>
                  <a:spcPct val="0"/>
                </a:spcAft>
              </a:pPr>
              <a:t>8-10%</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384" name="Text Placeholder 19">
            <a:extLst>
              <a:ext uri="{FF2B5EF4-FFF2-40B4-BE49-F238E27FC236}">
                <a16:creationId xmlns:a16="http://schemas.microsoft.com/office/drawing/2014/main" id="{72B76DF0-40A2-B30F-990E-744FA2B0741C}"/>
              </a:ext>
            </a:extLst>
          </p:cNvPr>
          <p:cNvSpPr>
            <a:spLocks noGrp="1"/>
          </p:cNvSpPr>
          <p:nvPr>
            <p:custDataLst>
              <p:tags r:id="rId39"/>
            </p:custDataLst>
          </p:nvPr>
        </p:nvSpPr>
        <p:spPr bwMode="auto">
          <a:xfrm>
            <a:off x="7677151" y="133032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26910FF-F081-40CC-B083-AAE9F9F869D7}" type="datetime'1''''''''0''''''-''''''1''''''''''''''2''''''''''''%'''">
              <a:rPr lang="en-GB" altLang="en-US" sz="1000" smtClean="0">
                <a:solidFill>
                  <a:srgbClr val="3C3C3B"/>
                </a:solidFill>
                <a:ea typeface="+mn-ea"/>
                <a:cs typeface="+mn-cs"/>
              </a:rPr>
              <a:pPr lvl="0">
                <a:spcBef>
                  <a:spcPct val="0"/>
                </a:spcBef>
                <a:spcAft>
                  <a:spcPct val="0"/>
                </a:spcAft>
              </a:pPr>
              <a:t>10-12%</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385" name="Text Placeholder 19">
            <a:extLst>
              <a:ext uri="{FF2B5EF4-FFF2-40B4-BE49-F238E27FC236}">
                <a16:creationId xmlns:a16="http://schemas.microsoft.com/office/drawing/2014/main" id="{EA235BB4-6C9A-B568-D269-EA3A87C63338}"/>
              </a:ext>
            </a:extLst>
          </p:cNvPr>
          <p:cNvSpPr>
            <a:spLocks noGrp="1"/>
          </p:cNvSpPr>
          <p:nvPr>
            <p:custDataLst>
              <p:tags r:id="rId40"/>
            </p:custDataLst>
          </p:nvPr>
        </p:nvSpPr>
        <p:spPr bwMode="auto">
          <a:xfrm>
            <a:off x="8445500" y="1330325"/>
            <a:ext cx="319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90488682-13A2-4C48-B68A-CFF644504494}" type="datetime'''&gt;''1''2''''''''''''''''''''''''''''''%'''''''''''">
              <a:rPr lang="en-GB" altLang="en-US" sz="1000" smtClean="0">
                <a:solidFill>
                  <a:srgbClr val="3C3C3B"/>
                </a:solidFill>
                <a:ea typeface="+mn-ea"/>
                <a:cs typeface="+mn-cs"/>
              </a:rPr>
              <a:pPr lvl="0">
                <a:spcBef>
                  <a:spcPct val="0"/>
                </a:spcBef>
                <a:spcAft>
                  <a:spcPct val="0"/>
                </a:spcAft>
              </a:pPr>
              <a:t>&gt;12%</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graphicFrame>
        <p:nvGraphicFramePr>
          <p:cNvPr id="405" name="Chart 404">
            <a:extLst>
              <a:ext uri="{FF2B5EF4-FFF2-40B4-BE49-F238E27FC236}">
                <a16:creationId xmlns:a16="http://schemas.microsoft.com/office/drawing/2014/main" id="{CB459409-121F-C3A0-1D3D-40661D66B19C}"/>
              </a:ext>
            </a:extLst>
          </p:cNvPr>
          <p:cNvGraphicFramePr/>
          <p:nvPr>
            <p:custDataLst>
              <p:tags r:id="rId41"/>
            </p:custDataLst>
            <p:extLst>
              <p:ext uri="{D42A27DB-BD31-4B8C-83A1-F6EECF244321}">
                <p14:modId xmlns:p14="http://schemas.microsoft.com/office/powerpoint/2010/main" val="3290346169"/>
              </p:ext>
            </p:extLst>
          </p:nvPr>
        </p:nvGraphicFramePr>
        <p:xfrm>
          <a:off x="2073275" y="2894013"/>
          <a:ext cx="1698625" cy="725487"/>
        </p:xfrm>
        <a:graphic>
          <a:graphicData uri="http://schemas.openxmlformats.org/drawingml/2006/chart">
            <c:chart xmlns:c="http://schemas.openxmlformats.org/drawingml/2006/chart" xmlns:r="http://schemas.openxmlformats.org/officeDocument/2006/relationships" r:id="rId68"/>
          </a:graphicData>
        </a:graphic>
      </p:graphicFrame>
      <p:sp>
        <p:nvSpPr>
          <p:cNvPr id="387" name="Text Placeholder 19">
            <a:extLst>
              <a:ext uri="{FF2B5EF4-FFF2-40B4-BE49-F238E27FC236}">
                <a16:creationId xmlns:a16="http://schemas.microsoft.com/office/drawing/2014/main" id="{CA27F91E-43F1-D307-586D-30F965721507}"/>
              </a:ext>
            </a:extLst>
          </p:cNvPr>
          <p:cNvSpPr>
            <a:spLocks noGrp="1"/>
          </p:cNvSpPr>
          <p:nvPr>
            <p:custDataLst>
              <p:tags r:id="rId42"/>
            </p:custDataLst>
          </p:nvPr>
        </p:nvSpPr>
        <p:spPr bwMode="auto">
          <a:xfrm>
            <a:off x="1881188" y="29797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F75B8F0D-F200-4C4A-A442-D0C6544FC494}"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88" name="Text Placeholder 19">
            <a:extLst>
              <a:ext uri="{FF2B5EF4-FFF2-40B4-BE49-F238E27FC236}">
                <a16:creationId xmlns:a16="http://schemas.microsoft.com/office/drawing/2014/main" id="{0FEAC120-339E-7A68-122B-8CE691D37144}"/>
              </a:ext>
            </a:extLst>
          </p:cNvPr>
          <p:cNvSpPr>
            <a:spLocks noGrp="1"/>
          </p:cNvSpPr>
          <p:nvPr>
            <p:custDataLst>
              <p:tags r:id="rId43"/>
            </p:custDataLst>
          </p:nvPr>
        </p:nvSpPr>
        <p:spPr bwMode="auto">
          <a:xfrm>
            <a:off x="1881188" y="31654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8FADE7D0-B923-4F51-A114-73DDD6C82D27}"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89" name="Text Placeholder 19">
            <a:extLst>
              <a:ext uri="{FF2B5EF4-FFF2-40B4-BE49-F238E27FC236}">
                <a16:creationId xmlns:a16="http://schemas.microsoft.com/office/drawing/2014/main" id="{0FD47649-F894-6830-8238-60B096E2465A}"/>
              </a:ext>
            </a:extLst>
          </p:cNvPr>
          <p:cNvSpPr>
            <a:spLocks noGrp="1"/>
          </p:cNvSpPr>
          <p:nvPr>
            <p:custDataLst>
              <p:tags r:id="rId44"/>
            </p:custDataLst>
          </p:nvPr>
        </p:nvSpPr>
        <p:spPr bwMode="auto">
          <a:xfrm>
            <a:off x="1881188" y="33528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ED5C402-9239-469C-B199-072E11788143}"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06" name="Chart 405">
            <a:extLst>
              <a:ext uri="{FF2B5EF4-FFF2-40B4-BE49-F238E27FC236}">
                <a16:creationId xmlns:a16="http://schemas.microsoft.com/office/drawing/2014/main" id="{B0D1D2D6-2A38-AAA9-AC4B-2E081523AF1C}"/>
              </a:ext>
            </a:extLst>
          </p:cNvPr>
          <p:cNvGraphicFramePr/>
          <p:nvPr>
            <p:custDataLst>
              <p:tags r:id="rId45"/>
            </p:custDataLst>
            <p:extLst>
              <p:ext uri="{D42A27DB-BD31-4B8C-83A1-F6EECF244321}">
                <p14:modId xmlns:p14="http://schemas.microsoft.com/office/powerpoint/2010/main" val="1667828042"/>
              </p:ext>
            </p:extLst>
          </p:nvPr>
        </p:nvGraphicFramePr>
        <p:xfrm>
          <a:off x="2073275" y="3770313"/>
          <a:ext cx="1698625" cy="725487"/>
        </p:xfrm>
        <a:graphic>
          <a:graphicData uri="http://schemas.openxmlformats.org/drawingml/2006/chart">
            <c:chart xmlns:c="http://schemas.openxmlformats.org/drawingml/2006/chart" xmlns:r="http://schemas.openxmlformats.org/officeDocument/2006/relationships" r:id="rId69"/>
          </a:graphicData>
        </a:graphic>
      </p:graphicFrame>
      <p:sp>
        <p:nvSpPr>
          <p:cNvPr id="391" name="Text Placeholder 19">
            <a:extLst>
              <a:ext uri="{FF2B5EF4-FFF2-40B4-BE49-F238E27FC236}">
                <a16:creationId xmlns:a16="http://schemas.microsoft.com/office/drawing/2014/main" id="{FB65FD04-3DA7-53EC-9E71-5FFAD5531DBC}"/>
              </a:ext>
            </a:extLst>
          </p:cNvPr>
          <p:cNvSpPr>
            <a:spLocks noGrp="1"/>
          </p:cNvSpPr>
          <p:nvPr>
            <p:custDataLst>
              <p:tags r:id="rId46"/>
            </p:custDataLst>
          </p:nvPr>
        </p:nvSpPr>
        <p:spPr bwMode="auto">
          <a:xfrm>
            <a:off x="1881188" y="38560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E8101031-94AC-4187-880C-579C4423FE77}"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92" name="Text Placeholder 19">
            <a:extLst>
              <a:ext uri="{FF2B5EF4-FFF2-40B4-BE49-F238E27FC236}">
                <a16:creationId xmlns:a16="http://schemas.microsoft.com/office/drawing/2014/main" id="{8B176174-4AFE-9996-D17D-A69337797D44}"/>
              </a:ext>
            </a:extLst>
          </p:cNvPr>
          <p:cNvSpPr>
            <a:spLocks noGrp="1"/>
          </p:cNvSpPr>
          <p:nvPr>
            <p:custDataLst>
              <p:tags r:id="rId47"/>
            </p:custDataLst>
          </p:nvPr>
        </p:nvSpPr>
        <p:spPr bwMode="auto">
          <a:xfrm>
            <a:off x="1881188" y="40417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C88D8C1-5445-4912-B35F-76B1B2C808DB}"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93" name="Text Placeholder 19">
            <a:extLst>
              <a:ext uri="{FF2B5EF4-FFF2-40B4-BE49-F238E27FC236}">
                <a16:creationId xmlns:a16="http://schemas.microsoft.com/office/drawing/2014/main" id="{D6C9FFFC-CF16-E23B-0BCA-2CE558791093}"/>
              </a:ext>
            </a:extLst>
          </p:cNvPr>
          <p:cNvSpPr>
            <a:spLocks noGrp="1"/>
          </p:cNvSpPr>
          <p:nvPr>
            <p:custDataLst>
              <p:tags r:id="rId48"/>
            </p:custDataLst>
          </p:nvPr>
        </p:nvSpPr>
        <p:spPr bwMode="auto">
          <a:xfrm>
            <a:off x="1881188" y="42291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A860A1A-D38D-4880-9EB6-F98F6F446521}"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07" name="Chart 406">
            <a:extLst>
              <a:ext uri="{FF2B5EF4-FFF2-40B4-BE49-F238E27FC236}">
                <a16:creationId xmlns:a16="http://schemas.microsoft.com/office/drawing/2014/main" id="{052A39FA-E71E-3349-07F6-CD448560850A}"/>
              </a:ext>
            </a:extLst>
          </p:cNvPr>
          <p:cNvGraphicFramePr/>
          <p:nvPr>
            <p:custDataLst>
              <p:tags r:id="rId49"/>
            </p:custDataLst>
            <p:extLst>
              <p:ext uri="{D42A27DB-BD31-4B8C-83A1-F6EECF244321}">
                <p14:modId xmlns:p14="http://schemas.microsoft.com/office/powerpoint/2010/main" val="820597495"/>
              </p:ext>
            </p:extLst>
          </p:nvPr>
        </p:nvGraphicFramePr>
        <p:xfrm>
          <a:off x="2073275" y="4646613"/>
          <a:ext cx="1698625" cy="725487"/>
        </p:xfrm>
        <a:graphic>
          <a:graphicData uri="http://schemas.openxmlformats.org/drawingml/2006/chart">
            <c:chart xmlns:c="http://schemas.openxmlformats.org/drawingml/2006/chart" xmlns:r="http://schemas.openxmlformats.org/officeDocument/2006/relationships" r:id="rId70"/>
          </a:graphicData>
        </a:graphic>
      </p:graphicFrame>
      <p:sp>
        <p:nvSpPr>
          <p:cNvPr id="395" name="Text Placeholder 19">
            <a:extLst>
              <a:ext uri="{FF2B5EF4-FFF2-40B4-BE49-F238E27FC236}">
                <a16:creationId xmlns:a16="http://schemas.microsoft.com/office/drawing/2014/main" id="{F6666FB8-4127-6B97-A358-3E44CE5473B7}"/>
              </a:ext>
            </a:extLst>
          </p:cNvPr>
          <p:cNvSpPr>
            <a:spLocks noGrp="1"/>
          </p:cNvSpPr>
          <p:nvPr>
            <p:custDataLst>
              <p:tags r:id="rId50"/>
            </p:custDataLst>
          </p:nvPr>
        </p:nvSpPr>
        <p:spPr bwMode="auto">
          <a:xfrm>
            <a:off x="1881188" y="47323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7892EE67-AFEF-403A-B399-7D5B843E1E02}"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96" name="Text Placeholder 19">
            <a:extLst>
              <a:ext uri="{FF2B5EF4-FFF2-40B4-BE49-F238E27FC236}">
                <a16:creationId xmlns:a16="http://schemas.microsoft.com/office/drawing/2014/main" id="{C1E215F7-164A-724E-A505-54358506BEAB}"/>
              </a:ext>
            </a:extLst>
          </p:cNvPr>
          <p:cNvSpPr>
            <a:spLocks noGrp="1"/>
          </p:cNvSpPr>
          <p:nvPr>
            <p:custDataLst>
              <p:tags r:id="rId51"/>
            </p:custDataLst>
          </p:nvPr>
        </p:nvSpPr>
        <p:spPr bwMode="auto">
          <a:xfrm>
            <a:off x="1881188" y="49180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AF15A679-702A-455D-9F03-64567500BFB2}"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97" name="Text Placeholder 19">
            <a:extLst>
              <a:ext uri="{FF2B5EF4-FFF2-40B4-BE49-F238E27FC236}">
                <a16:creationId xmlns:a16="http://schemas.microsoft.com/office/drawing/2014/main" id="{C2A7CF92-187D-C873-37B7-3542CDE961C7}"/>
              </a:ext>
            </a:extLst>
          </p:cNvPr>
          <p:cNvSpPr>
            <a:spLocks noGrp="1"/>
          </p:cNvSpPr>
          <p:nvPr>
            <p:custDataLst>
              <p:tags r:id="rId52"/>
            </p:custDataLst>
          </p:nvPr>
        </p:nvSpPr>
        <p:spPr bwMode="auto">
          <a:xfrm>
            <a:off x="1881188" y="51054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E0FEA28D-A37D-412E-9708-EBE4B1691DBD}"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09" name="Chart 408">
            <a:extLst>
              <a:ext uri="{FF2B5EF4-FFF2-40B4-BE49-F238E27FC236}">
                <a16:creationId xmlns:a16="http://schemas.microsoft.com/office/drawing/2014/main" id="{C4181039-E38B-F1D5-ED81-1D194284FFF9}"/>
              </a:ext>
            </a:extLst>
          </p:cNvPr>
          <p:cNvGraphicFramePr/>
          <p:nvPr>
            <p:custDataLst>
              <p:tags r:id="rId53"/>
            </p:custDataLst>
            <p:extLst>
              <p:ext uri="{D42A27DB-BD31-4B8C-83A1-F6EECF244321}">
                <p14:modId xmlns:p14="http://schemas.microsoft.com/office/powerpoint/2010/main" val="1550037317"/>
              </p:ext>
            </p:extLst>
          </p:nvPr>
        </p:nvGraphicFramePr>
        <p:xfrm>
          <a:off x="2073275" y="5586413"/>
          <a:ext cx="1698625" cy="725487"/>
        </p:xfrm>
        <a:graphic>
          <a:graphicData uri="http://schemas.openxmlformats.org/drawingml/2006/chart">
            <c:chart xmlns:c="http://schemas.openxmlformats.org/drawingml/2006/chart" xmlns:r="http://schemas.openxmlformats.org/officeDocument/2006/relationships" r:id="rId71"/>
          </a:graphicData>
        </a:graphic>
      </p:graphicFrame>
      <p:sp>
        <p:nvSpPr>
          <p:cNvPr id="399" name="Text Placeholder 19">
            <a:extLst>
              <a:ext uri="{FF2B5EF4-FFF2-40B4-BE49-F238E27FC236}">
                <a16:creationId xmlns:a16="http://schemas.microsoft.com/office/drawing/2014/main" id="{5B9FD675-24BA-C6FD-6E02-2144C3F0088F}"/>
              </a:ext>
            </a:extLst>
          </p:cNvPr>
          <p:cNvSpPr>
            <a:spLocks noGrp="1"/>
          </p:cNvSpPr>
          <p:nvPr>
            <p:custDataLst>
              <p:tags r:id="rId54"/>
            </p:custDataLst>
          </p:nvPr>
        </p:nvSpPr>
        <p:spPr bwMode="auto">
          <a:xfrm>
            <a:off x="1881188" y="56721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EDD0224-B492-42F0-B683-40F23C9DC3A9}"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00" name="Text Placeholder 19">
            <a:extLst>
              <a:ext uri="{FF2B5EF4-FFF2-40B4-BE49-F238E27FC236}">
                <a16:creationId xmlns:a16="http://schemas.microsoft.com/office/drawing/2014/main" id="{E456A35B-DAC2-579E-8153-03772D01AA79}"/>
              </a:ext>
            </a:extLst>
          </p:cNvPr>
          <p:cNvSpPr>
            <a:spLocks noGrp="1"/>
          </p:cNvSpPr>
          <p:nvPr>
            <p:custDataLst>
              <p:tags r:id="rId55"/>
            </p:custDataLst>
          </p:nvPr>
        </p:nvSpPr>
        <p:spPr bwMode="auto">
          <a:xfrm>
            <a:off x="1881188" y="58578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4D02D90-EB61-461F-A084-97650330721C}"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01" name="Text Placeholder 19">
            <a:extLst>
              <a:ext uri="{FF2B5EF4-FFF2-40B4-BE49-F238E27FC236}">
                <a16:creationId xmlns:a16="http://schemas.microsoft.com/office/drawing/2014/main" id="{20C48A68-BD7B-47BB-94B6-D45B98884AC2}"/>
              </a:ext>
            </a:extLst>
          </p:cNvPr>
          <p:cNvSpPr>
            <a:spLocks noGrp="1"/>
          </p:cNvSpPr>
          <p:nvPr>
            <p:custDataLst>
              <p:tags r:id="rId56"/>
            </p:custDataLst>
          </p:nvPr>
        </p:nvSpPr>
        <p:spPr bwMode="auto">
          <a:xfrm>
            <a:off x="1881188" y="60452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F1598EF1-1983-42C5-BC11-B1C4D90CFD4C}"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Tree>
    <p:extLst>
      <p:ext uri="{BB962C8B-B14F-4D97-AF65-F5344CB8AC3E}">
        <p14:creationId xmlns:p14="http://schemas.microsoft.com/office/powerpoint/2010/main" val="291370772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504E19-9954-6CF0-1F08-BD295F24B056}"/>
              </a:ext>
            </a:extLst>
          </p:cNvPr>
          <p:cNvGraphicFramePr>
            <a:graphicFrameLocks noChangeAspect="1"/>
          </p:cNvGraphicFramePr>
          <p:nvPr>
            <p:custDataLst>
              <p:tags r:id="rId1"/>
            </p:custDataLst>
            <p:extLst>
              <p:ext uri="{D42A27DB-BD31-4B8C-83A1-F6EECF244321}">
                <p14:modId xmlns:p14="http://schemas.microsoft.com/office/powerpoint/2010/main" val="1793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95" imgH="394" progId="TCLayout.ActiveDocument.1">
                  <p:embed/>
                </p:oleObj>
              </mc:Choice>
              <mc:Fallback>
                <p:oleObj name="think-cell Slide" r:id="rId39" imgW="395" imgH="394" progId="TCLayout.ActiveDocument.1">
                  <p:embed/>
                  <p:pic>
                    <p:nvPicPr>
                      <p:cNvPr id="9" name="Object 8" hidden="1">
                        <a:extLst>
                          <a:ext uri="{FF2B5EF4-FFF2-40B4-BE49-F238E27FC236}">
                            <a16:creationId xmlns:a16="http://schemas.microsoft.com/office/drawing/2014/main" id="{6D504E19-9954-6CF0-1F08-BD295F24B056}"/>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FE32614-0EC8-78B2-A22C-33605FFA5310}"/>
              </a:ext>
            </a:extLst>
          </p:cNvPr>
          <p:cNvSpPr>
            <a:spLocks noGrp="1"/>
          </p:cNvSpPr>
          <p:nvPr>
            <p:ph type="title"/>
          </p:nvPr>
        </p:nvSpPr>
        <p:spPr>
          <a:xfrm>
            <a:off x="381599" y="411856"/>
            <a:ext cx="8590951" cy="609398"/>
          </a:xfrm>
        </p:spPr>
        <p:txBody>
          <a:bodyPr vert="horz"/>
          <a:lstStyle/>
          <a:p>
            <a:r>
              <a:rPr lang="en-GB"/>
              <a:t>… but with increased market saturation over time, energy arbitrage favours 2h and 4h durations  (1/2)</a:t>
            </a:r>
          </a:p>
        </p:txBody>
      </p:sp>
      <p:sp>
        <p:nvSpPr>
          <p:cNvPr id="5" name="Text Placeholder 4">
            <a:extLst>
              <a:ext uri="{FF2B5EF4-FFF2-40B4-BE49-F238E27FC236}">
                <a16:creationId xmlns:a16="http://schemas.microsoft.com/office/drawing/2014/main" id="{5AA49280-3812-1061-EF8B-2DB41235E6C6}"/>
              </a:ext>
            </a:extLst>
          </p:cNvPr>
          <p:cNvSpPr>
            <a:spLocks noGrp="1"/>
          </p:cNvSpPr>
          <p:nvPr>
            <p:ph type="body" sz="quarter" idx="32"/>
          </p:nvPr>
        </p:nvSpPr>
        <p:spPr>
          <a:xfrm>
            <a:off x="381600" y="6474841"/>
            <a:ext cx="11428800" cy="110800"/>
          </a:xfrm>
        </p:spPr>
        <p:txBody>
          <a:bodyPr/>
          <a:lstStyle/>
          <a:p>
            <a:r>
              <a:rPr lang="en-GB"/>
              <a:t>1) Standard case represents standalone business cases for assets optimising among energy arbitrage, capacity-based ancillary services, and capacity markets cashflow. IRRs are based on Aurora’s internal cost assumptions. Ranges are inclusive of lower bound.</a:t>
            </a:r>
          </a:p>
        </p:txBody>
      </p:sp>
      <p:sp>
        <p:nvSpPr>
          <p:cNvPr id="3" name="Text Placeholder 2">
            <a:extLst>
              <a:ext uri="{FF2B5EF4-FFF2-40B4-BE49-F238E27FC236}">
                <a16:creationId xmlns:a16="http://schemas.microsoft.com/office/drawing/2014/main" id="{501FFE25-0B3C-4BDA-7EBC-8CCC3EBAC96D}"/>
              </a:ext>
            </a:extLst>
          </p:cNvPr>
          <p:cNvSpPr>
            <a:spLocks noGrp="1"/>
          </p:cNvSpPr>
          <p:nvPr>
            <p:ph type="body" sz="quarter" idx="22"/>
          </p:nvPr>
        </p:nvSpPr>
        <p:spPr>
          <a:xfrm>
            <a:off x="381001" y="6715169"/>
            <a:ext cx="1452321" cy="110800"/>
          </a:xfrm>
        </p:spPr>
        <p:txBody>
          <a:bodyPr/>
          <a:lstStyle/>
          <a:p>
            <a:r>
              <a:rPr lang="en-GB"/>
              <a:t>Source: Aurora Energy Research</a:t>
            </a:r>
          </a:p>
        </p:txBody>
      </p:sp>
      <p:graphicFrame>
        <p:nvGraphicFramePr>
          <p:cNvPr id="22" name="Tabelle 7">
            <a:extLst>
              <a:ext uri="{FF2B5EF4-FFF2-40B4-BE49-F238E27FC236}">
                <a16:creationId xmlns:a16="http://schemas.microsoft.com/office/drawing/2014/main" id="{DD112C02-A006-F927-1E91-3B5DB30AF401}"/>
              </a:ext>
            </a:extLst>
          </p:cNvPr>
          <p:cNvGraphicFramePr>
            <a:graphicFrameLocks noGrp="1"/>
          </p:cNvGraphicFramePr>
          <p:nvPr>
            <p:custDataLst>
              <p:tags r:id="rId2"/>
            </p:custDataLst>
            <p:extLst>
              <p:ext uri="{D42A27DB-BD31-4B8C-83A1-F6EECF244321}">
                <p14:modId xmlns:p14="http://schemas.microsoft.com/office/powerpoint/2010/main" val="2542472345"/>
              </p:ext>
            </p:extLst>
          </p:nvPr>
        </p:nvGraphicFramePr>
        <p:xfrm>
          <a:off x="371869" y="1634274"/>
          <a:ext cx="11443698" cy="4811871"/>
        </p:xfrm>
        <a:graphic>
          <a:graphicData uri="http://schemas.openxmlformats.org/drawingml/2006/table">
            <a:tbl>
              <a:tblPr firstRow="1" bandRow="1">
                <a:effectLst/>
                <a:tableStyleId>{5C22544A-7EE6-4342-B048-85BDC9FD1C3A}</a:tableStyleId>
              </a:tblPr>
              <a:tblGrid>
                <a:gridCol w="1327811">
                  <a:extLst>
                    <a:ext uri="{9D8B030D-6E8A-4147-A177-3AD203B41FA5}">
                      <a16:colId xmlns:a16="http://schemas.microsoft.com/office/drawing/2014/main" val="20000"/>
                    </a:ext>
                  </a:extLst>
                </a:gridCol>
                <a:gridCol w="35887">
                  <a:extLst>
                    <a:ext uri="{9D8B030D-6E8A-4147-A177-3AD203B41FA5}">
                      <a16:colId xmlns:a16="http://schemas.microsoft.com/office/drawing/2014/main" val="2133620686"/>
                    </a:ext>
                  </a:extLst>
                </a:gridCol>
                <a:gridCol w="2340000">
                  <a:extLst>
                    <a:ext uri="{9D8B030D-6E8A-4147-A177-3AD203B41FA5}">
                      <a16:colId xmlns:a16="http://schemas.microsoft.com/office/drawing/2014/main" val="2503764876"/>
                    </a:ext>
                  </a:extLst>
                </a:gridCol>
                <a:gridCol w="7740000">
                  <a:extLst>
                    <a:ext uri="{9D8B030D-6E8A-4147-A177-3AD203B41FA5}">
                      <a16:colId xmlns:a16="http://schemas.microsoft.com/office/drawing/2014/main" val="3499584609"/>
                    </a:ext>
                  </a:extLst>
                </a:gridCol>
              </a:tblGrid>
              <a:tr h="256831">
                <a:tc>
                  <a:txBody>
                    <a:bodyPr/>
                    <a:lstStyle/>
                    <a:p>
                      <a:pPr algn="ctr" rtl="0"/>
                      <a:r>
                        <a:rPr lang="en-GB" sz="10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gion</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0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000" b="1">
                          <a:solidFill>
                            <a:schemeClr val="tx1"/>
                          </a:solidFill>
                          <a:sym typeface="+mj-lt"/>
                        </a:rPr>
                        <a:t>Project IRR</a:t>
                      </a:r>
                      <a:endParaRPr lang="en-GB" sz="1000" b="0" baseline="30000">
                        <a:solidFill>
                          <a:schemeClr val="accent5"/>
                        </a:solidFill>
                        <a:sym typeface="+mj-lt"/>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000" b="1" i="0" kern="1200">
                          <a:solidFill>
                            <a:schemeClr val="tx1"/>
                          </a:solidFill>
                          <a:latin typeface="Lato" panose="020F0502020204030203" pitchFamily="34" charset="0"/>
                          <a:ea typeface="Lato" panose="020F0502020204030203" pitchFamily="34" charset="0"/>
                          <a:cs typeface="Lato" panose="020F0502020204030203" pitchFamily="34" charset="0"/>
                        </a:rPr>
                        <a:t>Comment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1007669">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rtl="0" fontAlgn="b">
                        <a:spcAft>
                          <a:spcPts val="300"/>
                        </a:spcAft>
                        <a:buFont typeface="Wingdings" panose="05000000000000000000" pitchFamily="2" charset="2"/>
                        <a:buChar char="§"/>
                      </a:pPr>
                      <a:endParaRPr lang="en-GB" sz="1000" b="0" i="0" u="none" strike="noStrike" kern="1200">
                        <a:solidFill>
                          <a:schemeClr val="tx1"/>
                        </a:solidFill>
                        <a:effectLst/>
                        <a:latin typeface="+mn-lt"/>
                        <a:ea typeface="+mn-ea"/>
                        <a:cs typeface="+mn-cs"/>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53631">
                <a:tc>
                  <a:txBody>
                    <a:bodyPr/>
                    <a:lstStyle/>
                    <a:p>
                      <a:pPr marL="0" algn="l" defTabSz="685783" rtl="0" eaLnBrk="1" fontAlgn="t" latinLnBrk="0" hangingPunct="1">
                        <a:spcAft>
                          <a:spcPts val="300"/>
                        </a:spcAft>
                      </a:pPr>
                      <a:endParaRPr lang="en-GB" sz="1000" b="1" i="0" u="none" strike="noStrike" kern="12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rtl="0" fontAlgn="b">
                        <a:spcAft>
                          <a:spcPts val="300"/>
                        </a:spcAft>
                        <a:buFont typeface="Wingdings" panose="05000000000000000000" pitchFamily="2" charset="2"/>
                        <a:buChar char="§"/>
                      </a:pPr>
                      <a:endParaRPr lang="en-GB" sz="1000" b="0" i="0" u="none" strike="noStrike">
                        <a:solidFill>
                          <a:schemeClr val="tx1"/>
                        </a:solidFill>
                        <a:effectLst/>
                        <a:latin typeface="+mn-lt"/>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400881"/>
                  </a:ext>
                </a:extLst>
              </a:tr>
              <a:tr h="853631">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b="0" kern="1200" noProof="0">
                        <a:solidFill>
                          <a:schemeClr val="dk1"/>
                        </a:solidFill>
                        <a:latin typeface="+mn-lt"/>
                        <a:ea typeface="+mn-ea"/>
                        <a:cs typeface="+mn-cs"/>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kern="1200">
                        <a:solidFill>
                          <a:sysClr val="windowText" lastClr="000000"/>
                        </a:solidFill>
                        <a:latin typeface="+mn-lt"/>
                        <a:ea typeface="+mn-ea"/>
                        <a:cs typeface="+mn-cs"/>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b" latinLnBrk="0" hangingPunct="1">
                        <a:lnSpc>
                          <a:spcPct val="100000"/>
                        </a:lnSpc>
                        <a:spcBef>
                          <a:spcPts val="0"/>
                        </a:spcBef>
                        <a:spcAft>
                          <a:spcPts val="300"/>
                        </a:spcAft>
                        <a:buClrTx/>
                        <a:buSzTx/>
                        <a:buFont typeface="Wingdings" panose="05000000000000000000" pitchFamily="2" charset="2"/>
                        <a:buChar char="§"/>
                        <a:tabLst/>
                        <a:defRPr/>
                      </a:pPr>
                      <a:endParaRPr lang="en-GB" sz="1000"/>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880521"/>
                  </a:ext>
                </a:extLst>
              </a:tr>
              <a:tr h="1003733">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kern="1200">
                        <a:solidFill>
                          <a:sysClr val="windowText" lastClr="000000"/>
                        </a:solidFill>
                        <a:latin typeface="+mn-lt"/>
                        <a:ea typeface="+mn-ea"/>
                        <a:cs typeface="+mn-cs"/>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b" latinLnBrk="0" hangingPunct="1">
                        <a:lnSpc>
                          <a:spcPct val="100000"/>
                        </a:lnSpc>
                        <a:spcBef>
                          <a:spcPts val="0"/>
                        </a:spcBef>
                        <a:spcAft>
                          <a:spcPts val="300"/>
                        </a:spcAft>
                        <a:buClrTx/>
                        <a:buSzTx/>
                        <a:buFont typeface="Wingdings" panose="05000000000000000000" pitchFamily="2" charset="2"/>
                        <a:buChar char="§"/>
                        <a:tabLst/>
                        <a:defRPr/>
                      </a:pPr>
                      <a:endParaRPr lang="en-GB" sz="1000"/>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185541"/>
                  </a:ext>
                </a:extLst>
              </a:tr>
              <a:tr h="836376">
                <a:tc>
                  <a:txBody>
                    <a:bodyPr/>
                    <a:lstStyle/>
                    <a:p>
                      <a:pPr marL="0" algn="l" defTabSz="685783" rtl="0" eaLnBrk="1" fontAlgn="t" latinLnBrk="0" hangingPunct="1">
                        <a:spcAft>
                          <a:spcPts val="300"/>
                        </a:spcAft>
                      </a:pPr>
                      <a:endParaRPr lang="en-GB" sz="1000" b="1" i="0" u="none" strike="noStrike" kern="12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defTabSz="685783" rtl="0" eaLnBrk="1" fontAlgn="b" latinLnBrk="0" hangingPunct="1">
                        <a:spcAft>
                          <a:spcPts val="300"/>
                        </a:spcAft>
                        <a:buFont typeface="Wingdings" panose="05000000000000000000" pitchFamily="2" charset="2"/>
                        <a:buChar char="§"/>
                      </a:pPr>
                      <a:endParaRPr lang="en-GB" sz="1000" kern="1200">
                        <a:solidFill>
                          <a:schemeClr val="dk1"/>
                        </a:solidFill>
                        <a:latin typeface="+mn-lt"/>
                        <a:ea typeface="+mn-ea"/>
                        <a:cs typeface="+mn-cs"/>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353843"/>
                  </a:ext>
                </a:extLst>
              </a:tr>
            </a:tbl>
          </a:graphicData>
        </a:graphic>
      </p:graphicFrame>
      <p:sp>
        <p:nvSpPr>
          <p:cNvPr id="7" name="Text Placeholder 6"/>
          <p:cNvSpPr>
            <a:spLocks noGrp="1"/>
          </p:cNvSpPr>
          <p:nvPr>
            <p:ph type="body" sz="quarter" idx="31"/>
          </p:nvPr>
        </p:nvSpPr>
        <p:spPr>
          <a:xfrm>
            <a:off x="381599" y="79401"/>
            <a:ext cx="1468672" cy="184666"/>
          </a:xfrm>
        </p:spPr>
        <p:txBody>
          <a:bodyPr/>
          <a:lstStyle/>
          <a:p>
            <a:r>
              <a:rPr lang="en-GB"/>
              <a:t>	Project economics</a:t>
            </a:r>
          </a:p>
        </p:txBody>
      </p:sp>
      <p:sp>
        <p:nvSpPr>
          <p:cNvPr id="34" name="Oval 3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408" name="Text Placeholder 481">
            <a:extLst>
              <a:ext uri="{FF2B5EF4-FFF2-40B4-BE49-F238E27FC236}">
                <a16:creationId xmlns:a16="http://schemas.microsoft.com/office/drawing/2014/main" id="{2A5BC2A5-83B1-AB0D-0ED6-3FA2089FE907}"/>
              </a:ext>
            </a:extLst>
          </p:cNvPr>
          <p:cNvSpPr txBox="1">
            <a:spLocks/>
          </p:cNvSpPr>
          <p:nvPr/>
        </p:nvSpPr>
        <p:spPr>
          <a:xfrm>
            <a:off x="390525" y="1279526"/>
            <a:ext cx="5452010" cy="369332"/>
          </a:xfrm>
          <a:prstGeom prst="rect">
            <a:avLst/>
          </a:prstGeom>
        </p:spPr>
        <p:txBody>
          <a:bodyPr wrap="square" lIns="0" tIns="0" rIns="0" bIns="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600"/>
              </a:spcBef>
            </a:pPr>
            <a:r>
              <a:rPr lang="en-GB" sz="1200" b="1">
                <a:solidFill>
                  <a:schemeClr val="tx1"/>
                </a:solidFill>
                <a:sym typeface="+mj-lt"/>
              </a:rPr>
              <a:t>Project IRR ranges for standard projects (2027 as entry year – unlevered</a:t>
            </a:r>
            <a:r>
              <a:rPr lang="en-GB" sz="1200" b="1">
                <a:sym typeface="+mj-lt"/>
              </a:rPr>
              <a:t>)</a:t>
            </a:r>
            <a:r>
              <a:rPr lang="en-GB" sz="1200" b="1" baseline="30000">
                <a:sym typeface="+mj-lt"/>
              </a:rPr>
              <a:t>1</a:t>
            </a:r>
            <a:br>
              <a:rPr lang="en-GB" sz="1200" b="1">
                <a:solidFill>
                  <a:srgbClr val="000000"/>
                </a:solidFill>
                <a:sym typeface="+mj-lt"/>
              </a:rPr>
            </a:br>
            <a:r>
              <a:rPr lang="en-GB" sz="1200" b="0">
                <a:solidFill>
                  <a:schemeClr val="accent5"/>
                </a:solidFill>
              </a:rPr>
              <a:t>%, </a:t>
            </a:r>
            <a:r>
              <a:rPr lang="en-GB" sz="1200" b="0">
                <a:solidFill>
                  <a:schemeClr val="accent5"/>
                </a:solidFill>
                <a:sym typeface="+mj-lt"/>
              </a:rPr>
              <a:t>pre-tax, Central scenario</a:t>
            </a:r>
          </a:p>
        </p:txBody>
      </p:sp>
      <p:sp>
        <p:nvSpPr>
          <p:cNvPr id="19" name="Text Placeholder 16">
            <a:extLst>
              <a:ext uri="{FF2B5EF4-FFF2-40B4-BE49-F238E27FC236}">
                <a16:creationId xmlns:a16="http://schemas.microsoft.com/office/drawing/2014/main" id="{0AFF6094-B9D0-D30B-6486-C68B2756D6B0}"/>
              </a:ext>
            </a:extLst>
          </p:cNvPr>
          <p:cNvSpPr txBox="1">
            <a:spLocks/>
          </p:cNvSpPr>
          <p:nvPr/>
        </p:nvSpPr>
        <p:spPr>
          <a:xfrm>
            <a:off x="4910931" y="3179375"/>
            <a:ext cx="6445327" cy="2769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00"/>
              <a:t>This is a redacted sample of the European Battery Market Attractiveness Report. If you are interested in the full report, contact Alex Hutcheson (</a:t>
            </a:r>
            <a:r>
              <a:rPr lang="en-GB" sz="1000" u="sng"/>
              <a:t>alex.hutcheson@auroraer.com)</a:t>
            </a:r>
            <a:endParaRPr lang="en-GB" sz="1000"/>
          </a:p>
        </p:txBody>
      </p:sp>
      <p:graphicFrame>
        <p:nvGraphicFramePr>
          <p:cNvPr id="37" name="Chart 36">
            <a:extLst>
              <a:ext uri="{FF2B5EF4-FFF2-40B4-BE49-F238E27FC236}">
                <a16:creationId xmlns:a16="http://schemas.microsoft.com/office/drawing/2014/main" id="{330F1467-A34E-C6BB-AD2D-6DC9BCAAFB81}"/>
              </a:ext>
            </a:extLst>
          </p:cNvPr>
          <p:cNvGraphicFramePr/>
          <p:nvPr>
            <p:custDataLst>
              <p:tags r:id="rId3"/>
            </p:custDataLst>
            <p:extLst>
              <p:ext uri="{D42A27DB-BD31-4B8C-83A1-F6EECF244321}">
                <p14:modId xmlns:p14="http://schemas.microsoft.com/office/powerpoint/2010/main" val="2805788438"/>
              </p:ext>
            </p:extLst>
          </p:nvPr>
        </p:nvGraphicFramePr>
        <p:xfrm>
          <a:off x="2073275" y="1992313"/>
          <a:ext cx="1698625" cy="725487"/>
        </p:xfrm>
        <a:graphic>
          <a:graphicData uri="http://schemas.openxmlformats.org/drawingml/2006/chart">
            <c:chart xmlns:c="http://schemas.openxmlformats.org/drawingml/2006/chart" xmlns:r="http://schemas.openxmlformats.org/officeDocument/2006/relationships" r:id="rId41"/>
          </a:graphicData>
        </a:graphic>
      </p:graphicFrame>
      <p:sp>
        <p:nvSpPr>
          <p:cNvPr id="11" name="Text Placeholder 19">
            <a:extLst>
              <a:ext uri="{FF2B5EF4-FFF2-40B4-BE49-F238E27FC236}">
                <a16:creationId xmlns:a16="http://schemas.microsoft.com/office/drawing/2014/main" id="{4A056BEB-9D97-EC5A-AC53-8B716A45341E}"/>
              </a:ext>
            </a:extLst>
          </p:cNvPr>
          <p:cNvSpPr>
            <a:spLocks noGrp="1"/>
          </p:cNvSpPr>
          <p:nvPr>
            <p:custDataLst>
              <p:tags r:id="rId4"/>
            </p:custDataLst>
          </p:nvPr>
        </p:nvSpPr>
        <p:spPr bwMode="auto">
          <a:xfrm>
            <a:off x="1881188" y="20780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B1B1B4B-3C48-4C1B-8AC7-CB0546728548}"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12" name="Text Placeholder 19">
            <a:extLst>
              <a:ext uri="{FF2B5EF4-FFF2-40B4-BE49-F238E27FC236}">
                <a16:creationId xmlns:a16="http://schemas.microsoft.com/office/drawing/2014/main" id="{F761711F-1242-6D4D-76ED-6057B2061F27}"/>
              </a:ext>
            </a:extLst>
          </p:cNvPr>
          <p:cNvSpPr>
            <a:spLocks noGrp="1"/>
          </p:cNvSpPr>
          <p:nvPr>
            <p:custDataLst>
              <p:tags r:id="rId5"/>
            </p:custDataLst>
          </p:nvPr>
        </p:nvSpPr>
        <p:spPr bwMode="auto">
          <a:xfrm>
            <a:off x="1881188" y="22637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DEBE788-5527-490A-9C06-BEAFAE304B34}"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14" name="Text Placeholder 19">
            <a:extLst>
              <a:ext uri="{FF2B5EF4-FFF2-40B4-BE49-F238E27FC236}">
                <a16:creationId xmlns:a16="http://schemas.microsoft.com/office/drawing/2014/main" id="{D6A8B0D5-4B1F-1666-2F2B-7025EE0BB22A}"/>
              </a:ext>
            </a:extLst>
          </p:cNvPr>
          <p:cNvSpPr>
            <a:spLocks noGrp="1"/>
          </p:cNvSpPr>
          <p:nvPr>
            <p:custDataLst>
              <p:tags r:id="rId6"/>
            </p:custDataLst>
          </p:nvPr>
        </p:nvSpPr>
        <p:spPr bwMode="auto">
          <a:xfrm>
            <a:off x="1881188" y="24511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08778D8-AEF9-4FFF-9B07-A83995FFE493}"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38" name="Chart 37">
            <a:extLst>
              <a:ext uri="{FF2B5EF4-FFF2-40B4-BE49-F238E27FC236}">
                <a16:creationId xmlns:a16="http://schemas.microsoft.com/office/drawing/2014/main" id="{7188E64B-064F-9AA5-D0D0-6CCCF30D6BB4}"/>
              </a:ext>
            </a:extLst>
          </p:cNvPr>
          <p:cNvGraphicFramePr/>
          <p:nvPr>
            <p:custDataLst>
              <p:tags r:id="rId7"/>
            </p:custDataLst>
            <p:extLst>
              <p:ext uri="{D42A27DB-BD31-4B8C-83A1-F6EECF244321}">
                <p14:modId xmlns:p14="http://schemas.microsoft.com/office/powerpoint/2010/main" val="2442974187"/>
              </p:ext>
            </p:extLst>
          </p:nvPr>
        </p:nvGraphicFramePr>
        <p:xfrm>
          <a:off x="2073275" y="2868613"/>
          <a:ext cx="1698625" cy="725487"/>
        </p:xfrm>
        <a:graphic>
          <a:graphicData uri="http://schemas.openxmlformats.org/drawingml/2006/chart">
            <c:chart xmlns:c="http://schemas.openxmlformats.org/drawingml/2006/chart" xmlns:r="http://schemas.openxmlformats.org/officeDocument/2006/relationships" r:id="rId42"/>
          </a:graphicData>
        </a:graphic>
      </p:graphicFrame>
      <p:sp>
        <p:nvSpPr>
          <p:cNvPr id="18" name="Text Placeholder 19">
            <a:extLst>
              <a:ext uri="{FF2B5EF4-FFF2-40B4-BE49-F238E27FC236}">
                <a16:creationId xmlns:a16="http://schemas.microsoft.com/office/drawing/2014/main" id="{9DE3032F-1A38-94D8-BC79-545F9DEB32C0}"/>
              </a:ext>
            </a:extLst>
          </p:cNvPr>
          <p:cNvSpPr>
            <a:spLocks noGrp="1"/>
          </p:cNvSpPr>
          <p:nvPr>
            <p:custDataLst>
              <p:tags r:id="rId8"/>
            </p:custDataLst>
          </p:nvPr>
        </p:nvSpPr>
        <p:spPr bwMode="auto">
          <a:xfrm>
            <a:off x="1881188" y="29543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89915738-B471-4E62-80D6-59162D69E00C}"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20" name="Text Placeholder 19">
            <a:extLst>
              <a:ext uri="{FF2B5EF4-FFF2-40B4-BE49-F238E27FC236}">
                <a16:creationId xmlns:a16="http://schemas.microsoft.com/office/drawing/2014/main" id="{DCE4AB32-CCEA-5E36-8EB0-2085EFA0CDCF}"/>
              </a:ext>
            </a:extLst>
          </p:cNvPr>
          <p:cNvSpPr>
            <a:spLocks noGrp="1"/>
          </p:cNvSpPr>
          <p:nvPr>
            <p:custDataLst>
              <p:tags r:id="rId9"/>
            </p:custDataLst>
          </p:nvPr>
        </p:nvSpPr>
        <p:spPr bwMode="auto">
          <a:xfrm>
            <a:off x="1881188" y="31400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95527DE-6E7D-4970-98D4-ED28FD08FD5F}"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21" name="Text Placeholder 19">
            <a:extLst>
              <a:ext uri="{FF2B5EF4-FFF2-40B4-BE49-F238E27FC236}">
                <a16:creationId xmlns:a16="http://schemas.microsoft.com/office/drawing/2014/main" id="{F27C44D1-6782-C202-6487-7632B7F765D7}"/>
              </a:ext>
            </a:extLst>
          </p:cNvPr>
          <p:cNvSpPr>
            <a:spLocks noGrp="1"/>
          </p:cNvSpPr>
          <p:nvPr>
            <p:custDataLst>
              <p:tags r:id="rId10"/>
            </p:custDataLst>
          </p:nvPr>
        </p:nvSpPr>
        <p:spPr bwMode="auto">
          <a:xfrm>
            <a:off x="1881188" y="33274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632B506A-6F76-44C0-8DED-F75A7A21E2C6}"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39" name="Chart 38">
            <a:extLst>
              <a:ext uri="{FF2B5EF4-FFF2-40B4-BE49-F238E27FC236}">
                <a16:creationId xmlns:a16="http://schemas.microsoft.com/office/drawing/2014/main" id="{68F85E26-FC19-0424-C7D5-19F5E0D66595}"/>
              </a:ext>
            </a:extLst>
          </p:cNvPr>
          <p:cNvGraphicFramePr/>
          <p:nvPr>
            <p:custDataLst>
              <p:tags r:id="rId11"/>
            </p:custDataLst>
            <p:extLst>
              <p:ext uri="{D42A27DB-BD31-4B8C-83A1-F6EECF244321}">
                <p14:modId xmlns:p14="http://schemas.microsoft.com/office/powerpoint/2010/main" val="2202501883"/>
              </p:ext>
            </p:extLst>
          </p:nvPr>
        </p:nvGraphicFramePr>
        <p:xfrm>
          <a:off x="2073275" y="3732213"/>
          <a:ext cx="1698625" cy="725487"/>
        </p:xfrm>
        <a:graphic>
          <a:graphicData uri="http://schemas.openxmlformats.org/drawingml/2006/chart">
            <c:chart xmlns:c="http://schemas.openxmlformats.org/drawingml/2006/chart" xmlns:r="http://schemas.openxmlformats.org/officeDocument/2006/relationships" r:id="rId43"/>
          </a:graphicData>
        </a:graphic>
      </p:graphicFrame>
      <p:sp>
        <p:nvSpPr>
          <p:cNvPr id="24" name="Text Placeholder 19">
            <a:extLst>
              <a:ext uri="{FF2B5EF4-FFF2-40B4-BE49-F238E27FC236}">
                <a16:creationId xmlns:a16="http://schemas.microsoft.com/office/drawing/2014/main" id="{D6E58821-E65E-79EC-2B3C-93E896253836}"/>
              </a:ext>
            </a:extLst>
          </p:cNvPr>
          <p:cNvSpPr>
            <a:spLocks noGrp="1"/>
          </p:cNvSpPr>
          <p:nvPr>
            <p:custDataLst>
              <p:tags r:id="rId12"/>
            </p:custDataLst>
          </p:nvPr>
        </p:nvSpPr>
        <p:spPr bwMode="auto">
          <a:xfrm>
            <a:off x="1881188" y="38179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464F42B-05D0-41A2-9465-9EEC3585F703}"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25" name="Text Placeholder 19">
            <a:extLst>
              <a:ext uri="{FF2B5EF4-FFF2-40B4-BE49-F238E27FC236}">
                <a16:creationId xmlns:a16="http://schemas.microsoft.com/office/drawing/2014/main" id="{9806D6C4-6F4C-6670-779C-7B851A397F70}"/>
              </a:ext>
            </a:extLst>
          </p:cNvPr>
          <p:cNvSpPr>
            <a:spLocks noGrp="1"/>
          </p:cNvSpPr>
          <p:nvPr>
            <p:custDataLst>
              <p:tags r:id="rId13"/>
            </p:custDataLst>
          </p:nvPr>
        </p:nvSpPr>
        <p:spPr bwMode="auto">
          <a:xfrm>
            <a:off x="1881188" y="40036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45C6802-873D-4553-8E51-B4DF90CBA35D}"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26" name="Text Placeholder 19">
            <a:extLst>
              <a:ext uri="{FF2B5EF4-FFF2-40B4-BE49-F238E27FC236}">
                <a16:creationId xmlns:a16="http://schemas.microsoft.com/office/drawing/2014/main" id="{16FC5D6A-0D5E-4957-D314-E0C572186A4E}"/>
              </a:ext>
            </a:extLst>
          </p:cNvPr>
          <p:cNvSpPr>
            <a:spLocks noGrp="1"/>
          </p:cNvSpPr>
          <p:nvPr>
            <p:custDataLst>
              <p:tags r:id="rId14"/>
            </p:custDataLst>
          </p:nvPr>
        </p:nvSpPr>
        <p:spPr bwMode="auto">
          <a:xfrm>
            <a:off x="1881188" y="41910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B3917324-2A8C-456F-BE94-27378E8BF7E6}"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0" name="Chart 39">
            <a:extLst>
              <a:ext uri="{FF2B5EF4-FFF2-40B4-BE49-F238E27FC236}">
                <a16:creationId xmlns:a16="http://schemas.microsoft.com/office/drawing/2014/main" id="{DC0BA9A1-3F0A-6BBB-D50E-F8F001C17FD1}"/>
              </a:ext>
            </a:extLst>
          </p:cNvPr>
          <p:cNvGraphicFramePr/>
          <p:nvPr>
            <p:custDataLst>
              <p:tags r:id="rId15"/>
            </p:custDataLst>
            <p:extLst>
              <p:ext uri="{D42A27DB-BD31-4B8C-83A1-F6EECF244321}">
                <p14:modId xmlns:p14="http://schemas.microsoft.com/office/powerpoint/2010/main" val="734460578"/>
              </p:ext>
            </p:extLst>
          </p:nvPr>
        </p:nvGraphicFramePr>
        <p:xfrm>
          <a:off x="2073275" y="4760913"/>
          <a:ext cx="1698625" cy="725487"/>
        </p:xfrm>
        <a:graphic>
          <a:graphicData uri="http://schemas.openxmlformats.org/drawingml/2006/chart">
            <c:chart xmlns:c="http://schemas.openxmlformats.org/drawingml/2006/chart" xmlns:r="http://schemas.openxmlformats.org/officeDocument/2006/relationships" r:id="rId44"/>
          </a:graphicData>
        </a:graphic>
      </p:graphicFrame>
      <p:sp>
        <p:nvSpPr>
          <p:cNvPr id="28" name="Text Placeholder 19">
            <a:extLst>
              <a:ext uri="{FF2B5EF4-FFF2-40B4-BE49-F238E27FC236}">
                <a16:creationId xmlns:a16="http://schemas.microsoft.com/office/drawing/2014/main" id="{AFAF5ED3-C8E3-B4AB-17B7-90728E5CC841}"/>
              </a:ext>
            </a:extLst>
          </p:cNvPr>
          <p:cNvSpPr>
            <a:spLocks noGrp="1"/>
          </p:cNvSpPr>
          <p:nvPr>
            <p:custDataLst>
              <p:tags r:id="rId16"/>
            </p:custDataLst>
          </p:nvPr>
        </p:nvSpPr>
        <p:spPr bwMode="auto">
          <a:xfrm>
            <a:off x="1881188" y="48466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E8212F7-3915-450F-9508-F652588E8289}"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29" name="Text Placeholder 19">
            <a:extLst>
              <a:ext uri="{FF2B5EF4-FFF2-40B4-BE49-F238E27FC236}">
                <a16:creationId xmlns:a16="http://schemas.microsoft.com/office/drawing/2014/main" id="{DAB71729-17D6-A572-C81E-C37F3B60D101}"/>
              </a:ext>
            </a:extLst>
          </p:cNvPr>
          <p:cNvSpPr>
            <a:spLocks noGrp="1"/>
          </p:cNvSpPr>
          <p:nvPr>
            <p:custDataLst>
              <p:tags r:id="rId17"/>
            </p:custDataLst>
          </p:nvPr>
        </p:nvSpPr>
        <p:spPr bwMode="auto">
          <a:xfrm>
            <a:off x="1881188" y="50323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EE6B731-1A16-4DB7-983E-33DD17728153}"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0" name="Text Placeholder 19">
            <a:extLst>
              <a:ext uri="{FF2B5EF4-FFF2-40B4-BE49-F238E27FC236}">
                <a16:creationId xmlns:a16="http://schemas.microsoft.com/office/drawing/2014/main" id="{E20A9DEF-553B-E6EA-C484-1D95EF3B53A5}"/>
              </a:ext>
            </a:extLst>
          </p:cNvPr>
          <p:cNvSpPr>
            <a:spLocks noGrp="1"/>
          </p:cNvSpPr>
          <p:nvPr>
            <p:custDataLst>
              <p:tags r:id="rId18"/>
            </p:custDataLst>
          </p:nvPr>
        </p:nvSpPr>
        <p:spPr bwMode="auto">
          <a:xfrm>
            <a:off x="1881188" y="52197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69121930-9D8A-4199-AEDB-9A59B531890C}"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41" name="Chart 40">
            <a:extLst>
              <a:ext uri="{FF2B5EF4-FFF2-40B4-BE49-F238E27FC236}">
                <a16:creationId xmlns:a16="http://schemas.microsoft.com/office/drawing/2014/main" id="{6F966529-E324-A0B0-C3B2-AD103017188D}"/>
              </a:ext>
            </a:extLst>
          </p:cNvPr>
          <p:cNvGraphicFramePr/>
          <p:nvPr>
            <p:custDataLst>
              <p:tags r:id="rId19"/>
            </p:custDataLst>
            <p:extLst>
              <p:ext uri="{D42A27DB-BD31-4B8C-83A1-F6EECF244321}">
                <p14:modId xmlns:p14="http://schemas.microsoft.com/office/powerpoint/2010/main" val="586018615"/>
              </p:ext>
            </p:extLst>
          </p:nvPr>
        </p:nvGraphicFramePr>
        <p:xfrm>
          <a:off x="2073275" y="5675313"/>
          <a:ext cx="1698625" cy="725487"/>
        </p:xfrm>
        <a:graphic>
          <a:graphicData uri="http://schemas.openxmlformats.org/drawingml/2006/chart">
            <c:chart xmlns:c="http://schemas.openxmlformats.org/drawingml/2006/chart" xmlns:r="http://schemas.openxmlformats.org/officeDocument/2006/relationships" r:id="rId45"/>
          </a:graphicData>
        </a:graphic>
      </p:graphicFrame>
      <p:sp>
        <p:nvSpPr>
          <p:cNvPr id="32" name="Text Placeholder 19">
            <a:extLst>
              <a:ext uri="{FF2B5EF4-FFF2-40B4-BE49-F238E27FC236}">
                <a16:creationId xmlns:a16="http://schemas.microsoft.com/office/drawing/2014/main" id="{134A0B3F-D013-6B16-D19B-47071201E232}"/>
              </a:ext>
            </a:extLst>
          </p:cNvPr>
          <p:cNvSpPr>
            <a:spLocks noGrp="1"/>
          </p:cNvSpPr>
          <p:nvPr>
            <p:custDataLst>
              <p:tags r:id="rId20"/>
            </p:custDataLst>
          </p:nvPr>
        </p:nvSpPr>
        <p:spPr bwMode="auto">
          <a:xfrm>
            <a:off x="1881188" y="57610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D8178BF-5D57-4250-8E14-75F9C68F5413}"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3" name="Text Placeholder 19">
            <a:extLst>
              <a:ext uri="{FF2B5EF4-FFF2-40B4-BE49-F238E27FC236}">
                <a16:creationId xmlns:a16="http://schemas.microsoft.com/office/drawing/2014/main" id="{53CE2920-305C-A493-E4B5-3FA66DF183C7}"/>
              </a:ext>
            </a:extLst>
          </p:cNvPr>
          <p:cNvSpPr>
            <a:spLocks noGrp="1"/>
          </p:cNvSpPr>
          <p:nvPr>
            <p:custDataLst>
              <p:tags r:id="rId21"/>
            </p:custDataLst>
          </p:nvPr>
        </p:nvSpPr>
        <p:spPr bwMode="auto">
          <a:xfrm>
            <a:off x="1881188" y="59467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D5D954F-5F05-4BDE-83BE-9D4064542452}"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5" name="Text Placeholder 19">
            <a:extLst>
              <a:ext uri="{FF2B5EF4-FFF2-40B4-BE49-F238E27FC236}">
                <a16:creationId xmlns:a16="http://schemas.microsoft.com/office/drawing/2014/main" id="{2E48F665-8CB9-017A-BA3E-BE35EBFEA738}"/>
              </a:ext>
            </a:extLst>
          </p:cNvPr>
          <p:cNvSpPr>
            <a:spLocks noGrp="1"/>
          </p:cNvSpPr>
          <p:nvPr>
            <p:custDataLst>
              <p:tags r:id="rId22"/>
            </p:custDataLst>
          </p:nvPr>
        </p:nvSpPr>
        <p:spPr bwMode="auto">
          <a:xfrm>
            <a:off x="1881188" y="61341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DE0843B-8881-4FCB-9FA3-586E4FA3B9F6}"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57" name="Chart 56">
            <a:extLst>
              <a:ext uri="{FF2B5EF4-FFF2-40B4-BE49-F238E27FC236}">
                <a16:creationId xmlns:a16="http://schemas.microsoft.com/office/drawing/2014/main" id="{E47CD3E8-321B-A3B8-C8BD-C637177C586E}"/>
              </a:ext>
            </a:extLst>
          </p:cNvPr>
          <p:cNvGraphicFramePr/>
          <p:nvPr>
            <p:custDataLst>
              <p:tags r:id="rId23"/>
            </p:custDataLst>
            <p:extLst>
              <p:ext uri="{D42A27DB-BD31-4B8C-83A1-F6EECF244321}">
                <p14:modId xmlns:p14="http://schemas.microsoft.com/office/powerpoint/2010/main" val="3178437666"/>
              </p:ext>
            </p:extLst>
          </p:nvPr>
        </p:nvGraphicFramePr>
        <p:xfrm>
          <a:off x="12825413" y="1701800"/>
          <a:ext cx="1698625" cy="725488"/>
        </p:xfrm>
        <a:graphic>
          <a:graphicData uri="http://schemas.openxmlformats.org/drawingml/2006/chart">
            <c:chart xmlns:c="http://schemas.openxmlformats.org/drawingml/2006/chart" xmlns:r="http://schemas.openxmlformats.org/officeDocument/2006/relationships" r:id="rId46"/>
          </a:graphicData>
        </a:graphic>
      </p:graphicFrame>
      <p:sp>
        <p:nvSpPr>
          <p:cNvPr id="43" name="Text Placeholder 19">
            <a:extLst>
              <a:ext uri="{FF2B5EF4-FFF2-40B4-BE49-F238E27FC236}">
                <a16:creationId xmlns:a16="http://schemas.microsoft.com/office/drawing/2014/main" id="{B5CF10EB-84E9-455C-E4B2-7DDDB7274B95}"/>
              </a:ext>
            </a:extLst>
          </p:cNvPr>
          <p:cNvSpPr>
            <a:spLocks noGrp="1"/>
          </p:cNvSpPr>
          <p:nvPr>
            <p:custDataLst>
              <p:tags r:id="rId24"/>
            </p:custDataLst>
          </p:nvPr>
        </p:nvSpPr>
        <p:spPr bwMode="auto">
          <a:xfrm>
            <a:off x="12633325" y="178752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7FE87E85-3A41-4B61-B212-919210CA7FEE}"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4" name="Text Placeholder 19">
            <a:extLst>
              <a:ext uri="{FF2B5EF4-FFF2-40B4-BE49-F238E27FC236}">
                <a16:creationId xmlns:a16="http://schemas.microsoft.com/office/drawing/2014/main" id="{D106B047-13C4-E35A-2C2B-F7C75BC7DBF9}"/>
              </a:ext>
            </a:extLst>
          </p:cNvPr>
          <p:cNvSpPr>
            <a:spLocks noGrp="1"/>
          </p:cNvSpPr>
          <p:nvPr>
            <p:custDataLst>
              <p:tags r:id="rId25"/>
            </p:custDataLst>
          </p:nvPr>
        </p:nvSpPr>
        <p:spPr bwMode="auto">
          <a:xfrm>
            <a:off x="12633325" y="1973263"/>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44DE8F2-CAE4-46CD-9737-F80EBB2788A0}"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5" name="Text Placeholder 19">
            <a:extLst>
              <a:ext uri="{FF2B5EF4-FFF2-40B4-BE49-F238E27FC236}">
                <a16:creationId xmlns:a16="http://schemas.microsoft.com/office/drawing/2014/main" id="{823E24F0-2E56-6A70-5A2E-80D4255043B5}"/>
              </a:ext>
            </a:extLst>
          </p:cNvPr>
          <p:cNvSpPr>
            <a:spLocks noGrp="1"/>
          </p:cNvSpPr>
          <p:nvPr>
            <p:custDataLst>
              <p:tags r:id="rId26"/>
            </p:custDataLst>
          </p:nvPr>
        </p:nvSpPr>
        <p:spPr bwMode="auto">
          <a:xfrm>
            <a:off x="12633325" y="216058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BF3829C6-DB6D-457C-B838-9B6848CB80DB}"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6" name="Rectangle 45">
            <a:extLst>
              <a:ext uri="{FF2B5EF4-FFF2-40B4-BE49-F238E27FC236}">
                <a16:creationId xmlns:a16="http://schemas.microsoft.com/office/drawing/2014/main" id="{E7F9FB53-2DA2-83AF-54E2-166536DDB87D}"/>
              </a:ext>
            </a:extLst>
          </p:cNvPr>
          <p:cNvSpPr/>
          <p:nvPr>
            <p:custDataLst>
              <p:tags r:id="rId27"/>
            </p:custDataLst>
          </p:nvPr>
        </p:nvSpPr>
        <p:spPr bwMode="auto">
          <a:xfrm>
            <a:off x="5551488" y="1335088"/>
            <a:ext cx="179388" cy="133350"/>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7" name="Rectangle 46">
            <a:extLst>
              <a:ext uri="{FF2B5EF4-FFF2-40B4-BE49-F238E27FC236}">
                <a16:creationId xmlns:a16="http://schemas.microsoft.com/office/drawing/2014/main" id="{5EA49F98-D4A1-6A34-705C-79C82A510D2E}"/>
              </a:ext>
            </a:extLst>
          </p:cNvPr>
          <p:cNvSpPr/>
          <p:nvPr>
            <p:custDataLst>
              <p:tags r:id="rId28"/>
            </p:custDataLst>
          </p:nvPr>
        </p:nvSpPr>
        <p:spPr bwMode="auto">
          <a:xfrm>
            <a:off x="6129338" y="1335088"/>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8" name="Rectangle 47">
            <a:extLst>
              <a:ext uri="{FF2B5EF4-FFF2-40B4-BE49-F238E27FC236}">
                <a16:creationId xmlns:a16="http://schemas.microsoft.com/office/drawing/2014/main" id="{DAA29C3B-69FF-2472-CA17-31797E36BE23}"/>
              </a:ext>
            </a:extLst>
          </p:cNvPr>
          <p:cNvSpPr/>
          <p:nvPr>
            <p:custDataLst>
              <p:tags r:id="rId29"/>
            </p:custDataLst>
          </p:nvPr>
        </p:nvSpPr>
        <p:spPr bwMode="auto">
          <a:xfrm>
            <a:off x="6751638" y="1335088"/>
            <a:ext cx="179388" cy="133350"/>
          </a:xfrm>
          <a:prstGeom prst="rect">
            <a:avLst/>
          </a:prstGeom>
          <a:solidFill>
            <a:srgbClr val="CFDE6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9" name="Rectangle 48">
            <a:extLst>
              <a:ext uri="{FF2B5EF4-FFF2-40B4-BE49-F238E27FC236}">
                <a16:creationId xmlns:a16="http://schemas.microsoft.com/office/drawing/2014/main" id="{2E13BBE5-8A2B-3592-5D2B-9D6E730AD72D}"/>
              </a:ext>
            </a:extLst>
          </p:cNvPr>
          <p:cNvSpPr/>
          <p:nvPr>
            <p:custDataLst>
              <p:tags r:id="rId30"/>
            </p:custDataLst>
          </p:nvPr>
        </p:nvSpPr>
        <p:spPr bwMode="auto">
          <a:xfrm>
            <a:off x="7446963" y="1335088"/>
            <a:ext cx="179388" cy="13335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0" name="Rectangle 49">
            <a:extLst>
              <a:ext uri="{FF2B5EF4-FFF2-40B4-BE49-F238E27FC236}">
                <a16:creationId xmlns:a16="http://schemas.microsoft.com/office/drawing/2014/main" id="{46A5AB19-C310-BF87-8C6D-4DCC39648B6E}"/>
              </a:ext>
            </a:extLst>
          </p:cNvPr>
          <p:cNvSpPr/>
          <p:nvPr>
            <p:custDataLst>
              <p:tags r:id="rId31"/>
            </p:custDataLst>
          </p:nvPr>
        </p:nvSpPr>
        <p:spPr bwMode="auto">
          <a:xfrm>
            <a:off x="8215313" y="1335088"/>
            <a:ext cx="179388" cy="133350"/>
          </a:xfrm>
          <a:prstGeom prst="rect">
            <a:avLst/>
          </a:prstGeom>
          <a:solidFill>
            <a:srgbClr val="657D1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1" name="Text Placeholder 19">
            <a:extLst>
              <a:ext uri="{FF2B5EF4-FFF2-40B4-BE49-F238E27FC236}">
                <a16:creationId xmlns:a16="http://schemas.microsoft.com/office/drawing/2014/main" id="{3F6390F3-0387-8A55-ED32-23AEB198B5F6}"/>
              </a:ext>
            </a:extLst>
          </p:cNvPr>
          <p:cNvSpPr>
            <a:spLocks noGrp="1"/>
          </p:cNvSpPr>
          <p:nvPr>
            <p:custDataLst>
              <p:tags r:id="rId32"/>
            </p:custDataLst>
          </p:nvPr>
        </p:nvSpPr>
        <p:spPr bwMode="auto">
          <a:xfrm>
            <a:off x="5781675" y="1330325"/>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8AEF97D-1724-4108-ADCD-A57050FB29A9}" type="datetime'''''''''''''''''''''&lt;''''''''''6''''''''''''''''%'''''''''">
              <a:rPr lang="en-GB" altLang="en-US" sz="1000" smtClean="0">
                <a:solidFill>
                  <a:srgbClr val="3C3C3B"/>
                </a:solidFill>
                <a:ea typeface="+mn-ea"/>
                <a:cs typeface="+mn-cs"/>
              </a:rPr>
              <a:pPr lvl="0">
                <a:spcBef>
                  <a:spcPct val="0"/>
                </a:spcBef>
                <a:spcAft>
                  <a:spcPct val="0"/>
                </a:spcAft>
              </a:pPr>
              <a:t>&lt;6%</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52" name="Text Placeholder 19">
            <a:extLst>
              <a:ext uri="{FF2B5EF4-FFF2-40B4-BE49-F238E27FC236}">
                <a16:creationId xmlns:a16="http://schemas.microsoft.com/office/drawing/2014/main" id="{7C7A896C-3844-5CE6-B2B8-4436EA5E01E1}"/>
              </a:ext>
            </a:extLst>
          </p:cNvPr>
          <p:cNvSpPr>
            <a:spLocks noGrp="1"/>
          </p:cNvSpPr>
          <p:nvPr>
            <p:custDataLst>
              <p:tags r:id="rId33"/>
            </p:custDataLst>
          </p:nvPr>
        </p:nvSpPr>
        <p:spPr bwMode="auto">
          <a:xfrm>
            <a:off x="6359526" y="1330325"/>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7167765-55E6-4694-A917-726A7D89E379}" type="datetime'6''''''''''''''''-''''8''''''''''''''''''''''''''''''%'''">
              <a:rPr lang="en-GB" altLang="en-US" sz="1000" smtClean="0">
                <a:solidFill>
                  <a:srgbClr val="3C3C3B"/>
                </a:solidFill>
                <a:ea typeface="+mn-ea"/>
                <a:cs typeface="+mn-cs"/>
              </a:rPr>
              <a:pPr lvl="0">
                <a:spcBef>
                  <a:spcPct val="0"/>
                </a:spcBef>
                <a:spcAft>
                  <a:spcPct val="0"/>
                </a:spcAft>
              </a:pPr>
              <a:t>6-8%</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53" name="Text Placeholder 19">
            <a:extLst>
              <a:ext uri="{FF2B5EF4-FFF2-40B4-BE49-F238E27FC236}">
                <a16:creationId xmlns:a16="http://schemas.microsoft.com/office/drawing/2014/main" id="{E41489BE-BADA-D435-2497-A0DFAD135668}"/>
              </a:ext>
            </a:extLst>
          </p:cNvPr>
          <p:cNvSpPr>
            <a:spLocks noGrp="1"/>
          </p:cNvSpPr>
          <p:nvPr>
            <p:custDataLst>
              <p:tags r:id="rId34"/>
            </p:custDataLst>
          </p:nvPr>
        </p:nvSpPr>
        <p:spPr bwMode="auto">
          <a:xfrm>
            <a:off x="6981825" y="1330325"/>
            <a:ext cx="363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9F234A2-4602-48A7-8DA5-DA285DE9C870}" type="datetime'''''8''-''1''0''''''''''''''''''%'''">
              <a:rPr lang="en-GB" altLang="en-US" sz="1000" smtClean="0">
                <a:solidFill>
                  <a:srgbClr val="3C3C3B"/>
                </a:solidFill>
                <a:ea typeface="+mn-ea"/>
                <a:cs typeface="+mn-cs"/>
              </a:rPr>
              <a:pPr lvl="0">
                <a:spcBef>
                  <a:spcPct val="0"/>
                </a:spcBef>
                <a:spcAft>
                  <a:spcPct val="0"/>
                </a:spcAft>
              </a:pPr>
              <a:t>8-10%</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54" name="Text Placeholder 19">
            <a:extLst>
              <a:ext uri="{FF2B5EF4-FFF2-40B4-BE49-F238E27FC236}">
                <a16:creationId xmlns:a16="http://schemas.microsoft.com/office/drawing/2014/main" id="{1D27558F-3595-F702-6029-D1DE1CFA371D}"/>
              </a:ext>
            </a:extLst>
          </p:cNvPr>
          <p:cNvSpPr>
            <a:spLocks noGrp="1"/>
          </p:cNvSpPr>
          <p:nvPr>
            <p:custDataLst>
              <p:tags r:id="rId35"/>
            </p:custDataLst>
          </p:nvPr>
        </p:nvSpPr>
        <p:spPr bwMode="auto">
          <a:xfrm>
            <a:off x="7677151" y="133032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02B61DD3-8298-42C7-8162-C8A733C71300}" type="datetime'''''10''''''''-''''1''''''''''''2''''''''''''%'''''''''''''">
              <a:rPr lang="en-GB" altLang="en-US" sz="1000" smtClean="0">
                <a:solidFill>
                  <a:srgbClr val="3C3C3B"/>
                </a:solidFill>
                <a:ea typeface="+mn-ea"/>
                <a:cs typeface="+mn-cs"/>
              </a:rPr>
              <a:pPr lvl="0">
                <a:spcBef>
                  <a:spcPct val="0"/>
                </a:spcBef>
                <a:spcAft>
                  <a:spcPct val="0"/>
                </a:spcAft>
              </a:pPr>
              <a:t>10-12%</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55" name="Text Placeholder 19">
            <a:extLst>
              <a:ext uri="{FF2B5EF4-FFF2-40B4-BE49-F238E27FC236}">
                <a16:creationId xmlns:a16="http://schemas.microsoft.com/office/drawing/2014/main" id="{B2D265C7-7F10-225E-97B1-120DC22E137D}"/>
              </a:ext>
            </a:extLst>
          </p:cNvPr>
          <p:cNvSpPr>
            <a:spLocks noGrp="1"/>
          </p:cNvSpPr>
          <p:nvPr>
            <p:custDataLst>
              <p:tags r:id="rId36"/>
            </p:custDataLst>
          </p:nvPr>
        </p:nvSpPr>
        <p:spPr bwMode="auto">
          <a:xfrm>
            <a:off x="8445500" y="1330325"/>
            <a:ext cx="319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3C37C31B-EE74-44F4-A81C-76C1672CCA5A}" type="datetime'''''''''''''&gt;1''''''''''''''2''''''''''''''''''''''%'''''''''">
              <a:rPr lang="en-GB" altLang="en-US" sz="1000" smtClean="0">
                <a:solidFill>
                  <a:srgbClr val="3C3C3B"/>
                </a:solidFill>
                <a:ea typeface="+mn-ea"/>
                <a:cs typeface="+mn-cs"/>
              </a:rPr>
              <a:pPr lvl="0">
                <a:spcBef>
                  <a:spcPct val="0"/>
                </a:spcBef>
                <a:spcAft>
                  <a:spcPct val="0"/>
                </a:spcAft>
              </a:pPr>
              <a:t>&gt;12%</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Tree>
    <p:extLst>
      <p:ext uri="{BB962C8B-B14F-4D97-AF65-F5344CB8AC3E}">
        <p14:creationId xmlns:p14="http://schemas.microsoft.com/office/powerpoint/2010/main" val="23557227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504E19-9954-6CF0-1F08-BD295F24B056}"/>
              </a:ext>
            </a:extLst>
          </p:cNvPr>
          <p:cNvGraphicFramePr>
            <a:graphicFrameLocks noChangeAspect="1"/>
          </p:cNvGraphicFramePr>
          <p:nvPr>
            <p:custDataLst>
              <p:tags r:id="rId1"/>
            </p:custDataLst>
            <p:extLst>
              <p:ext uri="{D42A27DB-BD31-4B8C-83A1-F6EECF244321}">
                <p14:modId xmlns:p14="http://schemas.microsoft.com/office/powerpoint/2010/main" val="509755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95" imgH="394" progId="TCLayout.ActiveDocument.1">
                  <p:embed/>
                </p:oleObj>
              </mc:Choice>
              <mc:Fallback>
                <p:oleObj name="think-cell Slide" r:id="rId43" imgW="395" imgH="394" progId="TCLayout.ActiveDocument.1">
                  <p:embed/>
                  <p:pic>
                    <p:nvPicPr>
                      <p:cNvPr id="9" name="Object 8" hidden="1">
                        <a:extLst>
                          <a:ext uri="{FF2B5EF4-FFF2-40B4-BE49-F238E27FC236}">
                            <a16:creationId xmlns:a16="http://schemas.microsoft.com/office/drawing/2014/main" id="{6D504E19-9954-6CF0-1F08-BD295F24B05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FE32614-0EC8-78B2-A22C-33605FFA5310}"/>
              </a:ext>
            </a:extLst>
          </p:cNvPr>
          <p:cNvSpPr>
            <a:spLocks noGrp="1"/>
          </p:cNvSpPr>
          <p:nvPr>
            <p:ph type="title"/>
          </p:nvPr>
        </p:nvSpPr>
        <p:spPr>
          <a:xfrm>
            <a:off x="381599" y="411856"/>
            <a:ext cx="8686201" cy="609398"/>
          </a:xfrm>
        </p:spPr>
        <p:txBody>
          <a:bodyPr vert="horz"/>
          <a:lstStyle/>
          <a:p>
            <a:r>
              <a:rPr lang="en-GB"/>
              <a:t>… but with increased market saturation over time, energy arbitrage favours 2h and 4h durations  (2/2)</a:t>
            </a:r>
          </a:p>
        </p:txBody>
      </p:sp>
      <p:sp>
        <p:nvSpPr>
          <p:cNvPr id="5" name="Text Placeholder 4">
            <a:extLst>
              <a:ext uri="{FF2B5EF4-FFF2-40B4-BE49-F238E27FC236}">
                <a16:creationId xmlns:a16="http://schemas.microsoft.com/office/drawing/2014/main" id="{5AA49280-3812-1061-EF8B-2DB41235E6C6}"/>
              </a:ext>
            </a:extLst>
          </p:cNvPr>
          <p:cNvSpPr>
            <a:spLocks noGrp="1"/>
          </p:cNvSpPr>
          <p:nvPr>
            <p:ph type="body" sz="quarter" idx="32"/>
          </p:nvPr>
        </p:nvSpPr>
        <p:spPr>
          <a:xfrm>
            <a:off x="381600" y="6474841"/>
            <a:ext cx="11428800" cy="110800"/>
          </a:xfrm>
        </p:spPr>
        <p:txBody>
          <a:bodyPr/>
          <a:lstStyle/>
          <a:p>
            <a:r>
              <a:rPr lang="en-GB"/>
              <a:t>1) Standard case represents standalone business cases for assets optimising among energy arbitrage, capacity-based ancillary services, and capacity markets cashflow. IRRs are based on Aurora’s internal cost assumptions. Ranges are inclusive of lower bound.</a:t>
            </a:r>
          </a:p>
        </p:txBody>
      </p:sp>
      <p:sp>
        <p:nvSpPr>
          <p:cNvPr id="3" name="Text Placeholder 2">
            <a:extLst>
              <a:ext uri="{FF2B5EF4-FFF2-40B4-BE49-F238E27FC236}">
                <a16:creationId xmlns:a16="http://schemas.microsoft.com/office/drawing/2014/main" id="{501FFE25-0B3C-4BDA-7EBC-8CCC3EBAC96D}"/>
              </a:ext>
            </a:extLst>
          </p:cNvPr>
          <p:cNvSpPr>
            <a:spLocks noGrp="1"/>
          </p:cNvSpPr>
          <p:nvPr>
            <p:ph type="body" sz="quarter" idx="22"/>
          </p:nvPr>
        </p:nvSpPr>
        <p:spPr>
          <a:xfrm>
            <a:off x="381001" y="6715169"/>
            <a:ext cx="1452321" cy="110800"/>
          </a:xfrm>
        </p:spPr>
        <p:txBody>
          <a:bodyPr/>
          <a:lstStyle/>
          <a:p>
            <a:r>
              <a:rPr lang="en-GB"/>
              <a:t>Source: Aurora Energy Research</a:t>
            </a:r>
          </a:p>
        </p:txBody>
      </p:sp>
      <p:graphicFrame>
        <p:nvGraphicFramePr>
          <p:cNvPr id="22" name="Tabelle 7">
            <a:extLst>
              <a:ext uri="{FF2B5EF4-FFF2-40B4-BE49-F238E27FC236}">
                <a16:creationId xmlns:a16="http://schemas.microsoft.com/office/drawing/2014/main" id="{DD112C02-A006-F927-1E91-3B5DB30AF401}"/>
              </a:ext>
            </a:extLst>
          </p:cNvPr>
          <p:cNvGraphicFramePr>
            <a:graphicFrameLocks noGrp="1"/>
          </p:cNvGraphicFramePr>
          <p:nvPr>
            <p:custDataLst>
              <p:tags r:id="rId2"/>
            </p:custDataLst>
            <p:extLst>
              <p:ext uri="{D42A27DB-BD31-4B8C-83A1-F6EECF244321}">
                <p14:modId xmlns:p14="http://schemas.microsoft.com/office/powerpoint/2010/main" val="3579413593"/>
              </p:ext>
            </p:extLst>
          </p:nvPr>
        </p:nvGraphicFramePr>
        <p:xfrm>
          <a:off x="370800" y="1634272"/>
          <a:ext cx="11444287" cy="4674849"/>
        </p:xfrm>
        <a:graphic>
          <a:graphicData uri="http://schemas.openxmlformats.org/drawingml/2006/table">
            <a:tbl>
              <a:tblPr firstRow="1" bandRow="1">
                <a:effectLst/>
                <a:tableStyleId>{5C22544A-7EE6-4342-B048-85BDC9FD1C3A}</a:tableStyleId>
              </a:tblPr>
              <a:tblGrid>
                <a:gridCol w="1328400">
                  <a:extLst>
                    <a:ext uri="{9D8B030D-6E8A-4147-A177-3AD203B41FA5}">
                      <a16:colId xmlns:a16="http://schemas.microsoft.com/office/drawing/2014/main" val="20000"/>
                    </a:ext>
                  </a:extLst>
                </a:gridCol>
                <a:gridCol w="35887">
                  <a:extLst>
                    <a:ext uri="{9D8B030D-6E8A-4147-A177-3AD203B41FA5}">
                      <a16:colId xmlns:a16="http://schemas.microsoft.com/office/drawing/2014/main" val="2133620686"/>
                    </a:ext>
                  </a:extLst>
                </a:gridCol>
                <a:gridCol w="2340000">
                  <a:extLst>
                    <a:ext uri="{9D8B030D-6E8A-4147-A177-3AD203B41FA5}">
                      <a16:colId xmlns:a16="http://schemas.microsoft.com/office/drawing/2014/main" val="2503764876"/>
                    </a:ext>
                  </a:extLst>
                </a:gridCol>
                <a:gridCol w="7740000">
                  <a:extLst>
                    <a:ext uri="{9D8B030D-6E8A-4147-A177-3AD203B41FA5}">
                      <a16:colId xmlns:a16="http://schemas.microsoft.com/office/drawing/2014/main" val="3499584609"/>
                    </a:ext>
                  </a:extLst>
                </a:gridCol>
              </a:tblGrid>
              <a:tr h="251482">
                <a:tc>
                  <a:txBody>
                    <a:bodyPr/>
                    <a:lstStyle/>
                    <a:p>
                      <a:pPr algn="ctr" rtl="0"/>
                      <a:r>
                        <a:rPr lang="en-GB" sz="10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gion</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0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000" b="1">
                          <a:solidFill>
                            <a:schemeClr val="tx1"/>
                          </a:solidFill>
                          <a:sym typeface="+mj-lt"/>
                        </a:rPr>
                        <a:t>Project IRR</a:t>
                      </a:r>
                      <a:endParaRPr lang="en-GB" sz="1000" b="0" baseline="30000">
                        <a:solidFill>
                          <a:schemeClr val="accent5"/>
                        </a:solidFill>
                        <a:sym typeface="+mj-lt"/>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000" b="1" i="0" kern="1200">
                          <a:solidFill>
                            <a:schemeClr val="tx1"/>
                          </a:solidFill>
                          <a:latin typeface="Lato" panose="020F0502020204030203" pitchFamily="34" charset="0"/>
                          <a:ea typeface="Lato" panose="020F0502020204030203" pitchFamily="34" charset="0"/>
                          <a:cs typeface="Lato" panose="020F0502020204030203" pitchFamily="34" charset="0"/>
                        </a:rPr>
                        <a:t>Comments</a:t>
                      </a: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957600">
                <a:tc>
                  <a:txBody>
                    <a:bodyPr/>
                    <a:lstStyle/>
                    <a:p>
                      <a:pPr marL="0" algn="l" defTabSz="685783" rtl="0" eaLnBrk="1" fontAlgn="t" latinLnBrk="0" hangingPunct="1">
                        <a:spcAft>
                          <a:spcPts val="300"/>
                        </a:spcAft>
                      </a:pPr>
                      <a:endParaRPr lang="en-GB" sz="1000" b="1" i="0" u="none" strike="noStrike" kern="12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fontAlgn="b">
                        <a:spcAft>
                          <a:spcPts val="300"/>
                        </a:spcAft>
                        <a:buFont typeface="Wingdings" panose="05000000000000000000" pitchFamily="2" charset="2"/>
                        <a:buNone/>
                      </a:pPr>
                      <a:endParaRPr lang="en-US" sz="1000" b="0" i="0" u="none" strike="noStrike">
                        <a:solidFill>
                          <a:schemeClr val="tx1"/>
                        </a:solidFill>
                        <a:effectLst/>
                        <a:latin typeface="+mn-lt"/>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82759">
                <a:tc>
                  <a:txBody>
                    <a:bodyPr/>
                    <a:lstStyle/>
                    <a:p>
                      <a:pPr marL="0" algn="l" defTabSz="685783" rtl="0" eaLnBrk="1" fontAlgn="t" latinLnBrk="0" hangingPunct="1">
                        <a:spcAft>
                          <a:spcPts val="300"/>
                        </a:spcAft>
                      </a:pPr>
                      <a:endParaRPr lang="en-GB" sz="1000" b="1" i="0" u="none" strike="noStrike" kern="12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fontAlgn="b">
                        <a:spcAft>
                          <a:spcPts val="300"/>
                        </a:spcAft>
                        <a:buFont typeface="Wingdings" panose="05000000000000000000" pitchFamily="2" charset="2"/>
                        <a:buNone/>
                      </a:pPr>
                      <a:endParaRPr lang="en-GB" altLang="zh-CN" sz="1000" b="0" i="0" u="none" strike="noStrike">
                        <a:solidFill>
                          <a:schemeClr val="tx1"/>
                        </a:solidFill>
                        <a:effectLst/>
                        <a:latin typeface="+mn-lt"/>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400881"/>
                  </a:ext>
                </a:extLst>
              </a:tr>
              <a:tr h="882759">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b="0" kern="1200" noProof="0">
                        <a:solidFill>
                          <a:schemeClr val="dk1"/>
                        </a:solidFill>
                        <a:latin typeface="+mn-lt"/>
                        <a:ea typeface="+mn-ea"/>
                        <a:cs typeface="+mn-cs"/>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kern="1200">
                        <a:solidFill>
                          <a:sysClr val="windowText" lastClr="000000"/>
                        </a:solidFill>
                        <a:latin typeface="+mn-lt"/>
                        <a:ea typeface="+mn-ea"/>
                        <a:cs typeface="+mn-cs"/>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685783" rtl="0" eaLnBrk="1" fontAlgn="b" latinLnBrk="0" hangingPunct="1">
                        <a:lnSpc>
                          <a:spcPct val="100000"/>
                        </a:lnSpc>
                        <a:spcBef>
                          <a:spcPts val="0"/>
                        </a:spcBef>
                        <a:spcAft>
                          <a:spcPts val="300"/>
                        </a:spcAft>
                        <a:buClrTx/>
                        <a:buSzTx/>
                        <a:buFont typeface="Wingdings" panose="05000000000000000000" pitchFamily="2" charset="2"/>
                        <a:buNone/>
                        <a:tabLst/>
                        <a:defRPr/>
                      </a:pPr>
                      <a:endParaRPr lang="en-GB" sz="1000"/>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880521"/>
                  </a:ext>
                </a:extLst>
              </a:tr>
              <a:tr h="882759">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b="0" kern="1200" noProof="0">
                        <a:solidFill>
                          <a:schemeClr val="dk1"/>
                        </a:solidFill>
                        <a:latin typeface="+mn-lt"/>
                        <a:ea typeface="+mn-ea"/>
                        <a:cs typeface="+mn-cs"/>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kern="1200">
                        <a:solidFill>
                          <a:sysClr val="windowText" lastClr="000000"/>
                        </a:solidFill>
                        <a:latin typeface="+mn-lt"/>
                        <a:ea typeface="+mn-ea"/>
                        <a:cs typeface="+mn-cs"/>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indent="-182880" algn="l" rtl="0" fontAlgn="b">
                        <a:spcAft>
                          <a:spcPts val="300"/>
                        </a:spcAft>
                        <a:buFont typeface="Wingdings" panose="05000000000000000000" pitchFamily="2" charset="2"/>
                        <a:buChar char="§"/>
                      </a:pPr>
                      <a:endParaRPr lang="en-GB" sz="1000"/>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9357088"/>
                  </a:ext>
                </a:extLst>
              </a:tr>
              <a:tr h="817490">
                <a:tc>
                  <a:txBody>
                    <a:bodyPr/>
                    <a:lstStyle/>
                    <a:p>
                      <a:pPr marL="0" algn="l" defTabSz="685783" rtl="0" eaLnBrk="1" fontAlgn="t" latinLnBrk="0" hangingPunct="1">
                        <a:spcAft>
                          <a:spcPts val="300"/>
                        </a:spcAft>
                      </a:pPr>
                      <a:endParaRPr lang="en-GB" sz="1000" b="1" i="0" u="none" strike="noStrike" kern="1200" baseline="30000">
                        <a:solidFill>
                          <a:srgbClr val="3C3C3B"/>
                        </a:solidFill>
                        <a:effectLst/>
                        <a:latin typeface="Lato" panose="020F0502020204030203" pitchFamily="34" charset="0"/>
                        <a:ea typeface="+mn-ea"/>
                        <a:cs typeface="+mn-cs"/>
                      </a:endParaRPr>
                    </a:p>
                  </a:txBody>
                  <a:tcPr marL="43200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kern="1200">
                        <a:solidFill>
                          <a:sysClr val="windowText" lastClr="000000"/>
                        </a:solidFill>
                        <a:latin typeface="+mn-lt"/>
                        <a:ea typeface="+mn-ea"/>
                        <a:cs typeface="+mn-cs"/>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fontAlgn="b">
                        <a:spcAft>
                          <a:spcPts val="300"/>
                        </a:spcAft>
                        <a:buFont typeface="Wingdings" panose="05000000000000000000" pitchFamily="2" charset="2"/>
                        <a:buNone/>
                      </a:pPr>
                      <a:endParaRPr lang="en-GB" sz="1000" b="0" i="0" u="none" strike="noStrike">
                        <a:solidFill>
                          <a:schemeClr val="tx1"/>
                        </a:solidFill>
                        <a:effectLst/>
                        <a:latin typeface="+mn-lt"/>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185541"/>
                  </a:ext>
                </a:extLst>
              </a:tr>
            </a:tbl>
          </a:graphicData>
        </a:graphic>
      </p:graphicFrame>
      <p:sp>
        <p:nvSpPr>
          <p:cNvPr id="7" name="Text Placeholder 6"/>
          <p:cNvSpPr>
            <a:spLocks noGrp="1"/>
          </p:cNvSpPr>
          <p:nvPr>
            <p:ph type="body" sz="quarter" idx="31"/>
          </p:nvPr>
        </p:nvSpPr>
        <p:spPr>
          <a:xfrm>
            <a:off x="381599" y="79401"/>
            <a:ext cx="1468672" cy="184666"/>
          </a:xfrm>
        </p:spPr>
        <p:txBody>
          <a:bodyPr/>
          <a:lstStyle/>
          <a:p>
            <a:r>
              <a:rPr lang="en-GB"/>
              <a:t>	Project economics</a:t>
            </a:r>
          </a:p>
        </p:txBody>
      </p:sp>
      <p:sp>
        <p:nvSpPr>
          <p:cNvPr id="34" name="Oval 3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408" name="Text Placeholder 481">
            <a:extLst>
              <a:ext uri="{FF2B5EF4-FFF2-40B4-BE49-F238E27FC236}">
                <a16:creationId xmlns:a16="http://schemas.microsoft.com/office/drawing/2014/main" id="{2A5BC2A5-83B1-AB0D-0ED6-3FA2089FE907}"/>
              </a:ext>
            </a:extLst>
          </p:cNvPr>
          <p:cNvSpPr txBox="1">
            <a:spLocks/>
          </p:cNvSpPr>
          <p:nvPr/>
        </p:nvSpPr>
        <p:spPr>
          <a:xfrm>
            <a:off x="390525" y="1279526"/>
            <a:ext cx="5452010" cy="369332"/>
          </a:xfrm>
          <a:prstGeom prst="rect">
            <a:avLst/>
          </a:prstGeom>
        </p:spPr>
        <p:txBody>
          <a:bodyPr wrap="square" lIns="0" tIns="0" rIns="0" bIns="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mj-lt"/>
              </a:rPr>
              <a:t>Project IRR ranges for standard projects (2027 as entry year – unlevered)</a:t>
            </a:r>
            <a:r>
              <a:rPr kumimoji="0" lang="en-GB" sz="1200" b="1" i="0" u="none" strike="noStrike" kern="1200" cap="none" spc="0" normalizeH="0" baseline="30000" noProof="0">
                <a:ln>
                  <a:noFill/>
                </a:ln>
                <a:solidFill>
                  <a:srgbClr val="3C3C3B"/>
                </a:solidFill>
                <a:effectLst/>
                <a:uLnTx/>
                <a:uFillTx/>
                <a:latin typeface="Lato"/>
                <a:sym typeface="+mj-lt"/>
              </a:rPr>
              <a:t>1</a:t>
            </a:r>
            <a:br>
              <a:rPr kumimoji="0" lang="en-GB" sz="1200" b="1" i="0" u="none" strike="noStrike" kern="1200" cap="none" spc="0" normalizeH="0" baseline="0" noProof="0">
                <a:ln>
                  <a:noFill/>
                </a:ln>
                <a:solidFill>
                  <a:srgbClr val="000000"/>
                </a:solidFill>
                <a:effectLst/>
                <a:uLnTx/>
                <a:uFillTx/>
                <a:latin typeface="Lato"/>
                <a:sym typeface="+mj-lt"/>
              </a:rPr>
            </a:br>
            <a: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t>%, </a:t>
            </a:r>
            <a:r>
              <a:rPr kumimoji="0" lang="en-GB" sz="1200" b="0" i="0" u="none" strike="noStrike" kern="1200" cap="none" spc="0" normalizeH="0" baseline="0" noProof="0">
                <a:ln>
                  <a:noFill/>
                </a:ln>
                <a:solidFill>
                  <a:srgbClr val="838383"/>
                </a:solidFill>
                <a:effectLst/>
                <a:uLnTx/>
                <a:uFillTx/>
                <a:latin typeface="Lato"/>
                <a:sym typeface="+mj-lt"/>
              </a:rPr>
              <a:t>pre-tax, unlevered, Central scenario</a:t>
            </a:r>
          </a:p>
        </p:txBody>
      </p:sp>
      <p:graphicFrame>
        <p:nvGraphicFramePr>
          <p:cNvPr id="74" name="Chart 73">
            <a:extLst>
              <a:ext uri="{FF2B5EF4-FFF2-40B4-BE49-F238E27FC236}">
                <a16:creationId xmlns:a16="http://schemas.microsoft.com/office/drawing/2014/main" id="{45CCBAE6-5712-149D-D967-9CF7040D8B12}"/>
              </a:ext>
            </a:extLst>
          </p:cNvPr>
          <p:cNvGraphicFramePr/>
          <p:nvPr>
            <p:custDataLst>
              <p:tags r:id="rId3"/>
            </p:custDataLst>
          </p:nvPr>
        </p:nvGraphicFramePr>
        <p:xfrm>
          <a:off x="12825413" y="1701800"/>
          <a:ext cx="1698625" cy="725488"/>
        </p:xfrm>
        <a:graphic>
          <a:graphicData uri="http://schemas.openxmlformats.org/drawingml/2006/chart">
            <c:chart xmlns:c="http://schemas.openxmlformats.org/drawingml/2006/chart" xmlns:r="http://schemas.openxmlformats.org/officeDocument/2006/relationships" r:id="rId45"/>
          </a:graphicData>
        </a:graphic>
      </p:graphicFrame>
      <p:sp>
        <p:nvSpPr>
          <p:cNvPr id="60" name="Text Placeholder 19">
            <a:extLst>
              <a:ext uri="{FF2B5EF4-FFF2-40B4-BE49-F238E27FC236}">
                <a16:creationId xmlns:a16="http://schemas.microsoft.com/office/drawing/2014/main" id="{D26C3FF3-409E-34AA-E587-CE9045BA47DB}"/>
              </a:ext>
            </a:extLst>
          </p:cNvPr>
          <p:cNvSpPr>
            <a:spLocks noGrp="1"/>
          </p:cNvSpPr>
          <p:nvPr>
            <p:custDataLst>
              <p:tags r:id="rId4"/>
            </p:custDataLst>
          </p:nvPr>
        </p:nvSpPr>
        <p:spPr bwMode="auto">
          <a:xfrm>
            <a:off x="12633325" y="178752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2CAAA50-1084-4B6C-935A-32EC449E076B}" type="datetime'''''''''1''''h'''''">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1h</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1" name="Text Placeholder 19">
            <a:extLst>
              <a:ext uri="{FF2B5EF4-FFF2-40B4-BE49-F238E27FC236}">
                <a16:creationId xmlns:a16="http://schemas.microsoft.com/office/drawing/2014/main" id="{94CEB52F-F616-09EB-78D0-F0FADF046DA2}"/>
              </a:ext>
            </a:extLst>
          </p:cNvPr>
          <p:cNvSpPr>
            <a:spLocks noGrp="1"/>
          </p:cNvSpPr>
          <p:nvPr>
            <p:custDataLst>
              <p:tags r:id="rId5"/>
            </p:custDataLst>
          </p:nvPr>
        </p:nvSpPr>
        <p:spPr bwMode="auto">
          <a:xfrm>
            <a:off x="12633325" y="1973263"/>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085EDC2-E158-42F7-9773-8C48B9EB46C0}" type="datetime'''''''''''''''''''''''2''''h'''''''''''''''''''''''''''''''">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h</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2" name="Text Placeholder 19">
            <a:extLst>
              <a:ext uri="{FF2B5EF4-FFF2-40B4-BE49-F238E27FC236}">
                <a16:creationId xmlns:a16="http://schemas.microsoft.com/office/drawing/2014/main" id="{DD85A43C-B99C-56E8-B5CD-D36A3029A996}"/>
              </a:ext>
            </a:extLst>
          </p:cNvPr>
          <p:cNvSpPr>
            <a:spLocks noGrp="1"/>
          </p:cNvSpPr>
          <p:nvPr>
            <p:custDataLst>
              <p:tags r:id="rId6"/>
            </p:custDataLst>
          </p:nvPr>
        </p:nvSpPr>
        <p:spPr bwMode="auto">
          <a:xfrm>
            <a:off x="12633325" y="216058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D5748FA-4AA3-4265-81AD-78269084A427}" type="datetime'''''''''''4''''''h'''''''''''''''''''''">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4h</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3" name="Rectangle 62">
            <a:extLst>
              <a:ext uri="{FF2B5EF4-FFF2-40B4-BE49-F238E27FC236}">
                <a16:creationId xmlns:a16="http://schemas.microsoft.com/office/drawing/2014/main" id="{CAC1B0C7-3CB0-9F53-0371-44D678C26E49}"/>
              </a:ext>
            </a:extLst>
          </p:cNvPr>
          <p:cNvSpPr/>
          <p:nvPr>
            <p:custDataLst>
              <p:tags r:id="rId7"/>
            </p:custDataLst>
          </p:nvPr>
        </p:nvSpPr>
        <p:spPr bwMode="auto">
          <a:xfrm>
            <a:off x="5551488" y="1335088"/>
            <a:ext cx="179388" cy="133350"/>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4" name="Rectangle 63">
            <a:extLst>
              <a:ext uri="{FF2B5EF4-FFF2-40B4-BE49-F238E27FC236}">
                <a16:creationId xmlns:a16="http://schemas.microsoft.com/office/drawing/2014/main" id="{252FA92D-0F47-C5D3-2D10-F5EE3677CC0E}"/>
              </a:ext>
            </a:extLst>
          </p:cNvPr>
          <p:cNvSpPr/>
          <p:nvPr>
            <p:custDataLst>
              <p:tags r:id="rId8"/>
            </p:custDataLst>
          </p:nvPr>
        </p:nvSpPr>
        <p:spPr bwMode="auto">
          <a:xfrm>
            <a:off x="6129338" y="1335088"/>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5" name="Rectangle 64">
            <a:extLst>
              <a:ext uri="{FF2B5EF4-FFF2-40B4-BE49-F238E27FC236}">
                <a16:creationId xmlns:a16="http://schemas.microsoft.com/office/drawing/2014/main" id="{879B8111-7E38-29E6-70B9-A224D3132A8B}"/>
              </a:ext>
            </a:extLst>
          </p:cNvPr>
          <p:cNvSpPr/>
          <p:nvPr>
            <p:custDataLst>
              <p:tags r:id="rId9"/>
            </p:custDataLst>
          </p:nvPr>
        </p:nvSpPr>
        <p:spPr bwMode="auto">
          <a:xfrm>
            <a:off x="6751638" y="1335088"/>
            <a:ext cx="179388" cy="133350"/>
          </a:xfrm>
          <a:prstGeom prst="rect">
            <a:avLst/>
          </a:prstGeom>
          <a:solidFill>
            <a:srgbClr val="CFDE6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6" name="Rectangle 65">
            <a:extLst>
              <a:ext uri="{FF2B5EF4-FFF2-40B4-BE49-F238E27FC236}">
                <a16:creationId xmlns:a16="http://schemas.microsoft.com/office/drawing/2014/main" id="{7AC0373F-CE1A-FA8D-BEB8-94983C2F4AA4}"/>
              </a:ext>
            </a:extLst>
          </p:cNvPr>
          <p:cNvSpPr/>
          <p:nvPr>
            <p:custDataLst>
              <p:tags r:id="rId10"/>
            </p:custDataLst>
          </p:nvPr>
        </p:nvSpPr>
        <p:spPr bwMode="auto">
          <a:xfrm>
            <a:off x="7446963" y="1335088"/>
            <a:ext cx="179388" cy="13335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7" name="Rectangle 66">
            <a:extLst>
              <a:ext uri="{FF2B5EF4-FFF2-40B4-BE49-F238E27FC236}">
                <a16:creationId xmlns:a16="http://schemas.microsoft.com/office/drawing/2014/main" id="{750F4DD1-74EF-D6E9-BB33-A65A8355FFF2}"/>
              </a:ext>
            </a:extLst>
          </p:cNvPr>
          <p:cNvSpPr/>
          <p:nvPr>
            <p:custDataLst>
              <p:tags r:id="rId11"/>
            </p:custDataLst>
          </p:nvPr>
        </p:nvSpPr>
        <p:spPr bwMode="auto">
          <a:xfrm>
            <a:off x="8215313" y="1335088"/>
            <a:ext cx="179388" cy="133350"/>
          </a:xfrm>
          <a:prstGeom prst="rect">
            <a:avLst/>
          </a:prstGeom>
          <a:solidFill>
            <a:srgbClr val="657D1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8" name="Text Placeholder 19">
            <a:extLst>
              <a:ext uri="{FF2B5EF4-FFF2-40B4-BE49-F238E27FC236}">
                <a16:creationId xmlns:a16="http://schemas.microsoft.com/office/drawing/2014/main" id="{5C931BEB-8497-F254-D7C7-B4E2D8E0D522}"/>
              </a:ext>
            </a:extLst>
          </p:cNvPr>
          <p:cNvSpPr>
            <a:spLocks noGrp="1"/>
          </p:cNvSpPr>
          <p:nvPr>
            <p:custDataLst>
              <p:tags r:id="rId12"/>
            </p:custDataLst>
          </p:nvPr>
        </p:nvSpPr>
        <p:spPr bwMode="auto">
          <a:xfrm>
            <a:off x="5781675" y="1330325"/>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94D3950-D3D6-49F8-90C8-E2CC1235819A}" type="datetime'''''&lt;''''''''''6''''%'''''">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lt;6%</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9" name="Text Placeholder 19">
            <a:extLst>
              <a:ext uri="{FF2B5EF4-FFF2-40B4-BE49-F238E27FC236}">
                <a16:creationId xmlns:a16="http://schemas.microsoft.com/office/drawing/2014/main" id="{81B8087C-7594-3F10-3DBC-A358F1038566}"/>
              </a:ext>
            </a:extLst>
          </p:cNvPr>
          <p:cNvSpPr>
            <a:spLocks noGrp="1"/>
          </p:cNvSpPr>
          <p:nvPr>
            <p:custDataLst>
              <p:tags r:id="rId13"/>
            </p:custDataLst>
          </p:nvPr>
        </p:nvSpPr>
        <p:spPr bwMode="auto">
          <a:xfrm>
            <a:off x="6359526" y="1330325"/>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7ABC29F-CBFD-4CB7-9EF1-C9EFAC84BF9A}" type="datetime'''''''''6''-''''''8''''%'''''''''''">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6-8%</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70" name="Text Placeholder 19">
            <a:extLst>
              <a:ext uri="{FF2B5EF4-FFF2-40B4-BE49-F238E27FC236}">
                <a16:creationId xmlns:a16="http://schemas.microsoft.com/office/drawing/2014/main" id="{C013C5B1-AE22-59AC-EAB5-835DF91A788A}"/>
              </a:ext>
            </a:extLst>
          </p:cNvPr>
          <p:cNvSpPr>
            <a:spLocks noGrp="1"/>
          </p:cNvSpPr>
          <p:nvPr>
            <p:custDataLst>
              <p:tags r:id="rId14"/>
            </p:custDataLst>
          </p:nvPr>
        </p:nvSpPr>
        <p:spPr bwMode="auto">
          <a:xfrm>
            <a:off x="6981825" y="1330325"/>
            <a:ext cx="363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DAA8C0C-F84C-4633-BB20-0566F79D7662}" type="datetime'''8''''-''''10''''%'''''''''''''''''''''">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8-10%</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71" name="Text Placeholder 19">
            <a:extLst>
              <a:ext uri="{FF2B5EF4-FFF2-40B4-BE49-F238E27FC236}">
                <a16:creationId xmlns:a16="http://schemas.microsoft.com/office/drawing/2014/main" id="{47203A7D-3B96-21B9-7721-995D0A876FD5}"/>
              </a:ext>
            </a:extLst>
          </p:cNvPr>
          <p:cNvSpPr>
            <a:spLocks noGrp="1"/>
          </p:cNvSpPr>
          <p:nvPr>
            <p:custDataLst>
              <p:tags r:id="rId15"/>
            </p:custDataLst>
          </p:nvPr>
        </p:nvSpPr>
        <p:spPr bwMode="auto">
          <a:xfrm>
            <a:off x="7677151" y="133032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92F5A87-3B14-41AB-B6E1-7C92D7C4F694}" type="datetime'1''''''0''''-''1''2''''''''''%'''''''">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10-12%</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72" name="Text Placeholder 19">
            <a:extLst>
              <a:ext uri="{FF2B5EF4-FFF2-40B4-BE49-F238E27FC236}">
                <a16:creationId xmlns:a16="http://schemas.microsoft.com/office/drawing/2014/main" id="{53EF07AB-3395-9071-44F7-4C9E97635380}"/>
              </a:ext>
            </a:extLst>
          </p:cNvPr>
          <p:cNvSpPr>
            <a:spLocks noGrp="1"/>
          </p:cNvSpPr>
          <p:nvPr>
            <p:custDataLst>
              <p:tags r:id="rId16"/>
            </p:custDataLst>
          </p:nvPr>
        </p:nvSpPr>
        <p:spPr bwMode="auto">
          <a:xfrm>
            <a:off x="8445500" y="1330325"/>
            <a:ext cx="319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AAF3F629-D3DF-40C7-BA0A-C9B164B710A5}" type="datetime'''&gt;''''''''''''''''''''''1''''''''''2''''''''''''%'''''''">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gt;12%</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aphicFrame>
        <p:nvGraphicFramePr>
          <p:cNvPr id="99" name="Chart 98">
            <a:extLst>
              <a:ext uri="{FF2B5EF4-FFF2-40B4-BE49-F238E27FC236}">
                <a16:creationId xmlns:a16="http://schemas.microsoft.com/office/drawing/2014/main" id="{EEEAC505-7201-1585-EF68-E07855DFC535}"/>
              </a:ext>
            </a:extLst>
          </p:cNvPr>
          <p:cNvGraphicFramePr/>
          <p:nvPr>
            <p:custDataLst>
              <p:tags r:id="rId17"/>
            </p:custDataLst>
          </p:nvPr>
        </p:nvGraphicFramePr>
        <p:xfrm>
          <a:off x="12825413" y="2622550"/>
          <a:ext cx="1698625" cy="725488"/>
        </p:xfrm>
        <a:graphic>
          <a:graphicData uri="http://schemas.openxmlformats.org/drawingml/2006/chart">
            <c:chart xmlns:c="http://schemas.openxmlformats.org/drawingml/2006/chart" xmlns:r="http://schemas.openxmlformats.org/officeDocument/2006/relationships" r:id="rId46"/>
          </a:graphicData>
        </a:graphic>
      </p:graphicFrame>
      <p:sp>
        <p:nvSpPr>
          <p:cNvPr id="8" name="Text Placeholder 19">
            <a:extLst>
              <a:ext uri="{FF2B5EF4-FFF2-40B4-BE49-F238E27FC236}">
                <a16:creationId xmlns:a16="http://schemas.microsoft.com/office/drawing/2014/main" id="{485A1C81-8C35-67CE-1C64-118550178622}"/>
              </a:ext>
            </a:extLst>
          </p:cNvPr>
          <p:cNvSpPr>
            <a:spLocks noGrp="1"/>
          </p:cNvSpPr>
          <p:nvPr>
            <p:custDataLst>
              <p:tags r:id="rId18"/>
            </p:custDataLst>
          </p:nvPr>
        </p:nvSpPr>
        <p:spPr bwMode="auto">
          <a:xfrm>
            <a:off x="12633325" y="27082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F45CBCDC-F077-4104-B4FB-DF76CB5A0A6A}"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15" name="Text Placeholder 19">
            <a:extLst>
              <a:ext uri="{FF2B5EF4-FFF2-40B4-BE49-F238E27FC236}">
                <a16:creationId xmlns:a16="http://schemas.microsoft.com/office/drawing/2014/main" id="{29021D39-E3BD-83E8-F349-5A79EC1C7BA1}"/>
              </a:ext>
            </a:extLst>
          </p:cNvPr>
          <p:cNvSpPr>
            <a:spLocks noGrp="1"/>
          </p:cNvSpPr>
          <p:nvPr>
            <p:custDataLst>
              <p:tags r:id="rId19"/>
            </p:custDataLst>
          </p:nvPr>
        </p:nvSpPr>
        <p:spPr bwMode="auto">
          <a:xfrm>
            <a:off x="12633325" y="2894013"/>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E2D5396-E4C3-4B71-8DCC-BD64E0300EF0}"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17" name="Text Placeholder 19">
            <a:extLst>
              <a:ext uri="{FF2B5EF4-FFF2-40B4-BE49-F238E27FC236}">
                <a16:creationId xmlns:a16="http://schemas.microsoft.com/office/drawing/2014/main" id="{CA457DC4-D91C-E69E-3119-84ED999A3F00}"/>
              </a:ext>
            </a:extLst>
          </p:cNvPr>
          <p:cNvSpPr>
            <a:spLocks noGrp="1"/>
          </p:cNvSpPr>
          <p:nvPr>
            <p:custDataLst>
              <p:tags r:id="rId20"/>
            </p:custDataLst>
          </p:nvPr>
        </p:nvSpPr>
        <p:spPr bwMode="auto">
          <a:xfrm>
            <a:off x="12633325" y="30813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387D5F3-2184-4EF7-BE29-47DDDA6E3D97}"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94" name="Chart 93">
            <a:extLst>
              <a:ext uri="{FF2B5EF4-FFF2-40B4-BE49-F238E27FC236}">
                <a16:creationId xmlns:a16="http://schemas.microsoft.com/office/drawing/2014/main" id="{49CB67B8-2FD9-930A-3F50-B9DA35BCEDF2}"/>
              </a:ext>
            </a:extLst>
          </p:cNvPr>
          <p:cNvGraphicFramePr/>
          <p:nvPr>
            <p:custDataLst>
              <p:tags r:id="rId21"/>
            </p:custDataLst>
          </p:nvPr>
        </p:nvGraphicFramePr>
        <p:xfrm>
          <a:off x="2073275" y="1979613"/>
          <a:ext cx="1698625" cy="725487"/>
        </p:xfrm>
        <a:graphic>
          <a:graphicData uri="http://schemas.openxmlformats.org/drawingml/2006/chart">
            <c:chart xmlns:c="http://schemas.openxmlformats.org/drawingml/2006/chart" xmlns:r="http://schemas.openxmlformats.org/officeDocument/2006/relationships" r:id="rId47"/>
          </a:graphicData>
        </a:graphic>
      </p:graphicFrame>
      <p:sp>
        <p:nvSpPr>
          <p:cNvPr id="26" name="Text Placeholder 19">
            <a:extLst>
              <a:ext uri="{FF2B5EF4-FFF2-40B4-BE49-F238E27FC236}">
                <a16:creationId xmlns:a16="http://schemas.microsoft.com/office/drawing/2014/main" id="{3C4F958D-A030-2E94-1918-A6AE45C00D36}"/>
              </a:ext>
            </a:extLst>
          </p:cNvPr>
          <p:cNvSpPr>
            <a:spLocks noGrp="1"/>
          </p:cNvSpPr>
          <p:nvPr>
            <p:custDataLst>
              <p:tags r:id="rId22"/>
            </p:custDataLst>
          </p:nvPr>
        </p:nvSpPr>
        <p:spPr bwMode="auto">
          <a:xfrm>
            <a:off x="1881188" y="20653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DC4CFE3-8242-4F04-869B-3DF749DD6373}"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27" name="Text Placeholder 19">
            <a:extLst>
              <a:ext uri="{FF2B5EF4-FFF2-40B4-BE49-F238E27FC236}">
                <a16:creationId xmlns:a16="http://schemas.microsoft.com/office/drawing/2014/main" id="{1F1828A4-D152-4BE0-9B6F-322EC15A1CA9}"/>
              </a:ext>
            </a:extLst>
          </p:cNvPr>
          <p:cNvSpPr>
            <a:spLocks noGrp="1"/>
          </p:cNvSpPr>
          <p:nvPr>
            <p:custDataLst>
              <p:tags r:id="rId23"/>
            </p:custDataLst>
          </p:nvPr>
        </p:nvSpPr>
        <p:spPr bwMode="auto">
          <a:xfrm>
            <a:off x="1881188" y="22510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68E69777-51AE-4E31-A3F5-11260C796652}"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3" name="Text Placeholder 19">
            <a:extLst>
              <a:ext uri="{FF2B5EF4-FFF2-40B4-BE49-F238E27FC236}">
                <a16:creationId xmlns:a16="http://schemas.microsoft.com/office/drawing/2014/main" id="{A5571A60-AA7C-FD0B-CF5D-173DFEC18653}"/>
              </a:ext>
            </a:extLst>
          </p:cNvPr>
          <p:cNvSpPr>
            <a:spLocks noGrp="1"/>
          </p:cNvSpPr>
          <p:nvPr>
            <p:custDataLst>
              <p:tags r:id="rId24"/>
            </p:custDataLst>
          </p:nvPr>
        </p:nvSpPr>
        <p:spPr bwMode="auto">
          <a:xfrm>
            <a:off x="1881188" y="24384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BB435AA-876D-4B8A-B27B-B0479B3291BF}"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95" name="Chart 94">
            <a:extLst>
              <a:ext uri="{FF2B5EF4-FFF2-40B4-BE49-F238E27FC236}">
                <a16:creationId xmlns:a16="http://schemas.microsoft.com/office/drawing/2014/main" id="{E7F42C7C-984F-CFD1-2F93-B6AE3FE62308}"/>
              </a:ext>
            </a:extLst>
          </p:cNvPr>
          <p:cNvGraphicFramePr/>
          <p:nvPr>
            <p:custDataLst>
              <p:tags r:id="rId25"/>
            </p:custDataLst>
          </p:nvPr>
        </p:nvGraphicFramePr>
        <p:xfrm>
          <a:off x="2073275" y="2970213"/>
          <a:ext cx="1698625" cy="725487"/>
        </p:xfrm>
        <a:graphic>
          <a:graphicData uri="http://schemas.openxmlformats.org/drawingml/2006/chart">
            <c:chart xmlns:c="http://schemas.openxmlformats.org/drawingml/2006/chart" xmlns:r="http://schemas.openxmlformats.org/officeDocument/2006/relationships" r:id="rId48"/>
          </a:graphicData>
        </a:graphic>
      </p:graphicFrame>
      <p:sp>
        <p:nvSpPr>
          <p:cNvPr id="41" name="Text Placeholder 19">
            <a:extLst>
              <a:ext uri="{FF2B5EF4-FFF2-40B4-BE49-F238E27FC236}">
                <a16:creationId xmlns:a16="http://schemas.microsoft.com/office/drawing/2014/main" id="{E3699CD1-9ADB-E6AB-652D-F35664083B8D}"/>
              </a:ext>
            </a:extLst>
          </p:cNvPr>
          <p:cNvSpPr>
            <a:spLocks noGrp="1"/>
          </p:cNvSpPr>
          <p:nvPr>
            <p:custDataLst>
              <p:tags r:id="rId26"/>
            </p:custDataLst>
          </p:nvPr>
        </p:nvSpPr>
        <p:spPr bwMode="auto">
          <a:xfrm>
            <a:off x="1881188" y="30559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D2867E09-75A1-4266-938C-0CB51B28D048}"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5" name="Text Placeholder 19">
            <a:extLst>
              <a:ext uri="{FF2B5EF4-FFF2-40B4-BE49-F238E27FC236}">
                <a16:creationId xmlns:a16="http://schemas.microsoft.com/office/drawing/2014/main" id="{2E8C030B-9E83-4088-0B56-9AC8F926895A}"/>
              </a:ext>
            </a:extLst>
          </p:cNvPr>
          <p:cNvSpPr>
            <a:spLocks noGrp="1"/>
          </p:cNvSpPr>
          <p:nvPr>
            <p:custDataLst>
              <p:tags r:id="rId27"/>
            </p:custDataLst>
          </p:nvPr>
        </p:nvSpPr>
        <p:spPr bwMode="auto">
          <a:xfrm>
            <a:off x="1881188" y="32416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7F9EEFEF-6232-4D1D-BEF1-A11B84DEE2D4}"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49" name="Text Placeholder 19">
            <a:extLst>
              <a:ext uri="{FF2B5EF4-FFF2-40B4-BE49-F238E27FC236}">
                <a16:creationId xmlns:a16="http://schemas.microsoft.com/office/drawing/2014/main" id="{BB34CCC7-E8AE-966C-A888-AF351C7B7AE0}"/>
              </a:ext>
            </a:extLst>
          </p:cNvPr>
          <p:cNvSpPr>
            <a:spLocks noGrp="1"/>
          </p:cNvSpPr>
          <p:nvPr>
            <p:custDataLst>
              <p:tags r:id="rId28"/>
            </p:custDataLst>
          </p:nvPr>
        </p:nvSpPr>
        <p:spPr bwMode="auto">
          <a:xfrm>
            <a:off x="1881188" y="34290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8A2AF9F7-C963-409C-8702-35AAE0E37070}"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96" name="Chart 95">
            <a:extLst>
              <a:ext uri="{FF2B5EF4-FFF2-40B4-BE49-F238E27FC236}">
                <a16:creationId xmlns:a16="http://schemas.microsoft.com/office/drawing/2014/main" id="{92EB597D-411B-4D8F-9A73-2FBDB8E91714}"/>
              </a:ext>
            </a:extLst>
          </p:cNvPr>
          <p:cNvGraphicFramePr/>
          <p:nvPr>
            <p:custDataLst>
              <p:tags r:id="rId29"/>
            </p:custDataLst>
          </p:nvPr>
        </p:nvGraphicFramePr>
        <p:xfrm>
          <a:off x="2073275" y="3922713"/>
          <a:ext cx="1698625" cy="725487"/>
        </p:xfrm>
        <a:graphic>
          <a:graphicData uri="http://schemas.openxmlformats.org/drawingml/2006/chart">
            <c:chart xmlns:c="http://schemas.openxmlformats.org/drawingml/2006/chart" xmlns:r="http://schemas.openxmlformats.org/officeDocument/2006/relationships" r:id="rId49"/>
          </a:graphicData>
        </a:graphic>
      </p:graphicFrame>
      <p:sp>
        <p:nvSpPr>
          <p:cNvPr id="56" name="Text Placeholder 19">
            <a:extLst>
              <a:ext uri="{FF2B5EF4-FFF2-40B4-BE49-F238E27FC236}">
                <a16:creationId xmlns:a16="http://schemas.microsoft.com/office/drawing/2014/main" id="{C633CE9A-5D68-F603-CB98-9B32CA3BBCBE}"/>
              </a:ext>
            </a:extLst>
          </p:cNvPr>
          <p:cNvSpPr>
            <a:spLocks noGrp="1"/>
          </p:cNvSpPr>
          <p:nvPr>
            <p:custDataLst>
              <p:tags r:id="rId30"/>
            </p:custDataLst>
          </p:nvPr>
        </p:nvSpPr>
        <p:spPr bwMode="auto">
          <a:xfrm>
            <a:off x="1881188" y="40084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AFC039D6-5FAA-4C27-99F9-A7B7456CB9C9}"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57" name="Text Placeholder 19">
            <a:extLst>
              <a:ext uri="{FF2B5EF4-FFF2-40B4-BE49-F238E27FC236}">
                <a16:creationId xmlns:a16="http://schemas.microsoft.com/office/drawing/2014/main" id="{00F9AD0E-6AE0-565C-6FEC-A6173B8CF0EA}"/>
              </a:ext>
            </a:extLst>
          </p:cNvPr>
          <p:cNvSpPr>
            <a:spLocks noGrp="1"/>
          </p:cNvSpPr>
          <p:nvPr>
            <p:custDataLst>
              <p:tags r:id="rId31"/>
            </p:custDataLst>
          </p:nvPr>
        </p:nvSpPr>
        <p:spPr bwMode="auto">
          <a:xfrm>
            <a:off x="1881188" y="41941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EB25C570-E99D-41D9-9641-11EF90ABA45F}"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58" name="Text Placeholder 19">
            <a:extLst>
              <a:ext uri="{FF2B5EF4-FFF2-40B4-BE49-F238E27FC236}">
                <a16:creationId xmlns:a16="http://schemas.microsoft.com/office/drawing/2014/main" id="{4A4B43B2-CB24-6D56-1281-80292FB615DC}"/>
              </a:ext>
            </a:extLst>
          </p:cNvPr>
          <p:cNvSpPr>
            <a:spLocks noGrp="1"/>
          </p:cNvSpPr>
          <p:nvPr>
            <p:custDataLst>
              <p:tags r:id="rId32"/>
            </p:custDataLst>
          </p:nvPr>
        </p:nvSpPr>
        <p:spPr bwMode="auto">
          <a:xfrm>
            <a:off x="1881188" y="43815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DBD26CF-BE09-4D39-8A41-5610CA429965}"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97" name="Chart 96">
            <a:extLst>
              <a:ext uri="{FF2B5EF4-FFF2-40B4-BE49-F238E27FC236}">
                <a16:creationId xmlns:a16="http://schemas.microsoft.com/office/drawing/2014/main" id="{18917177-1D57-4CE6-3D46-25A0507D8363}"/>
              </a:ext>
            </a:extLst>
          </p:cNvPr>
          <p:cNvGraphicFramePr/>
          <p:nvPr>
            <p:custDataLst>
              <p:tags r:id="rId33"/>
            </p:custDataLst>
          </p:nvPr>
        </p:nvGraphicFramePr>
        <p:xfrm>
          <a:off x="2073275" y="4773613"/>
          <a:ext cx="1698625" cy="725487"/>
        </p:xfrm>
        <a:graphic>
          <a:graphicData uri="http://schemas.openxmlformats.org/drawingml/2006/chart">
            <c:chart xmlns:c="http://schemas.openxmlformats.org/drawingml/2006/chart" xmlns:r="http://schemas.openxmlformats.org/officeDocument/2006/relationships" r:id="rId50"/>
          </a:graphicData>
        </a:graphic>
      </p:graphicFrame>
      <p:sp>
        <p:nvSpPr>
          <p:cNvPr id="80" name="Text Placeholder 19">
            <a:extLst>
              <a:ext uri="{FF2B5EF4-FFF2-40B4-BE49-F238E27FC236}">
                <a16:creationId xmlns:a16="http://schemas.microsoft.com/office/drawing/2014/main" id="{45B3CC76-AF2C-B0C8-9568-E0FA7E74914E}"/>
              </a:ext>
            </a:extLst>
          </p:cNvPr>
          <p:cNvSpPr>
            <a:spLocks noGrp="1"/>
          </p:cNvSpPr>
          <p:nvPr>
            <p:custDataLst>
              <p:tags r:id="rId34"/>
            </p:custDataLst>
          </p:nvPr>
        </p:nvSpPr>
        <p:spPr bwMode="auto">
          <a:xfrm>
            <a:off x="1881188" y="48593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7791D1F0-C1A4-4F0D-A871-E49E2329810A}"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84" name="Text Placeholder 19">
            <a:extLst>
              <a:ext uri="{FF2B5EF4-FFF2-40B4-BE49-F238E27FC236}">
                <a16:creationId xmlns:a16="http://schemas.microsoft.com/office/drawing/2014/main" id="{7E458E70-114B-24CC-35AA-EC7FB9800D0B}"/>
              </a:ext>
            </a:extLst>
          </p:cNvPr>
          <p:cNvSpPr>
            <a:spLocks noGrp="1"/>
          </p:cNvSpPr>
          <p:nvPr>
            <p:custDataLst>
              <p:tags r:id="rId35"/>
            </p:custDataLst>
          </p:nvPr>
        </p:nvSpPr>
        <p:spPr bwMode="auto">
          <a:xfrm>
            <a:off x="1881188" y="50450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33D527A-6CF1-4815-951D-5DF45A46004A}"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85" name="Text Placeholder 19">
            <a:extLst>
              <a:ext uri="{FF2B5EF4-FFF2-40B4-BE49-F238E27FC236}">
                <a16:creationId xmlns:a16="http://schemas.microsoft.com/office/drawing/2014/main" id="{D4BCDF72-10B4-1114-F9B9-D273F13E98DA}"/>
              </a:ext>
            </a:extLst>
          </p:cNvPr>
          <p:cNvSpPr>
            <a:spLocks noGrp="1"/>
          </p:cNvSpPr>
          <p:nvPr>
            <p:custDataLst>
              <p:tags r:id="rId36"/>
            </p:custDataLst>
          </p:nvPr>
        </p:nvSpPr>
        <p:spPr bwMode="auto">
          <a:xfrm>
            <a:off x="1881188" y="52324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7ADC480-8577-40B9-B25C-80123F6816BE}"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graphicFrame>
        <p:nvGraphicFramePr>
          <p:cNvPr id="98" name="Chart 97">
            <a:extLst>
              <a:ext uri="{FF2B5EF4-FFF2-40B4-BE49-F238E27FC236}">
                <a16:creationId xmlns:a16="http://schemas.microsoft.com/office/drawing/2014/main" id="{5A995BC8-DD54-0B0D-144E-78135E136162}"/>
              </a:ext>
            </a:extLst>
          </p:cNvPr>
          <p:cNvGraphicFramePr/>
          <p:nvPr>
            <p:custDataLst>
              <p:tags r:id="rId37"/>
            </p:custDataLst>
          </p:nvPr>
        </p:nvGraphicFramePr>
        <p:xfrm>
          <a:off x="2073275" y="5624513"/>
          <a:ext cx="1698625" cy="725487"/>
        </p:xfrm>
        <a:graphic>
          <a:graphicData uri="http://schemas.openxmlformats.org/drawingml/2006/chart">
            <c:chart xmlns:c="http://schemas.openxmlformats.org/drawingml/2006/chart" xmlns:r="http://schemas.openxmlformats.org/officeDocument/2006/relationships" r:id="rId51"/>
          </a:graphicData>
        </a:graphic>
      </p:graphicFrame>
      <p:sp>
        <p:nvSpPr>
          <p:cNvPr id="89" name="Text Placeholder 19">
            <a:extLst>
              <a:ext uri="{FF2B5EF4-FFF2-40B4-BE49-F238E27FC236}">
                <a16:creationId xmlns:a16="http://schemas.microsoft.com/office/drawing/2014/main" id="{CE928C0B-D9FB-76C9-5664-88B78BA92E0E}"/>
              </a:ext>
            </a:extLst>
          </p:cNvPr>
          <p:cNvSpPr>
            <a:spLocks noGrp="1"/>
          </p:cNvSpPr>
          <p:nvPr>
            <p:custDataLst>
              <p:tags r:id="rId38"/>
            </p:custDataLst>
          </p:nvPr>
        </p:nvSpPr>
        <p:spPr bwMode="auto">
          <a:xfrm>
            <a:off x="1881188" y="57102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9A25B4C-E660-480B-A1FA-823630742C02}" type="datetime'''''''''''''''''''''''1''''''''''''''''h'''''''''''">
              <a:rPr lang="en-GB" altLang="en-US" smtClean="0">
                <a:solidFill>
                  <a:srgbClr val="3C3C3B"/>
                </a:solidFill>
              </a:rPr>
              <a:pPr lvl="0" algn="r">
                <a:spcBef>
                  <a:spcPct val="0"/>
                </a:spcBef>
                <a:spcAft>
                  <a:spcPct val="0"/>
                </a:spcAft>
              </a:pPr>
              <a:t>1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90" name="Text Placeholder 19">
            <a:extLst>
              <a:ext uri="{FF2B5EF4-FFF2-40B4-BE49-F238E27FC236}">
                <a16:creationId xmlns:a16="http://schemas.microsoft.com/office/drawing/2014/main" id="{5AD86323-D6B3-69B7-0F97-7B273CC8218C}"/>
              </a:ext>
            </a:extLst>
          </p:cNvPr>
          <p:cNvSpPr>
            <a:spLocks noGrp="1"/>
          </p:cNvSpPr>
          <p:nvPr>
            <p:custDataLst>
              <p:tags r:id="rId39"/>
            </p:custDataLst>
          </p:nvPr>
        </p:nvSpPr>
        <p:spPr bwMode="auto">
          <a:xfrm>
            <a:off x="1881188" y="5895975"/>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0430048-93F6-4B42-ABF6-7B623FCAA458}" type="datetime'''''''2''''''''''''''''''''''''''''''h'">
              <a:rPr lang="en-GB" altLang="en-US" smtClean="0">
                <a:solidFill>
                  <a:srgbClr val="3C3C3B"/>
                </a:solidFill>
              </a:rPr>
              <a:pPr lvl="0" algn="r">
                <a:spcBef>
                  <a:spcPct val="0"/>
                </a:spcBef>
                <a:spcAft>
                  <a:spcPct val="0"/>
                </a:spcAft>
              </a:pPr>
              <a:t>2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91" name="Text Placeholder 19">
            <a:extLst>
              <a:ext uri="{FF2B5EF4-FFF2-40B4-BE49-F238E27FC236}">
                <a16:creationId xmlns:a16="http://schemas.microsoft.com/office/drawing/2014/main" id="{DBAE4231-15CB-800B-E80F-1D86FF9EE09F}"/>
              </a:ext>
            </a:extLst>
          </p:cNvPr>
          <p:cNvSpPr>
            <a:spLocks noGrp="1"/>
          </p:cNvSpPr>
          <p:nvPr>
            <p:custDataLst>
              <p:tags r:id="rId40"/>
            </p:custDataLst>
          </p:nvPr>
        </p:nvSpPr>
        <p:spPr bwMode="auto">
          <a:xfrm>
            <a:off x="1881188" y="6083300"/>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5F1001FA-9C22-4991-AD9D-3DB16645E42B}" type="datetime'''''''''''''''''''''''''''''''''''''''''''4''''h'''''">
              <a:rPr lang="en-GB" altLang="en-US" smtClean="0">
                <a:solidFill>
                  <a:srgbClr val="3C3C3B"/>
                </a:solidFill>
              </a:rPr>
              <a:pPr lvl="0" algn="r">
                <a:spcBef>
                  <a:spcPct val="0"/>
                </a:spcBef>
                <a:spcAft>
                  <a:spcPct val="0"/>
                </a:spcAft>
              </a:pPr>
              <a:t>4h</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6" name="Text Placeholder 16">
            <a:extLst>
              <a:ext uri="{FF2B5EF4-FFF2-40B4-BE49-F238E27FC236}">
                <a16:creationId xmlns:a16="http://schemas.microsoft.com/office/drawing/2014/main" id="{F2340B31-6AF9-5C33-DDE3-BDC43016AF8D}"/>
              </a:ext>
            </a:extLst>
          </p:cNvPr>
          <p:cNvSpPr txBox="1">
            <a:spLocks/>
          </p:cNvSpPr>
          <p:nvPr/>
        </p:nvSpPr>
        <p:spPr>
          <a:xfrm>
            <a:off x="4910931" y="3179375"/>
            <a:ext cx="6445327" cy="2769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00"/>
              <a:t>This is a redacted sample of the European Battery Market Attractiveness Report. If you are interested in the full report, contact Alex Hutcheson (</a:t>
            </a:r>
            <a:r>
              <a:rPr lang="en-GB" sz="1000" u="sng"/>
              <a:t>alex.hutcheson@auroraer.com)</a:t>
            </a:r>
            <a:endParaRPr lang="en-GB" sz="1000"/>
          </a:p>
        </p:txBody>
      </p:sp>
    </p:spTree>
    <p:extLst>
      <p:ext uri="{BB962C8B-B14F-4D97-AF65-F5344CB8AC3E}">
        <p14:creationId xmlns:p14="http://schemas.microsoft.com/office/powerpoint/2010/main" val="60122720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79B16826-0F56-43C9-0DFD-79BCB7DC0B4E}"/>
              </a:ext>
            </a:extLst>
          </p:cNvPr>
          <p:cNvGraphicFramePr>
            <a:graphicFrameLocks noChangeAspect="1"/>
          </p:cNvGraphicFramePr>
          <p:nvPr>
            <p:custDataLst>
              <p:tags r:id="rId1"/>
            </p:custDataLst>
            <p:extLst>
              <p:ext uri="{D42A27DB-BD31-4B8C-83A1-F6EECF244321}">
                <p14:modId xmlns:p14="http://schemas.microsoft.com/office/powerpoint/2010/main" val="217073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395" imgH="394" progId="TCLayout.ActiveDocument.1">
                  <p:embed/>
                </p:oleObj>
              </mc:Choice>
              <mc:Fallback>
                <p:oleObj name="think-cell Slide" r:id="rId53" imgW="395" imgH="394" progId="TCLayout.ActiveDocument.1">
                  <p:embed/>
                  <p:pic>
                    <p:nvPicPr>
                      <p:cNvPr id="36" name="Object 35" hidden="1">
                        <a:extLst>
                          <a:ext uri="{FF2B5EF4-FFF2-40B4-BE49-F238E27FC236}">
                            <a16:creationId xmlns:a16="http://schemas.microsoft.com/office/drawing/2014/main" id="{79B16826-0F56-43C9-0DFD-79BCB7DC0B4E}"/>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82" name="Rectangle: Rounded Corners 81">
            <a:extLst>
              <a:ext uri="{FF2B5EF4-FFF2-40B4-BE49-F238E27FC236}">
                <a16:creationId xmlns:a16="http://schemas.microsoft.com/office/drawing/2014/main" id="{7D090179-71BF-45A3-E12E-F1073E9AB698}"/>
              </a:ext>
            </a:extLst>
          </p:cNvPr>
          <p:cNvSpPr/>
          <p:nvPr/>
        </p:nvSpPr>
        <p:spPr>
          <a:xfrm>
            <a:off x="8391525" y="1752600"/>
            <a:ext cx="788988" cy="4572000"/>
          </a:xfrm>
          <a:prstGeom prst="roundRect">
            <a:avLst>
              <a:gd name="adj" fmla="val 9055"/>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1000"/>
              </a:spcAft>
            </a:pPr>
            <a:r>
              <a:rPr lang="en-GB" sz="1200" b="1">
                <a:solidFill>
                  <a:schemeClr val="tx1"/>
                </a:solidFill>
              </a:rPr>
              <a:t>Low</a:t>
            </a:r>
          </a:p>
        </p:txBody>
      </p:sp>
      <p:sp>
        <p:nvSpPr>
          <p:cNvPr id="8" name="Rectangle: Rounded Corners 7">
            <a:extLst>
              <a:ext uri="{FF2B5EF4-FFF2-40B4-BE49-F238E27FC236}">
                <a16:creationId xmlns:a16="http://schemas.microsoft.com/office/drawing/2014/main" id="{1748A663-3CAD-AF4E-B814-F1292942C91E}"/>
              </a:ext>
            </a:extLst>
          </p:cNvPr>
          <p:cNvSpPr/>
          <p:nvPr/>
        </p:nvSpPr>
        <p:spPr>
          <a:xfrm>
            <a:off x="5729288" y="1769603"/>
            <a:ext cx="785813" cy="4574047"/>
          </a:xfrm>
          <a:prstGeom prst="roundRect">
            <a:avLst>
              <a:gd name="adj" fmla="val 9055"/>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1000"/>
              </a:spcAft>
            </a:pPr>
            <a:r>
              <a:rPr lang="en-GB" sz="1200" b="1">
                <a:solidFill>
                  <a:schemeClr val="tx1"/>
                </a:solidFill>
              </a:rPr>
              <a:t>Central</a:t>
            </a:r>
          </a:p>
        </p:txBody>
      </p:sp>
      <p:sp>
        <p:nvSpPr>
          <p:cNvPr id="22" name="Rectangle: Rounded Corners 21">
            <a:extLst>
              <a:ext uri="{FF2B5EF4-FFF2-40B4-BE49-F238E27FC236}">
                <a16:creationId xmlns:a16="http://schemas.microsoft.com/office/drawing/2014/main" id="{1229E426-4688-8FB3-4A1A-0A484FDA8832}"/>
              </a:ext>
            </a:extLst>
          </p:cNvPr>
          <p:cNvSpPr/>
          <p:nvPr/>
        </p:nvSpPr>
        <p:spPr>
          <a:xfrm>
            <a:off x="11088168" y="1769603"/>
            <a:ext cx="788400" cy="4571850"/>
          </a:xfrm>
          <a:prstGeom prst="roundRect">
            <a:avLst>
              <a:gd name="adj" fmla="val 9055"/>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1000"/>
              </a:spcAft>
            </a:pPr>
            <a:r>
              <a:rPr lang="en-GB" sz="1200" b="1">
                <a:solidFill>
                  <a:schemeClr val="tx1"/>
                </a:solidFill>
              </a:rPr>
              <a:t>High</a:t>
            </a:r>
          </a:p>
        </p:txBody>
      </p:sp>
      <p:sp>
        <p:nvSpPr>
          <p:cNvPr id="85" name="Rounded Rectangle 86">
            <a:extLst>
              <a:ext uri="{FF2B5EF4-FFF2-40B4-BE49-F238E27FC236}">
                <a16:creationId xmlns:a16="http://schemas.microsoft.com/office/drawing/2014/main" id="{58AC5950-40A3-168E-B3BC-81A0C3BE7495}"/>
              </a:ext>
            </a:extLst>
          </p:cNvPr>
          <p:cNvSpPr/>
          <p:nvPr/>
        </p:nvSpPr>
        <p:spPr>
          <a:xfrm>
            <a:off x="8453438" y="4586288"/>
            <a:ext cx="684213" cy="347663"/>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X%</a:t>
            </a:r>
          </a:p>
        </p:txBody>
      </p:sp>
      <p:sp>
        <p:nvSpPr>
          <p:cNvPr id="86" name="Rounded Rectangle 86">
            <a:extLst>
              <a:ext uri="{FF2B5EF4-FFF2-40B4-BE49-F238E27FC236}">
                <a16:creationId xmlns:a16="http://schemas.microsoft.com/office/drawing/2014/main" id="{C0A86C0B-E138-DDD7-CCD8-15008DA4B414}"/>
              </a:ext>
            </a:extLst>
          </p:cNvPr>
          <p:cNvSpPr/>
          <p:nvPr/>
        </p:nvSpPr>
        <p:spPr>
          <a:xfrm>
            <a:off x="8455025" y="5022850"/>
            <a:ext cx="684213" cy="360363"/>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 years</a:t>
            </a:r>
          </a:p>
        </p:txBody>
      </p:sp>
      <p:sp>
        <p:nvSpPr>
          <p:cNvPr id="77" name="Rectangle: Rounded Corners 76">
            <a:extLst>
              <a:ext uri="{FF2B5EF4-FFF2-40B4-BE49-F238E27FC236}">
                <a16:creationId xmlns:a16="http://schemas.microsoft.com/office/drawing/2014/main" id="{1208E201-4192-360F-EEDE-D7F64D606DC2}"/>
              </a:ext>
            </a:extLst>
          </p:cNvPr>
          <p:cNvSpPr/>
          <p:nvPr/>
        </p:nvSpPr>
        <p:spPr>
          <a:xfrm>
            <a:off x="390526" y="1271641"/>
            <a:ext cx="11428800" cy="433336"/>
          </a:xfrm>
          <a:prstGeom prst="roundRect">
            <a:avLst>
              <a:gd name="adj" fmla="val 9055"/>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IN" sz="1400" b="1" baseline="30000"/>
          </a:p>
        </p:txBody>
      </p:sp>
      <p:sp>
        <p:nvSpPr>
          <p:cNvPr id="3" name="Title 2">
            <a:extLst>
              <a:ext uri="{FF2B5EF4-FFF2-40B4-BE49-F238E27FC236}">
                <a16:creationId xmlns:a16="http://schemas.microsoft.com/office/drawing/2014/main" id="{9AE065FE-203F-3C8E-6039-FF5F82224C56}"/>
              </a:ext>
            </a:extLst>
          </p:cNvPr>
          <p:cNvSpPr>
            <a:spLocks noGrp="1"/>
          </p:cNvSpPr>
          <p:nvPr>
            <p:ph type="title"/>
          </p:nvPr>
        </p:nvSpPr>
        <p:spPr>
          <a:xfrm>
            <a:off x="381599" y="411856"/>
            <a:ext cx="8926030" cy="609398"/>
          </a:xfrm>
        </p:spPr>
        <p:txBody>
          <a:bodyPr vert="horz"/>
          <a:lstStyle/>
          <a:p>
            <a:r>
              <a:rPr lang="en-US"/>
              <a:t>In the High scenario, batteries have a better business case due to stronger energy trading opportunities …</a:t>
            </a:r>
            <a:endParaRPr lang="en-GB"/>
          </a:p>
        </p:txBody>
      </p:sp>
      <p:sp>
        <p:nvSpPr>
          <p:cNvPr id="4" name="Text Placeholder 3">
            <a:extLst>
              <a:ext uri="{FF2B5EF4-FFF2-40B4-BE49-F238E27FC236}">
                <a16:creationId xmlns:a16="http://schemas.microsoft.com/office/drawing/2014/main" id="{74EFBE9D-DABF-CF90-DA75-97FBEAB14193}"/>
              </a:ext>
            </a:extLst>
          </p:cNvPr>
          <p:cNvSpPr>
            <a:spLocks noGrp="1"/>
          </p:cNvSpPr>
          <p:nvPr>
            <p:ph type="body" sz="quarter" idx="32"/>
          </p:nvPr>
        </p:nvSpPr>
        <p:spPr>
          <a:xfrm>
            <a:off x="402537" y="6728261"/>
            <a:ext cx="11437726" cy="110800"/>
          </a:xfrm>
        </p:spPr>
        <p:txBody>
          <a:bodyPr/>
          <a:lstStyle/>
          <a:p>
            <a:r>
              <a:rPr lang="en-GB"/>
              <a:t>Source: Aurora Energy Research</a:t>
            </a:r>
          </a:p>
        </p:txBody>
      </p:sp>
      <p:sp>
        <p:nvSpPr>
          <p:cNvPr id="9" name="Rounded Rectangle 86">
            <a:extLst>
              <a:ext uri="{FF2B5EF4-FFF2-40B4-BE49-F238E27FC236}">
                <a16:creationId xmlns:a16="http://schemas.microsoft.com/office/drawing/2014/main" id="{A637D622-BDBC-C8AB-E4DE-E1FF8FD0FE9A}"/>
              </a:ext>
            </a:extLst>
          </p:cNvPr>
          <p:cNvSpPr/>
          <p:nvPr/>
        </p:nvSpPr>
        <p:spPr>
          <a:xfrm>
            <a:off x="5781675" y="4603084"/>
            <a:ext cx="684213" cy="349095"/>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X%</a:t>
            </a:r>
          </a:p>
        </p:txBody>
      </p:sp>
      <p:graphicFrame>
        <p:nvGraphicFramePr>
          <p:cNvPr id="31" name="Chart 30">
            <a:extLst>
              <a:ext uri="{FF2B5EF4-FFF2-40B4-BE49-F238E27FC236}">
                <a16:creationId xmlns:a16="http://schemas.microsoft.com/office/drawing/2014/main" id="{8EBE6FE3-C960-378D-1AE7-A3509AAF643D}"/>
              </a:ext>
            </a:extLst>
          </p:cNvPr>
          <p:cNvGraphicFramePr/>
          <p:nvPr>
            <p:custDataLst>
              <p:tags r:id="rId2"/>
            </p:custDataLst>
            <p:extLst>
              <p:ext uri="{D42A27DB-BD31-4B8C-83A1-F6EECF244321}">
                <p14:modId xmlns:p14="http://schemas.microsoft.com/office/powerpoint/2010/main" val="1872928321"/>
              </p:ext>
            </p:extLst>
          </p:nvPr>
        </p:nvGraphicFramePr>
        <p:xfrm>
          <a:off x="5724525" y="5548313"/>
          <a:ext cx="793750" cy="793750"/>
        </p:xfrm>
        <a:graphic>
          <a:graphicData uri="http://schemas.openxmlformats.org/drawingml/2006/chart">
            <c:chart xmlns:c="http://schemas.openxmlformats.org/drawingml/2006/chart" xmlns:r="http://schemas.openxmlformats.org/officeDocument/2006/relationships" r:id="rId55"/>
          </a:graphicData>
        </a:graphic>
      </p:graphicFrame>
      <p:sp>
        <p:nvSpPr>
          <p:cNvPr id="23" name="Rounded Rectangle 86">
            <a:extLst>
              <a:ext uri="{FF2B5EF4-FFF2-40B4-BE49-F238E27FC236}">
                <a16:creationId xmlns:a16="http://schemas.microsoft.com/office/drawing/2014/main" id="{34EE0503-97DE-DA56-56D1-D8C0F5A7C352}"/>
              </a:ext>
            </a:extLst>
          </p:cNvPr>
          <p:cNvSpPr/>
          <p:nvPr/>
        </p:nvSpPr>
        <p:spPr>
          <a:xfrm>
            <a:off x="5780088" y="5038061"/>
            <a:ext cx="682625" cy="361390"/>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 years</a:t>
            </a:r>
          </a:p>
        </p:txBody>
      </p:sp>
      <p:sp>
        <p:nvSpPr>
          <p:cNvPr id="76" name="Text Placeholder 7">
            <a:extLst>
              <a:ext uri="{FF2B5EF4-FFF2-40B4-BE49-F238E27FC236}">
                <a16:creationId xmlns:a16="http://schemas.microsoft.com/office/drawing/2014/main" id="{43998304-2AED-8BAA-5EEE-EC699EC92735}"/>
              </a:ext>
            </a:extLst>
          </p:cNvPr>
          <p:cNvSpPr txBox="1">
            <a:spLocks/>
          </p:cNvSpPr>
          <p:nvPr/>
        </p:nvSpPr>
        <p:spPr>
          <a:xfrm>
            <a:off x="1086511" y="1281165"/>
            <a:ext cx="8085137" cy="400110"/>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400">
                <a:latin typeface="+mn-lt"/>
              </a:rPr>
              <a:t>Economics for new-build 2-hour, 1.5 cycle/day batteries in 2027 in </a:t>
            </a:r>
            <a:r>
              <a:rPr lang="en-GB" sz="1400">
                <a:solidFill>
                  <a:srgbClr val="7A7A7A"/>
                </a:solidFill>
                <a:highlight>
                  <a:srgbClr val="7A7A7A"/>
                </a:highlight>
                <a:latin typeface="Lato"/>
              </a:rPr>
              <a:t>XXXX</a:t>
            </a:r>
            <a:endParaRPr lang="en-GB" sz="1400" baseline="30000">
              <a:latin typeface="+mn-lt"/>
            </a:endParaRPr>
          </a:p>
          <a:p>
            <a:r>
              <a:rPr lang="en-GB" b="0">
                <a:solidFill>
                  <a:schemeClr val="accent5"/>
                </a:solidFill>
              </a:rPr>
              <a:t>Present value, £/kW (real 2022)</a:t>
            </a:r>
          </a:p>
        </p:txBody>
      </p:sp>
      <p:grpSp>
        <p:nvGrpSpPr>
          <p:cNvPr id="159" name="Group 205">
            <a:extLst>
              <a:ext uri="{FF2B5EF4-FFF2-40B4-BE49-F238E27FC236}">
                <a16:creationId xmlns:a16="http://schemas.microsoft.com/office/drawing/2014/main" id="{C80D1197-B9CE-8046-36AE-5D671D588A2B}"/>
              </a:ext>
            </a:extLst>
          </p:cNvPr>
          <p:cNvGrpSpPr/>
          <p:nvPr/>
        </p:nvGrpSpPr>
        <p:grpSpPr>
          <a:xfrm>
            <a:off x="456788" y="1321103"/>
            <a:ext cx="542996" cy="363538"/>
            <a:chOff x="7907520" y="3112412"/>
            <a:chExt cx="673884" cy="422867"/>
          </a:xfrm>
          <a:solidFill>
            <a:schemeClr val="tx1"/>
          </a:solidFill>
        </p:grpSpPr>
        <p:sp>
          <p:nvSpPr>
            <p:cNvPr id="160" name="Freeform 175">
              <a:extLst>
                <a:ext uri="{FF2B5EF4-FFF2-40B4-BE49-F238E27FC236}">
                  <a16:creationId xmlns:a16="http://schemas.microsoft.com/office/drawing/2014/main" id="{872704D4-9B8E-CB4C-BDF8-9D4F30E1C16A}"/>
                </a:ext>
              </a:extLst>
            </p:cNvPr>
            <p:cNvSpPr>
              <a:spLocks noEditPoints="1"/>
            </p:cNvSpPr>
            <p:nvPr/>
          </p:nvSpPr>
          <p:spPr bwMode="auto">
            <a:xfrm>
              <a:off x="7930691" y="3237920"/>
              <a:ext cx="627543" cy="297359"/>
            </a:xfrm>
            <a:custGeom>
              <a:avLst/>
              <a:gdLst/>
              <a:ahLst/>
              <a:cxnLst>
                <a:cxn ang="0">
                  <a:pos x="0" y="117"/>
                </a:cxn>
                <a:cxn ang="0">
                  <a:pos x="7" y="124"/>
                </a:cxn>
                <a:cxn ang="0">
                  <a:pos x="17" y="124"/>
                </a:cxn>
                <a:cxn ang="0">
                  <a:pos x="17" y="140"/>
                </a:cxn>
                <a:cxn ang="0">
                  <a:pos x="7" y="140"/>
                </a:cxn>
                <a:cxn ang="0">
                  <a:pos x="0" y="147"/>
                </a:cxn>
                <a:cxn ang="0">
                  <a:pos x="0" y="148"/>
                </a:cxn>
                <a:cxn ang="0">
                  <a:pos x="7" y="155"/>
                </a:cxn>
                <a:cxn ang="0">
                  <a:pos x="322" y="155"/>
                </a:cxn>
                <a:cxn ang="0">
                  <a:pos x="329" y="148"/>
                </a:cxn>
                <a:cxn ang="0">
                  <a:pos x="329" y="147"/>
                </a:cxn>
                <a:cxn ang="0">
                  <a:pos x="322" y="140"/>
                </a:cxn>
                <a:cxn ang="0">
                  <a:pos x="312" y="140"/>
                </a:cxn>
                <a:cxn ang="0">
                  <a:pos x="312" y="124"/>
                </a:cxn>
                <a:cxn ang="0">
                  <a:pos x="322" y="124"/>
                </a:cxn>
                <a:cxn ang="0">
                  <a:pos x="329" y="117"/>
                </a:cxn>
                <a:cxn ang="0">
                  <a:pos x="329" y="0"/>
                </a:cxn>
                <a:cxn ang="0">
                  <a:pos x="0" y="0"/>
                </a:cxn>
                <a:cxn ang="0">
                  <a:pos x="0" y="117"/>
                </a:cxn>
                <a:cxn ang="0">
                  <a:pos x="253" y="30"/>
                </a:cxn>
                <a:cxn ang="0">
                  <a:pos x="270" y="30"/>
                </a:cxn>
                <a:cxn ang="0">
                  <a:pos x="270" y="12"/>
                </a:cxn>
                <a:cxn ang="0">
                  <a:pos x="282" y="12"/>
                </a:cxn>
                <a:cxn ang="0">
                  <a:pos x="282" y="30"/>
                </a:cxn>
                <a:cxn ang="0">
                  <a:pos x="300" y="30"/>
                </a:cxn>
                <a:cxn ang="0">
                  <a:pos x="300" y="42"/>
                </a:cxn>
                <a:cxn ang="0">
                  <a:pos x="282" y="42"/>
                </a:cxn>
                <a:cxn ang="0">
                  <a:pos x="282" y="59"/>
                </a:cxn>
                <a:cxn ang="0">
                  <a:pos x="270" y="59"/>
                </a:cxn>
                <a:cxn ang="0">
                  <a:pos x="270" y="42"/>
                </a:cxn>
                <a:cxn ang="0">
                  <a:pos x="253" y="42"/>
                </a:cxn>
                <a:cxn ang="0">
                  <a:pos x="253" y="30"/>
                </a:cxn>
                <a:cxn ang="0">
                  <a:pos x="134" y="65"/>
                </a:cxn>
                <a:cxn ang="0">
                  <a:pos x="139" y="56"/>
                </a:cxn>
                <a:cxn ang="0">
                  <a:pos x="159" y="25"/>
                </a:cxn>
                <a:cxn ang="0">
                  <a:pos x="161" y="24"/>
                </a:cxn>
                <a:cxn ang="0">
                  <a:pos x="183" y="42"/>
                </a:cxn>
                <a:cxn ang="0">
                  <a:pos x="183" y="44"/>
                </a:cxn>
                <a:cxn ang="0">
                  <a:pos x="165" y="63"/>
                </a:cxn>
                <a:cxn ang="0">
                  <a:pos x="165" y="64"/>
                </a:cxn>
                <a:cxn ang="0">
                  <a:pos x="176" y="77"/>
                </a:cxn>
                <a:cxn ang="0">
                  <a:pos x="181" y="82"/>
                </a:cxn>
                <a:cxn ang="0">
                  <a:pos x="181" y="85"/>
                </a:cxn>
                <a:cxn ang="0">
                  <a:pos x="176" y="88"/>
                </a:cxn>
                <a:cxn ang="0">
                  <a:pos x="141" y="114"/>
                </a:cxn>
                <a:cxn ang="0">
                  <a:pos x="139" y="114"/>
                </a:cxn>
                <a:cxn ang="0">
                  <a:pos x="139" y="112"/>
                </a:cxn>
                <a:cxn ang="0">
                  <a:pos x="160" y="85"/>
                </a:cxn>
                <a:cxn ang="0">
                  <a:pos x="159" y="84"/>
                </a:cxn>
                <a:cxn ang="0">
                  <a:pos x="141" y="72"/>
                </a:cxn>
                <a:cxn ang="0">
                  <a:pos x="134" y="67"/>
                </a:cxn>
                <a:cxn ang="0">
                  <a:pos x="134" y="65"/>
                </a:cxn>
                <a:cxn ang="0">
                  <a:pos x="37" y="36"/>
                </a:cxn>
                <a:cxn ang="0">
                  <a:pos x="63" y="36"/>
                </a:cxn>
                <a:cxn ang="0">
                  <a:pos x="63" y="50"/>
                </a:cxn>
                <a:cxn ang="0">
                  <a:pos x="37" y="50"/>
                </a:cxn>
                <a:cxn ang="0">
                  <a:pos x="37" y="36"/>
                </a:cxn>
              </a:cxnLst>
              <a:rect l="0" t="0" r="r" b="b"/>
              <a:pathLst>
                <a:path w="329" h="155">
                  <a:moveTo>
                    <a:pt x="0" y="117"/>
                  </a:moveTo>
                  <a:cubicBezTo>
                    <a:pt x="0" y="121"/>
                    <a:pt x="4" y="124"/>
                    <a:pt x="7" y="124"/>
                  </a:cubicBezTo>
                  <a:cubicBezTo>
                    <a:pt x="17" y="124"/>
                    <a:pt x="17" y="124"/>
                    <a:pt x="17" y="124"/>
                  </a:cubicBezTo>
                  <a:cubicBezTo>
                    <a:pt x="17" y="140"/>
                    <a:pt x="17" y="140"/>
                    <a:pt x="17" y="140"/>
                  </a:cubicBezTo>
                  <a:cubicBezTo>
                    <a:pt x="7" y="140"/>
                    <a:pt x="7" y="140"/>
                    <a:pt x="7" y="140"/>
                  </a:cubicBezTo>
                  <a:cubicBezTo>
                    <a:pt x="4" y="140"/>
                    <a:pt x="0" y="143"/>
                    <a:pt x="0" y="147"/>
                  </a:cubicBezTo>
                  <a:cubicBezTo>
                    <a:pt x="0" y="148"/>
                    <a:pt x="0" y="148"/>
                    <a:pt x="0" y="148"/>
                  </a:cubicBezTo>
                  <a:cubicBezTo>
                    <a:pt x="0" y="152"/>
                    <a:pt x="4" y="155"/>
                    <a:pt x="7" y="155"/>
                  </a:cubicBezTo>
                  <a:cubicBezTo>
                    <a:pt x="322" y="155"/>
                    <a:pt x="322" y="155"/>
                    <a:pt x="322" y="155"/>
                  </a:cubicBezTo>
                  <a:cubicBezTo>
                    <a:pt x="326" y="155"/>
                    <a:pt x="329" y="152"/>
                    <a:pt x="329" y="148"/>
                  </a:cubicBezTo>
                  <a:cubicBezTo>
                    <a:pt x="329" y="147"/>
                    <a:pt x="329" y="147"/>
                    <a:pt x="329" y="147"/>
                  </a:cubicBezTo>
                  <a:cubicBezTo>
                    <a:pt x="329" y="143"/>
                    <a:pt x="326" y="140"/>
                    <a:pt x="322" y="140"/>
                  </a:cubicBezTo>
                  <a:cubicBezTo>
                    <a:pt x="312" y="140"/>
                    <a:pt x="312" y="140"/>
                    <a:pt x="312" y="140"/>
                  </a:cubicBezTo>
                  <a:cubicBezTo>
                    <a:pt x="312" y="124"/>
                    <a:pt x="312" y="124"/>
                    <a:pt x="312" y="124"/>
                  </a:cubicBezTo>
                  <a:cubicBezTo>
                    <a:pt x="322" y="124"/>
                    <a:pt x="322" y="124"/>
                    <a:pt x="322" y="124"/>
                  </a:cubicBezTo>
                  <a:cubicBezTo>
                    <a:pt x="326" y="124"/>
                    <a:pt x="329" y="121"/>
                    <a:pt x="329" y="117"/>
                  </a:cubicBezTo>
                  <a:cubicBezTo>
                    <a:pt x="329" y="0"/>
                    <a:pt x="329" y="0"/>
                    <a:pt x="329" y="0"/>
                  </a:cubicBezTo>
                  <a:cubicBezTo>
                    <a:pt x="0" y="0"/>
                    <a:pt x="0" y="0"/>
                    <a:pt x="0" y="0"/>
                  </a:cubicBezTo>
                  <a:lnTo>
                    <a:pt x="0" y="117"/>
                  </a:lnTo>
                  <a:close/>
                  <a:moveTo>
                    <a:pt x="253" y="30"/>
                  </a:moveTo>
                  <a:cubicBezTo>
                    <a:pt x="270" y="30"/>
                    <a:pt x="270" y="30"/>
                    <a:pt x="270" y="30"/>
                  </a:cubicBezTo>
                  <a:cubicBezTo>
                    <a:pt x="270" y="12"/>
                    <a:pt x="270" y="12"/>
                    <a:pt x="270" y="12"/>
                  </a:cubicBezTo>
                  <a:cubicBezTo>
                    <a:pt x="282" y="12"/>
                    <a:pt x="282" y="12"/>
                    <a:pt x="282" y="12"/>
                  </a:cubicBezTo>
                  <a:cubicBezTo>
                    <a:pt x="282" y="30"/>
                    <a:pt x="282" y="30"/>
                    <a:pt x="282" y="30"/>
                  </a:cubicBezTo>
                  <a:cubicBezTo>
                    <a:pt x="300" y="30"/>
                    <a:pt x="300" y="30"/>
                    <a:pt x="300" y="30"/>
                  </a:cubicBezTo>
                  <a:cubicBezTo>
                    <a:pt x="300" y="42"/>
                    <a:pt x="300" y="42"/>
                    <a:pt x="300" y="42"/>
                  </a:cubicBezTo>
                  <a:cubicBezTo>
                    <a:pt x="282" y="42"/>
                    <a:pt x="282" y="42"/>
                    <a:pt x="282" y="42"/>
                  </a:cubicBezTo>
                  <a:cubicBezTo>
                    <a:pt x="282" y="59"/>
                    <a:pt x="282" y="59"/>
                    <a:pt x="282" y="59"/>
                  </a:cubicBezTo>
                  <a:cubicBezTo>
                    <a:pt x="270" y="59"/>
                    <a:pt x="270" y="59"/>
                    <a:pt x="270" y="59"/>
                  </a:cubicBezTo>
                  <a:cubicBezTo>
                    <a:pt x="270" y="42"/>
                    <a:pt x="270" y="42"/>
                    <a:pt x="270" y="42"/>
                  </a:cubicBezTo>
                  <a:cubicBezTo>
                    <a:pt x="253" y="42"/>
                    <a:pt x="253" y="42"/>
                    <a:pt x="253" y="42"/>
                  </a:cubicBezTo>
                  <a:lnTo>
                    <a:pt x="253" y="30"/>
                  </a:lnTo>
                  <a:close/>
                  <a:moveTo>
                    <a:pt x="134" y="65"/>
                  </a:moveTo>
                  <a:cubicBezTo>
                    <a:pt x="139" y="56"/>
                    <a:pt x="139" y="56"/>
                    <a:pt x="139" y="56"/>
                  </a:cubicBezTo>
                  <a:cubicBezTo>
                    <a:pt x="159" y="25"/>
                    <a:pt x="159" y="25"/>
                    <a:pt x="159" y="25"/>
                  </a:cubicBezTo>
                  <a:cubicBezTo>
                    <a:pt x="160" y="24"/>
                    <a:pt x="161" y="24"/>
                    <a:pt x="161" y="24"/>
                  </a:cubicBezTo>
                  <a:cubicBezTo>
                    <a:pt x="183" y="42"/>
                    <a:pt x="183" y="42"/>
                    <a:pt x="183" y="42"/>
                  </a:cubicBezTo>
                  <a:cubicBezTo>
                    <a:pt x="184" y="42"/>
                    <a:pt x="184" y="43"/>
                    <a:pt x="183" y="44"/>
                  </a:cubicBezTo>
                  <a:cubicBezTo>
                    <a:pt x="165" y="63"/>
                    <a:pt x="165" y="63"/>
                    <a:pt x="165" y="63"/>
                  </a:cubicBezTo>
                  <a:cubicBezTo>
                    <a:pt x="165" y="63"/>
                    <a:pt x="165" y="64"/>
                    <a:pt x="165" y="64"/>
                  </a:cubicBezTo>
                  <a:cubicBezTo>
                    <a:pt x="176" y="77"/>
                    <a:pt x="176" y="77"/>
                    <a:pt x="176" y="77"/>
                  </a:cubicBezTo>
                  <a:cubicBezTo>
                    <a:pt x="181" y="82"/>
                    <a:pt x="181" y="82"/>
                    <a:pt x="181" y="82"/>
                  </a:cubicBezTo>
                  <a:cubicBezTo>
                    <a:pt x="181" y="83"/>
                    <a:pt x="181" y="84"/>
                    <a:pt x="181" y="85"/>
                  </a:cubicBezTo>
                  <a:cubicBezTo>
                    <a:pt x="176" y="88"/>
                    <a:pt x="176" y="88"/>
                    <a:pt x="176" y="88"/>
                  </a:cubicBezTo>
                  <a:cubicBezTo>
                    <a:pt x="141" y="114"/>
                    <a:pt x="141" y="114"/>
                    <a:pt x="141" y="114"/>
                  </a:cubicBezTo>
                  <a:cubicBezTo>
                    <a:pt x="141" y="115"/>
                    <a:pt x="140" y="115"/>
                    <a:pt x="139" y="114"/>
                  </a:cubicBezTo>
                  <a:cubicBezTo>
                    <a:pt x="139" y="114"/>
                    <a:pt x="139" y="113"/>
                    <a:pt x="139" y="112"/>
                  </a:cubicBezTo>
                  <a:cubicBezTo>
                    <a:pt x="160" y="85"/>
                    <a:pt x="160" y="85"/>
                    <a:pt x="160" y="85"/>
                  </a:cubicBezTo>
                  <a:cubicBezTo>
                    <a:pt x="160" y="85"/>
                    <a:pt x="160" y="84"/>
                    <a:pt x="159" y="84"/>
                  </a:cubicBezTo>
                  <a:cubicBezTo>
                    <a:pt x="141" y="72"/>
                    <a:pt x="141" y="72"/>
                    <a:pt x="141" y="72"/>
                  </a:cubicBezTo>
                  <a:cubicBezTo>
                    <a:pt x="134" y="67"/>
                    <a:pt x="134" y="67"/>
                    <a:pt x="134" y="67"/>
                  </a:cubicBezTo>
                  <a:cubicBezTo>
                    <a:pt x="133" y="67"/>
                    <a:pt x="133" y="66"/>
                    <a:pt x="134" y="65"/>
                  </a:cubicBezTo>
                  <a:close/>
                  <a:moveTo>
                    <a:pt x="37" y="36"/>
                  </a:moveTo>
                  <a:cubicBezTo>
                    <a:pt x="63" y="36"/>
                    <a:pt x="63" y="36"/>
                    <a:pt x="63" y="36"/>
                  </a:cubicBezTo>
                  <a:cubicBezTo>
                    <a:pt x="63" y="50"/>
                    <a:pt x="63" y="50"/>
                    <a:pt x="63" y="50"/>
                  </a:cubicBezTo>
                  <a:cubicBezTo>
                    <a:pt x="37" y="50"/>
                    <a:pt x="37" y="50"/>
                    <a:pt x="37" y="50"/>
                  </a:cubicBezTo>
                  <a:lnTo>
                    <a:pt x="37" y="36"/>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61" name="Freeform 176">
              <a:extLst>
                <a:ext uri="{FF2B5EF4-FFF2-40B4-BE49-F238E27FC236}">
                  <a16:creationId xmlns:a16="http://schemas.microsoft.com/office/drawing/2014/main" id="{661BA687-0683-3A0E-F381-883FB78F92E0}"/>
                </a:ext>
              </a:extLst>
            </p:cNvPr>
            <p:cNvSpPr>
              <a:spLocks/>
            </p:cNvSpPr>
            <p:nvPr/>
          </p:nvSpPr>
          <p:spPr bwMode="auto">
            <a:xfrm>
              <a:off x="7907520" y="3145236"/>
              <a:ext cx="673884" cy="83029"/>
            </a:xfrm>
            <a:custGeom>
              <a:avLst/>
              <a:gdLst/>
              <a:ahLst/>
              <a:cxnLst>
                <a:cxn ang="0">
                  <a:pos x="346" y="19"/>
                </a:cxn>
                <a:cxn ang="0">
                  <a:pos x="329" y="19"/>
                </a:cxn>
                <a:cxn ang="0">
                  <a:pos x="329" y="16"/>
                </a:cxn>
                <a:cxn ang="0">
                  <a:pos x="329" y="14"/>
                </a:cxn>
                <a:cxn ang="0">
                  <a:pos x="329" y="1"/>
                </a:cxn>
                <a:cxn ang="0">
                  <a:pos x="327" y="0"/>
                </a:cxn>
                <a:cxn ang="0">
                  <a:pos x="240" y="0"/>
                </a:cxn>
                <a:cxn ang="0">
                  <a:pos x="238" y="1"/>
                </a:cxn>
                <a:cxn ang="0">
                  <a:pos x="238" y="14"/>
                </a:cxn>
                <a:cxn ang="0">
                  <a:pos x="238" y="16"/>
                </a:cxn>
                <a:cxn ang="0">
                  <a:pos x="238" y="19"/>
                </a:cxn>
                <a:cxn ang="0">
                  <a:pos x="112" y="19"/>
                </a:cxn>
                <a:cxn ang="0">
                  <a:pos x="112" y="16"/>
                </a:cxn>
                <a:cxn ang="0">
                  <a:pos x="112" y="14"/>
                </a:cxn>
                <a:cxn ang="0">
                  <a:pos x="112" y="1"/>
                </a:cxn>
                <a:cxn ang="0">
                  <a:pos x="110" y="0"/>
                </a:cxn>
                <a:cxn ang="0">
                  <a:pos x="23" y="0"/>
                </a:cxn>
                <a:cxn ang="0">
                  <a:pos x="21" y="1"/>
                </a:cxn>
                <a:cxn ang="0">
                  <a:pos x="21" y="14"/>
                </a:cxn>
                <a:cxn ang="0">
                  <a:pos x="21" y="16"/>
                </a:cxn>
                <a:cxn ang="0">
                  <a:pos x="21" y="19"/>
                </a:cxn>
                <a:cxn ang="0">
                  <a:pos x="7" y="19"/>
                </a:cxn>
                <a:cxn ang="0">
                  <a:pos x="0" y="26"/>
                </a:cxn>
                <a:cxn ang="0">
                  <a:pos x="0" y="37"/>
                </a:cxn>
                <a:cxn ang="0">
                  <a:pos x="7" y="44"/>
                </a:cxn>
                <a:cxn ang="0">
                  <a:pos x="12" y="44"/>
                </a:cxn>
                <a:cxn ang="0">
                  <a:pos x="341" y="44"/>
                </a:cxn>
                <a:cxn ang="0">
                  <a:pos x="346" y="44"/>
                </a:cxn>
                <a:cxn ang="0">
                  <a:pos x="353" y="37"/>
                </a:cxn>
                <a:cxn ang="0">
                  <a:pos x="353" y="26"/>
                </a:cxn>
                <a:cxn ang="0">
                  <a:pos x="346" y="19"/>
                </a:cxn>
              </a:cxnLst>
              <a:rect l="0" t="0" r="r" b="b"/>
              <a:pathLst>
                <a:path w="353" h="44">
                  <a:moveTo>
                    <a:pt x="346" y="19"/>
                  </a:moveTo>
                  <a:cubicBezTo>
                    <a:pt x="329" y="19"/>
                    <a:pt x="329" y="19"/>
                    <a:pt x="329" y="19"/>
                  </a:cubicBezTo>
                  <a:cubicBezTo>
                    <a:pt x="329" y="16"/>
                    <a:pt x="329" y="16"/>
                    <a:pt x="329" y="16"/>
                  </a:cubicBezTo>
                  <a:cubicBezTo>
                    <a:pt x="329" y="14"/>
                    <a:pt x="329" y="14"/>
                    <a:pt x="329" y="14"/>
                  </a:cubicBezTo>
                  <a:cubicBezTo>
                    <a:pt x="329" y="1"/>
                    <a:pt x="329" y="1"/>
                    <a:pt x="329" y="1"/>
                  </a:cubicBezTo>
                  <a:cubicBezTo>
                    <a:pt x="329" y="0"/>
                    <a:pt x="328" y="0"/>
                    <a:pt x="327" y="0"/>
                  </a:cubicBezTo>
                  <a:cubicBezTo>
                    <a:pt x="240" y="0"/>
                    <a:pt x="240" y="0"/>
                    <a:pt x="240" y="0"/>
                  </a:cubicBezTo>
                  <a:cubicBezTo>
                    <a:pt x="239" y="0"/>
                    <a:pt x="238" y="0"/>
                    <a:pt x="238" y="1"/>
                  </a:cubicBezTo>
                  <a:cubicBezTo>
                    <a:pt x="238" y="14"/>
                    <a:pt x="238" y="14"/>
                    <a:pt x="238" y="14"/>
                  </a:cubicBezTo>
                  <a:cubicBezTo>
                    <a:pt x="238" y="16"/>
                    <a:pt x="238" y="16"/>
                    <a:pt x="238" y="16"/>
                  </a:cubicBezTo>
                  <a:cubicBezTo>
                    <a:pt x="238" y="19"/>
                    <a:pt x="238" y="19"/>
                    <a:pt x="238" y="19"/>
                  </a:cubicBezTo>
                  <a:cubicBezTo>
                    <a:pt x="112" y="19"/>
                    <a:pt x="112" y="19"/>
                    <a:pt x="112" y="19"/>
                  </a:cubicBezTo>
                  <a:cubicBezTo>
                    <a:pt x="112" y="16"/>
                    <a:pt x="112" y="16"/>
                    <a:pt x="112" y="16"/>
                  </a:cubicBezTo>
                  <a:cubicBezTo>
                    <a:pt x="112" y="14"/>
                    <a:pt x="112" y="14"/>
                    <a:pt x="112" y="14"/>
                  </a:cubicBezTo>
                  <a:cubicBezTo>
                    <a:pt x="112" y="1"/>
                    <a:pt x="112" y="1"/>
                    <a:pt x="112" y="1"/>
                  </a:cubicBezTo>
                  <a:cubicBezTo>
                    <a:pt x="112" y="0"/>
                    <a:pt x="111" y="0"/>
                    <a:pt x="110" y="0"/>
                  </a:cubicBezTo>
                  <a:cubicBezTo>
                    <a:pt x="23" y="0"/>
                    <a:pt x="23" y="0"/>
                    <a:pt x="23" y="0"/>
                  </a:cubicBezTo>
                  <a:cubicBezTo>
                    <a:pt x="22" y="0"/>
                    <a:pt x="21" y="0"/>
                    <a:pt x="21" y="1"/>
                  </a:cubicBezTo>
                  <a:cubicBezTo>
                    <a:pt x="21" y="14"/>
                    <a:pt x="21" y="14"/>
                    <a:pt x="21" y="14"/>
                  </a:cubicBezTo>
                  <a:cubicBezTo>
                    <a:pt x="21" y="16"/>
                    <a:pt x="21" y="16"/>
                    <a:pt x="21" y="16"/>
                  </a:cubicBezTo>
                  <a:cubicBezTo>
                    <a:pt x="21" y="19"/>
                    <a:pt x="21" y="19"/>
                    <a:pt x="21" y="19"/>
                  </a:cubicBezTo>
                  <a:cubicBezTo>
                    <a:pt x="7" y="19"/>
                    <a:pt x="7" y="19"/>
                    <a:pt x="7" y="19"/>
                  </a:cubicBezTo>
                  <a:cubicBezTo>
                    <a:pt x="4" y="19"/>
                    <a:pt x="0" y="22"/>
                    <a:pt x="0" y="26"/>
                  </a:cubicBezTo>
                  <a:cubicBezTo>
                    <a:pt x="0" y="37"/>
                    <a:pt x="0" y="37"/>
                    <a:pt x="0" y="37"/>
                  </a:cubicBezTo>
                  <a:cubicBezTo>
                    <a:pt x="0" y="41"/>
                    <a:pt x="4" y="44"/>
                    <a:pt x="7" y="44"/>
                  </a:cubicBezTo>
                  <a:cubicBezTo>
                    <a:pt x="12" y="44"/>
                    <a:pt x="12" y="44"/>
                    <a:pt x="12" y="44"/>
                  </a:cubicBezTo>
                  <a:cubicBezTo>
                    <a:pt x="341" y="44"/>
                    <a:pt x="341" y="44"/>
                    <a:pt x="341" y="44"/>
                  </a:cubicBezTo>
                  <a:cubicBezTo>
                    <a:pt x="346" y="44"/>
                    <a:pt x="346" y="44"/>
                    <a:pt x="346" y="44"/>
                  </a:cubicBezTo>
                  <a:cubicBezTo>
                    <a:pt x="350" y="44"/>
                    <a:pt x="353" y="41"/>
                    <a:pt x="353" y="37"/>
                  </a:cubicBezTo>
                  <a:cubicBezTo>
                    <a:pt x="353" y="26"/>
                    <a:pt x="353" y="26"/>
                    <a:pt x="353" y="26"/>
                  </a:cubicBezTo>
                  <a:cubicBezTo>
                    <a:pt x="353" y="22"/>
                    <a:pt x="350" y="19"/>
                    <a:pt x="346" y="19"/>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62" name="Freeform 177">
              <a:extLst>
                <a:ext uri="{FF2B5EF4-FFF2-40B4-BE49-F238E27FC236}">
                  <a16:creationId xmlns:a16="http://schemas.microsoft.com/office/drawing/2014/main" id="{9F142F9A-FFAC-1B63-1C96-17893C1D8E39}"/>
                </a:ext>
              </a:extLst>
            </p:cNvPr>
            <p:cNvSpPr>
              <a:spLocks/>
            </p:cNvSpPr>
            <p:nvPr/>
          </p:nvSpPr>
          <p:spPr bwMode="auto">
            <a:xfrm>
              <a:off x="7998273" y="3112412"/>
              <a:ext cx="73374" cy="23171"/>
            </a:xfrm>
            <a:custGeom>
              <a:avLst/>
              <a:gdLst/>
              <a:ahLst/>
              <a:cxnLst>
                <a:cxn ang="0">
                  <a:pos x="2" y="0"/>
                </a:cxn>
                <a:cxn ang="0">
                  <a:pos x="0" y="1"/>
                </a:cxn>
                <a:cxn ang="0">
                  <a:pos x="0" y="10"/>
                </a:cxn>
                <a:cxn ang="0">
                  <a:pos x="2" y="12"/>
                </a:cxn>
                <a:cxn ang="0">
                  <a:pos x="37" y="12"/>
                </a:cxn>
                <a:cxn ang="0">
                  <a:pos x="39" y="10"/>
                </a:cxn>
                <a:cxn ang="0">
                  <a:pos x="39" y="1"/>
                </a:cxn>
                <a:cxn ang="0">
                  <a:pos x="37" y="0"/>
                </a:cxn>
                <a:cxn ang="0">
                  <a:pos x="2" y="0"/>
                </a:cxn>
              </a:cxnLst>
              <a:rect l="0" t="0" r="r" b="b"/>
              <a:pathLst>
                <a:path w="39" h="12">
                  <a:moveTo>
                    <a:pt x="2" y="0"/>
                  </a:moveTo>
                  <a:cubicBezTo>
                    <a:pt x="1" y="0"/>
                    <a:pt x="0" y="0"/>
                    <a:pt x="0" y="1"/>
                  </a:cubicBezTo>
                  <a:cubicBezTo>
                    <a:pt x="0" y="10"/>
                    <a:pt x="0" y="10"/>
                    <a:pt x="0" y="10"/>
                  </a:cubicBezTo>
                  <a:cubicBezTo>
                    <a:pt x="0" y="11"/>
                    <a:pt x="1" y="12"/>
                    <a:pt x="2" y="12"/>
                  </a:cubicBezTo>
                  <a:cubicBezTo>
                    <a:pt x="37" y="12"/>
                    <a:pt x="37" y="12"/>
                    <a:pt x="37" y="12"/>
                  </a:cubicBezTo>
                  <a:cubicBezTo>
                    <a:pt x="38" y="12"/>
                    <a:pt x="39" y="11"/>
                    <a:pt x="39" y="10"/>
                  </a:cubicBezTo>
                  <a:cubicBezTo>
                    <a:pt x="39" y="1"/>
                    <a:pt x="39" y="1"/>
                    <a:pt x="39" y="1"/>
                  </a:cubicBezTo>
                  <a:cubicBezTo>
                    <a:pt x="39" y="0"/>
                    <a:pt x="38" y="0"/>
                    <a:pt x="37" y="0"/>
                  </a:cubicBezTo>
                  <a:lnTo>
                    <a:pt x="2"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64" name="Freeform 178">
              <a:extLst>
                <a:ext uri="{FF2B5EF4-FFF2-40B4-BE49-F238E27FC236}">
                  <a16:creationId xmlns:a16="http://schemas.microsoft.com/office/drawing/2014/main" id="{02104C84-D22A-F041-83FC-D6B8B2B33A47}"/>
                </a:ext>
              </a:extLst>
            </p:cNvPr>
            <p:cNvSpPr>
              <a:spLocks/>
            </p:cNvSpPr>
            <p:nvPr/>
          </p:nvSpPr>
          <p:spPr bwMode="auto">
            <a:xfrm>
              <a:off x="8411485" y="3112412"/>
              <a:ext cx="73374" cy="23171"/>
            </a:xfrm>
            <a:custGeom>
              <a:avLst/>
              <a:gdLst/>
              <a:ahLst/>
              <a:cxnLst>
                <a:cxn ang="0">
                  <a:pos x="2" y="0"/>
                </a:cxn>
                <a:cxn ang="0">
                  <a:pos x="0" y="1"/>
                </a:cxn>
                <a:cxn ang="0">
                  <a:pos x="0" y="10"/>
                </a:cxn>
                <a:cxn ang="0">
                  <a:pos x="2" y="12"/>
                </a:cxn>
                <a:cxn ang="0">
                  <a:pos x="37" y="12"/>
                </a:cxn>
                <a:cxn ang="0">
                  <a:pos x="38" y="10"/>
                </a:cxn>
                <a:cxn ang="0">
                  <a:pos x="38" y="1"/>
                </a:cxn>
                <a:cxn ang="0">
                  <a:pos x="37" y="0"/>
                </a:cxn>
                <a:cxn ang="0">
                  <a:pos x="2" y="0"/>
                </a:cxn>
              </a:cxnLst>
              <a:rect l="0" t="0" r="r" b="b"/>
              <a:pathLst>
                <a:path w="38" h="12">
                  <a:moveTo>
                    <a:pt x="2" y="0"/>
                  </a:moveTo>
                  <a:cubicBezTo>
                    <a:pt x="1" y="0"/>
                    <a:pt x="0" y="0"/>
                    <a:pt x="0" y="1"/>
                  </a:cubicBezTo>
                  <a:cubicBezTo>
                    <a:pt x="0" y="10"/>
                    <a:pt x="0" y="10"/>
                    <a:pt x="0" y="10"/>
                  </a:cubicBezTo>
                  <a:cubicBezTo>
                    <a:pt x="0" y="11"/>
                    <a:pt x="1" y="12"/>
                    <a:pt x="2" y="12"/>
                  </a:cubicBezTo>
                  <a:cubicBezTo>
                    <a:pt x="37" y="12"/>
                    <a:pt x="37" y="12"/>
                    <a:pt x="37" y="12"/>
                  </a:cubicBezTo>
                  <a:cubicBezTo>
                    <a:pt x="38" y="12"/>
                    <a:pt x="38" y="11"/>
                    <a:pt x="38" y="10"/>
                  </a:cubicBezTo>
                  <a:cubicBezTo>
                    <a:pt x="38" y="1"/>
                    <a:pt x="38" y="1"/>
                    <a:pt x="38" y="1"/>
                  </a:cubicBezTo>
                  <a:cubicBezTo>
                    <a:pt x="38" y="0"/>
                    <a:pt x="38" y="0"/>
                    <a:pt x="37" y="0"/>
                  </a:cubicBezTo>
                  <a:lnTo>
                    <a:pt x="2"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sp>
        <p:nvSpPr>
          <p:cNvPr id="188" name="Rounded Rectangle 86">
            <a:extLst>
              <a:ext uri="{FF2B5EF4-FFF2-40B4-BE49-F238E27FC236}">
                <a16:creationId xmlns:a16="http://schemas.microsoft.com/office/drawing/2014/main" id="{CFFE9534-4BE0-C22D-E4C7-0B1285C6D2DE}"/>
              </a:ext>
            </a:extLst>
          </p:cNvPr>
          <p:cNvSpPr/>
          <p:nvPr/>
        </p:nvSpPr>
        <p:spPr>
          <a:xfrm>
            <a:off x="11133739" y="4597530"/>
            <a:ext cx="684000" cy="360000"/>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X%</a:t>
            </a:r>
          </a:p>
        </p:txBody>
      </p:sp>
      <p:sp>
        <p:nvSpPr>
          <p:cNvPr id="189" name="Rounded Rectangle 86">
            <a:extLst>
              <a:ext uri="{FF2B5EF4-FFF2-40B4-BE49-F238E27FC236}">
                <a16:creationId xmlns:a16="http://schemas.microsoft.com/office/drawing/2014/main" id="{B24326C7-C741-41CE-FA63-957A95C8A0E9}"/>
              </a:ext>
            </a:extLst>
          </p:cNvPr>
          <p:cNvSpPr/>
          <p:nvPr/>
        </p:nvSpPr>
        <p:spPr>
          <a:xfrm>
            <a:off x="11133739" y="5040857"/>
            <a:ext cx="684000" cy="360000"/>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 years</a:t>
            </a:r>
          </a:p>
        </p:txBody>
      </p:sp>
      <p:graphicFrame>
        <p:nvGraphicFramePr>
          <p:cNvPr id="38" name="Chart 37">
            <a:extLst>
              <a:ext uri="{FF2B5EF4-FFF2-40B4-BE49-F238E27FC236}">
                <a16:creationId xmlns:a16="http://schemas.microsoft.com/office/drawing/2014/main" id="{718F9C80-948B-26DD-7296-052B95067851}"/>
              </a:ext>
            </a:extLst>
          </p:cNvPr>
          <p:cNvGraphicFramePr/>
          <p:nvPr>
            <p:custDataLst>
              <p:tags r:id="rId3"/>
            </p:custDataLst>
            <p:extLst>
              <p:ext uri="{D42A27DB-BD31-4B8C-83A1-F6EECF244321}">
                <p14:modId xmlns:p14="http://schemas.microsoft.com/office/powerpoint/2010/main" val="108208379"/>
              </p:ext>
            </p:extLst>
          </p:nvPr>
        </p:nvGraphicFramePr>
        <p:xfrm>
          <a:off x="11077575" y="5548313"/>
          <a:ext cx="793750" cy="793750"/>
        </p:xfrm>
        <a:graphic>
          <a:graphicData uri="http://schemas.openxmlformats.org/drawingml/2006/chart">
            <c:chart xmlns:c="http://schemas.openxmlformats.org/drawingml/2006/chart" xmlns:r="http://schemas.openxmlformats.org/officeDocument/2006/relationships" r:id="rId56"/>
          </a:graphicData>
        </a:graphic>
      </p:graphicFrame>
      <p:sp>
        <p:nvSpPr>
          <p:cNvPr id="17" name="Rectangle 16">
            <a:extLst>
              <a:ext uri="{FF2B5EF4-FFF2-40B4-BE49-F238E27FC236}">
                <a16:creationId xmlns:a16="http://schemas.microsoft.com/office/drawing/2014/main" id="{C412F9ED-A0AC-79F9-B435-FE93A435BA3B}"/>
              </a:ext>
            </a:extLst>
          </p:cNvPr>
          <p:cNvSpPr/>
          <p:nvPr>
            <p:custDataLst>
              <p:tags r:id="rId4"/>
            </p:custDataLst>
          </p:nvPr>
        </p:nvSpPr>
        <p:spPr bwMode="auto">
          <a:xfrm>
            <a:off x="431800" y="6264275"/>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6" name="Rectangle 15">
            <a:extLst>
              <a:ext uri="{FF2B5EF4-FFF2-40B4-BE49-F238E27FC236}">
                <a16:creationId xmlns:a16="http://schemas.microsoft.com/office/drawing/2014/main" id="{4D9DE0F7-3C57-3E39-7664-9566B419BD45}"/>
              </a:ext>
            </a:extLst>
          </p:cNvPr>
          <p:cNvSpPr/>
          <p:nvPr>
            <p:custDataLst>
              <p:tags r:id="rId5"/>
            </p:custDataLst>
          </p:nvPr>
        </p:nvSpPr>
        <p:spPr bwMode="auto">
          <a:xfrm>
            <a:off x="1606550" y="6264275"/>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9" name="Rectangle 18">
            <a:extLst>
              <a:ext uri="{FF2B5EF4-FFF2-40B4-BE49-F238E27FC236}">
                <a16:creationId xmlns:a16="http://schemas.microsoft.com/office/drawing/2014/main" id="{1548E695-0D6D-878F-AC55-9A623A25C9C4}"/>
              </a:ext>
            </a:extLst>
          </p:cNvPr>
          <p:cNvSpPr/>
          <p:nvPr>
            <p:custDataLst>
              <p:tags r:id="rId6"/>
            </p:custDataLst>
          </p:nvPr>
        </p:nvSpPr>
        <p:spPr bwMode="auto">
          <a:xfrm>
            <a:off x="3182938" y="6264275"/>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8" name="Rectangle 17">
            <a:extLst>
              <a:ext uri="{FF2B5EF4-FFF2-40B4-BE49-F238E27FC236}">
                <a16:creationId xmlns:a16="http://schemas.microsoft.com/office/drawing/2014/main" id="{0A258515-7681-3046-9A17-E5AF4E2FD161}"/>
              </a:ext>
            </a:extLst>
          </p:cNvPr>
          <p:cNvSpPr/>
          <p:nvPr>
            <p:custDataLst>
              <p:tags r:id="rId7"/>
            </p:custDataLst>
          </p:nvPr>
        </p:nvSpPr>
        <p:spPr bwMode="auto">
          <a:xfrm>
            <a:off x="4443413" y="6264275"/>
            <a:ext cx="179388" cy="133350"/>
          </a:xfrm>
          <a:prstGeom prst="rect">
            <a:avLst/>
          </a:prstGeom>
          <a:solidFill>
            <a:schemeClr val="accent6"/>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0" name="Text Placeholder 19">
            <a:extLst>
              <a:ext uri="{FF2B5EF4-FFF2-40B4-BE49-F238E27FC236}">
                <a16:creationId xmlns:a16="http://schemas.microsoft.com/office/drawing/2014/main" id="{8A8151DD-3B2E-51D7-5D46-592E8712BCED}"/>
              </a:ext>
            </a:extLst>
          </p:cNvPr>
          <p:cNvSpPr>
            <a:spLocks noGrp="1"/>
          </p:cNvSpPr>
          <p:nvPr>
            <p:custDataLst>
              <p:tags r:id="rId8"/>
            </p:custDataLst>
          </p:nvPr>
        </p:nvSpPr>
        <p:spPr bwMode="auto">
          <a:xfrm>
            <a:off x="661988" y="6259513"/>
            <a:ext cx="842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1CC672C6-0AD0-48B0-8A58-0A3E99BC8E1D}" type="datetime'E''''ner''g''''y T''''''r''''''''''''a''''di''''n''''g'''">
              <a:rPr lang="en-GB" altLang="en-US" sz="1000" smtClean="0"/>
              <a:pPr>
                <a:spcBef>
                  <a:spcPct val="0"/>
                </a:spcBef>
                <a:spcAft>
                  <a:spcPct val="0"/>
                </a:spcAft>
              </a:pPr>
              <a:t>Energy Trading</a:t>
            </a:fld>
            <a:endParaRPr lang="en-GB" sz="1000"/>
          </a:p>
        </p:txBody>
      </p:sp>
      <p:sp>
        <p:nvSpPr>
          <p:cNvPr id="25" name="Text Placeholder 19">
            <a:extLst>
              <a:ext uri="{FF2B5EF4-FFF2-40B4-BE49-F238E27FC236}">
                <a16:creationId xmlns:a16="http://schemas.microsoft.com/office/drawing/2014/main" id="{8A4E36A2-7CC5-9A20-B584-77160D6D43A3}"/>
              </a:ext>
            </a:extLst>
          </p:cNvPr>
          <p:cNvSpPr>
            <a:spLocks noGrp="1"/>
          </p:cNvSpPr>
          <p:nvPr>
            <p:custDataLst>
              <p:tags r:id="rId9"/>
            </p:custDataLst>
          </p:nvPr>
        </p:nvSpPr>
        <p:spPr bwMode="auto">
          <a:xfrm>
            <a:off x="1836738" y="6259513"/>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A9DDCA6E-D5D3-46C0-9DCF-AB2CD62B7C5A}" type="datetime'''Dyn''''a''''mic ''''''C''''o''n''''''tain''''m''''ent'''''''">
              <a:rPr lang="en-GB" altLang="en-US" sz="1000" smtClean="0"/>
              <a:pPr>
                <a:spcBef>
                  <a:spcPct val="0"/>
                </a:spcBef>
                <a:spcAft>
                  <a:spcPct val="0"/>
                </a:spcAft>
              </a:pPr>
              <a:t>Dynamic Containment</a:t>
            </a:fld>
            <a:endParaRPr lang="en-GB" sz="1000"/>
          </a:p>
        </p:txBody>
      </p:sp>
      <p:sp>
        <p:nvSpPr>
          <p:cNvPr id="27" name="Text Placeholder 19">
            <a:extLst>
              <a:ext uri="{FF2B5EF4-FFF2-40B4-BE49-F238E27FC236}">
                <a16:creationId xmlns:a16="http://schemas.microsoft.com/office/drawing/2014/main" id="{3B37AF28-62F9-ED85-54D7-ACE093ED3BB5}"/>
              </a:ext>
            </a:extLst>
          </p:cNvPr>
          <p:cNvSpPr>
            <a:spLocks noGrp="1"/>
          </p:cNvSpPr>
          <p:nvPr>
            <p:custDataLst>
              <p:tags r:id="rId10"/>
            </p:custDataLst>
          </p:nvPr>
        </p:nvSpPr>
        <p:spPr bwMode="auto">
          <a:xfrm>
            <a:off x="3413125" y="6259513"/>
            <a:ext cx="928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77898FCF-4D14-45B9-9799-45A2B7DE7648}" type="datetime'C''a''''p''''ac''i''''t''''''y'''' ''''''''''Market'''''''''''">
              <a:rPr lang="en-GB" altLang="en-US" sz="1000" smtClean="0"/>
              <a:pPr>
                <a:spcBef>
                  <a:spcPct val="0"/>
                </a:spcBef>
                <a:spcAft>
                  <a:spcPct val="0"/>
                </a:spcAft>
              </a:pPr>
              <a:t>Capacity Market</a:t>
            </a:fld>
            <a:endParaRPr lang="en-GB" sz="1000"/>
          </a:p>
        </p:txBody>
      </p:sp>
      <p:sp>
        <p:nvSpPr>
          <p:cNvPr id="24" name="Text Placeholder 19">
            <a:extLst>
              <a:ext uri="{FF2B5EF4-FFF2-40B4-BE49-F238E27FC236}">
                <a16:creationId xmlns:a16="http://schemas.microsoft.com/office/drawing/2014/main" id="{2DB2E0B3-1D2E-C7FE-EA2F-2656F05550A3}"/>
              </a:ext>
            </a:extLst>
          </p:cNvPr>
          <p:cNvSpPr>
            <a:spLocks noGrp="1"/>
          </p:cNvSpPr>
          <p:nvPr>
            <p:custDataLst>
              <p:tags r:id="rId11"/>
            </p:custDataLst>
          </p:nvPr>
        </p:nvSpPr>
        <p:spPr bwMode="auto">
          <a:xfrm>
            <a:off x="4673600" y="6259513"/>
            <a:ext cx="336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5EF187DA-FFF8-4005-AD3B-D9F6B0E28B36}" type="datetime'''''''''''''''''''''Ot''h''''e''''''''''''''''''''''''''r'''">
              <a:rPr lang="en-GB" altLang="en-US" sz="1000" smtClean="0"/>
              <a:pPr>
                <a:spcBef>
                  <a:spcPct val="0"/>
                </a:spcBef>
                <a:spcAft>
                  <a:spcPct val="0"/>
                </a:spcAft>
              </a:pPr>
              <a:t>Other</a:t>
            </a:fld>
            <a:endParaRPr lang="en-GB" sz="1000"/>
          </a:p>
        </p:txBody>
      </p:sp>
      <p:graphicFrame>
        <p:nvGraphicFramePr>
          <p:cNvPr id="35" name="Chart 34">
            <a:extLst>
              <a:ext uri="{FF2B5EF4-FFF2-40B4-BE49-F238E27FC236}">
                <a16:creationId xmlns:a16="http://schemas.microsoft.com/office/drawing/2014/main" id="{91CF007B-6B19-A003-5E82-AA5773E5D51C}"/>
              </a:ext>
            </a:extLst>
          </p:cNvPr>
          <p:cNvGraphicFramePr/>
          <p:nvPr>
            <p:custDataLst>
              <p:tags r:id="rId12"/>
            </p:custDataLst>
            <p:extLst>
              <p:ext uri="{D42A27DB-BD31-4B8C-83A1-F6EECF244321}">
                <p14:modId xmlns:p14="http://schemas.microsoft.com/office/powerpoint/2010/main" val="619458834"/>
              </p:ext>
            </p:extLst>
          </p:nvPr>
        </p:nvGraphicFramePr>
        <p:xfrm>
          <a:off x="8391525" y="5530850"/>
          <a:ext cx="811213" cy="811213"/>
        </p:xfrm>
        <a:graphic>
          <a:graphicData uri="http://schemas.openxmlformats.org/drawingml/2006/chart">
            <c:chart xmlns:c="http://schemas.openxmlformats.org/drawingml/2006/chart" xmlns:r="http://schemas.openxmlformats.org/officeDocument/2006/relationships" r:id="rId57"/>
          </a:graphicData>
        </a:graphic>
      </p:graphicFrame>
      <p:sp>
        <p:nvSpPr>
          <p:cNvPr id="172" name="Flowchart: Process 171">
            <a:extLst>
              <a:ext uri="{FF2B5EF4-FFF2-40B4-BE49-F238E27FC236}">
                <a16:creationId xmlns:a16="http://schemas.microsoft.com/office/drawing/2014/main" id="{097FC7AF-E5C2-3703-84EF-EFA2F81B8EEB}"/>
              </a:ext>
            </a:extLst>
          </p:cNvPr>
          <p:cNvSpPr/>
          <p:nvPr/>
        </p:nvSpPr>
        <p:spPr>
          <a:xfrm>
            <a:off x="6564195" y="4624909"/>
            <a:ext cx="1820446" cy="363538"/>
          </a:xfrm>
          <a:prstGeom prst="flowChartProcess">
            <a:avLst/>
          </a:prstGeom>
          <a:no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spcAft>
                <a:spcPts val="1000"/>
              </a:spcAft>
            </a:pPr>
            <a:r>
              <a:rPr lang="en-GB" sz="1200" b="1">
                <a:solidFill>
                  <a:schemeClr val="tx1"/>
                </a:solidFill>
              </a:rPr>
              <a:t>Unlevered Project IRR</a:t>
            </a:r>
            <a:r>
              <a:rPr lang="en-GB" sz="1200" b="1" baseline="30000">
                <a:solidFill>
                  <a:schemeClr val="tx1"/>
                </a:solidFill>
              </a:rPr>
              <a:t>6</a:t>
            </a:r>
            <a:endParaRPr lang="en-GB" sz="1200" b="1">
              <a:solidFill>
                <a:schemeClr val="tx1"/>
              </a:solidFill>
            </a:endParaRPr>
          </a:p>
        </p:txBody>
      </p:sp>
      <p:sp>
        <p:nvSpPr>
          <p:cNvPr id="173" name="Flowchart: Process 172">
            <a:extLst>
              <a:ext uri="{FF2B5EF4-FFF2-40B4-BE49-F238E27FC236}">
                <a16:creationId xmlns:a16="http://schemas.microsoft.com/office/drawing/2014/main" id="{0EDFDBA4-C9A6-940D-5303-E2AEA47178F8}"/>
              </a:ext>
            </a:extLst>
          </p:cNvPr>
          <p:cNvSpPr/>
          <p:nvPr/>
        </p:nvSpPr>
        <p:spPr>
          <a:xfrm>
            <a:off x="6564195" y="4997450"/>
            <a:ext cx="1657350" cy="377825"/>
          </a:xfrm>
          <a:prstGeom prst="flowChartProcess">
            <a:avLst/>
          </a:prstGeom>
          <a:no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spcAft>
                <a:spcPts val="1000"/>
              </a:spcAft>
            </a:pPr>
            <a:r>
              <a:rPr lang="en-GB" sz="1200" b="1">
                <a:solidFill>
                  <a:schemeClr val="tx1"/>
                </a:solidFill>
              </a:rPr>
              <a:t>Payback Period</a:t>
            </a:r>
          </a:p>
        </p:txBody>
      </p:sp>
      <p:sp>
        <p:nvSpPr>
          <p:cNvPr id="174" name="Flowchart: Process 173">
            <a:extLst>
              <a:ext uri="{FF2B5EF4-FFF2-40B4-BE49-F238E27FC236}">
                <a16:creationId xmlns:a16="http://schemas.microsoft.com/office/drawing/2014/main" id="{EDFF98F9-0205-F643-1A5D-9CCA198CBB43}"/>
              </a:ext>
            </a:extLst>
          </p:cNvPr>
          <p:cNvSpPr/>
          <p:nvPr/>
        </p:nvSpPr>
        <p:spPr>
          <a:xfrm>
            <a:off x="6520884" y="5711031"/>
            <a:ext cx="1469392" cy="363538"/>
          </a:xfrm>
          <a:prstGeom prst="flowChartProcess">
            <a:avLst/>
          </a:prstGeom>
          <a:no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spcAft>
                <a:spcPts val="1000"/>
              </a:spcAft>
            </a:pPr>
            <a:r>
              <a:rPr lang="en-GB" sz="1200" b="1">
                <a:solidFill>
                  <a:schemeClr val="tx1"/>
                </a:solidFill>
              </a:rPr>
              <a:t>Gross margin split</a:t>
            </a:r>
            <a:r>
              <a:rPr lang="en-GB" sz="1200" b="1" baseline="30000">
                <a:solidFill>
                  <a:schemeClr val="tx1"/>
                </a:solidFill>
              </a:rPr>
              <a:t>7</a:t>
            </a:r>
          </a:p>
        </p:txBody>
      </p:sp>
      <p:cxnSp>
        <p:nvCxnSpPr>
          <p:cNvPr id="29" name="Straight Connector 28">
            <a:extLst>
              <a:ext uri="{FF2B5EF4-FFF2-40B4-BE49-F238E27FC236}">
                <a16:creationId xmlns:a16="http://schemas.microsoft.com/office/drawing/2014/main" id="{15D3D037-24D3-52DC-076E-53F813D304F2}"/>
              </a:ext>
            </a:extLst>
          </p:cNvPr>
          <p:cNvCxnSpPr/>
          <p:nvPr>
            <p:custDataLst>
              <p:tags r:id="rId13"/>
            </p:custDataLst>
          </p:nvPr>
        </p:nvCxnSpPr>
        <p:spPr bwMode="auto">
          <a:xfrm>
            <a:off x="912813" y="3873500"/>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69FD72C9-1358-FCE6-2AAB-E9481D71B0BB}"/>
              </a:ext>
            </a:extLst>
          </p:cNvPr>
          <p:cNvCxnSpPr/>
          <p:nvPr>
            <p:custDataLst>
              <p:tags r:id="rId14"/>
            </p:custDataLst>
          </p:nvPr>
        </p:nvCxnSpPr>
        <p:spPr bwMode="auto">
          <a:xfrm>
            <a:off x="1585913" y="439896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BE4DAE1-8E42-107D-6D55-AC2DA99BB92B}"/>
              </a:ext>
            </a:extLst>
          </p:cNvPr>
          <p:cNvCxnSpPr/>
          <p:nvPr>
            <p:custDataLst>
              <p:tags r:id="rId15"/>
            </p:custDataLst>
          </p:nvPr>
        </p:nvCxnSpPr>
        <p:spPr bwMode="auto">
          <a:xfrm>
            <a:off x="2257425" y="438626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CD36F780-EC1F-9F0E-EB18-AF5065DEA516}"/>
              </a:ext>
            </a:extLst>
          </p:cNvPr>
          <p:cNvCxnSpPr/>
          <p:nvPr>
            <p:custDataLst>
              <p:tags r:id="rId16"/>
            </p:custDataLst>
          </p:nvPr>
        </p:nvCxnSpPr>
        <p:spPr bwMode="auto">
          <a:xfrm>
            <a:off x="2930525" y="2892425"/>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C6177A02-B1C7-F577-E4D9-C05863A6BC25}"/>
              </a:ext>
            </a:extLst>
          </p:cNvPr>
          <p:cNvCxnSpPr/>
          <p:nvPr>
            <p:custDataLst>
              <p:tags r:id="rId17"/>
            </p:custDataLst>
          </p:nvPr>
        </p:nvCxnSpPr>
        <p:spPr bwMode="auto">
          <a:xfrm>
            <a:off x="3602038" y="270986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1A2F8E04-0356-7C91-554A-49822E89E2F4}"/>
              </a:ext>
            </a:extLst>
          </p:cNvPr>
          <p:cNvCxnSpPr/>
          <p:nvPr>
            <p:custDataLst>
              <p:tags r:id="rId18"/>
            </p:custDataLst>
          </p:nvPr>
        </p:nvCxnSpPr>
        <p:spPr bwMode="auto">
          <a:xfrm>
            <a:off x="4273550" y="282416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C35F0CF2-B8C2-CF46-4227-FFFFE90F6B54}"/>
              </a:ext>
            </a:extLst>
          </p:cNvPr>
          <p:cNvCxnSpPr/>
          <p:nvPr>
            <p:custDataLst>
              <p:tags r:id="rId19"/>
            </p:custDataLst>
          </p:nvPr>
        </p:nvCxnSpPr>
        <p:spPr bwMode="auto">
          <a:xfrm>
            <a:off x="4946650" y="2740025"/>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BF8F70F-3D99-8F84-F7E0-4DC5BC20EBC9}"/>
              </a:ext>
            </a:extLst>
          </p:cNvPr>
          <p:cNvCxnSpPr/>
          <p:nvPr>
            <p:custDataLst>
              <p:tags r:id="rId20"/>
            </p:custDataLst>
          </p:nvPr>
        </p:nvCxnSpPr>
        <p:spPr bwMode="auto">
          <a:xfrm>
            <a:off x="5618163" y="263683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0955156B-BCA6-9139-55F3-5AF2F8E82A2D}"/>
              </a:ext>
            </a:extLst>
          </p:cNvPr>
          <p:cNvCxnSpPr/>
          <p:nvPr>
            <p:custDataLst>
              <p:tags r:id="rId21"/>
            </p:custDataLst>
          </p:nvPr>
        </p:nvCxnSpPr>
        <p:spPr bwMode="auto">
          <a:xfrm>
            <a:off x="6291263" y="263683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C42BD636-41D6-049E-6101-E54F01584016}"/>
              </a:ext>
            </a:extLst>
          </p:cNvPr>
          <p:cNvCxnSpPr/>
          <p:nvPr>
            <p:custDataLst>
              <p:tags r:id="rId22"/>
            </p:custDataLst>
          </p:nvPr>
        </p:nvCxnSpPr>
        <p:spPr bwMode="auto">
          <a:xfrm>
            <a:off x="6962775" y="292576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18AF6F80-9D6C-47AE-E2D2-2F89AECC6060}"/>
              </a:ext>
            </a:extLst>
          </p:cNvPr>
          <p:cNvCxnSpPr/>
          <p:nvPr>
            <p:custDataLst>
              <p:tags r:id="rId23"/>
            </p:custDataLst>
          </p:nvPr>
        </p:nvCxnSpPr>
        <p:spPr bwMode="auto">
          <a:xfrm>
            <a:off x="7635875" y="2921000"/>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87A5732D-1740-4C48-09FB-D70A0CB640D6}"/>
              </a:ext>
            </a:extLst>
          </p:cNvPr>
          <p:cNvCxnSpPr/>
          <p:nvPr>
            <p:custDataLst>
              <p:tags r:id="rId24"/>
            </p:custDataLst>
          </p:nvPr>
        </p:nvCxnSpPr>
        <p:spPr bwMode="auto">
          <a:xfrm>
            <a:off x="8307388" y="291941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A4C44395-3958-D81D-1EBC-4F6FA3748971}"/>
              </a:ext>
            </a:extLst>
          </p:cNvPr>
          <p:cNvCxnSpPr/>
          <p:nvPr>
            <p:custDataLst>
              <p:tags r:id="rId25"/>
            </p:custDataLst>
          </p:nvPr>
        </p:nvCxnSpPr>
        <p:spPr bwMode="auto">
          <a:xfrm>
            <a:off x="8978900" y="291941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9AD49B08-B6C9-0736-D367-7E471D05D6A5}"/>
              </a:ext>
            </a:extLst>
          </p:cNvPr>
          <p:cNvCxnSpPr/>
          <p:nvPr>
            <p:custDataLst>
              <p:tags r:id="rId26"/>
            </p:custDataLst>
          </p:nvPr>
        </p:nvCxnSpPr>
        <p:spPr bwMode="auto">
          <a:xfrm>
            <a:off x="9652000" y="227488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70E487D8-65A9-F3D6-16D9-58930EC4229B}"/>
              </a:ext>
            </a:extLst>
          </p:cNvPr>
          <p:cNvCxnSpPr/>
          <p:nvPr>
            <p:custDataLst>
              <p:tags r:id="rId27"/>
            </p:custDataLst>
          </p:nvPr>
        </p:nvCxnSpPr>
        <p:spPr bwMode="auto">
          <a:xfrm>
            <a:off x="10323513" y="232251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921EA56F-8C9B-D1C4-19B9-C7A9F6941779}"/>
              </a:ext>
            </a:extLst>
          </p:cNvPr>
          <p:cNvCxnSpPr/>
          <p:nvPr>
            <p:custDataLst>
              <p:tags r:id="rId28"/>
            </p:custDataLst>
          </p:nvPr>
        </p:nvCxnSpPr>
        <p:spPr bwMode="auto">
          <a:xfrm>
            <a:off x="10996613" y="2324100"/>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7" name="Rectangle 86">
            <a:extLst>
              <a:ext uri="{FF2B5EF4-FFF2-40B4-BE49-F238E27FC236}">
                <a16:creationId xmlns:a16="http://schemas.microsoft.com/office/drawing/2014/main" id="{321403AD-16AB-7778-A284-D7C8A2CA735C}"/>
              </a:ext>
            </a:extLst>
          </p:cNvPr>
          <p:cNvSpPr/>
          <p:nvPr>
            <p:custDataLst>
              <p:tags r:id="rId29"/>
            </p:custDataLst>
          </p:nvPr>
        </p:nvSpPr>
        <p:spPr bwMode="auto">
          <a:xfrm>
            <a:off x="7261225" y="2921000"/>
            <a:ext cx="374650" cy="4763"/>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09" name="Rectangle 108">
            <a:extLst>
              <a:ext uri="{FF2B5EF4-FFF2-40B4-BE49-F238E27FC236}">
                <a16:creationId xmlns:a16="http://schemas.microsoft.com/office/drawing/2014/main" id="{204E1BFF-8510-3978-8BD4-15607A3063DC}"/>
              </a:ext>
            </a:extLst>
          </p:cNvPr>
          <p:cNvSpPr/>
          <p:nvPr>
            <p:custDataLst>
              <p:tags r:id="rId30"/>
            </p:custDataLst>
          </p:nvPr>
        </p:nvSpPr>
        <p:spPr bwMode="auto">
          <a:xfrm>
            <a:off x="10621963" y="2322513"/>
            <a:ext cx="374650" cy="1588"/>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8" name="Rectangle 97">
            <a:extLst>
              <a:ext uri="{FF2B5EF4-FFF2-40B4-BE49-F238E27FC236}">
                <a16:creationId xmlns:a16="http://schemas.microsoft.com/office/drawing/2014/main" id="{49D69124-2DAC-F45E-691B-461EDB30B862}"/>
              </a:ext>
            </a:extLst>
          </p:cNvPr>
          <p:cNvSpPr/>
          <p:nvPr>
            <p:custDataLst>
              <p:tags r:id="rId31"/>
            </p:custDataLst>
          </p:nvPr>
        </p:nvSpPr>
        <p:spPr bwMode="auto">
          <a:xfrm>
            <a:off x="7934326" y="2919413"/>
            <a:ext cx="373063" cy="1588"/>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aphicFrame>
        <p:nvGraphicFramePr>
          <p:cNvPr id="28" name="Chart 27">
            <a:extLst>
              <a:ext uri="{FF2B5EF4-FFF2-40B4-BE49-F238E27FC236}">
                <a16:creationId xmlns:a16="http://schemas.microsoft.com/office/drawing/2014/main" id="{20699223-9A0D-7DEF-634F-43C443BAF8F6}"/>
              </a:ext>
            </a:extLst>
          </p:cNvPr>
          <p:cNvGraphicFramePr/>
          <p:nvPr>
            <p:custDataLst>
              <p:tags r:id="rId32"/>
            </p:custDataLst>
            <p:extLst>
              <p:ext uri="{D42A27DB-BD31-4B8C-83A1-F6EECF244321}">
                <p14:modId xmlns:p14="http://schemas.microsoft.com/office/powerpoint/2010/main" val="4106065595"/>
              </p:ext>
            </p:extLst>
          </p:nvPr>
        </p:nvGraphicFramePr>
        <p:xfrm>
          <a:off x="307975" y="2192338"/>
          <a:ext cx="11591925" cy="2289175"/>
        </p:xfrm>
        <a:graphic>
          <a:graphicData uri="http://schemas.openxmlformats.org/drawingml/2006/chart">
            <c:chart xmlns:c="http://schemas.openxmlformats.org/drawingml/2006/chart" xmlns:r="http://schemas.openxmlformats.org/officeDocument/2006/relationships" r:id="rId58"/>
          </a:graphicData>
        </a:graphic>
      </p:graphicFrame>
      <p:sp>
        <p:nvSpPr>
          <p:cNvPr id="56" name="Rectangle 55">
            <a:extLst>
              <a:ext uri="{FF2B5EF4-FFF2-40B4-BE49-F238E27FC236}">
                <a16:creationId xmlns:a16="http://schemas.microsoft.com/office/drawing/2014/main" id="{5F9FB50B-DB42-16CE-68FB-5A747E52128F}"/>
              </a:ext>
            </a:extLst>
          </p:cNvPr>
          <p:cNvSpPr/>
          <p:nvPr>
            <p:custDataLst>
              <p:tags r:id="rId33"/>
            </p:custDataLst>
          </p:nvPr>
        </p:nvSpPr>
        <p:spPr bwMode="auto">
          <a:xfrm>
            <a:off x="9277350" y="2460625"/>
            <a:ext cx="374650" cy="34925"/>
          </a:xfrm>
          <a:prstGeom prst="rect">
            <a:avLst/>
          </a:prstGeom>
          <a:solidFill>
            <a:schemeClr val="accent1"/>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6"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auto">
          <a:xfrm>
            <a:off x="1077913" y="2079625"/>
            <a:ext cx="6429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33F4E2FF-8B9B-4580-8F82-578A06BF1C22}" type="datetime'''F''ixe''''''d'' ''''''''Ope''''''''''''''''x'''">
              <a:rPr lang="en-GB" altLang="en-US" sz="1000" smtClean="0">
                <a:ea typeface="+mn-ea"/>
                <a:cs typeface="+mn-cs"/>
              </a:rPr>
              <a:pPr algn="ctr">
                <a:spcBef>
                  <a:spcPct val="0"/>
                </a:spcBef>
                <a:spcAft>
                  <a:spcPct val="0"/>
                </a:spcAft>
              </a:pPr>
              <a:t>Fixed Opex</a:t>
            </a:fld>
            <a:endParaRPr lang="en-GB" sz="1000">
              <a:ea typeface="+mn-ea"/>
              <a:cs typeface="+mn-cs"/>
            </a:endParaRPr>
          </a:p>
        </p:txBody>
      </p:sp>
      <p:sp>
        <p:nvSpPr>
          <p:cNvPr id="51" name="Text Placeholder 19">
            <a:extLst>
              <a:ext uri="{FF2B5EF4-FFF2-40B4-BE49-F238E27FC236}">
                <a16:creationId xmlns:a16="http://schemas.microsoft.com/office/drawing/2014/main" id="{ABC64465-F794-9815-85B1-6271EAA7CC82}"/>
              </a:ext>
            </a:extLst>
          </p:cNvPr>
          <p:cNvSpPr>
            <a:spLocks noGrp="1"/>
          </p:cNvSpPr>
          <p:nvPr>
            <p:custDataLst>
              <p:tags r:id="rId35"/>
            </p:custDataLst>
          </p:nvPr>
        </p:nvSpPr>
        <p:spPr bwMode="auto">
          <a:xfrm>
            <a:off x="1819275" y="1927225"/>
            <a:ext cx="503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735C1EAD-4195-4C7D-85B4-585828D17E8D}" type="datetime'''C''''a''pac''''''''i''''ty'''' M''a''''''''''''''''rk''e''t'">
              <a:rPr lang="en-GB" altLang="en-US" sz="1000" smtClean="0">
                <a:ea typeface="+mn-ea"/>
                <a:cs typeface="+mn-cs"/>
              </a:rPr>
              <a:pPr algn="ctr">
                <a:spcBef>
                  <a:spcPct val="0"/>
                </a:spcBef>
                <a:spcAft>
                  <a:spcPct val="0"/>
                </a:spcAft>
              </a:pPr>
              <a:t>Capacity Market</a:t>
            </a:fld>
            <a:r>
              <a:rPr lang="en-GB" altLang="en-US" sz="1000" baseline="30000">
                <a:ea typeface="+mn-ea"/>
                <a:cs typeface="+mn-cs"/>
              </a:rPr>
              <a:t>1</a:t>
            </a:r>
            <a:endParaRPr lang="en-GB" sz="1000" baseline="30000">
              <a:ea typeface="+mn-ea"/>
              <a:cs typeface="+mn-cs"/>
            </a:endParaRPr>
          </a:p>
        </p:txBody>
      </p:sp>
      <p:sp>
        <p:nvSpPr>
          <p:cNvPr id="64" name="Text Placeholder 19">
            <a:extLst>
              <a:ext uri="{FF2B5EF4-FFF2-40B4-BE49-F238E27FC236}">
                <a16:creationId xmlns:a16="http://schemas.microsoft.com/office/drawing/2014/main" id="{F70AAC95-0938-C4F6-495C-2E7C965665A9}"/>
              </a:ext>
            </a:extLst>
          </p:cNvPr>
          <p:cNvSpPr>
            <a:spLocks noGrp="1"/>
          </p:cNvSpPr>
          <p:nvPr>
            <p:custDataLst>
              <p:tags r:id="rId36"/>
            </p:custDataLst>
          </p:nvPr>
        </p:nvSpPr>
        <p:spPr bwMode="auto">
          <a:xfrm>
            <a:off x="2498725" y="1927225"/>
            <a:ext cx="4905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76183230-2405-4209-BEE0-29D449390D77}" type="datetime'En''e''''''''r''g''''''''''''y'' ''''''''T''ra''d''''in''g'">
              <a:rPr lang="en-GB" altLang="en-US" sz="1000" smtClean="0">
                <a:ea typeface="+mn-ea"/>
                <a:cs typeface="+mn-cs"/>
              </a:rPr>
              <a:pPr algn="ctr">
                <a:spcBef>
                  <a:spcPct val="0"/>
                </a:spcBef>
                <a:spcAft>
                  <a:spcPct val="0"/>
                </a:spcAft>
              </a:pPr>
              <a:t>Energy Trading</a:t>
            </a:fld>
            <a:r>
              <a:rPr lang="en-GB" altLang="en-US" sz="1000" baseline="30000">
                <a:ea typeface="+mn-ea"/>
                <a:cs typeface="+mn-cs"/>
              </a:rPr>
              <a:t>2</a:t>
            </a:r>
            <a:endParaRPr lang="en-GB" sz="1000" baseline="30000">
              <a:ea typeface="+mn-ea"/>
              <a:cs typeface="+mn-cs"/>
            </a:endParaRPr>
          </a:p>
        </p:txBody>
      </p:sp>
      <p:sp>
        <p:nvSpPr>
          <p:cNvPr id="84" name="Text Placeholder 19">
            <a:extLst>
              <a:ext uri="{FF2B5EF4-FFF2-40B4-BE49-F238E27FC236}">
                <a16:creationId xmlns:a16="http://schemas.microsoft.com/office/drawing/2014/main" id="{A70C2C7F-42C4-3623-8404-02EEA5E3AAA9}"/>
              </a:ext>
            </a:extLst>
          </p:cNvPr>
          <p:cNvSpPr>
            <a:spLocks noGrp="1"/>
          </p:cNvSpPr>
          <p:nvPr>
            <p:custDataLst>
              <p:tags r:id="rId37"/>
            </p:custDataLst>
          </p:nvPr>
        </p:nvSpPr>
        <p:spPr bwMode="auto">
          <a:xfrm>
            <a:off x="3332163" y="2079625"/>
            <a:ext cx="166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D9A96771-B050-4C74-9BF7-DF33A5054D2E}" type="datetime'''''''''''''''F''''''''R'''''''''''">
              <a:rPr lang="en-GB" altLang="en-US" sz="1000" smtClean="0">
                <a:ea typeface="+mn-ea"/>
                <a:cs typeface="+mn-cs"/>
              </a:rPr>
              <a:pPr algn="ctr">
                <a:spcBef>
                  <a:spcPct val="0"/>
                </a:spcBef>
                <a:spcAft>
                  <a:spcPct val="0"/>
                </a:spcAft>
              </a:pPr>
              <a:t>FR</a:t>
            </a:fld>
            <a:endParaRPr lang="en-GB" sz="1000">
              <a:ea typeface="+mn-ea"/>
              <a:cs typeface="+mn-cs"/>
            </a:endParaRPr>
          </a:p>
        </p:txBody>
      </p:sp>
      <p:sp>
        <p:nvSpPr>
          <p:cNvPr id="100" name="Text Placeholder 19">
            <a:extLst>
              <a:ext uri="{FF2B5EF4-FFF2-40B4-BE49-F238E27FC236}">
                <a16:creationId xmlns:a16="http://schemas.microsoft.com/office/drawing/2014/main" id="{831C842C-731B-12E9-BDD0-EF5638B5CB7C}"/>
              </a:ext>
            </a:extLst>
          </p:cNvPr>
          <p:cNvSpPr>
            <a:spLocks noGrp="1"/>
          </p:cNvSpPr>
          <p:nvPr>
            <p:custDataLst>
              <p:tags r:id="rId38"/>
            </p:custDataLst>
          </p:nvPr>
        </p:nvSpPr>
        <p:spPr bwMode="auto">
          <a:xfrm>
            <a:off x="3846513" y="2079625"/>
            <a:ext cx="479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A3623901-9F63-4DD0-A8E3-1DCDEB4C828C}" type="datetime'G''''''''''''''''D''U''''''o''S'''''''">
              <a:rPr lang="en-GB" altLang="en-US" sz="1000" smtClean="0">
                <a:ea typeface="+mn-ea"/>
                <a:cs typeface="+mn-cs"/>
              </a:rPr>
              <a:pPr algn="ctr">
                <a:spcBef>
                  <a:spcPct val="0"/>
                </a:spcBef>
                <a:spcAft>
                  <a:spcPct val="0"/>
                </a:spcAft>
              </a:pPr>
              <a:t>GDUoS</a:t>
            </a:fld>
            <a:r>
              <a:rPr lang="en-GB" altLang="en-US" sz="1000" baseline="30000">
                <a:ea typeface="+mn-ea"/>
                <a:cs typeface="+mn-cs"/>
              </a:rPr>
              <a:t>3</a:t>
            </a:r>
            <a:endParaRPr lang="en-GB" sz="1000" baseline="30000">
              <a:ea typeface="+mn-ea"/>
              <a:cs typeface="+mn-cs"/>
            </a:endParaRPr>
          </a:p>
        </p:txBody>
      </p:sp>
      <p:sp>
        <p:nvSpPr>
          <p:cNvPr id="83" name="Text Placeholder 19">
            <a:extLst>
              <a:ext uri="{FF2B5EF4-FFF2-40B4-BE49-F238E27FC236}">
                <a16:creationId xmlns:a16="http://schemas.microsoft.com/office/drawing/2014/main" id="{795FE0ED-3775-2F94-D461-38F7A446BFD4}"/>
              </a:ext>
            </a:extLst>
          </p:cNvPr>
          <p:cNvSpPr>
            <a:spLocks noGrp="1"/>
          </p:cNvSpPr>
          <p:nvPr>
            <p:custDataLst>
              <p:tags r:id="rId39"/>
            </p:custDataLst>
          </p:nvPr>
        </p:nvSpPr>
        <p:spPr bwMode="auto">
          <a:xfrm>
            <a:off x="4540250" y="1927225"/>
            <a:ext cx="4381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4946F8D6-9320-46D3-8827-356E1FD1CF2F}" type="datetime'''''S''al''va''''g''''''''''e'''' V''''''''''''''alu''''''e'''">
              <a:rPr lang="en-GB" altLang="en-US" sz="1000" smtClean="0">
                <a:ea typeface="+mn-ea"/>
                <a:cs typeface="+mn-cs"/>
              </a:rPr>
              <a:pPr algn="ctr">
                <a:spcBef>
                  <a:spcPct val="0"/>
                </a:spcBef>
                <a:spcAft>
                  <a:spcPct val="0"/>
                </a:spcAft>
              </a:pPr>
              <a:t>Salvage Value</a:t>
            </a:fld>
            <a:r>
              <a:rPr lang="en-GB" altLang="en-US" sz="1000" baseline="30000">
                <a:ea typeface="+mn-ea"/>
                <a:cs typeface="+mn-cs"/>
              </a:rPr>
              <a:t>4</a:t>
            </a:r>
            <a:endParaRPr lang="en-GB" sz="1000" baseline="30000">
              <a:ea typeface="+mn-ea"/>
              <a:cs typeface="+mn-cs"/>
            </a:endParaRPr>
          </a:p>
        </p:txBody>
      </p:sp>
      <p:sp>
        <p:nvSpPr>
          <p:cNvPr id="106" name="Text Placeholder 19">
            <a:extLst>
              <a:ext uri="{FF2B5EF4-FFF2-40B4-BE49-F238E27FC236}">
                <a16:creationId xmlns:a16="http://schemas.microsoft.com/office/drawing/2014/main" id="{4342679C-DAB5-DD50-B393-35586AB9DCB8}"/>
              </a:ext>
            </a:extLst>
          </p:cNvPr>
          <p:cNvSpPr>
            <a:spLocks noGrp="1"/>
          </p:cNvSpPr>
          <p:nvPr>
            <p:custDataLst>
              <p:tags r:id="rId40"/>
            </p:custDataLst>
          </p:nvPr>
        </p:nvSpPr>
        <p:spPr bwMode="auto">
          <a:xfrm>
            <a:off x="5127625" y="2079625"/>
            <a:ext cx="606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1EC00C28-6FC1-4369-949B-B845A580A1E2}" type="datetime'''''''''''''''T''r''''''''''ia''''''d''s'' E''E''''''''T'''''">
              <a:rPr lang="en-GB" altLang="en-US" sz="1000" smtClean="0">
                <a:ea typeface="+mn-ea"/>
                <a:cs typeface="+mn-cs"/>
              </a:rPr>
              <a:pPr algn="ctr">
                <a:spcBef>
                  <a:spcPct val="0"/>
                </a:spcBef>
                <a:spcAft>
                  <a:spcPct val="0"/>
                </a:spcAft>
              </a:pPr>
              <a:t>Triads EET</a:t>
            </a:fld>
            <a:endParaRPr lang="en-GB" sz="1000">
              <a:ea typeface="+mn-ea"/>
              <a:cs typeface="+mn-cs"/>
            </a:endParaRPr>
          </a:p>
        </p:txBody>
      </p:sp>
      <p:sp>
        <p:nvSpPr>
          <p:cNvPr id="117" name="Text Placeholder 19">
            <a:extLst>
              <a:ext uri="{FF2B5EF4-FFF2-40B4-BE49-F238E27FC236}">
                <a16:creationId xmlns:a16="http://schemas.microsoft.com/office/drawing/2014/main" id="{AE22792E-7291-D47F-C4AD-CBEB5589D05A}"/>
              </a:ext>
            </a:extLst>
          </p:cNvPr>
          <p:cNvSpPr>
            <a:spLocks noGrp="1"/>
          </p:cNvSpPr>
          <p:nvPr>
            <p:custDataLst>
              <p:tags r:id="rId41"/>
            </p:custDataLst>
          </p:nvPr>
        </p:nvSpPr>
        <p:spPr bwMode="auto">
          <a:xfrm>
            <a:off x="5943600" y="20796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2F3D64D4-1AE4-4564-B779-22712BCA261E}" type="datetime'''''''N''''''''''''''''''''''''''''''''''''''''''''''PV'''">
              <a:rPr lang="en-GB" altLang="en-US" sz="1000" smtClean="0">
                <a:ea typeface="+mn-ea"/>
                <a:cs typeface="+mn-cs"/>
              </a:rPr>
              <a:pPr algn="ctr">
                <a:spcBef>
                  <a:spcPct val="0"/>
                </a:spcBef>
                <a:spcAft>
                  <a:spcPct val="0"/>
                </a:spcAft>
              </a:pPr>
              <a:t>NPV</a:t>
            </a:fld>
            <a:r>
              <a:rPr lang="en-GB" altLang="en-US" sz="1000" baseline="30000">
                <a:ea typeface="+mn-ea"/>
                <a:cs typeface="+mn-cs"/>
              </a:rPr>
              <a:t>8</a:t>
            </a:r>
            <a:endParaRPr lang="en-GB" sz="1000">
              <a:ea typeface="+mn-ea"/>
              <a:cs typeface="+mn-cs"/>
            </a:endParaRPr>
          </a:p>
        </p:txBody>
      </p:sp>
      <p:sp>
        <p:nvSpPr>
          <p:cNvPr id="97" name="Text Placeholder 19">
            <a:extLst>
              <a:ext uri="{FF2B5EF4-FFF2-40B4-BE49-F238E27FC236}">
                <a16:creationId xmlns:a16="http://schemas.microsoft.com/office/drawing/2014/main" id="{B07DA9F5-80A8-FCF8-3B12-7F018B083BAA}"/>
              </a:ext>
            </a:extLst>
          </p:cNvPr>
          <p:cNvSpPr>
            <a:spLocks noGrp="1"/>
          </p:cNvSpPr>
          <p:nvPr>
            <p:custDataLst>
              <p:tags r:id="rId42"/>
            </p:custDataLst>
          </p:nvPr>
        </p:nvSpPr>
        <p:spPr bwMode="auto">
          <a:xfrm>
            <a:off x="6696075" y="2079625"/>
            <a:ext cx="160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60BB65F6-EB5C-4BA6-9255-BF96258145B6}" type="datetime'''E''''''''''''T'''''''''''''''''''''''''''''''''''''''">
              <a:rPr lang="en-GB" altLang="en-US" sz="1000" smtClean="0">
                <a:ea typeface="+mn-ea"/>
                <a:cs typeface="+mn-cs"/>
              </a:rPr>
              <a:pPr algn="ctr">
                <a:spcBef>
                  <a:spcPct val="0"/>
                </a:spcBef>
                <a:spcAft>
                  <a:spcPct val="0"/>
                </a:spcAft>
              </a:pPr>
              <a:t>ET</a:t>
            </a:fld>
            <a:endParaRPr lang="en-GB" sz="1000">
              <a:ea typeface="+mn-ea"/>
              <a:cs typeface="+mn-cs"/>
            </a:endParaRPr>
          </a:p>
        </p:txBody>
      </p:sp>
      <p:sp>
        <p:nvSpPr>
          <p:cNvPr id="126" name="Text Placeholder 19">
            <a:extLst>
              <a:ext uri="{FF2B5EF4-FFF2-40B4-BE49-F238E27FC236}">
                <a16:creationId xmlns:a16="http://schemas.microsoft.com/office/drawing/2014/main" id="{5B7D2FE3-C9D3-E137-E3DE-FBE5CE5C2D43}"/>
              </a:ext>
            </a:extLst>
          </p:cNvPr>
          <p:cNvSpPr>
            <a:spLocks noGrp="1"/>
          </p:cNvSpPr>
          <p:nvPr>
            <p:custDataLst>
              <p:tags r:id="rId43"/>
            </p:custDataLst>
          </p:nvPr>
        </p:nvSpPr>
        <p:spPr bwMode="auto">
          <a:xfrm>
            <a:off x="7366000" y="2079625"/>
            <a:ext cx="166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C6EEC001-554A-4656-AC4A-99820AFDE9A6}" type="datetime'''''''''F''''''R'''''''''''">
              <a:rPr lang="en-GB" altLang="en-US" sz="1000" smtClean="0">
                <a:ea typeface="+mn-ea"/>
                <a:cs typeface="+mn-cs"/>
              </a:rPr>
              <a:pPr algn="ctr">
                <a:spcBef>
                  <a:spcPct val="0"/>
                </a:spcBef>
                <a:spcAft>
                  <a:spcPct val="0"/>
                </a:spcAft>
              </a:pPr>
              <a:t>FR</a:t>
            </a:fld>
            <a:endParaRPr lang="en-GB" sz="1000">
              <a:ea typeface="+mn-ea"/>
              <a:cs typeface="+mn-cs"/>
            </a:endParaRPr>
          </a:p>
        </p:txBody>
      </p:sp>
      <p:sp>
        <p:nvSpPr>
          <p:cNvPr id="274" name="Text Placeholder 19">
            <a:extLst>
              <a:ext uri="{FF2B5EF4-FFF2-40B4-BE49-F238E27FC236}">
                <a16:creationId xmlns:a16="http://schemas.microsoft.com/office/drawing/2014/main" id="{BF29AB38-6847-8339-2C79-89BBA9FF92C9}"/>
              </a:ext>
            </a:extLst>
          </p:cNvPr>
          <p:cNvSpPr>
            <a:spLocks noGrp="1"/>
          </p:cNvSpPr>
          <p:nvPr>
            <p:custDataLst>
              <p:tags r:id="rId44"/>
            </p:custDataLst>
          </p:nvPr>
        </p:nvSpPr>
        <p:spPr bwMode="auto">
          <a:xfrm>
            <a:off x="8012113" y="207962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719C1120-6816-4874-9ED4-96015A988F48}" type="datetime'''''C''''''M'''''''''''''''''''''''''''''''''''''''''''''">
              <a:rPr lang="en-GB" altLang="en-US" sz="1000" smtClean="0">
                <a:ea typeface="+mn-ea"/>
                <a:cs typeface="+mn-cs"/>
              </a:rPr>
              <a:pPr algn="ctr">
                <a:spcBef>
                  <a:spcPct val="0"/>
                </a:spcBef>
                <a:spcAft>
                  <a:spcPct val="0"/>
                </a:spcAft>
              </a:pPr>
              <a:t>CM</a:t>
            </a:fld>
            <a:endParaRPr lang="en-GB" sz="1000">
              <a:ea typeface="+mn-ea"/>
              <a:cs typeface="+mn-cs"/>
            </a:endParaRPr>
          </a:p>
        </p:txBody>
      </p:sp>
      <p:sp>
        <p:nvSpPr>
          <p:cNvPr id="61" name="Text Placeholder 19">
            <a:extLst>
              <a:ext uri="{FF2B5EF4-FFF2-40B4-BE49-F238E27FC236}">
                <a16:creationId xmlns:a16="http://schemas.microsoft.com/office/drawing/2014/main" id="{0334CBF7-FD11-0ADD-0B5F-C1A0691B5F41}"/>
              </a:ext>
            </a:extLst>
          </p:cNvPr>
          <p:cNvSpPr>
            <a:spLocks noGrp="1"/>
          </p:cNvSpPr>
          <p:nvPr>
            <p:custDataLst>
              <p:tags r:id="rId45"/>
            </p:custDataLst>
          </p:nvPr>
        </p:nvSpPr>
        <p:spPr bwMode="auto">
          <a:xfrm>
            <a:off x="8656638" y="2079625"/>
            <a:ext cx="271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1AD09DCA-5DAC-414B-9E9E-F00CEA5F061F}" type="datetime'''''''''''''''''N''''''''''''''''''P''''''''''''''V'''''">
              <a:rPr lang="en-GB" altLang="en-US" sz="1000" smtClean="0">
                <a:ea typeface="+mn-ea"/>
                <a:cs typeface="+mn-cs"/>
              </a:rPr>
              <a:pPr algn="ctr">
                <a:spcBef>
                  <a:spcPct val="0"/>
                </a:spcBef>
                <a:spcAft>
                  <a:spcPct val="0"/>
                </a:spcAft>
              </a:pPr>
              <a:t>NPV</a:t>
            </a:fld>
            <a:endParaRPr lang="en-GB" sz="1000">
              <a:ea typeface="+mn-ea"/>
              <a:cs typeface="+mn-cs"/>
            </a:endParaRPr>
          </a:p>
        </p:txBody>
      </p:sp>
      <p:sp>
        <p:nvSpPr>
          <p:cNvPr id="52" name="Text Placeholder 19">
            <a:extLst>
              <a:ext uri="{FF2B5EF4-FFF2-40B4-BE49-F238E27FC236}">
                <a16:creationId xmlns:a16="http://schemas.microsoft.com/office/drawing/2014/main" id="{07F7396E-ECB3-A37B-3BFE-F1F36DE38FEE}"/>
              </a:ext>
            </a:extLst>
          </p:cNvPr>
          <p:cNvSpPr>
            <a:spLocks noGrp="1"/>
          </p:cNvSpPr>
          <p:nvPr>
            <p:custDataLst>
              <p:tags r:id="rId46"/>
            </p:custDataLst>
          </p:nvPr>
        </p:nvSpPr>
        <p:spPr bwMode="auto">
          <a:xfrm>
            <a:off x="9385300" y="2079625"/>
            <a:ext cx="160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D3C220D0-35C4-4AB2-B29C-6484F730A164}" type="datetime'''''''''''''''''''''''''''''''E''''''''T'''''''''''''">
              <a:rPr lang="en-GB" altLang="en-US" sz="1000" smtClean="0">
                <a:ea typeface="+mn-ea"/>
                <a:cs typeface="+mn-cs"/>
              </a:rPr>
              <a:pPr algn="ctr">
                <a:spcBef>
                  <a:spcPct val="0"/>
                </a:spcBef>
                <a:spcAft>
                  <a:spcPct val="0"/>
                </a:spcAft>
              </a:pPr>
              <a:t>ET</a:t>
            </a:fld>
            <a:endParaRPr lang="en-GB" sz="1000">
              <a:ea typeface="+mn-ea"/>
              <a:cs typeface="+mn-cs"/>
            </a:endParaRPr>
          </a:p>
        </p:txBody>
      </p:sp>
      <p:sp>
        <p:nvSpPr>
          <p:cNvPr id="10" name="Text Placeholder 19">
            <a:extLst>
              <a:ext uri="{FF2B5EF4-FFF2-40B4-BE49-F238E27FC236}">
                <a16:creationId xmlns:a16="http://schemas.microsoft.com/office/drawing/2014/main" id="{582D669F-AD3E-8B13-AC99-E4B24E77BBD7}"/>
              </a:ext>
            </a:extLst>
          </p:cNvPr>
          <p:cNvSpPr>
            <a:spLocks noGrp="1"/>
          </p:cNvSpPr>
          <p:nvPr>
            <p:custDataLst>
              <p:tags r:id="rId47"/>
            </p:custDataLst>
          </p:nvPr>
        </p:nvSpPr>
        <p:spPr bwMode="auto">
          <a:xfrm>
            <a:off x="10053638" y="2079625"/>
            <a:ext cx="166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A26EDECC-61B9-46CF-BA0C-BAFE5C685273}" type="datetime'''''''''''F''''''''''''''''''''''''''''''''R'''''''">
              <a:rPr lang="en-GB" altLang="en-US" sz="1000" smtClean="0">
                <a:ea typeface="+mn-ea"/>
                <a:cs typeface="+mn-cs"/>
              </a:rPr>
              <a:pPr algn="ctr">
                <a:spcBef>
                  <a:spcPct val="0"/>
                </a:spcBef>
                <a:spcAft>
                  <a:spcPct val="0"/>
                </a:spcAft>
              </a:pPr>
              <a:t>FR</a:t>
            </a:fld>
            <a:endParaRPr lang="en-GB" sz="1000">
              <a:ea typeface="+mn-ea"/>
              <a:cs typeface="+mn-cs"/>
            </a:endParaRPr>
          </a:p>
        </p:txBody>
      </p:sp>
      <p:sp>
        <p:nvSpPr>
          <p:cNvPr id="21" name="Text Placeholder 19">
            <a:extLst>
              <a:ext uri="{FF2B5EF4-FFF2-40B4-BE49-F238E27FC236}">
                <a16:creationId xmlns:a16="http://schemas.microsoft.com/office/drawing/2014/main" id="{9F9869AF-B0F6-4E89-B216-4EC18C7334C2}"/>
              </a:ext>
            </a:extLst>
          </p:cNvPr>
          <p:cNvSpPr>
            <a:spLocks noGrp="1"/>
          </p:cNvSpPr>
          <p:nvPr>
            <p:custDataLst>
              <p:tags r:id="rId48"/>
            </p:custDataLst>
          </p:nvPr>
        </p:nvSpPr>
        <p:spPr bwMode="auto">
          <a:xfrm>
            <a:off x="542925" y="2079625"/>
            <a:ext cx="365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B6451BC0-44EC-40DE-B3C9-1C3BC460D2CF}" type="datetime'''''''C''''''''''''''ap''''''''''''''''''''''''''''''''e''''x'">
              <a:rPr lang="en-GB" altLang="en-US" sz="1000" smtClean="0">
                <a:ea typeface="+mn-ea"/>
                <a:cs typeface="+mn-cs"/>
              </a:rPr>
              <a:pPr algn="ctr">
                <a:spcBef>
                  <a:spcPct val="0"/>
                </a:spcBef>
                <a:spcAft>
                  <a:spcPct val="0"/>
                </a:spcAft>
              </a:pPr>
              <a:t>Capex</a:t>
            </a:fld>
            <a:endParaRPr lang="en-GB" sz="1000">
              <a:ea typeface="+mn-ea"/>
              <a:cs typeface="+mn-cs"/>
            </a:endParaRPr>
          </a:p>
        </p:txBody>
      </p:sp>
      <p:sp>
        <p:nvSpPr>
          <p:cNvPr id="11" name="Text Placeholder 19">
            <a:extLst>
              <a:ext uri="{FF2B5EF4-FFF2-40B4-BE49-F238E27FC236}">
                <a16:creationId xmlns:a16="http://schemas.microsoft.com/office/drawing/2014/main" id="{B4DC1AD4-65CD-B4DC-7A39-88ED84F97D41}"/>
              </a:ext>
            </a:extLst>
          </p:cNvPr>
          <p:cNvSpPr>
            <a:spLocks noGrp="1"/>
          </p:cNvSpPr>
          <p:nvPr>
            <p:custDataLst>
              <p:tags r:id="rId49"/>
            </p:custDataLst>
          </p:nvPr>
        </p:nvSpPr>
        <p:spPr bwMode="auto">
          <a:xfrm>
            <a:off x="11345863" y="2079625"/>
            <a:ext cx="271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8B307BD5-EC46-4100-90F7-F4F7B01B3A46}" type="datetime'''''''''''''''''''''N''P''''''''''''''''V'''''''">
              <a:rPr lang="en-GB" altLang="en-US" sz="1000" smtClean="0">
                <a:ea typeface="+mn-ea"/>
                <a:cs typeface="+mn-cs"/>
              </a:rPr>
              <a:pPr algn="ctr">
                <a:spcBef>
                  <a:spcPct val="0"/>
                </a:spcBef>
                <a:spcAft>
                  <a:spcPct val="0"/>
                </a:spcAft>
              </a:pPr>
              <a:t>NPV</a:t>
            </a:fld>
            <a:endParaRPr lang="en-GB" sz="1000">
              <a:ea typeface="+mn-ea"/>
              <a:cs typeface="+mn-cs"/>
            </a:endParaRPr>
          </a:p>
        </p:txBody>
      </p:sp>
      <p:sp>
        <p:nvSpPr>
          <p:cNvPr id="321" name="Text Placeholder 19">
            <a:extLst>
              <a:ext uri="{FF2B5EF4-FFF2-40B4-BE49-F238E27FC236}">
                <a16:creationId xmlns:a16="http://schemas.microsoft.com/office/drawing/2014/main" id="{28B82C24-2911-79F7-F9D9-9A0D40E8558B}"/>
              </a:ext>
            </a:extLst>
          </p:cNvPr>
          <p:cNvSpPr>
            <a:spLocks noGrp="1"/>
          </p:cNvSpPr>
          <p:nvPr>
            <p:custDataLst>
              <p:tags r:id="rId50"/>
            </p:custDataLst>
          </p:nvPr>
        </p:nvSpPr>
        <p:spPr bwMode="auto">
          <a:xfrm>
            <a:off x="10701338" y="207962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926306BE-32BE-4B6D-BB98-1EC6F66F7BBA}" type="datetime'''''''''''''''''''''CM'''''''''''''''''''''''''''''''''''''''">
              <a:rPr lang="en-GB" altLang="en-US" sz="1000" smtClean="0">
                <a:ea typeface="+mn-ea"/>
                <a:cs typeface="+mn-cs"/>
              </a:rPr>
              <a:pPr algn="ctr">
                <a:spcBef>
                  <a:spcPct val="0"/>
                </a:spcBef>
                <a:spcAft>
                  <a:spcPct val="0"/>
                </a:spcAft>
              </a:pPr>
              <a:t>CM</a:t>
            </a:fld>
            <a:endParaRPr lang="en-GB" sz="1000">
              <a:ea typeface="+mn-ea"/>
              <a:cs typeface="+mn-cs"/>
            </a:endParaRPr>
          </a:p>
        </p:txBody>
      </p:sp>
      <p:sp>
        <p:nvSpPr>
          <p:cNvPr id="6" name="TextBox 5">
            <a:extLst>
              <a:ext uri="{FF2B5EF4-FFF2-40B4-BE49-F238E27FC236}">
                <a16:creationId xmlns:a16="http://schemas.microsoft.com/office/drawing/2014/main" id="{A7EF9963-9455-D728-E8A0-6D39EFA5D8AF}"/>
              </a:ext>
            </a:extLst>
          </p:cNvPr>
          <p:cNvSpPr txBox="1"/>
          <p:nvPr/>
        </p:nvSpPr>
        <p:spPr>
          <a:xfrm>
            <a:off x="390526" y="4568526"/>
            <a:ext cx="5157788" cy="1169551"/>
          </a:xfrm>
          <a:prstGeom prst="rect">
            <a:avLst/>
          </a:prstGeom>
          <a:noFill/>
        </p:spPr>
        <p:txBody>
          <a:bodyPr wrap="square" lIns="0" tIns="0" rIns="0" bIns="0" rtlCol="0">
            <a:spAutoFit/>
          </a:bodyPr>
          <a:lstStyle/>
          <a:p>
            <a:pPr marL="171450" indent="-171450" algn="l">
              <a:spcBef>
                <a:spcPts val="600"/>
              </a:spcBef>
              <a:buFont typeface="Wingdings" panose="05000000000000000000" pitchFamily="2" charset="2"/>
              <a:buChar char="§"/>
            </a:pPr>
            <a:r>
              <a:rPr lang="en-US" sz="1100">
                <a:solidFill>
                  <a:srgbClr val="7A7A7A"/>
                </a:solidFill>
                <a:highlight>
                  <a:srgbClr val="7A7A7A"/>
                </a:highlight>
                <a:latin typeface="Lato"/>
              </a:rPr>
              <a:t>Hybrid battery business models include energy trading and participation in ancillary services, alongside non-physical dispatch (churn)</a:t>
            </a:r>
          </a:p>
          <a:p>
            <a:pPr marL="171450" indent="-171450" algn="l">
              <a:spcBef>
                <a:spcPts val="600"/>
              </a:spcBef>
              <a:buFont typeface="Wingdings" panose="05000000000000000000" pitchFamily="2" charset="2"/>
              <a:buChar char="§"/>
            </a:pPr>
            <a:r>
              <a:rPr lang="en-US" sz="1100">
                <a:solidFill>
                  <a:srgbClr val="7A7A7A"/>
                </a:solidFill>
                <a:highlight>
                  <a:srgbClr val="7A7A7A"/>
                </a:highlight>
                <a:latin typeface="Lato"/>
              </a:rPr>
              <a:t>In the Low scenario, decreased demand and lower commodity prices limit charging and discharging opportunities</a:t>
            </a:r>
          </a:p>
          <a:p>
            <a:pPr marL="171450" indent="-171450" algn="l">
              <a:spcBef>
                <a:spcPts val="600"/>
              </a:spcBef>
              <a:buFont typeface="Wingdings" panose="05000000000000000000" pitchFamily="2" charset="2"/>
              <a:buChar char="§"/>
            </a:pPr>
            <a:r>
              <a:rPr lang="en-US" sz="1100">
                <a:solidFill>
                  <a:srgbClr val="7A7A7A"/>
                </a:solidFill>
                <a:highlight>
                  <a:srgbClr val="7A7A7A"/>
                </a:highlight>
                <a:latin typeface="Lato"/>
              </a:rPr>
              <a:t>Conversely, in the High scenario, increased demand and higher commodity prices increase energy trading revenue leading to a more attractive IRR</a:t>
            </a:r>
            <a:endParaRPr lang="en-GB" sz="1100">
              <a:solidFill>
                <a:srgbClr val="7A7A7A"/>
              </a:solidFill>
              <a:highlight>
                <a:srgbClr val="7A7A7A"/>
              </a:highlight>
              <a:latin typeface="Lato"/>
            </a:endParaRPr>
          </a:p>
        </p:txBody>
      </p:sp>
      <p:sp>
        <p:nvSpPr>
          <p:cNvPr id="2" name="Text Placeholder 6">
            <a:extLst>
              <a:ext uri="{FF2B5EF4-FFF2-40B4-BE49-F238E27FC236}">
                <a16:creationId xmlns:a16="http://schemas.microsoft.com/office/drawing/2014/main" id="{F298E05D-9FE1-E162-4E46-B28CBE05D6F8}"/>
              </a:ext>
            </a:extLst>
          </p:cNvPr>
          <p:cNvSpPr txBox="1">
            <a:spLocks/>
          </p:cNvSpPr>
          <p:nvPr/>
        </p:nvSpPr>
        <p:spPr>
          <a:xfrm>
            <a:off x="381599" y="79401"/>
            <a:ext cx="1468672"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roject economics</a:t>
            </a:r>
          </a:p>
        </p:txBody>
      </p:sp>
      <p:sp>
        <p:nvSpPr>
          <p:cNvPr id="5" name="Oval 4">
            <a:extLst>
              <a:ext uri="{FF2B5EF4-FFF2-40B4-BE49-F238E27FC236}">
                <a16:creationId xmlns:a16="http://schemas.microsoft.com/office/drawing/2014/main" id="{5A5F6A08-E16C-60AD-0581-1B8D1F382D92}"/>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7" name="Rectangle 6">
            <a:extLst>
              <a:ext uri="{FF2B5EF4-FFF2-40B4-BE49-F238E27FC236}">
                <a16:creationId xmlns:a16="http://schemas.microsoft.com/office/drawing/2014/main" id="{E3D48978-37CB-8551-3FA6-E853326C65DD}"/>
              </a:ext>
            </a:extLst>
          </p:cNvPr>
          <p:cNvSpPr/>
          <p:nvPr/>
        </p:nvSpPr>
        <p:spPr>
          <a:xfrm>
            <a:off x="381000" y="1785479"/>
            <a:ext cx="11591925" cy="4472447"/>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2" name="Rectangle 11">
            <a:extLst>
              <a:ext uri="{FF2B5EF4-FFF2-40B4-BE49-F238E27FC236}">
                <a16:creationId xmlns:a16="http://schemas.microsoft.com/office/drawing/2014/main" id="{B04705FE-88EE-8FFB-F520-06A49F265935}"/>
              </a:ext>
            </a:extLst>
          </p:cNvPr>
          <p:cNvSpPr/>
          <p:nvPr/>
        </p:nvSpPr>
        <p:spPr>
          <a:xfrm>
            <a:off x="5724525" y="4447483"/>
            <a:ext cx="6226174" cy="192315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13" name="Group 12">
            <a:extLst>
              <a:ext uri="{FF2B5EF4-FFF2-40B4-BE49-F238E27FC236}">
                <a16:creationId xmlns:a16="http://schemas.microsoft.com/office/drawing/2014/main" id="{A9B9D987-3F7A-3459-1910-0DB7258A59E2}"/>
              </a:ext>
            </a:extLst>
          </p:cNvPr>
          <p:cNvGrpSpPr/>
          <p:nvPr/>
        </p:nvGrpSpPr>
        <p:grpSpPr>
          <a:xfrm>
            <a:off x="4772297" y="2928257"/>
            <a:ext cx="2647407" cy="1001486"/>
            <a:chOff x="8251369" y="2255520"/>
            <a:chExt cx="2647407" cy="1001486"/>
          </a:xfrm>
        </p:grpSpPr>
        <p:sp>
          <p:nvSpPr>
            <p:cNvPr id="14" name="Rectangle: Rounded Corners 13">
              <a:extLst>
                <a:ext uri="{FF2B5EF4-FFF2-40B4-BE49-F238E27FC236}">
                  <a16:creationId xmlns:a16="http://schemas.microsoft.com/office/drawing/2014/main" id="{AEAA8745-DB91-1959-FA8D-D0B974CC2334}"/>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5" name="TextBox 14">
              <a:extLst>
                <a:ext uri="{FF2B5EF4-FFF2-40B4-BE49-F238E27FC236}">
                  <a16:creationId xmlns:a16="http://schemas.microsoft.com/office/drawing/2014/main" id="{537C4A6B-B04F-ACA0-BB10-79C0991562C2}"/>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203885926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0F733B-245E-4E5E-BEBD-088828324F12}"/>
              </a:ext>
            </a:extLst>
          </p:cNvPr>
          <p:cNvGraphicFramePr>
            <a:graphicFrameLocks noChangeAspect="1"/>
          </p:cNvGraphicFramePr>
          <p:nvPr>
            <p:custDataLst>
              <p:tags r:id="rId1"/>
            </p:custDataLst>
            <p:extLst>
              <p:ext uri="{D42A27DB-BD31-4B8C-83A1-F6EECF244321}">
                <p14:modId xmlns:p14="http://schemas.microsoft.com/office/powerpoint/2010/main" val="74815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95" imgH="396" progId="TCLayout.ActiveDocument.1">
                  <p:embed/>
                </p:oleObj>
              </mc:Choice>
              <mc:Fallback>
                <p:oleObj name="think-cell Slide" r:id="rId39" imgW="395" imgH="396" progId="TCLayout.ActiveDocument.1">
                  <p:embed/>
                  <p:pic>
                    <p:nvPicPr>
                      <p:cNvPr id="10" name="Object 9" hidden="1">
                        <a:extLst>
                          <a:ext uri="{FF2B5EF4-FFF2-40B4-BE49-F238E27FC236}">
                            <a16:creationId xmlns:a16="http://schemas.microsoft.com/office/drawing/2014/main" id="{300F733B-245E-4E5E-BEBD-088828324F12}"/>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D5447B31-3CEA-18CC-227D-BBFA9053D5D8}"/>
              </a:ext>
            </a:extLst>
          </p:cNvPr>
          <p:cNvGrpSpPr/>
          <p:nvPr/>
        </p:nvGrpSpPr>
        <p:grpSpPr>
          <a:xfrm>
            <a:off x="1216564" y="411855"/>
            <a:ext cx="8766923" cy="8063759"/>
            <a:chOff x="1216564" y="411855"/>
            <a:chExt cx="8766923" cy="8063759"/>
          </a:xfrm>
          <a:solidFill>
            <a:schemeClr val="accent5">
              <a:lumMod val="20000"/>
              <a:lumOff val="80000"/>
            </a:schemeClr>
          </a:solidFill>
        </p:grpSpPr>
        <p:sp>
          <p:nvSpPr>
            <p:cNvPr id="7" name="Norway" descr="© INSCALE GmbH, 05.05.2010&#10;http://www.presentationload.com/">
              <a:extLst>
                <a:ext uri="{FF2B5EF4-FFF2-40B4-BE49-F238E27FC236}">
                  <a16:creationId xmlns:a16="http://schemas.microsoft.com/office/drawing/2014/main" id="{25875979-AFFD-AC94-7658-178340E74B86}"/>
                </a:ext>
              </a:extLst>
            </p:cNvPr>
            <p:cNvSpPr>
              <a:spLocks noEditPoints="1"/>
            </p:cNvSpPr>
            <p:nvPr/>
          </p:nvSpPr>
          <p:spPr bwMode="gray">
            <a:xfrm>
              <a:off x="3662589" y="411855"/>
              <a:ext cx="3312502" cy="3645669"/>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2" name="United Kingdom" descr="© INSCALE GmbH, 05.05.2010&#10;http://www.presentationload.com/">
              <a:extLst>
                <a:ext uri="{FF2B5EF4-FFF2-40B4-BE49-F238E27FC236}">
                  <a16:creationId xmlns:a16="http://schemas.microsoft.com/office/drawing/2014/main" id="{42541F70-19E0-29EA-0A13-B9FBBF337E2F}"/>
                </a:ext>
              </a:extLst>
            </p:cNvPr>
            <p:cNvSpPr>
              <a:spLocks noEditPoints="1"/>
            </p:cNvSpPr>
            <p:nvPr/>
          </p:nvSpPr>
          <p:spPr bwMode="gray">
            <a:xfrm>
              <a:off x="1711007" y="3559643"/>
              <a:ext cx="1407269" cy="200633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3" name="Ukraine" descr="© INSCALE GmbH, 05.05.2010&#10;http://www.presentationload.com/">
              <a:extLst>
                <a:ext uri="{FF2B5EF4-FFF2-40B4-BE49-F238E27FC236}">
                  <a16:creationId xmlns:a16="http://schemas.microsoft.com/office/drawing/2014/main" id="{BAD3C688-D343-C3B5-CFA7-197F0146FE06}"/>
                </a:ext>
              </a:extLst>
            </p:cNvPr>
            <p:cNvSpPr>
              <a:spLocks/>
            </p:cNvSpPr>
            <p:nvPr/>
          </p:nvSpPr>
          <p:spPr bwMode="gray">
            <a:xfrm>
              <a:off x="6189553" y="5109555"/>
              <a:ext cx="2719462" cy="1521381"/>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4" name="Turkey" descr="© INSCALE GmbH, 05.05.2010&#10;http://www.presentationload.com/">
              <a:extLst>
                <a:ext uri="{FF2B5EF4-FFF2-40B4-BE49-F238E27FC236}">
                  <a16:creationId xmlns:a16="http://schemas.microsoft.com/office/drawing/2014/main" id="{C6F525E3-3896-79C9-B24E-D2D811909521}"/>
                </a:ext>
              </a:extLst>
            </p:cNvPr>
            <p:cNvSpPr>
              <a:spLocks noEditPoints="1"/>
            </p:cNvSpPr>
            <p:nvPr/>
          </p:nvSpPr>
          <p:spPr bwMode="gray">
            <a:xfrm>
              <a:off x="6750560" y="7049314"/>
              <a:ext cx="3232927" cy="1236122"/>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5" name="Switzerland" descr="© INSCALE GmbH, 05.05.2010&#10;http://www.presentationload.com/">
              <a:extLst>
                <a:ext uri="{FF2B5EF4-FFF2-40B4-BE49-F238E27FC236}">
                  <a16:creationId xmlns:a16="http://schemas.microsoft.com/office/drawing/2014/main" id="{0E7DDD24-09C8-BA73-AEA5-EC9D4B6068F7}"/>
                </a:ext>
              </a:extLst>
            </p:cNvPr>
            <p:cNvSpPr>
              <a:spLocks/>
            </p:cNvSpPr>
            <p:nvPr/>
          </p:nvSpPr>
          <p:spPr bwMode="gray">
            <a:xfrm>
              <a:off x="3726830" y="5955821"/>
              <a:ext cx="703640" cy="389861"/>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6" name="Sweden" descr="© INSCALE GmbH, 05.05.2010&#10;http://www.presentationload.com/">
              <a:extLst>
                <a:ext uri="{FF2B5EF4-FFF2-40B4-BE49-F238E27FC236}">
                  <a16:creationId xmlns:a16="http://schemas.microsoft.com/office/drawing/2014/main" id="{57CD5839-9DFD-7720-6F88-2F50FE75013F}"/>
                </a:ext>
              </a:extLst>
            </p:cNvPr>
            <p:cNvSpPr>
              <a:spLocks noEditPoints="1"/>
            </p:cNvSpPr>
            <p:nvPr/>
          </p:nvSpPr>
          <p:spPr bwMode="gray">
            <a:xfrm>
              <a:off x="4526069" y="2135632"/>
              <a:ext cx="1683028" cy="2405687"/>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7" name="Spain" descr="© INSCALE GmbH, 05.05.2010&#10;http://www.presentationload.com/">
              <a:extLst>
                <a:ext uri="{FF2B5EF4-FFF2-40B4-BE49-F238E27FC236}">
                  <a16:creationId xmlns:a16="http://schemas.microsoft.com/office/drawing/2014/main" id="{707DD238-8889-AE0B-EE75-53E9358595FA}"/>
                </a:ext>
              </a:extLst>
            </p:cNvPr>
            <p:cNvSpPr>
              <a:spLocks noEditPoints="1"/>
            </p:cNvSpPr>
            <p:nvPr/>
          </p:nvSpPr>
          <p:spPr bwMode="gray">
            <a:xfrm>
              <a:off x="1302134" y="6745042"/>
              <a:ext cx="2129927" cy="1502369"/>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8" name="Slovenia" descr="© INSCALE GmbH, 05.05.2010&#10;http://www.presentationload.com/">
              <a:extLst>
                <a:ext uri="{FF2B5EF4-FFF2-40B4-BE49-F238E27FC236}">
                  <a16:creationId xmlns:a16="http://schemas.microsoft.com/office/drawing/2014/main" id="{F95E742A-0AEC-0D4A-D700-42F9DAC5D101}"/>
                </a:ext>
              </a:extLst>
            </p:cNvPr>
            <p:cNvSpPr>
              <a:spLocks/>
            </p:cNvSpPr>
            <p:nvPr/>
          </p:nvSpPr>
          <p:spPr bwMode="gray">
            <a:xfrm>
              <a:off x="4848835" y="6126977"/>
              <a:ext cx="513465" cy="294772"/>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9" name="Slovakia" descr="© INSCALE GmbH, 05.05.2010&#10;http://www.presentationload.com/">
              <a:extLst>
                <a:ext uri="{FF2B5EF4-FFF2-40B4-BE49-F238E27FC236}">
                  <a16:creationId xmlns:a16="http://schemas.microsoft.com/office/drawing/2014/main" id="{879B058A-4039-0766-6E3D-5AC9EBE851CB}"/>
                </a:ext>
              </a:extLst>
            </p:cNvPr>
            <p:cNvSpPr>
              <a:spLocks/>
            </p:cNvSpPr>
            <p:nvPr/>
          </p:nvSpPr>
          <p:spPr bwMode="gray">
            <a:xfrm>
              <a:off x="5371810" y="5632525"/>
              <a:ext cx="865291" cy="351823"/>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20" name="Serbia" descr="© INSCALE GmbH, 05.05.2010&#10;http://www.presentationload.com/">
              <a:extLst>
                <a:ext uri="{FF2B5EF4-FFF2-40B4-BE49-F238E27FC236}">
                  <a16:creationId xmlns:a16="http://schemas.microsoft.com/office/drawing/2014/main" id="{5D5DF1CD-F874-7E11-59CA-4147B6A8B90E}"/>
                </a:ext>
              </a:extLst>
            </p:cNvPr>
            <p:cNvSpPr>
              <a:spLocks/>
            </p:cNvSpPr>
            <p:nvPr/>
          </p:nvSpPr>
          <p:spPr bwMode="gray">
            <a:xfrm>
              <a:off x="5704617" y="6279114"/>
              <a:ext cx="665602" cy="729766"/>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21" name="Romania" descr="© INSCALE GmbH, 05.05.2010&#10;http://www.presentationload.com/">
              <a:extLst>
                <a:ext uri="{FF2B5EF4-FFF2-40B4-BE49-F238E27FC236}">
                  <a16:creationId xmlns:a16="http://schemas.microsoft.com/office/drawing/2014/main" id="{926F5CCB-9056-291F-E5CA-53524AC4864C}"/>
                </a:ext>
              </a:extLst>
            </p:cNvPr>
            <p:cNvSpPr>
              <a:spLocks/>
            </p:cNvSpPr>
            <p:nvPr/>
          </p:nvSpPr>
          <p:spPr bwMode="gray">
            <a:xfrm>
              <a:off x="5913809" y="5879760"/>
              <a:ext cx="1492854" cy="893807"/>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22" name="Portugal" descr="© INSCALE GmbH, 05.05.2010&#10;http://www.presentationload.com/">
              <a:extLst>
                <a:ext uri="{FF2B5EF4-FFF2-40B4-BE49-F238E27FC236}">
                  <a16:creationId xmlns:a16="http://schemas.microsoft.com/office/drawing/2014/main" id="{A30FBCAE-6D46-BDF3-1036-606488E52666}"/>
                </a:ext>
              </a:extLst>
            </p:cNvPr>
            <p:cNvSpPr>
              <a:spLocks/>
            </p:cNvSpPr>
            <p:nvPr/>
          </p:nvSpPr>
          <p:spPr bwMode="gray">
            <a:xfrm>
              <a:off x="1216564" y="7068329"/>
              <a:ext cx="551502" cy="998414"/>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23" name="Poland" descr="© INSCALE GmbH, 05.05.2010&#10;http://www.presentationload.com/">
              <a:extLst>
                <a:ext uri="{FF2B5EF4-FFF2-40B4-BE49-F238E27FC236}">
                  <a16:creationId xmlns:a16="http://schemas.microsoft.com/office/drawing/2014/main" id="{81BB4C96-7F6B-4290-0468-65E0B82E7BA2}"/>
                </a:ext>
              </a:extLst>
            </p:cNvPr>
            <p:cNvSpPr>
              <a:spLocks/>
            </p:cNvSpPr>
            <p:nvPr/>
          </p:nvSpPr>
          <p:spPr bwMode="gray">
            <a:xfrm>
              <a:off x="4953436" y="4643631"/>
              <a:ext cx="1521380" cy="1093497"/>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26" name="Netherlands" descr="© INSCALE GmbH, 05.05.2010&#10;http://www.presentationload.com/">
              <a:extLst>
                <a:ext uri="{FF2B5EF4-FFF2-40B4-BE49-F238E27FC236}">
                  <a16:creationId xmlns:a16="http://schemas.microsoft.com/office/drawing/2014/main" id="{26F8B30B-E1DF-3F25-F8B7-8C0AA93A43BB}"/>
                </a:ext>
              </a:extLst>
            </p:cNvPr>
            <p:cNvSpPr>
              <a:spLocks/>
            </p:cNvSpPr>
            <p:nvPr/>
          </p:nvSpPr>
          <p:spPr bwMode="gray">
            <a:xfrm>
              <a:off x="3289435" y="4900370"/>
              <a:ext cx="656094" cy="513463"/>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28" name="Montenegro" descr="© INSCALE GmbH, 05.05.2010&#10;http://www.presentationload.com/">
              <a:extLst>
                <a:ext uri="{FF2B5EF4-FFF2-40B4-BE49-F238E27FC236}">
                  <a16:creationId xmlns:a16="http://schemas.microsoft.com/office/drawing/2014/main" id="{A2C6BB16-50C0-9F86-F5E8-767E055C96A8}"/>
                </a:ext>
              </a:extLst>
            </p:cNvPr>
            <p:cNvSpPr>
              <a:spLocks/>
            </p:cNvSpPr>
            <p:nvPr/>
          </p:nvSpPr>
          <p:spPr bwMode="gray">
            <a:xfrm>
              <a:off x="5657074" y="6773570"/>
              <a:ext cx="275748" cy="332805"/>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29" name="Moldova" descr="© INSCALE GmbH, 05.05.2010&#10;http://www.presentationload.com/">
              <a:extLst>
                <a:ext uri="{FF2B5EF4-FFF2-40B4-BE49-F238E27FC236}">
                  <a16:creationId xmlns:a16="http://schemas.microsoft.com/office/drawing/2014/main" id="{BB15F3A7-832A-0695-90C2-FEB58EDAEC57}"/>
                </a:ext>
              </a:extLst>
            </p:cNvPr>
            <p:cNvSpPr>
              <a:spLocks/>
            </p:cNvSpPr>
            <p:nvPr/>
          </p:nvSpPr>
          <p:spPr bwMode="gray">
            <a:xfrm>
              <a:off x="6883681" y="5841712"/>
              <a:ext cx="522978" cy="580024"/>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30" name="Macedonia" descr="© INSCALE GmbH, 05.05.2010&#10;http://www.presentationload.com/">
              <a:extLst>
                <a:ext uri="{FF2B5EF4-FFF2-40B4-BE49-F238E27FC236}">
                  <a16:creationId xmlns:a16="http://schemas.microsoft.com/office/drawing/2014/main" id="{7E2E6906-FE5C-E7A4-414D-64B356D22314}"/>
                </a:ext>
              </a:extLst>
            </p:cNvPr>
            <p:cNvSpPr>
              <a:spLocks/>
            </p:cNvSpPr>
            <p:nvPr/>
          </p:nvSpPr>
          <p:spPr bwMode="gray">
            <a:xfrm>
              <a:off x="5999379" y="7001771"/>
              <a:ext cx="399361" cy="313788"/>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31" name="Luxembourg" descr="© INSCALE GmbH, 05.05.2010&#10;http://www.presentationload.com/">
              <a:extLst>
                <a:ext uri="{FF2B5EF4-FFF2-40B4-BE49-F238E27FC236}">
                  <a16:creationId xmlns:a16="http://schemas.microsoft.com/office/drawing/2014/main" id="{B3CFA6F4-00C3-5364-2AFD-1A027740C2C7}"/>
                </a:ext>
              </a:extLst>
            </p:cNvPr>
            <p:cNvSpPr>
              <a:spLocks/>
            </p:cNvSpPr>
            <p:nvPr/>
          </p:nvSpPr>
          <p:spPr bwMode="gray">
            <a:xfrm>
              <a:off x="3688797" y="5527936"/>
              <a:ext cx="123612" cy="104602"/>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32" name="Lithuania" descr="© INSCALE GmbH, 05.05.2010&#10;http://www.presentationload.com/">
              <a:extLst>
                <a:ext uri="{FF2B5EF4-FFF2-40B4-BE49-F238E27FC236}">
                  <a16:creationId xmlns:a16="http://schemas.microsoft.com/office/drawing/2014/main" id="{793FAD34-DC26-CB4E-B5D1-21FDF61829CB}"/>
                </a:ext>
              </a:extLst>
            </p:cNvPr>
            <p:cNvSpPr>
              <a:spLocks/>
            </p:cNvSpPr>
            <p:nvPr/>
          </p:nvSpPr>
          <p:spPr bwMode="gray">
            <a:xfrm>
              <a:off x="5932831" y="4339355"/>
              <a:ext cx="827253" cy="475432"/>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35" name="Liechtenstein" descr="© INSCALE GmbH, 05.05.2010&#10;http://www.presentationload.com/">
              <a:extLst>
                <a:ext uri="{FF2B5EF4-FFF2-40B4-BE49-F238E27FC236}">
                  <a16:creationId xmlns:a16="http://schemas.microsoft.com/office/drawing/2014/main" id="{B910ACBB-45A7-A63C-1C16-DA3E504628A1}"/>
                </a:ext>
              </a:extLst>
            </p:cNvPr>
            <p:cNvSpPr>
              <a:spLocks/>
            </p:cNvSpPr>
            <p:nvPr/>
          </p:nvSpPr>
          <p:spPr bwMode="gray">
            <a:xfrm>
              <a:off x="4240296" y="6060423"/>
              <a:ext cx="38033" cy="57049"/>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36" name="Latvia" descr="© INSCALE GmbH, 05.05.2010&#10;http://www.presentationload.com/">
              <a:extLst>
                <a:ext uri="{FF2B5EF4-FFF2-40B4-BE49-F238E27FC236}">
                  <a16:creationId xmlns:a16="http://schemas.microsoft.com/office/drawing/2014/main" id="{38029DB3-3662-C277-ED25-B43C780CF56B}"/>
                </a:ext>
              </a:extLst>
            </p:cNvPr>
            <p:cNvSpPr>
              <a:spLocks/>
            </p:cNvSpPr>
            <p:nvPr/>
          </p:nvSpPr>
          <p:spPr bwMode="gray">
            <a:xfrm>
              <a:off x="5913809" y="4044585"/>
              <a:ext cx="1036438" cy="437395"/>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37" name="Kosovo" descr="© INSCALE GmbH, 05.05.2010&#10;http://www.presentationload.com/">
              <a:extLst>
                <a:ext uri="{FF2B5EF4-FFF2-40B4-BE49-F238E27FC236}">
                  <a16:creationId xmlns:a16="http://schemas.microsoft.com/office/drawing/2014/main" id="{F9336F7D-E09E-53DF-73FD-59E0AA57EFD1}"/>
                </a:ext>
              </a:extLst>
            </p:cNvPr>
            <p:cNvSpPr>
              <a:spLocks noEditPoints="1"/>
            </p:cNvSpPr>
            <p:nvPr/>
          </p:nvSpPr>
          <p:spPr bwMode="gray">
            <a:xfrm>
              <a:off x="5922166" y="6781149"/>
              <a:ext cx="313380" cy="315711"/>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38" name="Italy" descr="© INSCALE GmbH, 05.05.2010&#10;http://www.presentationload.com/">
              <a:extLst>
                <a:ext uri="{FF2B5EF4-FFF2-40B4-BE49-F238E27FC236}">
                  <a16:creationId xmlns:a16="http://schemas.microsoft.com/office/drawing/2014/main" id="{C85D2927-0AED-1070-B8DB-296ABFD67D59}"/>
                </a:ext>
              </a:extLst>
            </p:cNvPr>
            <p:cNvSpPr>
              <a:spLocks noEditPoints="1"/>
            </p:cNvSpPr>
            <p:nvPr/>
          </p:nvSpPr>
          <p:spPr bwMode="gray">
            <a:xfrm>
              <a:off x="3802900" y="6098450"/>
              <a:ext cx="1892213" cy="2015830"/>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1" name="Ireland" descr="© INSCALE GmbH, 05.05.2010&#10;http://www.presentationload.com/">
              <a:extLst>
                <a:ext uri="{FF2B5EF4-FFF2-40B4-BE49-F238E27FC236}">
                  <a16:creationId xmlns:a16="http://schemas.microsoft.com/office/drawing/2014/main" id="{A3A3CF27-4CF3-3599-2F7A-558ADE40D81E}"/>
                </a:ext>
              </a:extLst>
            </p:cNvPr>
            <p:cNvSpPr>
              <a:spLocks/>
            </p:cNvSpPr>
            <p:nvPr/>
          </p:nvSpPr>
          <p:spPr bwMode="gray">
            <a:xfrm>
              <a:off x="1321149" y="4558057"/>
              <a:ext cx="684617" cy="722654"/>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2" name="Hungary" descr="© INSCALE GmbH, 05.05.2010&#10;http://www.presentationload.com/">
              <a:extLst>
                <a:ext uri="{FF2B5EF4-FFF2-40B4-BE49-F238E27FC236}">
                  <a16:creationId xmlns:a16="http://schemas.microsoft.com/office/drawing/2014/main" id="{8FF58DFE-F66C-2D60-5FA7-1949F90F0B0E}"/>
                </a:ext>
              </a:extLst>
            </p:cNvPr>
            <p:cNvSpPr>
              <a:spLocks/>
            </p:cNvSpPr>
            <p:nvPr/>
          </p:nvSpPr>
          <p:spPr bwMode="gray">
            <a:xfrm>
              <a:off x="5286247" y="5822701"/>
              <a:ext cx="1036438" cy="541998"/>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3" name="Greece" descr="© INSCALE GmbH, 05.05.2010&#10;http://www.presentationload.com/">
              <a:extLst>
                <a:ext uri="{FF2B5EF4-FFF2-40B4-BE49-F238E27FC236}">
                  <a16:creationId xmlns:a16="http://schemas.microsoft.com/office/drawing/2014/main" id="{ED62C2F2-AFA2-C493-E6B9-F0381D224B80}"/>
                </a:ext>
              </a:extLst>
            </p:cNvPr>
            <p:cNvSpPr>
              <a:spLocks noEditPoints="1"/>
            </p:cNvSpPr>
            <p:nvPr/>
          </p:nvSpPr>
          <p:spPr bwMode="gray">
            <a:xfrm>
              <a:off x="5989870" y="7134892"/>
              <a:ext cx="1293167" cy="1340722"/>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4" name="Germany" descr="© INSCALE GmbH, 05.05.2010&#10;http://www.presentationload.com/">
              <a:extLst>
                <a:ext uri="{FF2B5EF4-FFF2-40B4-BE49-F238E27FC236}">
                  <a16:creationId xmlns:a16="http://schemas.microsoft.com/office/drawing/2014/main" id="{12E8C68E-F60A-F2F2-0B0B-ECFBD3190FAE}"/>
                </a:ext>
              </a:extLst>
            </p:cNvPr>
            <p:cNvSpPr>
              <a:spLocks/>
            </p:cNvSpPr>
            <p:nvPr/>
          </p:nvSpPr>
          <p:spPr bwMode="gray">
            <a:xfrm>
              <a:off x="3726831" y="4624617"/>
              <a:ext cx="1369243" cy="1435803"/>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5" name="France" descr="© INSCALE GmbH, 05.05.2010&#10;http://www.presentationload.com/">
              <a:extLst>
                <a:ext uri="{FF2B5EF4-FFF2-40B4-BE49-F238E27FC236}">
                  <a16:creationId xmlns:a16="http://schemas.microsoft.com/office/drawing/2014/main" id="{6C09FC67-A2A8-C5F2-973F-7B3C83D4A690}"/>
                </a:ext>
              </a:extLst>
            </p:cNvPr>
            <p:cNvSpPr>
              <a:spLocks noEditPoints="1"/>
            </p:cNvSpPr>
            <p:nvPr/>
          </p:nvSpPr>
          <p:spPr bwMode="gray">
            <a:xfrm>
              <a:off x="2062822" y="5318743"/>
              <a:ext cx="2215511" cy="1911242"/>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6" name="Finland" descr="© INSCALE GmbH, 05.05.2010&#10;http://www.presentationload.com/">
              <a:extLst>
                <a:ext uri="{FF2B5EF4-FFF2-40B4-BE49-F238E27FC236}">
                  <a16:creationId xmlns:a16="http://schemas.microsoft.com/office/drawing/2014/main" id="{7567E51A-7E79-D51A-AB29-82505B8190FD}"/>
                </a:ext>
              </a:extLst>
            </p:cNvPr>
            <p:cNvSpPr>
              <a:spLocks/>
            </p:cNvSpPr>
            <p:nvPr/>
          </p:nvSpPr>
          <p:spPr bwMode="gray">
            <a:xfrm>
              <a:off x="5694733" y="1971711"/>
              <a:ext cx="1530893" cy="1740084"/>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7" name="Estonia" descr="© INSCALE GmbH, 05.05.2010&#10;http://www.presentationload.com/">
              <a:extLst>
                <a:ext uri="{FF2B5EF4-FFF2-40B4-BE49-F238E27FC236}">
                  <a16:creationId xmlns:a16="http://schemas.microsoft.com/office/drawing/2014/main" id="{6AEEE853-3C14-ACCE-8FB7-6DA7ECC81FE0}"/>
                </a:ext>
              </a:extLst>
            </p:cNvPr>
            <p:cNvSpPr>
              <a:spLocks noEditPoints="1"/>
            </p:cNvSpPr>
            <p:nvPr/>
          </p:nvSpPr>
          <p:spPr bwMode="gray">
            <a:xfrm>
              <a:off x="5999379" y="3768844"/>
              <a:ext cx="846269" cy="380346"/>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8" name="Denmark" descr="© INSCALE GmbH, 05.05.2010&#10;http://www.presentationload.com/">
              <a:extLst>
                <a:ext uri="{FF2B5EF4-FFF2-40B4-BE49-F238E27FC236}">
                  <a16:creationId xmlns:a16="http://schemas.microsoft.com/office/drawing/2014/main" id="{75853E73-BE1F-F74A-564E-A13553E9F52D}"/>
                </a:ext>
              </a:extLst>
            </p:cNvPr>
            <p:cNvSpPr>
              <a:spLocks noEditPoints="1"/>
            </p:cNvSpPr>
            <p:nvPr/>
          </p:nvSpPr>
          <p:spPr bwMode="gray">
            <a:xfrm>
              <a:off x="4059634" y="4130170"/>
              <a:ext cx="675114" cy="570512"/>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9" name="Czech Republic" descr="© INSCALE GmbH, 05.05.2010&#10;http://www.presentationload.com/">
              <a:extLst>
                <a:ext uri="{FF2B5EF4-FFF2-40B4-BE49-F238E27FC236}">
                  <a16:creationId xmlns:a16="http://schemas.microsoft.com/office/drawing/2014/main" id="{4279A12D-3537-70DF-891C-B5E501218FB1}"/>
                </a:ext>
              </a:extLst>
            </p:cNvPr>
            <p:cNvSpPr>
              <a:spLocks/>
            </p:cNvSpPr>
            <p:nvPr/>
          </p:nvSpPr>
          <p:spPr bwMode="gray">
            <a:xfrm>
              <a:off x="4658673" y="5356780"/>
              <a:ext cx="1026927" cy="465924"/>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0" name="Croatia" descr="© INSCALE GmbH, 05.05.2010&#10;http://www.presentationload.com/">
              <a:extLst>
                <a:ext uri="{FF2B5EF4-FFF2-40B4-BE49-F238E27FC236}">
                  <a16:creationId xmlns:a16="http://schemas.microsoft.com/office/drawing/2014/main" id="{3DD83952-D0A8-6EAC-F68E-AE9657514F1D}"/>
                </a:ext>
              </a:extLst>
            </p:cNvPr>
            <p:cNvSpPr>
              <a:spLocks/>
            </p:cNvSpPr>
            <p:nvPr/>
          </p:nvSpPr>
          <p:spPr bwMode="gray">
            <a:xfrm>
              <a:off x="4905902" y="6222063"/>
              <a:ext cx="893811" cy="665599"/>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2" name="Bulgaria" descr="© INSCALE GmbH, 05.05.2010&#10;http://www.presentationload.com/">
              <a:extLst>
                <a:ext uri="{FF2B5EF4-FFF2-40B4-BE49-F238E27FC236}">
                  <a16:creationId xmlns:a16="http://schemas.microsoft.com/office/drawing/2014/main" id="{F6141C6D-EB57-5785-F3F4-B06D650D50C7}"/>
                </a:ext>
              </a:extLst>
            </p:cNvPr>
            <p:cNvSpPr>
              <a:spLocks/>
            </p:cNvSpPr>
            <p:nvPr/>
          </p:nvSpPr>
          <p:spPr bwMode="gray">
            <a:xfrm>
              <a:off x="6284642" y="6668972"/>
              <a:ext cx="960372" cy="551501"/>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3" name="Bosnia and Herzegovina" descr="© INSCALE GmbH, 05.05.2010&#10;http://www.presentationload.com/">
              <a:extLst>
                <a:ext uri="{FF2B5EF4-FFF2-40B4-BE49-F238E27FC236}">
                  <a16:creationId xmlns:a16="http://schemas.microsoft.com/office/drawing/2014/main" id="{1AE48692-7121-CBB8-4222-6C3A4D43CEA9}"/>
                </a:ext>
              </a:extLst>
            </p:cNvPr>
            <p:cNvSpPr>
              <a:spLocks/>
            </p:cNvSpPr>
            <p:nvPr/>
          </p:nvSpPr>
          <p:spPr bwMode="gray">
            <a:xfrm>
              <a:off x="5200668" y="6450272"/>
              <a:ext cx="646580" cy="570512"/>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792" name="Belgium" descr="© INSCALE GmbH, 05.05.2010&#10;http://www.presentationload.com/">
              <a:extLst>
                <a:ext uri="{FF2B5EF4-FFF2-40B4-BE49-F238E27FC236}">
                  <a16:creationId xmlns:a16="http://schemas.microsoft.com/office/drawing/2014/main" id="{A69E8302-F083-5106-A0C3-0D5F48A1FF9B}"/>
                </a:ext>
              </a:extLst>
            </p:cNvPr>
            <p:cNvSpPr>
              <a:spLocks/>
            </p:cNvSpPr>
            <p:nvPr/>
          </p:nvSpPr>
          <p:spPr bwMode="gray">
            <a:xfrm>
              <a:off x="3260912" y="5280715"/>
              <a:ext cx="541995" cy="370836"/>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793" name="Belarus" descr="© INSCALE GmbH, 05.05.2010&#10;http://www.presentationload.com/">
              <a:extLst>
                <a:ext uri="{FF2B5EF4-FFF2-40B4-BE49-F238E27FC236}">
                  <a16:creationId xmlns:a16="http://schemas.microsoft.com/office/drawing/2014/main" id="{2726A44F-5B3C-3078-2F40-8347D4924EFE}"/>
                </a:ext>
              </a:extLst>
            </p:cNvPr>
            <p:cNvSpPr>
              <a:spLocks/>
            </p:cNvSpPr>
            <p:nvPr/>
          </p:nvSpPr>
          <p:spPr bwMode="gray">
            <a:xfrm>
              <a:off x="6294161" y="4396405"/>
              <a:ext cx="1388258" cy="903320"/>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794" name="Austria" descr="© INSCALE GmbH, 05.05.2010&#10;http://www.presentationload.com/">
              <a:extLst>
                <a:ext uri="{FF2B5EF4-FFF2-40B4-BE49-F238E27FC236}">
                  <a16:creationId xmlns:a16="http://schemas.microsoft.com/office/drawing/2014/main" id="{87C88AE7-73CF-09EB-36D5-1D3061574AFC}"/>
                </a:ext>
              </a:extLst>
            </p:cNvPr>
            <p:cNvSpPr>
              <a:spLocks/>
            </p:cNvSpPr>
            <p:nvPr/>
          </p:nvSpPr>
          <p:spPr bwMode="gray">
            <a:xfrm>
              <a:off x="4278338" y="5737128"/>
              <a:ext cx="1112503" cy="494445"/>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795" name="Andorra" descr="© INSCALE GmbH, 05.05.2010&#10;http://www.presentationload.com/">
              <a:extLst>
                <a:ext uri="{FF2B5EF4-FFF2-40B4-BE49-F238E27FC236}">
                  <a16:creationId xmlns:a16="http://schemas.microsoft.com/office/drawing/2014/main" id="{BABB4614-2F12-BCD9-D263-90607E8232E0}"/>
                </a:ext>
              </a:extLst>
            </p:cNvPr>
            <p:cNvSpPr>
              <a:spLocks/>
            </p:cNvSpPr>
            <p:nvPr/>
          </p:nvSpPr>
          <p:spPr bwMode="gray">
            <a:xfrm>
              <a:off x="2985172" y="6963745"/>
              <a:ext cx="76071" cy="38033"/>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1796" name="Albania" descr="© INSCALE GmbH, 05.05.2010&#10;http://www.presentationload.com/">
              <a:extLst>
                <a:ext uri="{FF2B5EF4-FFF2-40B4-BE49-F238E27FC236}">
                  <a16:creationId xmlns:a16="http://schemas.microsoft.com/office/drawing/2014/main" id="{E2BB33D6-E6AB-6077-C929-F56EA869D8A1}"/>
                </a:ext>
              </a:extLst>
            </p:cNvPr>
            <p:cNvSpPr>
              <a:spLocks/>
            </p:cNvSpPr>
            <p:nvPr/>
          </p:nvSpPr>
          <p:spPr bwMode="gray">
            <a:xfrm>
              <a:off x="5752182" y="6963728"/>
              <a:ext cx="351821" cy="599046"/>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cxnSp>
          <p:nvCxnSpPr>
            <p:cNvPr id="1908" name="Straight Connector 1907">
              <a:extLst>
                <a:ext uri="{FF2B5EF4-FFF2-40B4-BE49-F238E27FC236}">
                  <a16:creationId xmlns:a16="http://schemas.microsoft.com/office/drawing/2014/main" id="{DF320861-16BF-3B4B-36AF-9069F5001C64}"/>
                </a:ext>
              </a:extLst>
            </p:cNvPr>
            <p:cNvCxnSpPr>
              <a:cxnSpLocks/>
              <a:stCxn id="1907" idx="1"/>
            </p:cNvCxnSpPr>
            <p:nvPr/>
          </p:nvCxnSpPr>
          <p:spPr>
            <a:xfrm flipH="1">
              <a:off x="6473822" y="5218557"/>
              <a:ext cx="419362" cy="518674"/>
            </a:xfrm>
            <a:prstGeom prst="line">
              <a:avLst/>
            </a:prstGeom>
            <a:grpFill/>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A216A996-9136-FB58-37BA-535C63987930}"/>
              </a:ext>
            </a:extLst>
          </p:cNvPr>
          <p:cNvSpPr/>
          <p:nvPr/>
        </p:nvSpPr>
        <p:spPr>
          <a:xfrm>
            <a:off x="379150" y="6454800"/>
            <a:ext cx="8776581" cy="398238"/>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4" name="Oval 23">
            <a:extLst>
              <a:ext uri="{FF2B5EF4-FFF2-40B4-BE49-F238E27FC236}">
                <a16:creationId xmlns:a16="http://schemas.microsoft.com/office/drawing/2014/main" id="{3172B426-6F8E-84CD-5972-BB4098CAB115}"/>
              </a:ext>
            </a:extLst>
          </p:cNvPr>
          <p:cNvSpPr/>
          <p:nvPr/>
        </p:nvSpPr>
        <p:spPr>
          <a:xfrm>
            <a:off x="3583777" y="6458"/>
            <a:ext cx="2997090" cy="1252824"/>
          </a:xfrm>
          <a:prstGeom prst="ellipse">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 name="Text Placeholder 1">
            <a:extLst>
              <a:ext uri="{FF2B5EF4-FFF2-40B4-BE49-F238E27FC236}">
                <a16:creationId xmlns:a16="http://schemas.microsoft.com/office/drawing/2014/main" id="{0D326790-F4D0-4D4C-9838-536A4F463977}"/>
              </a:ext>
            </a:extLst>
          </p:cNvPr>
          <p:cNvSpPr>
            <a:spLocks noGrp="1"/>
          </p:cNvSpPr>
          <p:nvPr>
            <p:ph type="body" sz="quarter" idx="22"/>
          </p:nvPr>
        </p:nvSpPr>
        <p:spPr>
          <a:xfrm>
            <a:off x="381001" y="6715169"/>
            <a:ext cx="1546898" cy="110800"/>
          </a:xfrm>
        </p:spPr>
        <p:txBody>
          <a:bodyPr/>
          <a:lstStyle/>
          <a:p>
            <a:r>
              <a:rPr lang="en-GB"/>
              <a:t>Sources: Aurora Energy Research</a:t>
            </a:r>
          </a:p>
        </p:txBody>
      </p:sp>
      <p:sp>
        <p:nvSpPr>
          <p:cNvPr id="3" name="Title 2">
            <a:extLst>
              <a:ext uri="{FF2B5EF4-FFF2-40B4-BE49-F238E27FC236}">
                <a16:creationId xmlns:a16="http://schemas.microsoft.com/office/drawing/2014/main" id="{730ABDDA-85A4-4992-908F-C9093A4C6D5E}"/>
              </a:ext>
            </a:extLst>
          </p:cNvPr>
          <p:cNvSpPr>
            <a:spLocks noGrp="1"/>
          </p:cNvSpPr>
          <p:nvPr>
            <p:ph type="title"/>
          </p:nvPr>
        </p:nvSpPr>
        <p:spPr>
          <a:xfrm>
            <a:off x="381599" y="411856"/>
            <a:ext cx="8695726" cy="609398"/>
          </a:xfrm>
        </p:spPr>
        <p:txBody>
          <a:bodyPr vert="horz" lIns="0" tIns="0" rIns="0" bIns="0" rtlCol="0" anchor="t" anchorCtr="0">
            <a:noAutofit/>
          </a:bodyPr>
          <a:lstStyle/>
          <a:p>
            <a:r>
              <a:rPr lang="en-GB">
                <a:solidFill>
                  <a:schemeClr val="tx1"/>
                </a:solidFill>
              </a:rPr>
              <a:t>… While in Low Scenarios, battery investments have a different degree of exposure</a:t>
            </a:r>
          </a:p>
        </p:txBody>
      </p:sp>
      <p:sp>
        <p:nvSpPr>
          <p:cNvPr id="50" name="Text Placeholder 49">
            <a:extLst>
              <a:ext uri="{FF2B5EF4-FFF2-40B4-BE49-F238E27FC236}">
                <a16:creationId xmlns:a16="http://schemas.microsoft.com/office/drawing/2014/main" id="{4D6CE235-FE98-A7EB-4A0A-8D4FAF01A76F}"/>
              </a:ext>
            </a:extLst>
          </p:cNvPr>
          <p:cNvSpPr>
            <a:spLocks noGrp="1"/>
          </p:cNvSpPr>
          <p:nvPr>
            <p:ph type="body" sz="quarter" idx="32"/>
          </p:nvPr>
        </p:nvSpPr>
        <p:spPr>
          <a:xfrm>
            <a:off x="381600" y="6474841"/>
            <a:ext cx="8601074" cy="110800"/>
          </a:xfrm>
          <a:noFill/>
        </p:spPr>
        <p:txBody>
          <a:bodyPr/>
          <a:lstStyle/>
          <a:p>
            <a:r>
              <a:rPr lang="en-GB" sz="800" b="0"/>
              <a:t>.</a:t>
            </a:r>
          </a:p>
        </p:txBody>
      </p:sp>
      <p:sp>
        <p:nvSpPr>
          <p:cNvPr id="1797" name="Text Placeholder 33">
            <a:extLst>
              <a:ext uri="{FF2B5EF4-FFF2-40B4-BE49-F238E27FC236}">
                <a16:creationId xmlns:a16="http://schemas.microsoft.com/office/drawing/2014/main" id="{8057763F-6AA9-6936-0A0D-2246511F38A3}"/>
              </a:ext>
            </a:extLst>
          </p:cNvPr>
          <p:cNvSpPr txBox="1">
            <a:spLocks/>
          </p:cNvSpPr>
          <p:nvPr/>
        </p:nvSpPr>
        <p:spPr>
          <a:xfrm>
            <a:off x="386561" y="1288968"/>
            <a:ext cx="7688827" cy="369332"/>
          </a:xfrm>
          <a:prstGeom prst="rect">
            <a:avLst/>
          </a:prstGeom>
        </p:spPr>
        <p:txBody>
          <a:bodyPr vert="horz" lIns="0" tIns="0" rIns="0" bIns="0" rtlCol="0">
            <a:spAutoFit/>
          </a:bodyPr>
          <a:lstStyle>
            <a:defPPr>
              <a:defRPr lang="de-DE"/>
            </a:defPPr>
            <a:lvl1pPr indent="0" defTabSz="685783">
              <a:lnSpc>
                <a:spcPct val="100000"/>
              </a:lnSpc>
              <a:spcBef>
                <a:spcPts val="0"/>
              </a:spcBef>
              <a:buFont typeface="Wingdings" panose="05000000000000000000" pitchFamily="2" charset="2"/>
              <a:buNone/>
              <a:defRPr sz="1200" b="1">
                <a:latin typeface="Lato"/>
                <a:ea typeface="Lato" panose="020F0502020204030203" pitchFamily="34" charset="0"/>
                <a:cs typeface="Lato" panose="020F0502020204030203" pitchFamily="34" charset="0"/>
              </a:defRPr>
            </a:lvl1pPr>
            <a:lvl2pPr marL="180975" indent="-180975" defTabSz="685783">
              <a:lnSpc>
                <a:spcPct val="100000"/>
              </a:lnSpc>
              <a:spcBef>
                <a:spcPts val="600"/>
              </a:spcBef>
              <a:buClr>
                <a:schemeClr val="tx1"/>
              </a:buClr>
              <a:buFont typeface="Wingdings" panose="05000000000000000000" pitchFamily="2" charset="2"/>
              <a:buChar char="§"/>
              <a:defRPr sz="1200">
                <a:ea typeface="Lato" panose="020F0502020204030203" pitchFamily="34" charset="0"/>
                <a:cs typeface="Lato" panose="020F0502020204030203" pitchFamily="34" charset="0"/>
              </a:defRPr>
            </a:lvl2pPr>
            <a:lvl3pPr marL="358775" indent="-177800" defTabSz="685783">
              <a:lnSpc>
                <a:spcPct val="100000"/>
              </a:lnSpc>
              <a:spcBef>
                <a:spcPts val="300"/>
              </a:spcBef>
              <a:buClr>
                <a:schemeClr val="tx1"/>
              </a:buClr>
              <a:buFont typeface="Symbol" panose="05050102010706020507" pitchFamily="18" charset="2"/>
              <a:buChar char=""/>
              <a:defRPr sz="1200">
                <a:ea typeface="Lato" panose="020F0502020204030203" pitchFamily="34" charset="0"/>
                <a:cs typeface="Lato" panose="020F0502020204030203" pitchFamily="34" charset="0"/>
              </a:defRPr>
            </a:lvl3pPr>
            <a:lvl4pPr marL="539750" indent="-180975" defTabSz="685783">
              <a:lnSpc>
                <a:spcPct val="100000"/>
              </a:lnSpc>
              <a:spcBef>
                <a:spcPts val="0"/>
              </a:spcBef>
              <a:buClr>
                <a:schemeClr val="tx1"/>
              </a:buClr>
              <a:buSzPct val="100000"/>
              <a:buFont typeface="Lato" panose="020F0502020204030203" pitchFamily="34" charset="0"/>
              <a:buChar char="–"/>
              <a:defRPr sz="1200">
                <a:ea typeface="Lato" panose="020F0502020204030203" pitchFamily="34" charset="0"/>
                <a:cs typeface="Lato" panose="020F0502020204030203" pitchFamily="34" charset="0"/>
              </a:defRPr>
            </a:lvl4pPr>
            <a:lvl5pPr marL="717550" indent="-177800" defTabSz="685783">
              <a:lnSpc>
                <a:spcPct val="90000"/>
              </a:lnSpc>
              <a:spcBef>
                <a:spcPts val="0"/>
              </a:spcBef>
              <a:buFontTx/>
              <a:buChar char="-"/>
              <a:defRPr sz="1200"/>
            </a:lvl5pPr>
            <a:lvl6pPr marL="1885903" indent="-171446" defTabSz="685783">
              <a:lnSpc>
                <a:spcPct val="90000"/>
              </a:lnSpc>
              <a:spcBef>
                <a:spcPts val="375"/>
              </a:spcBef>
              <a:buFont typeface="Arial" panose="020B0604020202020204" pitchFamily="34" charset="0"/>
              <a:buChar char="•"/>
              <a:defRPr sz="1350"/>
            </a:lvl6pPr>
            <a:lvl7pPr marL="2228795" indent="-171446" defTabSz="685783">
              <a:lnSpc>
                <a:spcPct val="90000"/>
              </a:lnSpc>
              <a:spcBef>
                <a:spcPts val="375"/>
              </a:spcBef>
              <a:buFont typeface="Arial" panose="020B0604020202020204" pitchFamily="34" charset="0"/>
              <a:buChar char="•"/>
              <a:defRPr sz="1350"/>
            </a:lvl7pPr>
            <a:lvl8pPr marL="2571686" indent="-171446" defTabSz="685783">
              <a:lnSpc>
                <a:spcPct val="90000"/>
              </a:lnSpc>
              <a:spcBef>
                <a:spcPts val="375"/>
              </a:spcBef>
              <a:buFont typeface="Arial" panose="020B0604020202020204" pitchFamily="34" charset="0"/>
              <a:buChar char="•"/>
              <a:defRPr sz="1350"/>
            </a:lvl8pPr>
            <a:lvl9pPr marL="2914577" indent="-171446" defTabSz="685783">
              <a:lnSpc>
                <a:spcPct val="90000"/>
              </a:lnSpc>
              <a:spcBef>
                <a:spcPts val="375"/>
              </a:spcBef>
              <a:buFont typeface="Arial" panose="020B0604020202020204" pitchFamily="34" charset="0"/>
              <a:buChar char="•"/>
              <a:defRPr sz="1350"/>
            </a:lvl9pPr>
          </a:lstStyle>
          <a:p>
            <a:r>
              <a:rPr lang="en-GB"/>
              <a:t>Expected profitability for batteries with COD 2027</a:t>
            </a:r>
          </a:p>
          <a:p>
            <a:r>
              <a:rPr lang="en-GB" b="0">
                <a:solidFill>
                  <a:schemeClr val="accent5"/>
                </a:solidFill>
                <a:sym typeface="Lato" panose="020F0502020204030203" pitchFamily="34" charset="0"/>
              </a:rPr>
              <a:t>IRR % (pre-tax, real)</a:t>
            </a:r>
          </a:p>
        </p:txBody>
      </p:sp>
      <p:grpSp>
        <p:nvGrpSpPr>
          <p:cNvPr id="1798" name="Group 1797">
            <a:extLst>
              <a:ext uri="{FF2B5EF4-FFF2-40B4-BE49-F238E27FC236}">
                <a16:creationId xmlns:a16="http://schemas.microsoft.com/office/drawing/2014/main" id="{4E1B17C0-67E6-F9C2-5865-6269A152D99E}"/>
              </a:ext>
            </a:extLst>
          </p:cNvPr>
          <p:cNvGrpSpPr/>
          <p:nvPr/>
        </p:nvGrpSpPr>
        <p:grpSpPr>
          <a:xfrm>
            <a:off x="379151" y="1805843"/>
            <a:ext cx="2646879" cy="474055"/>
            <a:chOff x="401519" y="2285459"/>
            <a:chExt cx="2646879" cy="474055"/>
          </a:xfrm>
        </p:grpSpPr>
        <p:sp>
          <p:nvSpPr>
            <p:cNvPr id="1802" name="Oval 1801">
              <a:extLst>
                <a:ext uri="{FF2B5EF4-FFF2-40B4-BE49-F238E27FC236}">
                  <a16:creationId xmlns:a16="http://schemas.microsoft.com/office/drawing/2014/main" id="{D1D70C67-0BEA-4B7F-2EB2-D052BE010651}"/>
                </a:ext>
              </a:extLst>
            </p:cNvPr>
            <p:cNvSpPr/>
            <p:nvPr/>
          </p:nvSpPr>
          <p:spPr>
            <a:xfrm>
              <a:off x="405551" y="2285459"/>
              <a:ext cx="179387" cy="184064"/>
            </a:xfrm>
            <a:prstGeom prst="ellipse">
              <a:avLst/>
            </a:prstGeom>
            <a:solidFill>
              <a:srgbClr val="92D050"/>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04" name="TextBox 1803">
              <a:extLst>
                <a:ext uri="{FF2B5EF4-FFF2-40B4-BE49-F238E27FC236}">
                  <a16:creationId xmlns:a16="http://schemas.microsoft.com/office/drawing/2014/main" id="{13513CD5-37D6-634A-558B-501E05B66CD2}"/>
                </a:ext>
              </a:extLst>
            </p:cNvPr>
            <p:cNvSpPr txBox="1"/>
            <p:nvPr/>
          </p:nvSpPr>
          <p:spPr>
            <a:xfrm>
              <a:off x="651870" y="2305206"/>
              <a:ext cx="239652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 Central Scenario</a:t>
              </a:r>
              <a:endParaRPr kumimoji="0" lang="en-GB" sz="1000" b="1" i="0" u="none" strike="noStrike" kern="1200" cap="none" spc="0" normalizeH="0" baseline="3000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05" name="Oval 1804">
              <a:extLst>
                <a:ext uri="{FF2B5EF4-FFF2-40B4-BE49-F238E27FC236}">
                  <a16:creationId xmlns:a16="http://schemas.microsoft.com/office/drawing/2014/main" id="{B3072446-DBB8-3F41-ED8D-72020AAF10EA}"/>
                </a:ext>
              </a:extLst>
            </p:cNvPr>
            <p:cNvSpPr/>
            <p:nvPr/>
          </p:nvSpPr>
          <p:spPr>
            <a:xfrm>
              <a:off x="401519" y="2575450"/>
              <a:ext cx="179387" cy="184064"/>
            </a:xfrm>
            <a:prstGeom prst="ellipse">
              <a:avLst/>
            </a:prstGeom>
            <a:solidFill>
              <a:srgbClr val="FF0000"/>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06" name="TextBox 1805">
              <a:extLst>
                <a:ext uri="{FF2B5EF4-FFF2-40B4-BE49-F238E27FC236}">
                  <a16:creationId xmlns:a16="http://schemas.microsoft.com/office/drawing/2014/main" id="{8280701D-2684-64A0-C68A-6EB1DB69A016}"/>
                </a:ext>
              </a:extLst>
            </p:cNvPr>
            <p:cNvSpPr txBox="1"/>
            <p:nvPr/>
          </p:nvSpPr>
          <p:spPr>
            <a:xfrm>
              <a:off x="651870" y="2595197"/>
              <a:ext cx="213392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 Low Scenario</a:t>
              </a:r>
            </a:p>
          </p:txBody>
        </p:sp>
      </p:grpSp>
      <p:sp>
        <p:nvSpPr>
          <p:cNvPr id="1829" name="Rectangle 1828">
            <a:extLst>
              <a:ext uri="{FF2B5EF4-FFF2-40B4-BE49-F238E27FC236}">
                <a16:creationId xmlns:a16="http://schemas.microsoft.com/office/drawing/2014/main" id="{F0F4CD1F-28E4-202E-B907-75D9063A3A8E}"/>
              </a:ext>
            </a:extLst>
          </p:cNvPr>
          <p:cNvSpPr/>
          <p:nvPr/>
        </p:nvSpPr>
        <p:spPr>
          <a:xfrm>
            <a:off x="386561" y="2760687"/>
            <a:ext cx="2060499" cy="815404"/>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defRPr/>
            </a:pPr>
            <a:r>
              <a:rPr lang="en-GB" sz="1100">
                <a:solidFill>
                  <a:srgbClr val="3C3C3B"/>
                </a:solidFill>
              </a:rPr>
              <a:t>The low scenario in  </a:t>
            </a:r>
            <a:r>
              <a:rPr lang="en-GB" sz="1100">
                <a:solidFill>
                  <a:srgbClr val="7A7A7A"/>
                </a:solidFill>
                <a:highlight>
                  <a:srgbClr val="7A7A7A"/>
                </a:highlight>
                <a:latin typeface="Lato"/>
              </a:rPr>
              <a:t>XX</a:t>
            </a:r>
            <a:r>
              <a:rPr lang="en-GB" sz="1100">
                <a:solidFill>
                  <a:srgbClr val="3C3C3B"/>
                </a:solidFill>
              </a:rPr>
              <a:t> place between </a:t>
            </a:r>
            <a:r>
              <a:rPr lang="en-GB" sz="1100">
                <a:solidFill>
                  <a:srgbClr val="7A7A7A"/>
                </a:solidFill>
                <a:highlight>
                  <a:srgbClr val="7A7A7A"/>
                </a:highlight>
                <a:latin typeface="Lato"/>
              </a:rPr>
              <a:t>XX</a:t>
            </a:r>
            <a:r>
              <a:rPr lang="en-GB" sz="1100">
                <a:solidFill>
                  <a:srgbClr val="3C3C3B"/>
                </a:solidFill>
              </a:rPr>
              <a:t>, of the expected returns for batteries at risk.</a:t>
            </a:r>
          </a:p>
        </p:txBody>
      </p:sp>
      <p:graphicFrame>
        <p:nvGraphicFramePr>
          <p:cNvPr id="1800" name="Chart 1799">
            <a:extLst>
              <a:ext uri="{FF2B5EF4-FFF2-40B4-BE49-F238E27FC236}">
                <a16:creationId xmlns:a16="http://schemas.microsoft.com/office/drawing/2014/main" id="{BB42C409-3762-03E2-2556-C02EB3D744F5}"/>
              </a:ext>
            </a:extLst>
          </p:cNvPr>
          <p:cNvGraphicFramePr/>
          <p:nvPr>
            <p:custDataLst>
              <p:tags r:id="rId2"/>
            </p:custDataLst>
            <p:extLst>
              <p:ext uri="{D42A27DB-BD31-4B8C-83A1-F6EECF244321}">
                <p14:modId xmlns:p14="http://schemas.microsoft.com/office/powerpoint/2010/main" val="3449733374"/>
              </p:ext>
            </p:extLst>
          </p:nvPr>
        </p:nvGraphicFramePr>
        <p:xfrm>
          <a:off x="5008563" y="5218113"/>
          <a:ext cx="1558925" cy="876300"/>
        </p:xfrm>
        <a:graphic>
          <a:graphicData uri="http://schemas.openxmlformats.org/drawingml/2006/chart">
            <c:chart xmlns:c="http://schemas.openxmlformats.org/drawingml/2006/chart" xmlns:r="http://schemas.openxmlformats.org/officeDocument/2006/relationships" r:id="rId41"/>
          </a:graphicData>
        </a:graphic>
      </p:graphicFrame>
      <p:cxnSp>
        <p:nvCxnSpPr>
          <p:cNvPr id="1076" name="Straight Connector 1075">
            <a:extLst>
              <a:ext uri="{FF2B5EF4-FFF2-40B4-BE49-F238E27FC236}">
                <a16:creationId xmlns:a16="http://schemas.microsoft.com/office/drawing/2014/main" id="{D13C0A84-1FC5-5881-0460-15572CE3D854}"/>
              </a:ext>
            </a:extLst>
          </p:cNvPr>
          <p:cNvCxnSpPr>
            <a:cxnSpLocks/>
          </p:cNvCxnSpPr>
          <p:nvPr>
            <p:custDataLst>
              <p:tags r:id="rId3"/>
            </p:custDataLst>
          </p:nvPr>
        </p:nvCxnSpPr>
        <p:spPr bwMode="gray">
          <a:xfrm flipV="1">
            <a:off x="5238750" y="5086350"/>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6" name="Straight Connector 1985">
            <a:extLst>
              <a:ext uri="{FF2B5EF4-FFF2-40B4-BE49-F238E27FC236}">
                <a16:creationId xmlns:a16="http://schemas.microsoft.com/office/drawing/2014/main" id="{D99F5933-AFF0-7E36-4CF6-511E8EB5B2A4}"/>
              </a:ext>
            </a:extLst>
          </p:cNvPr>
          <p:cNvCxnSpPr/>
          <p:nvPr>
            <p:custDataLst>
              <p:tags r:id="rId4"/>
            </p:custDataLst>
          </p:nvPr>
        </p:nvCxnSpPr>
        <p:spPr bwMode="gray">
          <a:xfrm>
            <a:off x="5238750" y="5086350"/>
            <a:ext cx="1666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8" name="Straight Connector 1077">
            <a:extLst>
              <a:ext uri="{FF2B5EF4-FFF2-40B4-BE49-F238E27FC236}">
                <a16:creationId xmlns:a16="http://schemas.microsoft.com/office/drawing/2014/main" id="{DE214410-D0F6-B9EA-D0B2-312653A73A84}"/>
              </a:ext>
            </a:extLst>
          </p:cNvPr>
          <p:cNvCxnSpPr/>
          <p:nvPr>
            <p:custDataLst>
              <p:tags r:id="rId5"/>
            </p:custDataLst>
          </p:nvPr>
        </p:nvCxnSpPr>
        <p:spPr bwMode="gray">
          <a:xfrm>
            <a:off x="5405438" y="5086350"/>
            <a:ext cx="0" cy="4175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84" name="Straight Connector 1083">
            <a:extLst>
              <a:ext uri="{FF2B5EF4-FFF2-40B4-BE49-F238E27FC236}">
                <a16:creationId xmlns:a16="http://schemas.microsoft.com/office/drawing/2014/main" id="{3EB61FAE-8C87-F288-8C14-C47CE053FF32}"/>
              </a:ext>
            </a:extLst>
          </p:cNvPr>
          <p:cNvCxnSpPr/>
          <p:nvPr>
            <p:custDataLst>
              <p:tags r:id="rId6"/>
            </p:custDataLst>
          </p:nvPr>
        </p:nvCxnSpPr>
        <p:spPr bwMode="gray">
          <a:xfrm flipV="1">
            <a:off x="5703888" y="5078413"/>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5" name="Straight Connector 1994">
            <a:extLst>
              <a:ext uri="{FF2B5EF4-FFF2-40B4-BE49-F238E27FC236}">
                <a16:creationId xmlns:a16="http://schemas.microsoft.com/office/drawing/2014/main" id="{CB81CB70-8EC8-046F-90A6-0AC0EC23D341}"/>
              </a:ext>
            </a:extLst>
          </p:cNvPr>
          <p:cNvCxnSpPr/>
          <p:nvPr>
            <p:custDataLst>
              <p:tags r:id="rId7"/>
            </p:custDataLst>
          </p:nvPr>
        </p:nvCxnSpPr>
        <p:spPr bwMode="gray">
          <a:xfrm>
            <a:off x="5703888" y="5078413"/>
            <a:ext cx="1666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6" name="Straight Connector 1085">
            <a:extLst>
              <a:ext uri="{FF2B5EF4-FFF2-40B4-BE49-F238E27FC236}">
                <a16:creationId xmlns:a16="http://schemas.microsoft.com/office/drawing/2014/main" id="{321EB74A-8B3A-5845-8426-122B87341E42}"/>
              </a:ext>
            </a:extLst>
          </p:cNvPr>
          <p:cNvCxnSpPr/>
          <p:nvPr>
            <p:custDataLst>
              <p:tags r:id="rId8"/>
            </p:custDataLst>
          </p:nvPr>
        </p:nvCxnSpPr>
        <p:spPr bwMode="gray">
          <a:xfrm>
            <a:off x="5870575" y="5078413"/>
            <a:ext cx="0" cy="4429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75"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auto">
          <a:xfrm>
            <a:off x="5135563" y="49784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sp>
        <p:nvSpPr>
          <p:cNvPr id="1082"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auto">
          <a:xfrm>
            <a:off x="5600700" y="497046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sp>
        <p:nvSpPr>
          <p:cNvPr id="1905" name="Rectangle 1904">
            <a:extLst>
              <a:ext uri="{FF2B5EF4-FFF2-40B4-BE49-F238E27FC236}">
                <a16:creationId xmlns:a16="http://schemas.microsoft.com/office/drawing/2014/main" id="{7A09755D-E68A-2C16-FDF2-B4E7BB78910E}"/>
              </a:ext>
            </a:extLst>
          </p:cNvPr>
          <p:cNvSpPr/>
          <p:nvPr/>
        </p:nvSpPr>
        <p:spPr>
          <a:xfrm>
            <a:off x="6893187" y="1658300"/>
            <a:ext cx="2089487" cy="1102386"/>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a:ln>
                  <a:noFill/>
                </a:ln>
                <a:solidFill>
                  <a:srgbClr val="3C3C3B"/>
                </a:solidFill>
                <a:effectLst/>
                <a:uLnTx/>
                <a:uFillTx/>
              </a:rPr>
              <a:t>For 2h batteries </a:t>
            </a:r>
            <a:r>
              <a:rPr lang="en-GB" sz="1100" err="1">
                <a:solidFill>
                  <a:srgbClr val="3C3C3B"/>
                </a:solidFill>
              </a:rPr>
              <a:t>i</a:t>
            </a:r>
            <a:r>
              <a:rPr kumimoji="0" lang="en-GB" sz="1100" i="0" u="none" strike="noStrike" kern="1200" cap="none" spc="0" normalizeH="0" baseline="0" noProof="0">
                <a:ln>
                  <a:noFill/>
                </a:ln>
                <a:solidFill>
                  <a:srgbClr val="3C3C3B"/>
                </a:solidFill>
                <a:effectLst/>
                <a:uLnTx/>
                <a:uFillTx/>
              </a:rPr>
              <a:t>n </a:t>
            </a:r>
            <a:r>
              <a:rPr lang="en-GB" sz="1100">
                <a:solidFill>
                  <a:srgbClr val="7A7A7A"/>
                </a:solidFill>
                <a:highlight>
                  <a:srgbClr val="7A7A7A"/>
                </a:highlight>
                <a:latin typeface="Lato"/>
              </a:rPr>
              <a:t>XX</a:t>
            </a:r>
            <a:r>
              <a:rPr kumimoji="0" lang="en-GB" sz="1100" i="0" u="none" strike="noStrike" kern="1200" cap="none" spc="0" normalizeH="0" baseline="0" noProof="0">
                <a:ln>
                  <a:noFill/>
                </a:ln>
                <a:solidFill>
                  <a:srgbClr val="3C3C3B"/>
                </a:solidFill>
                <a:effectLst/>
                <a:uLnTx/>
                <a:uFillTx/>
              </a:rPr>
              <a:t>, low market scenarios </a:t>
            </a:r>
            <a:r>
              <a:rPr lang="en-GB" sz="1100">
                <a:solidFill>
                  <a:srgbClr val="3C3C3B"/>
                </a:solidFill>
              </a:rPr>
              <a:t>put </a:t>
            </a:r>
            <a:r>
              <a:rPr lang="en-GB" sz="1100">
                <a:solidFill>
                  <a:srgbClr val="7A7A7A"/>
                </a:solidFill>
                <a:highlight>
                  <a:srgbClr val="7A7A7A"/>
                </a:highlight>
                <a:latin typeface="Lato"/>
              </a:rPr>
              <a:t>XX </a:t>
            </a:r>
            <a:r>
              <a:rPr lang="en-GB" sz="1100">
                <a:solidFill>
                  <a:srgbClr val="3C3C3B"/>
                </a:solidFill>
              </a:rPr>
              <a:t>% to </a:t>
            </a:r>
            <a:r>
              <a:rPr lang="en-GB" sz="1100">
                <a:solidFill>
                  <a:srgbClr val="7A7A7A"/>
                </a:solidFill>
                <a:highlight>
                  <a:srgbClr val="7A7A7A"/>
                </a:highlight>
                <a:latin typeface="Lato"/>
              </a:rPr>
              <a:t>XX </a:t>
            </a:r>
            <a:r>
              <a:rPr lang="en-GB" sz="1100">
                <a:solidFill>
                  <a:srgbClr val="3C3C3B"/>
                </a:solidFill>
              </a:rPr>
              <a:t>% of the expected </a:t>
            </a:r>
            <a:r>
              <a:rPr kumimoji="0" lang="en-GB" sz="1100" i="0" u="none" strike="noStrike" kern="1200" cap="none" spc="0" normalizeH="0" baseline="0" noProof="0">
                <a:ln>
                  <a:noFill/>
                </a:ln>
                <a:solidFill>
                  <a:srgbClr val="3C3C3B"/>
                </a:solidFill>
                <a:effectLst/>
                <a:uLnTx/>
                <a:uFillTx/>
              </a:rPr>
              <a:t>return of a battery at risk, due to </a:t>
            </a:r>
            <a:r>
              <a:rPr lang="en-GB" sz="1100">
                <a:solidFill>
                  <a:srgbClr val="3C3C3B"/>
                </a:solidFill>
              </a:rPr>
              <a:t> </a:t>
            </a:r>
            <a:r>
              <a:rPr lang="en-GB" sz="1100">
                <a:solidFill>
                  <a:srgbClr val="7A7A7A"/>
                </a:solidFill>
                <a:highlight>
                  <a:srgbClr val="7A7A7A"/>
                </a:highlight>
                <a:latin typeface="Lato"/>
              </a:rPr>
              <a:t>XX</a:t>
            </a:r>
            <a:endParaRPr kumimoji="0" lang="en-GB" sz="1100" i="0" u="none" strike="noStrike" kern="1200" cap="none" spc="0" normalizeH="0" baseline="0" noProof="0">
              <a:ln>
                <a:noFill/>
              </a:ln>
              <a:solidFill>
                <a:srgbClr val="FF0000"/>
              </a:solidFill>
              <a:effectLst/>
              <a:uLnTx/>
              <a:uFillTx/>
            </a:endParaRPr>
          </a:p>
        </p:txBody>
      </p:sp>
      <p:sp>
        <p:nvSpPr>
          <p:cNvPr id="1907" name="Rectangle 1906">
            <a:extLst>
              <a:ext uri="{FF2B5EF4-FFF2-40B4-BE49-F238E27FC236}">
                <a16:creationId xmlns:a16="http://schemas.microsoft.com/office/drawing/2014/main" id="{D429F10C-2517-7A62-7916-18F5AE5A6F71}"/>
              </a:ext>
            </a:extLst>
          </p:cNvPr>
          <p:cNvSpPr/>
          <p:nvPr/>
        </p:nvSpPr>
        <p:spPr>
          <a:xfrm>
            <a:off x="6893187" y="4424945"/>
            <a:ext cx="2060499" cy="1587215"/>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defRPr/>
            </a:pPr>
            <a:r>
              <a:rPr lang="en-GB" sz="1100">
                <a:solidFill>
                  <a:srgbClr val="3C3C3B"/>
                </a:solidFill>
              </a:rPr>
              <a:t>For 2h batteries in </a:t>
            </a:r>
            <a:r>
              <a:rPr lang="en-GB" sz="1100">
                <a:solidFill>
                  <a:srgbClr val="7A7A7A"/>
                </a:solidFill>
                <a:highlight>
                  <a:srgbClr val="7A7A7A"/>
                </a:highlight>
                <a:latin typeface="Lato"/>
              </a:rPr>
              <a:t>XX</a:t>
            </a:r>
            <a:r>
              <a:rPr lang="en-GB" sz="1100">
                <a:solidFill>
                  <a:srgbClr val="3C3C3B"/>
                </a:solidFill>
              </a:rPr>
              <a:t> and </a:t>
            </a:r>
            <a:r>
              <a:rPr lang="en-GB" sz="1100">
                <a:solidFill>
                  <a:srgbClr val="7A7A7A"/>
                </a:solidFill>
                <a:highlight>
                  <a:srgbClr val="7A7A7A"/>
                </a:highlight>
                <a:latin typeface="Lato"/>
              </a:rPr>
              <a:t>XX</a:t>
            </a:r>
            <a:r>
              <a:rPr lang="en-GB" sz="1100">
                <a:solidFill>
                  <a:srgbClr val="3C3C3B"/>
                </a:solidFill>
              </a:rPr>
              <a:t>, low market scenarios place around </a:t>
            </a:r>
            <a:r>
              <a:rPr lang="en-GB" sz="1100">
                <a:solidFill>
                  <a:srgbClr val="7A7A7A"/>
                </a:solidFill>
                <a:highlight>
                  <a:srgbClr val="7A7A7A"/>
                </a:highlight>
                <a:latin typeface="Lato"/>
              </a:rPr>
              <a:t>XX </a:t>
            </a:r>
            <a:r>
              <a:rPr lang="en-GB" sz="1100">
                <a:solidFill>
                  <a:srgbClr val="3C3C3B"/>
                </a:solidFill>
              </a:rPr>
              <a:t>% of the expected return of a battery at risk. </a:t>
            </a:r>
          </a:p>
          <a:p>
            <a:pPr>
              <a:defRPr/>
            </a:pPr>
            <a:r>
              <a:rPr lang="en-GB" sz="1100">
                <a:solidFill>
                  <a:srgbClr val="3C3C3B"/>
                </a:solidFill>
              </a:rPr>
              <a:t>While </a:t>
            </a:r>
            <a:r>
              <a:rPr lang="en-GB" sz="1100">
                <a:solidFill>
                  <a:srgbClr val="7A7A7A"/>
                </a:solidFill>
                <a:highlight>
                  <a:srgbClr val="7A7A7A"/>
                </a:highlight>
                <a:latin typeface="Lato"/>
              </a:rPr>
              <a:t>XX</a:t>
            </a:r>
            <a:r>
              <a:rPr lang="en-GB" sz="1100">
                <a:solidFill>
                  <a:srgbClr val="3C3C3B"/>
                </a:solidFill>
              </a:rPr>
              <a:t> sees a  </a:t>
            </a:r>
            <a:r>
              <a:rPr lang="en-GB" sz="1100">
                <a:solidFill>
                  <a:srgbClr val="7A7A7A"/>
                </a:solidFill>
                <a:highlight>
                  <a:srgbClr val="7A7A7A"/>
                </a:highlight>
                <a:latin typeface="Lato"/>
              </a:rPr>
              <a:t>XX</a:t>
            </a:r>
            <a:endParaRPr lang="en-GB" sz="1100">
              <a:solidFill>
                <a:srgbClr val="3C3C3B"/>
              </a:solidFill>
            </a:endParaRPr>
          </a:p>
        </p:txBody>
      </p:sp>
      <p:sp>
        <p:nvSpPr>
          <p:cNvPr id="5" name="Text Placeholder 10">
            <a:extLst>
              <a:ext uri="{FF2B5EF4-FFF2-40B4-BE49-F238E27FC236}">
                <a16:creationId xmlns:a16="http://schemas.microsoft.com/office/drawing/2014/main" id="{BEA412D8-826A-C36A-F420-5C87441DBBF7}"/>
              </a:ext>
            </a:extLst>
          </p:cNvPr>
          <p:cNvSpPr txBox="1">
            <a:spLocks/>
          </p:cNvSpPr>
          <p:nvPr/>
        </p:nvSpPr>
        <p:spPr>
          <a:xfrm>
            <a:off x="381599" y="79401"/>
            <a:ext cx="1468672"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roject economics</a:t>
            </a:r>
          </a:p>
        </p:txBody>
      </p:sp>
      <p:sp>
        <p:nvSpPr>
          <p:cNvPr id="6" name="Oval 5">
            <a:extLst>
              <a:ext uri="{FF2B5EF4-FFF2-40B4-BE49-F238E27FC236}">
                <a16:creationId xmlns:a16="http://schemas.microsoft.com/office/drawing/2014/main" id="{C828877B-3D67-0D8F-7DBC-27CA60BCCC3F}"/>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cxnSp>
        <p:nvCxnSpPr>
          <p:cNvPr id="44" name="Straight Connector 43">
            <a:extLst>
              <a:ext uri="{FF2B5EF4-FFF2-40B4-BE49-F238E27FC236}">
                <a16:creationId xmlns:a16="http://schemas.microsoft.com/office/drawing/2014/main" id="{90E889CD-E3D6-84B7-FB3A-D27F5F166EEA}"/>
              </a:ext>
            </a:extLst>
          </p:cNvPr>
          <p:cNvCxnSpPr>
            <a:cxnSpLocks/>
          </p:cNvCxnSpPr>
          <p:nvPr/>
        </p:nvCxnSpPr>
        <p:spPr>
          <a:xfrm>
            <a:off x="2157971" y="6447029"/>
            <a:ext cx="6262129" cy="0"/>
          </a:xfrm>
          <a:prstGeom prst="line">
            <a:avLst/>
          </a:prstGeom>
          <a:ln w="0">
            <a:solidFill>
              <a:srgbClr val="808080"/>
            </a:solidFill>
          </a:ln>
        </p:spPr>
        <p:style>
          <a:lnRef idx="1">
            <a:schemeClr val="accent1"/>
          </a:lnRef>
          <a:fillRef idx="0">
            <a:schemeClr val="accent1"/>
          </a:fillRef>
          <a:effectRef idx="0">
            <a:schemeClr val="accent1"/>
          </a:effectRef>
          <a:fontRef idx="minor">
            <a:schemeClr val="tx1"/>
          </a:fontRef>
        </p:style>
      </p:cxnSp>
      <p:graphicFrame>
        <p:nvGraphicFramePr>
          <p:cNvPr id="1803" name="Chart 1802">
            <a:extLst>
              <a:ext uri="{FF2B5EF4-FFF2-40B4-BE49-F238E27FC236}">
                <a16:creationId xmlns:a16="http://schemas.microsoft.com/office/drawing/2014/main" id="{40E24346-9CFE-BD4E-AAFD-77D1D8DDEBC4}"/>
              </a:ext>
            </a:extLst>
          </p:cNvPr>
          <p:cNvGraphicFramePr/>
          <p:nvPr>
            <p:custDataLst>
              <p:tags r:id="rId11"/>
            </p:custDataLst>
            <p:extLst>
              <p:ext uri="{D42A27DB-BD31-4B8C-83A1-F6EECF244321}">
                <p14:modId xmlns:p14="http://schemas.microsoft.com/office/powerpoint/2010/main" val="4073361002"/>
              </p:ext>
            </p:extLst>
          </p:nvPr>
        </p:nvGraphicFramePr>
        <p:xfrm>
          <a:off x="898525" y="5218113"/>
          <a:ext cx="1558925" cy="876300"/>
        </p:xfrm>
        <a:graphic>
          <a:graphicData uri="http://schemas.openxmlformats.org/drawingml/2006/chart">
            <c:chart xmlns:c="http://schemas.openxmlformats.org/drawingml/2006/chart" xmlns:r="http://schemas.openxmlformats.org/officeDocument/2006/relationships" r:id="rId42"/>
          </a:graphicData>
        </a:graphic>
      </p:graphicFrame>
      <p:cxnSp>
        <p:nvCxnSpPr>
          <p:cNvPr id="1955" name="Straight Connector 1954">
            <a:extLst>
              <a:ext uri="{FF2B5EF4-FFF2-40B4-BE49-F238E27FC236}">
                <a16:creationId xmlns:a16="http://schemas.microsoft.com/office/drawing/2014/main" id="{34E58652-5035-661A-807F-B189C4373FEF}"/>
              </a:ext>
            </a:extLst>
          </p:cNvPr>
          <p:cNvCxnSpPr>
            <a:cxnSpLocks/>
          </p:cNvCxnSpPr>
          <p:nvPr>
            <p:custDataLst>
              <p:tags r:id="rId12"/>
            </p:custDataLst>
          </p:nvPr>
        </p:nvCxnSpPr>
        <p:spPr bwMode="gray">
          <a:xfrm flipV="1">
            <a:off x="1128713" y="5326063"/>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0" name="Straight Connector 1969">
            <a:extLst>
              <a:ext uri="{FF2B5EF4-FFF2-40B4-BE49-F238E27FC236}">
                <a16:creationId xmlns:a16="http://schemas.microsoft.com/office/drawing/2014/main" id="{AF3CC80F-C32F-F795-9B07-E7778C32D589}"/>
              </a:ext>
            </a:extLst>
          </p:cNvPr>
          <p:cNvCxnSpPr/>
          <p:nvPr>
            <p:custDataLst>
              <p:tags r:id="rId13"/>
            </p:custDataLst>
          </p:nvPr>
        </p:nvCxnSpPr>
        <p:spPr bwMode="gray">
          <a:xfrm>
            <a:off x="1128713" y="5326063"/>
            <a:ext cx="166687"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7" name="Straight Connector 1956">
            <a:extLst>
              <a:ext uri="{FF2B5EF4-FFF2-40B4-BE49-F238E27FC236}">
                <a16:creationId xmlns:a16="http://schemas.microsoft.com/office/drawing/2014/main" id="{8A996C2A-0595-A072-924D-2439DDA68818}"/>
              </a:ext>
            </a:extLst>
          </p:cNvPr>
          <p:cNvCxnSpPr/>
          <p:nvPr>
            <p:custDataLst>
              <p:tags r:id="rId14"/>
            </p:custDataLst>
          </p:nvPr>
        </p:nvCxnSpPr>
        <p:spPr bwMode="gray">
          <a:xfrm>
            <a:off x="1295400" y="5326063"/>
            <a:ext cx="0" cy="29368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63" name="Straight Connector 1962">
            <a:extLst>
              <a:ext uri="{FF2B5EF4-FFF2-40B4-BE49-F238E27FC236}">
                <a16:creationId xmlns:a16="http://schemas.microsoft.com/office/drawing/2014/main" id="{5AD1C3C2-71E7-B459-7B32-24E96FD0374A}"/>
              </a:ext>
            </a:extLst>
          </p:cNvPr>
          <p:cNvCxnSpPr/>
          <p:nvPr>
            <p:custDataLst>
              <p:tags r:id="rId15"/>
            </p:custDataLst>
          </p:nvPr>
        </p:nvCxnSpPr>
        <p:spPr bwMode="gray">
          <a:xfrm flipV="1">
            <a:off x="1593850" y="5078413"/>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4" name="Straight Connector 1963">
            <a:extLst>
              <a:ext uri="{FF2B5EF4-FFF2-40B4-BE49-F238E27FC236}">
                <a16:creationId xmlns:a16="http://schemas.microsoft.com/office/drawing/2014/main" id="{C2504A29-07DF-DC15-BC8D-8EA0F88BC97B}"/>
              </a:ext>
            </a:extLst>
          </p:cNvPr>
          <p:cNvCxnSpPr/>
          <p:nvPr>
            <p:custDataLst>
              <p:tags r:id="rId16"/>
            </p:custDataLst>
          </p:nvPr>
        </p:nvCxnSpPr>
        <p:spPr bwMode="gray">
          <a:xfrm>
            <a:off x="1593849" y="5078413"/>
            <a:ext cx="1666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5" name="Straight Connector 1964">
            <a:extLst>
              <a:ext uri="{FF2B5EF4-FFF2-40B4-BE49-F238E27FC236}">
                <a16:creationId xmlns:a16="http://schemas.microsoft.com/office/drawing/2014/main" id="{8EBFA408-30F3-128E-5FB8-F795BA3AE3D3}"/>
              </a:ext>
            </a:extLst>
          </p:cNvPr>
          <p:cNvCxnSpPr/>
          <p:nvPr>
            <p:custDataLst>
              <p:tags r:id="rId17"/>
            </p:custDataLst>
          </p:nvPr>
        </p:nvCxnSpPr>
        <p:spPr bwMode="gray">
          <a:xfrm>
            <a:off x="1760538" y="5078413"/>
            <a:ext cx="0" cy="2968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74" name="Straight Connector 1973">
            <a:extLst>
              <a:ext uri="{FF2B5EF4-FFF2-40B4-BE49-F238E27FC236}">
                <a16:creationId xmlns:a16="http://schemas.microsoft.com/office/drawing/2014/main" id="{D7B375F0-B1E9-BE8C-4E9F-FBD5F7AE7064}"/>
              </a:ext>
            </a:extLst>
          </p:cNvPr>
          <p:cNvCxnSpPr/>
          <p:nvPr>
            <p:custDataLst>
              <p:tags r:id="rId18"/>
            </p:custDataLst>
          </p:nvPr>
        </p:nvCxnSpPr>
        <p:spPr bwMode="gray">
          <a:xfrm flipV="1">
            <a:off x="2057400" y="5084763"/>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5" name="Straight Connector 1974">
            <a:extLst>
              <a:ext uri="{FF2B5EF4-FFF2-40B4-BE49-F238E27FC236}">
                <a16:creationId xmlns:a16="http://schemas.microsoft.com/office/drawing/2014/main" id="{6C372C76-CECD-EB39-FD70-40303102923C}"/>
              </a:ext>
            </a:extLst>
          </p:cNvPr>
          <p:cNvCxnSpPr>
            <a:cxnSpLocks/>
          </p:cNvCxnSpPr>
          <p:nvPr>
            <p:custDataLst>
              <p:tags r:id="rId19"/>
            </p:custDataLst>
          </p:nvPr>
        </p:nvCxnSpPr>
        <p:spPr bwMode="gray">
          <a:xfrm>
            <a:off x="2057400" y="5084763"/>
            <a:ext cx="1666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6" name="Straight Connector 1975">
            <a:extLst>
              <a:ext uri="{FF2B5EF4-FFF2-40B4-BE49-F238E27FC236}">
                <a16:creationId xmlns:a16="http://schemas.microsoft.com/office/drawing/2014/main" id="{1D5EDF91-3AFF-F322-6019-8BA82600BFC6}"/>
              </a:ext>
            </a:extLst>
          </p:cNvPr>
          <p:cNvCxnSpPr/>
          <p:nvPr>
            <p:custDataLst>
              <p:tags r:id="rId20"/>
            </p:custDataLst>
          </p:nvPr>
        </p:nvCxnSpPr>
        <p:spPr bwMode="gray">
          <a:xfrm>
            <a:off x="2224088" y="5084763"/>
            <a:ext cx="0" cy="28098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53"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auto">
          <a:xfrm>
            <a:off x="1025525" y="521811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sp>
        <p:nvSpPr>
          <p:cNvPr id="1961"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auto">
          <a:xfrm>
            <a:off x="1490663" y="497046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sp>
        <p:nvSpPr>
          <p:cNvPr id="1972"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auto">
          <a:xfrm>
            <a:off x="1954213" y="497681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graphicFrame>
        <p:nvGraphicFramePr>
          <p:cNvPr id="41" name="Chart 40">
            <a:extLst>
              <a:ext uri="{FF2B5EF4-FFF2-40B4-BE49-F238E27FC236}">
                <a16:creationId xmlns:a16="http://schemas.microsoft.com/office/drawing/2014/main" id="{6E924004-E056-30E4-B43D-9583F6F52080}"/>
              </a:ext>
            </a:extLst>
          </p:cNvPr>
          <p:cNvGraphicFramePr/>
          <p:nvPr>
            <p:custDataLst>
              <p:tags r:id="rId24"/>
            </p:custDataLst>
            <p:extLst>
              <p:ext uri="{D42A27DB-BD31-4B8C-83A1-F6EECF244321}">
                <p14:modId xmlns:p14="http://schemas.microsoft.com/office/powerpoint/2010/main" val="2261264876"/>
              </p:ext>
            </p:extLst>
          </p:nvPr>
        </p:nvGraphicFramePr>
        <p:xfrm>
          <a:off x="3214688" y="2139950"/>
          <a:ext cx="1558925" cy="876300"/>
        </p:xfrm>
        <a:graphic>
          <a:graphicData uri="http://schemas.openxmlformats.org/drawingml/2006/chart">
            <c:chart xmlns:c="http://schemas.openxmlformats.org/drawingml/2006/chart" xmlns:r="http://schemas.openxmlformats.org/officeDocument/2006/relationships" r:id="rId43"/>
          </a:graphicData>
        </a:graphic>
      </p:graphicFrame>
      <p:cxnSp>
        <p:nvCxnSpPr>
          <p:cNvPr id="1024" name="Straight Connector 1023">
            <a:extLst>
              <a:ext uri="{FF2B5EF4-FFF2-40B4-BE49-F238E27FC236}">
                <a16:creationId xmlns:a16="http://schemas.microsoft.com/office/drawing/2014/main" id="{A34EB873-ECF1-E968-018D-C36E3AC37852}"/>
              </a:ext>
            </a:extLst>
          </p:cNvPr>
          <p:cNvCxnSpPr>
            <a:cxnSpLocks/>
          </p:cNvCxnSpPr>
          <p:nvPr>
            <p:custDataLst>
              <p:tags r:id="rId25"/>
            </p:custDataLst>
          </p:nvPr>
        </p:nvCxnSpPr>
        <p:spPr bwMode="gray">
          <a:xfrm flipV="1">
            <a:off x="3444875" y="2041525"/>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6" name="Straight Connector 1045">
            <a:extLst>
              <a:ext uri="{FF2B5EF4-FFF2-40B4-BE49-F238E27FC236}">
                <a16:creationId xmlns:a16="http://schemas.microsoft.com/office/drawing/2014/main" id="{E7AAC491-6F11-F2E2-3653-4DEC6C633800}"/>
              </a:ext>
            </a:extLst>
          </p:cNvPr>
          <p:cNvCxnSpPr/>
          <p:nvPr>
            <p:custDataLst>
              <p:tags r:id="rId26"/>
            </p:custDataLst>
          </p:nvPr>
        </p:nvCxnSpPr>
        <p:spPr bwMode="gray">
          <a:xfrm>
            <a:off x="3444875" y="2041525"/>
            <a:ext cx="1666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7" name="Straight Connector 1026">
            <a:extLst>
              <a:ext uri="{FF2B5EF4-FFF2-40B4-BE49-F238E27FC236}">
                <a16:creationId xmlns:a16="http://schemas.microsoft.com/office/drawing/2014/main" id="{05C70860-4206-FF91-DF0D-64D831793029}"/>
              </a:ext>
            </a:extLst>
          </p:cNvPr>
          <p:cNvCxnSpPr/>
          <p:nvPr>
            <p:custDataLst>
              <p:tags r:id="rId27"/>
            </p:custDataLst>
          </p:nvPr>
        </p:nvCxnSpPr>
        <p:spPr bwMode="gray">
          <a:xfrm>
            <a:off x="3611563" y="2041525"/>
            <a:ext cx="0" cy="5921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39" name="Straight Connector 1038">
            <a:extLst>
              <a:ext uri="{FF2B5EF4-FFF2-40B4-BE49-F238E27FC236}">
                <a16:creationId xmlns:a16="http://schemas.microsoft.com/office/drawing/2014/main" id="{B5672A76-36DD-5E6F-7472-55F83ADFEF32}"/>
              </a:ext>
            </a:extLst>
          </p:cNvPr>
          <p:cNvCxnSpPr/>
          <p:nvPr>
            <p:custDataLst>
              <p:tags r:id="rId28"/>
            </p:custDataLst>
          </p:nvPr>
        </p:nvCxnSpPr>
        <p:spPr bwMode="gray">
          <a:xfrm flipV="1">
            <a:off x="3910013" y="2000250"/>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3" name="Straight Connector 1062">
            <a:extLst>
              <a:ext uri="{FF2B5EF4-FFF2-40B4-BE49-F238E27FC236}">
                <a16:creationId xmlns:a16="http://schemas.microsoft.com/office/drawing/2014/main" id="{9C996F57-A10F-AA67-9F3B-4ABE00D90471}"/>
              </a:ext>
            </a:extLst>
          </p:cNvPr>
          <p:cNvCxnSpPr/>
          <p:nvPr>
            <p:custDataLst>
              <p:tags r:id="rId29"/>
            </p:custDataLst>
          </p:nvPr>
        </p:nvCxnSpPr>
        <p:spPr bwMode="gray">
          <a:xfrm>
            <a:off x="3910013" y="2000250"/>
            <a:ext cx="1666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1" name="Straight Connector 1040">
            <a:extLst>
              <a:ext uri="{FF2B5EF4-FFF2-40B4-BE49-F238E27FC236}">
                <a16:creationId xmlns:a16="http://schemas.microsoft.com/office/drawing/2014/main" id="{23A4251E-E6FF-E757-C40B-590966AEA192}"/>
              </a:ext>
            </a:extLst>
          </p:cNvPr>
          <p:cNvCxnSpPr/>
          <p:nvPr>
            <p:custDataLst>
              <p:tags r:id="rId30"/>
            </p:custDataLst>
          </p:nvPr>
        </p:nvCxnSpPr>
        <p:spPr bwMode="gray">
          <a:xfrm>
            <a:off x="4076700" y="2000250"/>
            <a:ext cx="0" cy="5937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56" name="Straight Connector 1055">
            <a:extLst>
              <a:ext uri="{FF2B5EF4-FFF2-40B4-BE49-F238E27FC236}">
                <a16:creationId xmlns:a16="http://schemas.microsoft.com/office/drawing/2014/main" id="{7EB95F73-6377-A088-C3F0-F97BB8957C5F}"/>
              </a:ext>
            </a:extLst>
          </p:cNvPr>
          <p:cNvCxnSpPr/>
          <p:nvPr>
            <p:custDataLst>
              <p:tags r:id="rId31"/>
            </p:custDataLst>
          </p:nvPr>
        </p:nvCxnSpPr>
        <p:spPr bwMode="gray">
          <a:xfrm flipV="1">
            <a:off x="4373563" y="2214563"/>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7" name="Straight Connector 1056">
            <a:extLst>
              <a:ext uri="{FF2B5EF4-FFF2-40B4-BE49-F238E27FC236}">
                <a16:creationId xmlns:a16="http://schemas.microsoft.com/office/drawing/2014/main" id="{1725B594-2E02-E34C-CA60-6799252881CA}"/>
              </a:ext>
            </a:extLst>
          </p:cNvPr>
          <p:cNvCxnSpPr>
            <a:cxnSpLocks/>
          </p:cNvCxnSpPr>
          <p:nvPr>
            <p:custDataLst>
              <p:tags r:id="rId32"/>
            </p:custDataLst>
          </p:nvPr>
        </p:nvCxnSpPr>
        <p:spPr bwMode="gray">
          <a:xfrm>
            <a:off x="4373563" y="2214563"/>
            <a:ext cx="1666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8" name="Straight Connector 1057">
            <a:extLst>
              <a:ext uri="{FF2B5EF4-FFF2-40B4-BE49-F238E27FC236}">
                <a16:creationId xmlns:a16="http://schemas.microsoft.com/office/drawing/2014/main" id="{206E5ECB-B97A-FFBA-E2D0-E3394085D820}"/>
              </a:ext>
            </a:extLst>
          </p:cNvPr>
          <p:cNvCxnSpPr/>
          <p:nvPr>
            <p:custDataLst>
              <p:tags r:id="rId33"/>
            </p:custDataLst>
          </p:nvPr>
        </p:nvCxnSpPr>
        <p:spPr bwMode="gray">
          <a:xfrm>
            <a:off x="4540250" y="2214563"/>
            <a:ext cx="0" cy="6461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83"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auto">
          <a:xfrm>
            <a:off x="3341688" y="1933575"/>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sp>
        <p:nvSpPr>
          <p:cNvPr id="1035" name="Text Placeholder 19">
            <a:extLst>
              <a:ext uri="{FF2B5EF4-FFF2-40B4-BE49-F238E27FC236}">
                <a16:creationId xmlns:a16="http://schemas.microsoft.com/office/drawing/2014/main" id="{9F9869AF-B0F6-4E89-B216-4EC18C7334C2}"/>
              </a:ext>
            </a:extLst>
          </p:cNvPr>
          <p:cNvSpPr>
            <a:spLocks noGrp="1"/>
          </p:cNvSpPr>
          <p:nvPr>
            <p:custDataLst>
              <p:tags r:id="rId35"/>
            </p:custDataLst>
          </p:nvPr>
        </p:nvSpPr>
        <p:spPr bwMode="auto">
          <a:xfrm>
            <a:off x="3806825" y="18923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sp>
        <p:nvSpPr>
          <p:cNvPr id="1055" name="Text Placeholder 19">
            <a:extLst>
              <a:ext uri="{FF2B5EF4-FFF2-40B4-BE49-F238E27FC236}">
                <a16:creationId xmlns:a16="http://schemas.microsoft.com/office/drawing/2014/main" id="{9F9869AF-B0F6-4E89-B216-4EC18C7334C2}"/>
              </a:ext>
            </a:extLst>
          </p:cNvPr>
          <p:cNvSpPr>
            <a:spLocks noGrp="1"/>
          </p:cNvSpPr>
          <p:nvPr>
            <p:custDataLst>
              <p:tags r:id="rId36"/>
            </p:custDataLst>
          </p:nvPr>
        </p:nvSpPr>
        <p:spPr bwMode="auto">
          <a:xfrm>
            <a:off x="4270375" y="210661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ea typeface="+mn-ea"/>
                <a:cs typeface="+mn-cs"/>
              </a:rPr>
              <a:t>XX%</a:t>
            </a:r>
            <a:endParaRPr lang="en-GB" sz="1000">
              <a:ea typeface="+mn-ea"/>
              <a:cs typeface="+mn-cs"/>
            </a:endParaRPr>
          </a:p>
        </p:txBody>
      </p:sp>
      <p:sp>
        <p:nvSpPr>
          <p:cNvPr id="1801" name="Text Placeholder 16">
            <a:extLst>
              <a:ext uri="{FF2B5EF4-FFF2-40B4-BE49-F238E27FC236}">
                <a16:creationId xmlns:a16="http://schemas.microsoft.com/office/drawing/2014/main" id="{50158F47-A32D-DD07-342C-1952DC43CD42}"/>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261364255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75D8FAD-EF46-1C04-6335-CAC0458B03A6}"/>
              </a:ext>
            </a:extLst>
          </p:cNvPr>
          <p:cNvGraphicFramePr>
            <a:graphicFrameLocks noChangeAspect="1"/>
          </p:cNvGraphicFramePr>
          <p:nvPr>
            <p:custDataLst>
              <p:tags r:id="rId1"/>
            </p:custDataLst>
            <p:extLst>
              <p:ext uri="{D42A27DB-BD31-4B8C-83A1-F6EECF244321}">
                <p14:modId xmlns:p14="http://schemas.microsoft.com/office/powerpoint/2010/main" val="134328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375D8FAD-EF46-1C04-6335-CAC0458B03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6" name="Freeform: Shape 245">
            <a:extLst>
              <a:ext uri="{FF2B5EF4-FFF2-40B4-BE49-F238E27FC236}">
                <a16:creationId xmlns:a16="http://schemas.microsoft.com/office/drawing/2014/main" id="{F94B6F86-4EBA-E685-267C-782097285AC6}"/>
              </a:ext>
            </a:extLst>
          </p:cNvPr>
          <p:cNvSpPr/>
          <p:nvPr/>
        </p:nvSpPr>
        <p:spPr>
          <a:xfrm>
            <a:off x="468655" y="4049505"/>
            <a:ext cx="1457514" cy="2382268"/>
          </a:xfrm>
          <a:custGeom>
            <a:avLst/>
            <a:gdLst>
              <a:gd name="connsiteX0" fmla="*/ 0 w 383664"/>
              <a:gd name="connsiteY0" fmla="*/ 38366 h 2103557"/>
              <a:gd name="connsiteX1" fmla="*/ 38366 w 383664"/>
              <a:gd name="connsiteY1" fmla="*/ 0 h 2103557"/>
              <a:gd name="connsiteX2" fmla="*/ 345298 w 383664"/>
              <a:gd name="connsiteY2" fmla="*/ 0 h 2103557"/>
              <a:gd name="connsiteX3" fmla="*/ 383664 w 383664"/>
              <a:gd name="connsiteY3" fmla="*/ 38366 h 2103557"/>
              <a:gd name="connsiteX4" fmla="*/ 383664 w 383664"/>
              <a:gd name="connsiteY4" fmla="*/ 2065191 h 2103557"/>
              <a:gd name="connsiteX5" fmla="*/ 345298 w 383664"/>
              <a:gd name="connsiteY5" fmla="*/ 2103557 h 2103557"/>
              <a:gd name="connsiteX6" fmla="*/ 38366 w 383664"/>
              <a:gd name="connsiteY6" fmla="*/ 2103557 h 2103557"/>
              <a:gd name="connsiteX7" fmla="*/ 0 w 383664"/>
              <a:gd name="connsiteY7" fmla="*/ 2065191 h 2103557"/>
              <a:gd name="connsiteX8" fmla="*/ 0 w 383664"/>
              <a:gd name="connsiteY8" fmla="*/ 38366 h 210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664" h="2103557">
                <a:moveTo>
                  <a:pt x="0" y="38366"/>
                </a:moveTo>
                <a:cubicBezTo>
                  <a:pt x="0" y="17177"/>
                  <a:pt x="17177" y="0"/>
                  <a:pt x="38366" y="0"/>
                </a:cubicBezTo>
                <a:lnTo>
                  <a:pt x="345298" y="0"/>
                </a:lnTo>
                <a:cubicBezTo>
                  <a:pt x="366487" y="0"/>
                  <a:pt x="383664" y="17177"/>
                  <a:pt x="383664" y="38366"/>
                </a:cubicBezTo>
                <a:lnTo>
                  <a:pt x="383664" y="2065191"/>
                </a:lnTo>
                <a:cubicBezTo>
                  <a:pt x="383664" y="2086380"/>
                  <a:pt x="366487" y="2103557"/>
                  <a:pt x="345298" y="2103557"/>
                </a:cubicBezTo>
                <a:lnTo>
                  <a:pt x="38366" y="2103557"/>
                </a:lnTo>
                <a:cubicBezTo>
                  <a:pt x="17177" y="2103557"/>
                  <a:pt x="0" y="2086380"/>
                  <a:pt x="0" y="2065191"/>
                </a:cubicBezTo>
                <a:lnTo>
                  <a:pt x="0" y="38366"/>
                </a:lnTo>
                <a:close/>
              </a:path>
            </a:pathLst>
          </a:custGeom>
          <a:solidFill>
            <a:srgbClr val="FFFAF0"/>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0" tIns="72000" rIns="0" bIns="0" numCol="1" spcCol="1270" anchor="t" anchorCtr="0">
            <a:noAutofit/>
          </a:bodyPr>
          <a:lstStyle/>
          <a:p>
            <a:pPr algn="ctr"/>
            <a:r>
              <a:rPr lang="en-US" sz="1100" b="1">
                <a:solidFill>
                  <a:schemeClr val="tx1"/>
                </a:solidFill>
              </a:rPr>
              <a:t>Primary Functions</a:t>
            </a:r>
          </a:p>
        </p:txBody>
      </p:sp>
      <p:sp>
        <p:nvSpPr>
          <p:cNvPr id="245" name="Freeform: Shape 244">
            <a:extLst>
              <a:ext uri="{FF2B5EF4-FFF2-40B4-BE49-F238E27FC236}">
                <a16:creationId xmlns:a16="http://schemas.microsoft.com/office/drawing/2014/main" id="{08604313-4A0D-D0F7-9317-74FFBCF5E184}"/>
              </a:ext>
            </a:extLst>
          </p:cNvPr>
          <p:cNvSpPr/>
          <p:nvPr/>
        </p:nvSpPr>
        <p:spPr>
          <a:xfrm>
            <a:off x="1981654" y="4049505"/>
            <a:ext cx="2136367" cy="2382268"/>
          </a:xfrm>
          <a:custGeom>
            <a:avLst/>
            <a:gdLst>
              <a:gd name="connsiteX0" fmla="*/ 0 w 383664"/>
              <a:gd name="connsiteY0" fmla="*/ 38366 h 2103557"/>
              <a:gd name="connsiteX1" fmla="*/ 38366 w 383664"/>
              <a:gd name="connsiteY1" fmla="*/ 0 h 2103557"/>
              <a:gd name="connsiteX2" fmla="*/ 345298 w 383664"/>
              <a:gd name="connsiteY2" fmla="*/ 0 h 2103557"/>
              <a:gd name="connsiteX3" fmla="*/ 383664 w 383664"/>
              <a:gd name="connsiteY3" fmla="*/ 38366 h 2103557"/>
              <a:gd name="connsiteX4" fmla="*/ 383664 w 383664"/>
              <a:gd name="connsiteY4" fmla="*/ 2065191 h 2103557"/>
              <a:gd name="connsiteX5" fmla="*/ 345298 w 383664"/>
              <a:gd name="connsiteY5" fmla="*/ 2103557 h 2103557"/>
              <a:gd name="connsiteX6" fmla="*/ 38366 w 383664"/>
              <a:gd name="connsiteY6" fmla="*/ 2103557 h 2103557"/>
              <a:gd name="connsiteX7" fmla="*/ 0 w 383664"/>
              <a:gd name="connsiteY7" fmla="*/ 2065191 h 2103557"/>
              <a:gd name="connsiteX8" fmla="*/ 0 w 383664"/>
              <a:gd name="connsiteY8" fmla="*/ 38366 h 210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664" h="2103557">
                <a:moveTo>
                  <a:pt x="0" y="38366"/>
                </a:moveTo>
                <a:cubicBezTo>
                  <a:pt x="0" y="17177"/>
                  <a:pt x="17177" y="0"/>
                  <a:pt x="38366" y="0"/>
                </a:cubicBezTo>
                <a:lnTo>
                  <a:pt x="345298" y="0"/>
                </a:lnTo>
                <a:cubicBezTo>
                  <a:pt x="366487" y="0"/>
                  <a:pt x="383664" y="17177"/>
                  <a:pt x="383664" y="38366"/>
                </a:cubicBezTo>
                <a:lnTo>
                  <a:pt x="383664" y="2065191"/>
                </a:lnTo>
                <a:cubicBezTo>
                  <a:pt x="383664" y="2086380"/>
                  <a:pt x="366487" y="2103557"/>
                  <a:pt x="345298" y="2103557"/>
                </a:cubicBezTo>
                <a:lnTo>
                  <a:pt x="38366" y="2103557"/>
                </a:lnTo>
                <a:cubicBezTo>
                  <a:pt x="17177" y="2103557"/>
                  <a:pt x="0" y="2086380"/>
                  <a:pt x="0" y="2065191"/>
                </a:cubicBezTo>
                <a:lnTo>
                  <a:pt x="0" y="38366"/>
                </a:lnTo>
                <a:close/>
              </a:path>
            </a:pathLst>
          </a:custGeom>
          <a:solidFill>
            <a:srgbClr val="FFFAF0"/>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0" tIns="72000" rIns="0" bIns="0" numCol="1" spcCol="1270" anchor="t" anchorCtr="0">
            <a:noAutofit/>
          </a:bodyPr>
          <a:lstStyle/>
          <a:p>
            <a:pPr lvl="0" indent="0" algn="ctr">
              <a:lnSpc>
                <a:spcPct val="90000"/>
              </a:lnSpc>
              <a:spcBef>
                <a:spcPct val="0"/>
              </a:spcBef>
              <a:spcAft>
                <a:spcPct val="35000"/>
              </a:spcAft>
              <a:buNone/>
            </a:pPr>
            <a:r>
              <a:rPr lang="en-GB" sz="1100" b="1">
                <a:solidFill>
                  <a:schemeClr val="tx1"/>
                </a:solidFill>
              </a:rPr>
              <a:t>Specific Applications</a:t>
            </a:r>
          </a:p>
        </p:txBody>
      </p:sp>
      <p:sp>
        <p:nvSpPr>
          <p:cNvPr id="10" name="Text Placeholder 9">
            <a:extLst>
              <a:ext uri="{FF2B5EF4-FFF2-40B4-BE49-F238E27FC236}">
                <a16:creationId xmlns:a16="http://schemas.microsoft.com/office/drawing/2014/main" id="{2DA069AC-049B-500F-BFCE-13B71E94F15A}"/>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4" name="Title 3">
            <a:extLst>
              <a:ext uri="{FF2B5EF4-FFF2-40B4-BE49-F238E27FC236}">
                <a16:creationId xmlns:a16="http://schemas.microsoft.com/office/drawing/2014/main" id="{ECA821AD-8149-62DD-D174-93BAE0CCF47C}"/>
              </a:ext>
            </a:extLst>
          </p:cNvPr>
          <p:cNvSpPr>
            <a:spLocks noGrp="1"/>
          </p:cNvSpPr>
          <p:nvPr>
            <p:ph type="title"/>
          </p:nvPr>
        </p:nvSpPr>
        <p:spPr/>
        <p:txBody>
          <a:bodyPr vert="horz"/>
          <a:lstStyle/>
          <a:p>
            <a:r>
              <a:rPr lang="en-GB"/>
              <a:t>To prepare for uncertainties in the markets, developers can apply different strategies  with significant upside scenarios</a:t>
            </a:r>
          </a:p>
        </p:txBody>
      </p:sp>
      <p:sp>
        <p:nvSpPr>
          <p:cNvPr id="13" name="Text Placeholder 12">
            <a:extLst>
              <a:ext uri="{FF2B5EF4-FFF2-40B4-BE49-F238E27FC236}">
                <a16:creationId xmlns:a16="http://schemas.microsoft.com/office/drawing/2014/main" id="{72EB8A32-6DC6-F660-9D3D-249D8F223D3A}"/>
              </a:ext>
            </a:extLst>
          </p:cNvPr>
          <p:cNvSpPr>
            <a:spLocks noGrp="1"/>
          </p:cNvSpPr>
          <p:nvPr>
            <p:ph type="body" sz="quarter" idx="30"/>
          </p:nvPr>
        </p:nvSpPr>
        <p:spPr>
          <a:xfrm>
            <a:off x="6536400" y="1263129"/>
            <a:ext cx="5245200" cy="257369"/>
          </a:xfrm>
          <a:solidFill>
            <a:schemeClr val="accent3"/>
          </a:solidFill>
        </p:spPr>
        <p:txBody>
          <a:bodyPr lIns="72000" tIns="36000" rIns="72000" bIns="36000"/>
          <a:lstStyle/>
          <a:p>
            <a:pPr defTabSz="180000"/>
            <a:r>
              <a:rPr lang="en-GB"/>
              <a:t>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located Solar and Battery</a:t>
            </a:r>
            <a:r>
              <a:rPr lang="en-GB" sz="1200" b="1" baseline="300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p:txBody>
      </p:sp>
      <p:sp>
        <p:nvSpPr>
          <p:cNvPr id="15" name="Text Placeholder 14">
            <a:extLst>
              <a:ext uri="{FF2B5EF4-FFF2-40B4-BE49-F238E27FC236}">
                <a16:creationId xmlns:a16="http://schemas.microsoft.com/office/drawing/2014/main" id="{20CF16AB-DFC6-AE81-7BE2-7E530003035C}"/>
              </a:ext>
            </a:extLst>
          </p:cNvPr>
          <p:cNvSpPr>
            <a:spLocks noGrp="1"/>
          </p:cNvSpPr>
          <p:nvPr>
            <p:ph type="body" sz="quarter" idx="32"/>
          </p:nvPr>
        </p:nvSpPr>
        <p:spPr>
          <a:xfrm>
            <a:off x="381600" y="6474841"/>
            <a:ext cx="11428800" cy="110800"/>
          </a:xfrm>
        </p:spPr>
        <p:txBody>
          <a:bodyPr/>
          <a:lstStyle/>
          <a:p>
            <a:endParaRPr lang="en-GB" sz="800">
              <a:solidFill>
                <a:schemeClr val="tx1"/>
              </a:solidFill>
            </a:endParaRPr>
          </a:p>
        </p:txBody>
      </p:sp>
      <p:sp>
        <p:nvSpPr>
          <p:cNvPr id="2" name="Oval 1">
            <a:extLst>
              <a:ext uri="{FF2B5EF4-FFF2-40B4-BE49-F238E27FC236}">
                <a16:creationId xmlns:a16="http://schemas.microsoft.com/office/drawing/2014/main" id="{D81E2A0F-F05B-498E-075B-F9FD5BF3E78A}"/>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5" name="Text Placeholder 3">
            <a:extLst>
              <a:ext uri="{FF2B5EF4-FFF2-40B4-BE49-F238E27FC236}">
                <a16:creationId xmlns:a16="http://schemas.microsoft.com/office/drawing/2014/main" id="{2BCF5AEB-542A-58F3-1AC2-FBDB936E6E18}"/>
              </a:ext>
            </a:extLst>
          </p:cNvPr>
          <p:cNvSpPr txBox="1">
            <a:spLocks/>
          </p:cNvSpPr>
          <p:nvPr/>
        </p:nvSpPr>
        <p:spPr>
          <a:xfrm>
            <a:off x="381599" y="79401"/>
            <a:ext cx="1468672"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roject economics</a:t>
            </a:r>
          </a:p>
        </p:txBody>
      </p:sp>
      <p:sp>
        <p:nvSpPr>
          <p:cNvPr id="58" name="Rectangle 57">
            <a:extLst>
              <a:ext uri="{FF2B5EF4-FFF2-40B4-BE49-F238E27FC236}">
                <a16:creationId xmlns:a16="http://schemas.microsoft.com/office/drawing/2014/main" id="{8811FFAD-6784-423B-7548-52880EE12D32}"/>
              </a:ext>
            </a:extLst>
          </p:cNvPr>
          <p:cNvSpPr/>
          <p:nvPr/>
        </p:nvSpPr>
        <p:spPr>
          <a:xfrm>
            <a:off x="6861204" y="1750093"/>
            <a:ext cx="4949196" cy="213665"/>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l">
              <a:spcBef>
                <a:spcPts val="600"/>
              </a:spcBef>
              <a:buFont typeface="Wingdings" panose="05000000000000000000" pitchFamily="2" charset="2"/>
              <a:buNone/>
            </a:pPr>
            <a:r>
              <a:rPr lang="en-GB" sz="900" b="1"/>
              <a:t>Schematic description AC connected co-located solar and battery project</a:t>
            </a:r>
            <a:endParaRPr lang="en-GB" sz="900" b="1" baseline="30000">
              <a:solidFill>
                <a:schemeClr val="accent5"/>
              </a:solidFill>
              <a:highlight>
                <a:srgbClr val="FFFF00"/>
              </a:highlight>
            </a:endParaRPr>
          </a:p>
        </p:txBody>
      </p:sp>
      <p:sp>
        <p:nvSpPr>
          <p:cNvPr id="144" name="Oval 11">
            <a:extLst>
              <a:ext uri="{FF2B5EF4-FFF2-40B4-BE49-F238E27FC236}">
                <a16:creationId xmlns:a16="http://schemas.microsoft.com/office/drawing/2014/main" id="{94157F2C-BE9C-99CA-C02F-CD51B1B46249}"/>
              </a:ext>
            </a:extLst>
          </p:cNvPr>
          <p:cNvSpPr>
            <a:spLocks/>
          </p:cNvSpPr>
          <p:nvPr/>
        </p:nvSpPr>
        <p:spPr>
          <a:xfrm>
            <a:off x="6540444" y="1681600"/>
            <a:ext cx="252000" cy="252000"/>
          </a:xfrm>
          <a:prstGeom prst="ellipse">
            <a:avLst/>
          </a:prstGeom>
          <a:solidFill>
            <a:schemeClr val="accent1"/>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spcBef>
                <a:spcPts val="0"/>
              </a:spcBef>
              <a:buSzPct val="100000"/>
            </a:pPr>
            <a:r>
              <a:rPr lang="en-GB" sz="900" b="1">
                <a:latin typeface="+mj-lt"/>
                <a:ea typeface="Lato" panose="020F0502020204030203" pitchFamily="34" charset="0"/>
                <a:cs typeface="Lato" panose="020F0502020204030203" pitchFamily="34" charset="0"/>
                <a:sym typeface="Lato" panose="020F0502020204030203" pitchFamily="34" charset="0"/>
              </a:rPr>
              <a:t>AC</a:t>
            </a:r>
          </a:p>
        </p:txBody>
      </p:sp>
      <p:grpSp>
        <p:nvGrpSpPr>
          <p:cNvPr id="11" name="Group 10">
            <a:extLst>
              <a:ext uri="{FF2B5EF4-FFF2-40B4-BE49-F238E27FC236}">
                <a16:creationId xmlns:a16="http://schemas.microsoft.com/office/drawing/2014/main" id="{15574810-0D19-6563-4087-7C6968059D8B}"/>
              </a:ext>
            </a:extLst>
          </p:cNvPr>
          <p:cNvGrpSpPr/>
          <p:nvPr/>
        </p:nvGrpSpPr>
        <p:grpSpPr>
          <a:xfrm>
            <a:off x="7125822" y="2355002"/>
            <a:ext cx="1079402" cy="1047396"/>
            <a:chOff x="6650237" y="2355001"/>
            <a:chExt cx="772600" cy="749691"/>
          </a:xfrm>
        </p:grpSpPr>
        <p:grpSp>
          <p:nvGrpSpPr>
            <p:cNvPr id="60" name="Group 59">
              <a:extLst>
                <a:ext uri="{FF2B5EF4-FFF2-40B4-BE49-F238E27FC236}">
                  <a16:creationId xmlns:a16="http://schemas.microsoft.com/office/drawing/2014/main" id="{E41E47E4-30D7-8968-8703-FFD3C0170712}"/>
                </a:ext>
              </a:extLst>
            </p:cNvPr>
            <p:cNvGrpSpPr/>
            <p:nvPr/>
          </p:nvGrpSpPr>
          <p:grpSpPr>
            <a:xfrm>
              <a:off x="6650237" y="2567736"/>
              <a:ext cx="523271" cy="339612"/>
              <a:chOff x="8360783" y="1266047"/>
              <a:chExt cx="492645" cy="436072"/>
            </a:xfrm>
            <a:solidFill>
              <a:schemeClr val="accent6"/>
            </a:solidFill>
          </p:grpSpPr>
          <p:sp>
            <p:nvSpPr>
              <p:cNvPr id="84" name="Rectangle 83">
                <a:extLst>
                  <a:ext uri="{FF2B5EF4-FFF2-40B4-BE49-F238E27FC236}">
                    <a16:creationId xmlns:a16="http://schemas.microsoft.com/office/drawing/2014/main" id="{5BE1CA21-2EC0-4EA3-AAF1-6B6C7C4B5588}"/>
                  </a:ext>
                </a:extLst>
              </p:cNvPr>
              <p:cNvSpPr/>
              <p:nvPr/>
            </p:nvSpPr>
            <p:spPr>
              <a:xfrm>
                <a:off x="8581890" y="1474634"/>
                <a:ext cx="50092" cy="227485"/>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grpSp>
            <p:nvGrpSpPr>
              <p:cNvPr id="85" name="Group 84">
                <a:extLst>
                  <a:ext uri="{FF2B5EF4-FFF2-40B4-BE49-F238E27FC236}">
                    <a16:creationId xmlns:a16="http://schemas.microsoft.com/office/drawing/2014/main" id="{0F365C39-C3A0-6137-A39A-0315DCC77799}"/>
                  </a:ext>
                </a:extLst>
              </p:cNvPr>
              <p:cNvGrpSpPr/>
              <p:nvPr/>
            </p:nvGrpSpPr>
            <p:grpSpPr>
              <a:xfrm>
                <a:off x="8360783" y="1266047"/>
                <a:ext cx="492645" cy="295742"/>
                <a:chOff x="624368" y="2076290"/>
                <a:chExt cx="5403143" cy="3243594"/>
              </a:xfrm>
              <a:grpFill/>
            </p:grpSpPr>
            <p:sp>
              <p:nvSpPr>
                <p:cNvPr id="86" name="Trapezoid 85">
                  <a:extLst>
                    <a:ext uri="{FF2B5EF4-FFF2-40B4-BE49-F238E27FC236}">
                      <a16:creationId xmlns:a16="http://schemas.microsoft.com/office/drawing/2014/main" id="{20C34117-7A52-DBC9-2865-C26EE2563C7A}"/>
                    </a:ext>
                  </a:extLst>
                </p:cNvPr>
                <p:cNvSpPr/>
                <p:nvPr/>
              </p:nvSpPr>
              <p:spPr>
                <a:xfrm>
                  <a:off x="624368" y="2076290"/>
                  <a:ext cx="5400000" cy="3240000"/>
                </a:xfrm>
                <a:prstGeom prst="trapezoid">
                  <a:avLst>
                    <a:gd name="adj" fmla="val 29724"/>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87" name="Trapezoid 86">
                  <a:extLst>
                    <a:ext uri="{FF2B5EF4-FFF2-40B4-BE49-F238E27FC236}">
                      <a16:creationId xmlns:a16="http://schemas.microsoft.com/office/drawing/2014/main" id="{2E514040-BBE8-0EB7-D680-F4FF4B0E802E}"/>
                    </a:ext>
                  </a:extLst>
                </p:cNvPr>
                <p:cNvSpPr/>
                <p:nvPr/>
              </p:nvSpPr>
              <p:spPr>
                <a:xfrm>
                  <a:off x="627511" y="2079884"/>
                  <a:ext cx="5400000" cy="3240000"/>
                </a:xfrm>
                <a:prstGeom prst="trapezoid">
                  <a:avLst>
                    <a:gd name="adj" fmla="val 29724"/>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88" name="Trapezoid 87">
                  <a:extLst>
                    <a:ext uri="{FF2B5EF4-FFF2-40B4-BE49-F238E27FC236}">
                      <a16:creationId xmlns:a16="http://schemas.microsoft.com/office/drawing/2014/main" id="{F0DB2FFB-FECD-C3A4-7D3C-7C22FFFFAEB7}"/>
                    </a:ext>
                  </a:extLst>
                </p:cNvPr>
                <p:cNvSpPr/>
                <p:nvPr/>
              </p:nvSpPr>
              <p:spPr>
                <a:xfrm>
                  <a:off x="2427511" y="2076529"/>
                  <a:ext cx="1800000" cy="3240000"/>
                </a:xfrm>
                <a:prstGeom prst="trapezoid">
                  <a:avLst>
                    <a:gd name="adj" fmla="val 29724"/>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89" name="Trapezoid 88">
                  <a:extLst>
                    <a:ext uri="{FF2B5EF4-FFF2-40B4-BE49-F238E27FC236}">
                      <a16:creationId xmlns:a16="http://schemas.microsoft.com/office/drawing/2014/main" id="{721C2C2C-0FEF-8E7B-2E2F-C5D4C0BA34B7}"/>
                    </a:ext>
                  </a:extLst>
                </p:cNvPr>
                <p:cNvSpPr/>
                <p:nvPr/>
              </p:nvSpPr>
              <p:spPr>
                <a:xfrm>
                  <a:off x="1002368" y="2958674"/>
                  <a:ext cx="4644000" cy="1080000"/>
                </a:xfrm>
                <a:prstGeom prst="trapezoid">
                  <a:avLst>
                    <a:gd name="adj" fmla="val 29724"/>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grpSp>
        </p:grpSp>
        <p:sp>
          <p:nvSpPr>
            <p:cNvPr id="61" name="Sun 60">
              <a:extLst>
                <a:ext uri="{FF2B5EF4-FFF2-40B4-BE49-F238E27FC236}">
                  <a16:creationId xmlns:a16="http://schemas.microsoft.com/office/drawing/2014/main" id="{1C130F1B-2D57-D2E0-5FCE-386626C91109}"/>
                </a:ext>
              </a:extLst>
            </p:cNvPr>
            <p:cNvSpPr/>
            <p:nvPr/>
          </p:nvSpPr>
          <p:spPr>
            <a:xfrm>
              <a:off x="6871165" y="2355001"/>
              <a:ext cx="328842" cy="256713"/>
            </a:xfrm>
            <a:prstGeom prst="sun">
              <a:avLst/>
            </a:prstGeom>
            <a:solidFill>
              <a:schemeClr val="accent6"/>
            </a:solid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grpSp>
          <p:nvGrpSpPr>
            <p:cNvPr id="63" name="Group 62">
              <a:extLst>
                <a:ext uri="{FF2B5EF4-FFF2-40B4-BE49-F238E27FC236}">
                  <a16:creationId xmlns:a16="http://schemas.microsoft.com/office/drawing/2014/main" id="{CE29ED4B-9A5B-0907-D6EA-690212AE20EF}"/>
                </a:ext>
              </a:extLst>
            </p:cNvPr>
            <p:cNvGrpSpPr/>
            <p:nvPr/>
          </p:nvGrpSpPr>
          <p:grpSpPr>
            <a:xfrm>
              <a:off x="7012800" y="2929442"/>
              <a:ext cx="410037" cy="175250"/>
              <a:chOff x="3942089" y="2455827"/>
              <a:chExt cx="866951" cy="390824"/>
            </a:xfrm>
            <a:solidFill>
              <a:schemeClr val="accent6"/>
            </a:solidFill>
          </p:grpSpPr>
          <p:sp>
            <p:nvSpPr>
              <p:cNvPr id="70" name="Rectangle: Rounded Corners 53">
                <a:extLst>
                  <a:ext uri="{FF2B5EF4-FFF2-40B4-BE49-F238E27FC236}">
                    <a16:creationId xmlns:a16="http://schemas.microsoft.com/office/drawing/2014/main" id="{78826D21-AC6A-E3C9-78FD-AB1BE9A8BEC4}"/>
                  </a:ext>
                </a:extLst>
              </p:cNvPr>
              <p:cNvSpPr/>
              <p:nvPr/>
            </p:nvSpPr>
            <p:spPr>
              <a:xfrm>
                <a:off x="4582837" y="2539629"/>
                <a:ext cx="226203" cy="188918"/>
              </a:xfrm>
              <a:prstGeom prst="roundRect">
                <a:avLst>
                  <a:gd name="adj" fmla="val 5503"/>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71" name="Rectangle: Rounded Corners 54">
                <a:extLst>
                  <a:ext uri="{FF2B5EF4-FFF2-40B4-BE49-F238E27FC236}">
                    <a16:creationId xmlns:a16="http://schemas.microsoft.com/office/drawing/2014/main" id="{A3045E13-73FA-5375-B257-1F144AFCA221}"/>
                  </a:ext>
                </a:extLst>
              </p:cNvPr>
              <p:cNvSpPr/>
              <p:nvPr/>
            </p:nvSpPr>
            <p:spPr>
              <a:xfrm>
                <a:off x="3942089" y="2455827"/>
                <a:ext cx="788357" cy="390824"/>
              </a:xfrm>
              <a:prstGeom prst="roundRect">
                <a:avLst>
                  <a:gd name="adj" fmla="val 2827"/>
                </a:avLst>
              </a:prstGeom>
              <a:solidFill>
                <a:schemeClr val="bg1"/>
              </a:solid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72" name="Freeform: Shape 55">
                <a:extLst>
                  <a:ext uri="{FF2B5EF4-FFF2-40B4-BE49-F238E27FC236}">
                    <a16:creationId xmlns:a16="http://schemas.microsoft.com/office/drawing/2014/main" id="{712130B7-1581-D0D1-88A7-EB9D8AAE84EC}"/>
                  </a:ext>
                </a:extLst>
              </p:cNvPr>
              <p:cNvSpPr/>
              <p:nvPr/>
            </p:nvSpPr>
            <p:spPr>
              <a:xfrm>
                <a:off x="4104226" y="2608118"/>
                <a:ext cx="277478" cy="158181"/>
              </a:xfrm>
              <a:custGeom>
                <a:avLst/>
                <a:gdLst>
                  <a:gd name="connsiteX0" fmla="*/ 802005 w 802005"/>
                  <a:gd name="connsiteY0" fmla="*/ 457200 h 457200"/>
                  <a:gd name="connsiteX1" fmla="*/ 802005 w 802005"/>
                  <a:gd name="connsiteY1" fmla="*/ 137160 h 457200"/>
                  <a:gd name="connsiteX2" fmla="*/ 0 w 802005"/>
                  <a:gd name="connsiteY2" fmla="*/ 0 h 457200"/>
                  <a:gd name="connsiteX3" fmla="*/ 802005 w 802005"/>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802005" h="457200">
                    <a:moveTo>
                      <a:pt x="802005" y="457200"/>
                    </a:moveTo>
                    <a:lnTo>
                      <a:pt x="802005" y="137160"/>
                    </a:lnTo>
                    <a:lnTo>
                      <a:pt x="0" y="0"/>
                    </a:lnTo>
                    <a:lnTo>
                      <a:pt x="802005" y="457200"/>
                    </a:lnTo>
                    <a:close/>
                  </a:path>
                </a:pathLst>
              </a:cu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73" name="Freeform: Shape 56">
                <a:extLst>
                  <a:ext uri="{FF2B5EF4-FFF2-40B4-BE49-F238E27FC236}">
                    <a16:creationId xmlns:a16="http://schemas.microsoft.com/office/drawing/2014/main" id="{12A6450F-658E-F158-659A-64F895B65435}"/>
                  </a:ext>
                </a:extLst>
              </p:cNvPr>
              <p:cNvSpPr/>
              <p:nvPr/>
            </p:nvSpPr>
            <p:spPr>
              <a:xfrm rot="10800000">
                <a:off x="4306104" y="2556768"/>
                <a:ext cx="277478" cy="158181"/>
              </a:xfrm>
              <a:custGeom>
                <a:avLst/>
                <a:gdLst>
                  <a:gd name="connsiteX0" fmla="*/ 802005 w 802005"/>
                  <a:gd name="connsiteY0" fmla="*/ 457200 h 457200"/>
                  <a:gd name="connsiteX1" fmla="*/ 802005 w 802005"/>
                  <a:gd name="connsiteY1" fmla="*/ 137160 h 457200"/>
                  <a:gd name="connsiteX2" fmla="*/ 0 w 802005"/>
                  <a:gd name="connsiteY2" fmla="*/ 0 h 457200"/>
                  <a:gd name="connsiteX3" fmla="*/ 802005 w 802005"/>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802005" h="457200">
                    <a:moveTo>
                      <a:pt x="802005" y="457200"/>
                    </a:moveTo>
                    <a:lnTo>
                      <a:pt x="802005" y="137160"/>
                    </a:lnTo>
                    <a:lnTo>
                      <a:pt x="0" y="0"/>
                    </a:lnTo>
                    <a:lnTo>
                      <a:pt x="802005" y="457200"/>
                    </a:lnTo>
                    <a:close/>
                  </a:path>
                </a:pathLst>
              </a:cu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grpSp>
      </p:grpSp>
      <p:sp>
        <p:nvSpPr>
          <p:cNvPr id="90" name="TextBox 89">
            <a:extLst>
              <a:ext uri="{FF2B5EF4-FFF2-40B4-BE49-F238E27FC236}">
                <a16:creationId xmlns:a16="http://schemas.microsoft.com/office/drawing/2014/main" id="{870EF7B6-F638-C743-CF56-BA5E297239B7}"/>
              </a:ext>
            </a:extLst>
          </p:cNvPr>
          <p:cNvSpPr txBox="1"/>
          <p:nvPr/>
        </p:nvSpPr>
        <p:spPr>
          <a:xfrm>
            <a:off x="6583588" y="2167604"/>
            <a:ext cx="1191600" cy="138499"/>
          </a:xfrm>
          <a:prstGeom prst="rect">
            <a:avLst/>
          </a:prstGeom>
          <a:noFill/>
          <a:ln w="6350">
            <a:solidFill>
              <a:srgbClr val="838383"/>
            </a:solidFill>
          </a:ln>
        </p:spPr>
        <p:txBody>
          <a:bodyPr wrap="square" lIns="72000" tIns="0" rIns="72000" bIns="0" rtlCol="0" anchor="ctr">
            <a:spAutoFit/>
          </a:bodyPr>
          <a:lstStyle/>
          <a:p>
            <a:pPr algn="ctr"/>
            <a:r>
              <a:rPr lang="en-GB" sz="900" b="1"/>
              <a:t>Solar Asset</a:t>
            </a:r>
          </a:p>
        </p:txBody>
      </p:sp>
      <p:grpSp>
        <p:nvGrpSpPr>
          <p:cNvPr id="3" name="Group 2">
            <a:extLst>
              <a:ext uri="{FF2B5EF4-FFF2-40B4-BE49-F238E27FC236}">
                <a16:creationId xmlns:a16="http://schemas.microsoft.com/office/drawing/2014/main" id="{1C29F0B6-E393-7871-F7A7-564ABA5981F7}"/>
              </a:ext>
            </a:extLst>
          </p:cNvPr>
          <p:cNvGrpSpPr/>
          <p:nvPr/>
        </p:nvGrpSpPr>
        <p:grpSpPr>
          <a:xfrm>
            <a:off x="10589953" y="2146062"/>
            <a:ext cx="1191615" cy="1122048"/>
            <a:chOff x="10894264" y="2344189"/>
            <a:chExt cx="714829" cy="673096"/>
          </a:xfrm>
        </p:grpSpPr>
        <p:grpSp>
          <p:nvGrpSpPr>
            <p:cNvPr id="62" name="Group 61">
              <a:extLst>
                <a:ext uri="{FF2B5EF4-FFF2-40B4-BE49-F238E27FC236}">
                  <a16:creationId xmlns:a16="http://schemas.microsoft.com/office/drawing/2014/main" id="{CC86B8F7-1C65-73F0-085A-298D3B5AB694}"/>
                </a:ext>
              </a:extLst>
            </p:cNvPr>
            <p:cNvGrpSpPr/>
            <p:nvPr/>
          </p:nvGrpSpPr>
          <p:grpSpPr>
            <a:xfrm>
              <a:off x="11031761" y="2663366"/>
              <a:ext cx="525697" cy="353919"/>
              <a:chOff x="2092960" y="1508581"/>
              <a:chExt cx="2339340" cy="2281099"/>
            </a:xfrm>
            <a:solidFill>
              <a:schemeClr val="accent6"/>
            </a:solidFill>
          </p:grpSpPr>
          <p:sp>
            <p:nvSpPr>
              <p:cNvPr id="74" name="Rectangle 73">
                <a:extLst>
                  <a:ext uri="{FF2B5EF4-FFF2-40B4-BE49-F238E27FC236}">
                    <a16:creationId xmlns:a16="http://schemas.microsoft.com/office/drawing/2014/main" id="{5661EF53-66E4-F493-9D47-AEDDF615FB31}"/>
                  </a:ext>
                </a:extLst>
              </p:cNvPr>
              <p:cNvSpPr/>
              <p:nvPr/>
            </p:nvSpPr>
            <p:spPr>
              <a:xfrm>
                <a:off x="2092960" y="2118360"/>
                <a:ext cx="1336040" cy="167640"/>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75" name="Rectangle 74">
                <a:extLst>
                  <a:ext uri="{FF2B5EF4-FFF2-40B4-BE49-F238E27FC236}">
                    <a16:creationId xmlns:a16="http://schemas.microsoft.com/office/drawing/2014/main" id="{2163A298-59B1-B56F-C5D8-29330E206C8D}"/>
                  </a:ext>
                </a:extLst>
              </p:cNvPr>
              <p:cNvSpPr/>
              <p:nvPr/>
            </p:nvSpPr>
            <p:spPr>
              <a:xfrm>
                <a:off x="2311400" y="1749143"/>
                <a:ext cx="899160" cy="130457"/>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76" name="Rectangle 75">
                <a:extLst>
                  <a:ext uri="{FF2B5EF4-FFF2-40B4-BE49-F238E27FC236}">
                    <a16:creationId xmlns:a16="http://schemas.microsoft.com/office/drawing/2014/main" id="{97E8B000-F323-29C8-9D09-F3609C1FDFBA}"/>
                  </a:ext>
                </a:extLst>
              </p:cNvPr>
              <p:cNvSpPr/>
              <p:nvPr/>
            </p:nvSpPr>
            <p:spPr>
              <a:xfrm>
                <a:off x="2651998" y="1508581"/>
                <a:ext cx="217964" cy="2281099"/>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77" name="Rectangle 76">
                <a:extLst>
                  <a:ext uri="{FF2B5EF4-FFF2-40B4-BE49-F238E27FC236}">
                    <a16:creationId xmlns:a16="http://schemas.microsoft.com/office/drawing/2014/main" id="{2A24803F-16C9-4832-84F6-3BD248B654A2}"/>
                  </a:ext>
                </a:extLst>
              </p:cNvPr>
              <p:cNvSpPr/>
              <p:nvPr/>
            </p:nvSpPr>
            <p:spPr>
              <a:xfrm>
                <a:off x="3266440" y="2034540"/>
                <a:ext cx="101600" cy="167640"/>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78" name="Rectangle 77">
                <a:extLst>
                  <a:ext uri="{FF2B5EF4-FFF2-40B4-BE49-F238E27FC236}">
                    <a16:creationId xmlns:a16="http://schemas.microsoft.com/office/drawing/2014/main" id="{9E2BEDA2-F2BD-A6E0-1F21-852C2826FA34}"/>
                  </a:ext>
                </a:extLst>
              </p:cNvPr>
              <p:cNvSpPr/>
              <p:nvPr/>
            </p:nvSpPr>
            <p:spPr>
              <a:xfrm>
                <a:off x="2153920" y="2039620"/>
                <a:ext cx="101600" cy="167640"/>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79" name="Rectangle 78">
                <a:extLst>
                  <a:ext uri="{FF2B5EF4-FFF2-40B4-BE49-F238E27FC236}">
                    <a16:creationId xmlns:a16="http://schemas.microsoft.com/office/drawing/2014/main" id="{3C817D81-DAEC-34C2-EF45-6FE7050E9FE8}"/>
                  </a:ext>
                </a:extLst>
              </p:cNvPr>
              <p:cNvSpPr/>
              <p:nvPr/>
            </p:nvSpPr>
            <p:spPr>
              <a:xfrm>
                <a:off x="3541030" y="2364510"/>
                <a:ext cx="891270" cy="111311"/>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80" name="Rectangle 79">
                <a:extLst>
                  <a:ext uri="{FF2B5EF4-FFF2-40B4-BE49-F238E27FC236}">
                    <a16:creationId xmlns:a16="http://schemas.microsoft.com/office/drawing/2014/main" id="{AD255A59-4D56-D6FC-AC77-749ED4AC7D6B}"/>
                  </a:ext>
                </a:extLst>
              </p:cNvPr>
              <p:cNvSpPr/>
              <p:nvPr/>
            </p:nvSpPr>
            <p:spPr>
              <a:xfrm>
                <a:off x="3670039" y="2138832"/>
                <a:ext cx="633250" cy="111311"/>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81" name="Rectangle 80">
                <a:extLst>
                  <a:ext uri="{FF2B5EF4-FFF2-40B4-BE49-F238E27FC236}">
                    <a16:creationId xmlns:a16="http://schemas.microsoft.com/office/drawing/2014/main" id="{9DBA8B6D-487B-385A-58E2-B0B39F41E50F}"/>
                  </a:ext>
                </a:extLst>
              </p:cNvPr>
              <p:cNvSpPr/>
              <p:nvPr/>
            </p:nvSpPr>
            <p:spPr>
              <a:xfrm>
                <a:off x="3913884" y="1931118"/>
                <a:ext cx="145560" cy="1858562"/>
              </a:xfrm>
              <a:prstGeom prst="rect">
                <a:avLst/>
              </a:prstGeom>
              <a:grpFill/>
              <a:ln w="6350">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000">
                  <a:solidFill>
                    <a:schemeClr val="bg1"/>
                  </a:solidFill>
                </a:endParaRPr>
              </a:p>
            </p:txBody>
          </p:sp>
          <p:sp>
            <p:nvSpPr>
              <p:cNvPr id="82" name="Freeform: Shape 50">
                <a:extLst>
                  <a:ext uri="{FF2B5EF4-FFF2-40B4-BE49-F238E27FC236}">
                    <a16:creationId xmlns:a16="http://schemas.microsoft.com/office/drawing/2014/main" id="{CE94E208-D085-17A2-2D75-D12B09EFB73C}"/>
                  </a:ext>
                </a:extLst>
              </p:cNvPr>
              <p:cNvSpPr/>
              <p:nvPr/>
            </p:nvSpPr>
            <p:spPr>
              <a:xfrm>
                <a:off x="2199640" y="2057400"/>
                <a:ext cx="1351280" cy="533919"/>
              </a:xfrm>
              <a:custGeom>
                <a:avLst/>
                <a:gdLst>
                  <a:gd name="connsiteX0" fmla="*/ 0 w 1351280"/>
                  <a:gd name="connsiteY0" fmla="*/ 0 h 533919"/>
                  <a:gd name="connsiteX1" fmla="*/ 502920 w 1351280"/>
                  <a:gd name="connsiteY1" fmla="*/ 391160 h 533919"/>
                  <a:gd name="connsiteX2" fmla="*/ 965200 w 1351280"/>
                  <a:gd name="connsiteY2" fmla="*/ 533400 h 533919"/>
                  <a:gd name="connsiteX3" fmla="*/ 1351280 w 1351280"/>
                  <a:gd name="connsiteY3" fmla="*/ 350520 h 533919"/>
                </a:gdLst>
                <a:ahLst/>
                <a:cxnLst>
                  <a:cxn ang="0">
                    <a:pos x="connsiteX0" y="connsiteY0"/>
                  </a:cxn>
                  <a:cxn ang="0">
                    <a:pos x="connsiteX1" y="connsiteY1"/>
                  </a:cxn>
                  <a:cxn ang="0">
                    <a:pos x="connsiteX2" y="connsiteY2"/>
                  </a:cxn>
                  <a:cxn ang="0">
                    <a:pos x="connsiteX3" y="connsiteY3"/>
                  </a:cxn>
                </a:cxnLst>
                <a:rect l="l" t="t" r="r" b="b"/>
                <a:pathLst>
                  <a:path w="1351280" h="533919">
                    <a:moveTo>
                      <a:pt x="0" y="0"/>
                    </a:moveTo>
                    <a:cubicBezTo>
                      <a:pt x="171026" y="151130"/>
                      <a:pt x="342053" y="302260"/>
                      <a:pt x="502920" y="391160"/>
                    </a:cubicBezTo>
                    <a:cubicBezTo>
                      <a:pt x="663787" y="480060"/>
                      <a:pt x="823807" y="540173"/>
                      <a:pt x="965200" y="533400"/>
                    </a:cubicBezTo>
                    <a:cubicBezTo>
                      <a:pt x="1106593" y="526627"/>
                      <a:pt x="1228936" y="438573"/>
                      <a:pt x="1351280" y="350520"/>
                    </a:cubicBezTo>
                  </a:path>
                </a:pathLst>
              </a:cu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000">
                  <a:solidFill>
                    <a:schemeClr val="bg1"/>
                  </a:solidFill>
                </a:endParaRPr>
              </a:p>
            </p:txBody>
          </p:sp>
          <p:sp>
            <p:nvSpPr>
              <p:cNvPr id="83" name="Freeform: Shape 51">
                <a:extLst>
                  <a:ext uri="{FF2B5EF4-FFF2-40B4-BE49-F238E27FC236}">
                    <a16:creationId xmlns:a16="http://schemas.microsoft.com/office/drawing/2014/main" id="{BA0EB69C-0A75-D1E5-563D-9CADCA32C4BF}"/>
                  </a:ext>
                </a:extLst>
              </p:cNvPr>
              <p:cNvSpPr/>
              <p:nvPr/>
            </p:nvSpPr>
            <p:spPr>
              <a:xfrm>
                <a:off x="3332480" y="2047240"/>
                <a:ext cx="1071880" cy="538494"/>
              </a:xfrm>
              <a:custGeom>
                <a:avLst/>
                <a:gdLst>
                  <a:gd name="connsiteX0" fmla="*/ 0 w 1071880"/>
                  <a:gd name="connsiteY0" fmla="*/ 0 h 538494"/>
                  <a:gd name="connsiteX1" fmla="*/ 325120 w 1071880"/>
                  <a:gd name="connsiteY1" fmla="*/ 320040 h 538494"/>
                  <a:gd name="connsiteX2" fmla="*/ 543560 w 1071880"/>
                  <a:gd name="connsiteY2" fmla="*/ 467360 h 538494"/>
                  <a:gd name="connsiteX3" fmla="*/ 792480 w 1071880"/>
                  <a:gd name="connsiteY3" fmla="*/ 538480 h 538494"/>
                  <a:gd name="connsiteX4" fmla="*/ 980440 w 1071880"/>
                  <a:gd name="connsiteY4" fmla="*/ 472440 h 538494"/>
                  <a:gd name="connsiteX5" fmla="*/ 1071880 w 1071880"/>
                  <a:gd name="connsiteY5" fmla="*/ 350520 h 53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1880" h="538494">
                    <a:moveTo>
                      <a:pt x="0" y="0"/>
                    </a:moveTo>
                    <a:cubicBezTo>
                      <a:pt x="117263" y="121073"/>
                      <a:pt x="234527" y="242147"/>
                      <a:pt x="325120" y="320040"/>
                    </a:cubicBezTo>
                    <a:cubicBezTo>
                      <a:pt x="415713" y="397933"/>
                      <a:pt x="465667" y="430953"/>
                      <a:pt x="543560" y="467360"/>
                    </a:cubicBezTo>
                    <a:cubicBezTo>
                      <a:pt x="621453" y="503767"/>
                      <a:pt x="719667" y="537633"/>
                      <a:pt x="792480" y="538480"/>
                    </a:cubicBezTo>
                    <a:cubicBezTo>
                      <a:pt x="865293" y="539327"/>
                      <a:pt x="933874" y="503767"/>
                      <a:pt x="980440" y="472440"/>
                    </a:cubicBezTo>
                    <a:cubicBezTo>
                      <a:pt x="1027006" y="441113"/>
                      <a:pt x="1049443" y="395816"/>
                      <a:pt x="1071880" y="350520"/>
                    </a:cubicBezTo>
                  </a:path>
                </a:pathLst>
              </a:cu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000">
                  <a:solidFill>
                    <a:schemeClr val="bg1"/>
                  </a:solidFill>
                </a:endParaRPr>
              </a:p>
            </p:txBody>
          </p:sp>
        </p:grpSp>
        <p:sp>
          <p:nvSpPr>
            <p:cNvPr id="91" name="TextBox 90">
              <a:extLst>
                <a:ext uri="{FF2B5EF4-FFF2-40B4-BE49-F238E27FC236}">
                  <a16:creationId xmlns:a16="http://schemas.microsoft.com/office/drawing/2014/main" id="{9192EB15-76D5-34C7-112A-57D96E8BF467}"/>
                </a:ext>
              </a:extLst>
            </p:cNvPr>
            <p:cNvSpPr txBox="1"/>
            <p:nvPr/>
          </p:nvSpPr>
          <p:spPr>
            <a:xfrm>
              <a:off x="10894264" y="2344189"/>
              <a:ext cx="714829" cy="107979"/>
            </a:xfrm>
            <a:prstGeom prst="rect">
              <a:avLst/>
            </a:prstGeom>
            <a:noFill/>
            <a:ln w="6350">
              <a:solidFill>
                <a:srgbClr val="838383"/>
              </a:solidFill>
            </a:ln>
          </p:spPr>
          <p:txBody>
            <a:bodyPr wrap="square" lIns="36000" tIns="0" rIns="0" bIns="0" rtlCol="0" anchor="ctr">
              <a:spAutoFit/>
            </a:bodyPr>
            <a:lstStyle/>
            <a:p>
              <a:pPr algn="ctr"/>
              <a:r>
                <a:rPr lang="en-GB" sz="900" b="1"/>
                <a:t>Grid Connection</a:t>
              </a:r>
            </a:p>
          </p:txBody>
        </p:sp>
      </p:grpSp>
      <p:sp>
        <p:nvSpPr>
          <p:cNvPr id="92" name="Rectangle 91">
            <a:extLst>
              <a:ext uri="{FF2B5EF4-FFF2-40B4-BE49-F238E27FC236}">
                <a16:creationId xmlns:a16="http://schemas.microsoft.com/office/drawing/2014/main" id="{C8C5F1E8-D6ED-C3ED-412E-E9050B0FB077}"/>
              </a:ext>
            </a:extLst>
          </p:cNvPr>
          <p:cNvSpPr/>
          <p:nvPr/>
        </p:nvSpPr>
        <p:spPr>
          <a:xfrm>
            <a:off x="6544203" y="2110285"/>
            <a:ext cx="3923859" cy="1539233"/>
          </a:xfrm>
          <a:prstGeom prst="rect">
            <a:avLst/>
          </a:prstGeom>
          <a:noFill/>
          <a:ln w="12700">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000">
              <a:solidFill>
                <a:schemeClr val="tx1"/>
              </a:solidFill>
            </a:endParaRPr>
          </a:p>
        </p:txBody>
      </p:sp>
      <p:grpSp>
        <p:nvGrpSpPr>
          <p:cNvPr id="6" name="Group 5">
            <a:extLst>
              <a:ext uri="{FF2B5EF4-FFF2-40B4-BE49-F238E27FC236}">
                <a16:creationId xmlns:a16="http://schemas.microsoft.com/office/drawing/2014/main" id="{A17519A2-144E-D1FF-97D1-D3B5CB72B0BF}"/>
              </a:ext>
            </a:extLst>
          </p:cNvPr>
          <p:cNvGrpSpPr/>
          <p:nvPr/>
        </p:nvGrpSpPr>
        <p:grpSpPr>
          <a:xfrm>
            <a:off x="7789392" y="2500562"/>
            <a:ext cx="2904084" cy="1334308"/>
            <a:chOff x="6968960" y="2526135"/>
            <a:chExt cx="1553124" cy="930726"/>
          </a:xfrm>
        </p:grpSpPr>
        <p:sp>
          <p:nvSpPr>
            <p:cNvPr id="64" name="Rectangle: Rounded Corners 57">
              <a:extLst>
                <a:ext uri="{FF2B5EF4-FFF2-40B4-BE49-F238E27FC236}">
                  <a16:creationId xmlns:a16="http://schemas.microsoft.com/office/drawing/2014/main" id="{2F6C7441-2FB8-DDBB-F205-E63D571CF481}"/>
                </a:ext>
              </a:extLst>
            </p:cNvPr>
            <p:cNvSpPr/>
            <p:nvPr/>
          </p:nvSpPr>
          <p:spPr>
            <a:xfrm>
              <a:off x="7328965" y="2526135"/>
              <a:ext cx="582718" cy="281220"/>
            </a:xfrm>
            <a:prstGeom prst="roundRect">
              <a:avLst>
                <a:gd name="adj" fmla="val 2827"/>
              </a:avLst>
            </a:prstGeom>
            <a:solidFill>
              <a:schemeClr val="accent6"/>
            </a:solidFill>
            <a:ln w="6350">
              <a:solidFill>
                <a:schemeClr val="accent5"/>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lgn="ctr">
                <a:spcAft>
                  <a:spcPts val="1000"/>
                </a:spcAft>
              </a:pPr>
              <a:r>
                <a:rPr lang="en-GB" sz="900" b="1">
                  <a:solidFill>
                    <a:schemeClr val="bg1"/>
                  </a:solidFill>
                </a:rPr>
                <a:t>Inverter</a:t>
              </a:r>
            </a:p>
          </p:txBody>
        </p:sp>
        <p:cxnSp>
          <p:nvCxnSpPr>
            <p:cNvPr id="65" name="Straight Connector 64">
              <a:extLst>
                <a:ext uri="{FF2B5EF4-FFF2-40B4-BE49-F238E27FC236}">
                  <a16:creationId xmlns:a16="http://schemas.microsoft.com/office/drawing/2014/main" id="{91B40B61-78F9-8CF8-731C-13F5D3542D0B}"/>
                </a:ext>
              </a:extLst>
            </p:cNvPr>
            <p:cNvCxnSpPr>
              <a:cxnSpLocks/>
              <a:stCxn id="67" idx="1"/>
              <a:endCxn id="70" idx="3"/>
            </p:cNvCxnSpPr>
            <p:nvPr/>
          </p:nvCxnSpPr>
          <p:spPr>
            <a:xfrm flipH="1">
              <a:off x="7191350" y="3006408"/>
              <a:ext cx="136328" cy="55900"/>
            </a:xfrm>
            <a:prstGeom prst="line">
              <a:avLst/>
            </a:prstGeom>
            <a:ln w="635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FB269A-4462-2F3E-B094-A01EB46BCC76}"/>
                </a:ext>
              </a:extLst>
            </p:cNvPr>
            <p:cNvCxnSpPr>
              <a:cxnSpLocks/>
              <a:stCxn id="64" idx="1"/>
              <a:endCxn id="89" idx="3"/>
            </p:cNvCxnSpPr>
            <p:nvPr/>
          </p:nvCxnSpPr>
          <p:spPr>
            <a:xfrm flipH="1">
              <a:off x="6968960" y="2666745"/>
              <a:ext cx="360005" cy="63600"/>
            </a:xfrm>
            <a:prstGeom prst="line">
              <a:avLst/>
            </a:prstGeom>
            <a:ln w="635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Rectangle: Rounded Corners 60">
              <a:extLst>
                <a:ext uri="{FF2B5EF4-FFF2-40B4-BE49-F238E27FC236}">
                  <a16:creationId xmlns:a16="http://schemas.microsoft.com/office/drawing/2014/main" id="{4030F726-D5EE-B85F-D141-BB990909036F}"/>
                </a:ext>
              </a:extLst>
            </p:cNvPr>
            <p:cNvSpPr/>
            <p:nvPr/>
          </p:nvSpPr>
          <p:spPr>
            <a:xfrm>
              <a:off x="7327678" y="2865798"/>
              <a:ext cx="591494" cy="281220"/>
            </a:xfrm>
            <a:prstGeom prst="roundRect">
              <a:avLst>
                <a:gd name="adj" fmla="val 2827"/>
              </a:avLst>
            </a:prstGeom>
            <a:solidFill>
              <a:schemeClr val="accent6"/>
            </a:solidFill>
            <a:ln w="6350">
              <a:solidFill>
                <a:schemeClr val="accent5"/>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nchorCtr="0"/>
            <a:lstStyle/>
            <a:p>
              <a:pPr algn="ctr">
                <a:spcAft>
                  <a:spcPts val="1000"/>
                </a:spcAft>
              </a:pPr>
              <a:r>
                <a:rPr lang="en-GB" sz="900" b="1">
                  <a:solidFill>
                    <a:schemeClr val="bg1"/>
                  </a:solidFill>
                </a:rPr>
                <a:t>Inverter</a:t>
              </a:r>
            </a:p>
          </p:txBody>
        </p:sp>
        <p:sp>
          <p:nvSpPr>
            <p:cNvPr id="94" name="TextBox 93">
              <a:extLst>
                <a:ext uri="{FF2B5EF4-FFF2-40B4-BE49-F238E27FC236}">
                  <a16:creationId xmlns:a16="http://schemas.microsoft.com/office/drawing/2014/main" id="{6B1AF92B-2220-894B-93E0-11E5FE0A009B}"/>
                </a:ext>
              </a:extLst>
            </p:cNvPr>
            <p:cNvSpPr txBox="1"/>
            <p:nvPr/>
          </p:nvSpPr>
          <p:spPr>
            <a:xfrm>
              <a:off x="7376216" y="3179862"/>
              <a:ext cx="747182" cy="276999"/>
            </a:xfrm>
            <a:prstGeom prst="rect">
              <a:avLst/>
            </a:prstGeom>
            <a:noFill/>
            <a:ln>
              <a:noFill/>
            </a:ln>
          </p:spPr>
          <p:txBody>
            <a:bodyPr wrap="square" lIns="0" tIns="0" rIns="0" bIns="0" rtlCol="0">
              <a:spAutoFit/>
            </a:bodyPr>
            <a:lstStyle/>
            <a:p>
              <a:pPr algn="ctr">
                <a:spcAft>
                  <a:spcPts val="600"/>
                </a:spcAft>
              </a:pPr>
              <a:r>
                <a:rPr lang="en-GB" sz="900" b="1"/>
                <a:t>2 independent assets </a:t>
              </a:r>
              <a:endParaRPr lang="en-GB" sz="900"/>
            </a:p>
          </p:txBody>
        </p:sp>
        <p:cxnSp>
          <p:nvCxnSpPr>
            <p:cNvPr id="93" name="Connector: Elbow 61">
              <a:extLst>
                <a:ext uri="{FF2B5EF4-FFF2-40B4-BE49-F238E27FC236}">
                  <a16:creationId xmlns:a16="http://schemas.microsoft.com/office/drawing/2014/main" id="{821877ED-929D-D648-8D0F-1542E779F394}"/>
                </a:ext>
              </a:extLst>
            </p:cNvPr>
            <p:cNvCxnSpPr>
              <a:cxnSpLocks/>
              <a:stCxn id="67" idx="3"/>
            </p:cNvCxnSpPr>
            <p:nvPr/>
          </p:nvCxnSpPr>
          <p:spPr>
            <a:xfrm flipV="1">
              <a:off x="7919172" y="2835191"/>
              <a:ext cx="598840" cy="171217"/>
            </a:xfrm>
            <a:prstGeom prst="bentConnector3">
              <a:avLst>
                <a:gd name="adj1" fmla="val 50000"/>
              </a:avLst>
            </a:prstGeom>
            <a:ln w="63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146">
              <a:extLst>
                <a:ext uri="{FF2B5EF4-FFF2-40B4-BE49-F238E27FC236}">
                  <a16:creationId xmlns:a16="http://schemas.microsoft.com/office/drawing/2014/main" id="{E4FFE538-9E64-4C19-1335-C62FE4C99DA7}"/>
                </a:ext>
              </a:extLst>
            </p:cNvPr>
            <p:cNvCxnSpPr>
              <a:cxnSpLocks/>
              <a:stCxn id="64" idx="3"/>
            </p:cNvCxnSpPr>
            <p:nvPr/>
          </p:nvCxnSpPr>
          <p:spPr>
            <a:xfrm>
              <a:off x="7911683" y="2666745"/>
              <a:ext cx="610401" cy="163837"/>
            </a:xfrm>
            <a:prstGeom prst="bentConnector3">
              <a:avLst>
                <a:gd name="adj1" fmla="val 50000"/>
              </a:avLst>
            </a:prstGeom>
            <a:ln w="63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sp>
        <p:nvSpPr>
          <p:cNvPr id="282" name="Diamond 281">
            <a:extLst>
              <a:ext uri="{FF2B5EF4-FFF2-40B4-BE49-F238E27FC236}">
                <a16:creationId xmlns:a16="http://schemas.microsoft.com/office/drawing/2014/main" id="{53F24DC5-C947-2B4A-4B58-5DB726F1DA81}"/>
              </a:ext>
            </a:extLst>
          </p:cNvPr>
          <p:cNvSpPr/>
          <p:nvPr/>
        </p:nvSpPr>
        <p:spPr>
          <a:xfrm>
            <a:off x="6408284" y="1263412"/>
            <a:ext cx="259200" cy="2592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1</a:t>
            </a:r>
          </a:p>
        </p:txBody>
      </p:sp>
      <p:sp>
        <p:nvSpPr>
          <p:cNvPr id="22" name="Diamond 21">
            <a:extLst>
              <a:ext uri="{FF2B5EF4-FFF2-40B4-BE49-F238E27FC236}">
                <a16:creationId xmlns:a16="http://schemas.microsoft.com/office/drawing/2014/main" id="{6648BCAD-58BB-F7A3-4402-4B89E97BCB60}"/>
              </a:ext>
            </a:extLst>
          </p:cNvPr>
          <p:cNvSpPr/>
          <p:nvPr/>
        </p:nvSpPr>
        <p:spPr>
          <a:xfrm>
            <a:off x="6408284" y="1263412"/>
            <a:ext cx="259200" cy="2592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2</a:t>
            </a:r>
          </a:p>
        </p:txBody>
      </p:sp>
      <p:sp>
        <p:nvSpPr>
          <p:cNvPr id="41" name="Rectangle 40">
            <a:extLst>
              <a:ext uri="{FF2B5EF4-FFF2-40B4-BE49-F238E27FC236}">
                <a16:creationId xmlns:a16="http://schemas.microsoft.com/office/drawing/2014/main" id="{95BDEF71-542B-48C3-9977-2445415DBD42}"/>
              </a:ext>
            </a:extLst>
          </p:cNvPr>
          <p:cNvSpPr/>
          <p:nvPr/>
        </p:nvSpPr>
        <p:spPr>
          <a:xfrm>
            <a:off x="11207011" y="1300404"/>
            <a:ext cx="533176" cy="172722"/>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GB" sz="900" b="1">
                <a:solidFill>
                  <a:srgbClr val="DF5327"/>
                </a:solidFill>
              </a:rPr>
              <a:t>Deep Dive</a:t>
            </a:r>
          </a:p>
        </p:txBody>
      </p:sp>
      <p:sp>
        <p:nvSpPr>
          <p:cNvPr id="12" name="Text Placeholder 12">
            <a:extLst>
              <a:ext uri="{FF2B5EF4-FFF2-40B4-BE49-F238E27FC236}">
                <a16:creationId xmlns:a16="http://schemas.microsoft.com/office/drawing/2014/main" id="{60256838-EFE1-EEB0-0DB1-1D59C516F48D}"/>
              </a:ext>
            </a:extLst>
          </p:cNvPr>
          <p:cNvSpPr txBox="1">
            <a:spLocks/>
          </p:cNvSpPr>
          <p:nvPr/>
        </p:nvSpPr>
        <p:spPr>
          <a:xfrm>
            <a:off x="511881" y="1263129"/>
            <a:ext cx="5245200" cy="257369"/>
          </a:xfrm>
          <a:prstGeom prst="rect">
            <a:avLst/>
          </a:prstGeom>
          <a:solidFill>
            <a:schemeClr val="accent3"/>
          </a:solidFill>
        </p:spPr>
        <p:txBody>
          <a:bodyPr vert="horz" lIns="72000" tIns="36000" rIns="72000" bIns="3600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180000"/>
            <a:r>
              <a:rPr lang="en-GB"/>
              <a:t>	Managing Degradation and Revenue Resets</a:t>
            </a:r>
          </a:p>
        </p:txBody>
      </p:sp>
      <p:sp>
        <p:nvSpPr>
          <p:cNvPr id="17" name="Flowchart: Terminator 16">
            <a:extLst>
              <a:ext uri="{FF2B5EF4-FFF2-40B4-BE49-F238E27FC236}">
                <a16:creationId xmlns:a16="http://schemas.microsoft.com/office/drawing/2014/main" id="{28723EB8-523F-A96F-2398-510DAA6C18B8}"/>
              </a:ext>
            </a:extLst>
          </p:cNvPr>
          <p:cNvSpPr/>
          <p:nvPr/>
        </p:nvSpPr>
        <p:spPr>
          <a:xfrm>
            <a:off x="511281" y="1612800"/>
            <a:ext cx="1224495" cy="404083"/>
          </a:xfrm>
          <a:prstGeom prst="flowChartTerminator">
            <a:avLst/>
          </a:prstGeom>
          <a:solidFill>
            <a:srgbClr val="EFEFE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chemeClr val="tx1"/>
                </a:solidFill>
              </a:rPr>
              <a:t>Oversize</a:t>
            </a:r>
          </a:p>
        </p:txBody>
      </p:sp>
      <p:sp>
        <p:nvSpPr>
          <p:cNvPr id="18" name="Flowchart: Terminator 17">
            <a:extLst>
              <a:ext uri="{FF2B5EF4-FFF2-40B4-BE49-F238E27FC236}">
                <a16:creationId xmlns:a16="http://schemas.microsoft.com/office/drawing/2014/main" id="{C88720AC-A4A2-C668-0A64-E65668EDA15C}"/>
              </a:ext>
            </a:extLst>
          </p:cNvPr>
          <p:cNvSpPr/>
          <p:nvPr/>
        </p:nvSpPr>
        <p:spPr>
          <a:xfrm>
            <a:off x="511200" y="2124000"/>
            <a:ext cx="1224495" cy="404083"/>
          </a:xfrm>
          <a:prstGeom prst="flowChartTerminator">
            <a:avLst/>
          </a:prstGeom>
          <a:solidFill>
            <a:srgbClr val="EFEFE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chemeClr val="tx1"/>
                </a:solidFill>
              </a:rPr>
              <a:t>Reduce</a:t>
            </a:r>
          </a:p>
        </p:txBody>
      </p:sp>
      <p:sp>
        <p:nvSpPr>
          <p:cNvPr id="19" name="Flowchart: Terminator 18">
            <a:extLst>
              <a:ext uri="{FF2B5EF4-FFF2-40B4-BE49-F238E27FC236}">
                <a16:creationId xmlns:a16="http://schemas.microsoft.com/office/drawing/2014/main" id="{8AF22AB2-C22B-4178-8441-EECBACEDB856}"/>
              </a:ext>
            </a:extLst>
          </p:cNvPr>
          <p:cNvSpPr/>
          <p:nvPr/>
        </p:nvSpPr>
        <p:spPr>
          <a:xfrm>
            <a:off x="511199" y="2636163"/>
            <a:ext cx="1224495" cy="404083"/>
          </a:xfrm>
          <a:prstGeom prst="flowChartTerminator">
            <a:avLst/>
          </a:prstGeom>
          <a:solidFill>
            <a:srgbClr val="EFEFE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chemeClr val="tx1"/>
                </a:solidFill>
              </a:rPr>
              <a:t>Augment</a:t>
            </a:r>
          </a:p>
        </p:txBody>
      </p:sp>
      <p:sp>
        <p:nvSpPr>
          <p:cNvPr id="20" name="Flowchart: Terminator 19">
            <a:extLst>
              <a:ext uri="{FF2B5EF4-FFF2-40B4-BE49-F238E27FC236}">
                <a16:creationId xmlns:a16="http://schemas.microsoft.com/office/drawing/2014/main" id="{943EF306-359B-C130-01EB-3FCF873877AC}"/>
              </a:ext>
            </a:extLst>
          </p:cNvPr>
          <p:cNvSpPr/>
          <p:nvPr/>
        </p:nvSpPr>
        <p:spPr>
          <a:xfrm>
            <a:off x="511281" y="3147363"/>
            <a:ext cx="1224495" cy="494271"/>
          </a:xfrm>
          <a:prstGeom prst="flowChartTerminator">
            <a:avLst/>
          </a:prstGeom>
          <a:solidFill>
            <a:srgbClr val="EFEFE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0" rIns="72000" bIns="0" numCol="1" spcCol="0" rtlCol="0" fromWordArt="0" anchor="t" anchorCtr="0" forceAA="0" compatLnSpc="1">
            <a:prstTxWarp prst="textNoShape">
              <a:avLst/>
            </a:prstTxWarp>
            <a:noAutofit/>
          </a:bodyPr>
          <a:lstStyle/>
          <a:p>
            <a:pPr algn="ctr">
              <a:spcBef>
                <a:spcPts val="600"/>
              </a:spcBef>
            </a:pPr>
            <a:r>
              <a:rPr lang="en-GB" sz="1200">
                <a:solidFill>
                  <a:schemeClr val="tx1"/>
                </a:solidFill>
              </a:rPr>
              <a:t>Repower</a:t>
            </a:r>
          </a:p>
        </p:txBody>
      </p:sp>
      <p:sp>
        <p:nvSpPr>
          <p:cNvPr id="23" name="Rectangle 22">
            <a:extLst>
              <a:ext uri="{FF2B5EF4-FFF2-40B4-BE49-F238E27FC236}">
                <a16:creationId xmlns:a16="http://schemas.microsoft.com/office/drawing/2014/main" id="{21C118DB-DA48-B66E-7D85-C6812A10D5B3}"/>
              </a:ext>
            </a:extLst>
          </p:cNvPr>
          <p:cNvSpPr/>
          <p:nvPr/>
        </p:nvSpPr>
        <p:spPr>
          <a:xfrm>
            <a:off x="856858" y="3420098"/>
            <a:ext cx="533176" cy="172722"/>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GB" sz="900" b="1">
                <a:solidFill>
                  <a:srgbClr val="DF5327"/>
                </a:solidFill>
              </a:rPr>
              <a:t>Deep Dive</a:t>
            </a:r>
          </a:p>
        </p:txBody>
      </p:sp>
      <p:grpSp>
        <p:nvGrpSpPr>
          <p:cNvPr id="24" name="Group 23">
            <a:extLst>
              <a:ext uri="{FF2B5EF4-FFF2-40B4-BE49-F238E27FC236}">
                <a16:creationId xmlns:a16="http://schemas.microsoft.com/office/drawing/2014/main" id="{2C77C31E-9F57-1274-1B59-C9D4AC24726C}"/>
              </a:ext>
            </a:extLst>
          </p:cNvPr>
          <p:cNvGrpSpPr/>
          <p:nvPr/>
        </p:nvGrpSpPr>
        <p:grpSpPr>
          <a:xfrm>
            <a:off x="381681" y="3740276"/>
            <a:ext cx="5375400" cy="259483"/>
            <a:chOff x="6406992" y="2311774"/>
            <a:chExt cx="5375400" cy="259483"/>
          </a:xfrm>
        </p:grpSpPr>
        <p:sp>
          <p:nvSpPr>
            <p:cNvPr id="25" name="Text Placeholder 12">
              <a:extLst>
                <a:ext uri="{FF2B5EF4-FFF2-40B4-BE49-F238E27FC236}">
                  <a16:creationId xmlns:a16="http://schemas.microsoft.com/office/drawing/2014/main" id="{D96FF6BB-D173-7E6E-661B-224985F402F2}"/>
                </a:ext>
              </a:extLst>
            </p:cNvPr>
            <p:cNvSpPr txBox="1">
              <a:spLocks/>
            </p:cNvSpPr>
            <p:nvPr/>
          </p:nvSpPr>
          <p:spPr>
            <a:xfrm>
              <a:off x="6537192" y="2311774"/>
              <a:ext cx="5245200" cy="257369"/>
            </a:xfrm>
            <a:prstGeom prst="rect">
              <a:avLst/>
            </a:prstGeom>
            <a:solidFill>
              <a:schemeClr val="accent3"/>
            </a:solidFill>
          </p:spPr>
          <p:txBody>
            <a:bodyPr vert="horz" lIns="72000" tIns="36000" rIns="72000" bIns="3600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180000"/>
              <a:r>
                <a:rPr lang="en-GB"/>
                <a:t>	AI supported Intraday trading</a:t>
              </a:r>
            </a:p>
          </p:txBody>
        </p:sp>
        <p:sp>
          <p:nvSpPr>
            <p:cNvPr id="31" name="Diamond 30">
              <a:extLst>
                <a:ext uri="{FF2B5EF4-FFF2-40B4-BE49-F238E27FC236}">
                  <a16:creationId xmlns:a16="http://schemas.microsoft.com/office/drawing/2014/main" id="{B7DB5737-D015-0344-76AF-44EA4E86420E}"/>
                </a:ext>
              </a:extLst>
            </p:cNvPr>
            <p:cNvSpPr/>
            <p:nvPr/>
          </p:nvSpPr>
          <p:spPr>
            <a:xfrm>
              <a:off x="6406992" y="2312057"/>
              <a:ext cx="259200" cy="2592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3</a:t>
              </a:r>
            </a:p>
          </p:txBody>
        </p:sp>
      </p:grpSp>
      <p:grpSp>
        <p:nvGrpSpPr>
          <p:cNvPr id="33" name="Group 32">
            <a:extLst>
              <a:ext uri="{FF2B5EF4-FFF2-40B4-BE49-F238E27FC236}">
                <a16:creationId xmlns:a16="http://schemas.microsoft.com/office/drawing/2014/main" id="{99CF48F5-73A2-F8CB-2A10-17FFFC7E49D1}"/>
              </a:ext>
            </a:extLst>
          </p:cNvPr>
          <p:cNvGrpSpPr/>
          <p:nvPr/>
        </p:nvGrpSpPr>
        <p:grpSpPr>
          <a:xfrm>
            <a:off x="6409074" y="3742586"/>
            <a:ext cx="5374108" cy="259200"/>
            <a:chOff x="6408284" y="3571200"/>
            <a:chExt cx="5374108" cy="259200"/>
          </a:xfrm>
        </p:grpSpPr>
        <p:sp>
          <p:nvSpPr>
            <p:cNvPr id="38" name="Text Placeholder 12">
              <a:extLst>
                <a:ext uri="{FF2B5EF4-FFF2-40B4-BE49-F238E27FC236}">
                  <a16:creationId xmlns:a16="http://schemas.microsoft.com/office/drawing/2014/main" id="{0F17778B-566C-3A7C-9A0A-64FB72C26466}"/>
                </a:ext>
              </a:extLst>
            </p:cNvPr>
            <p:cNvSpPr txBox="1">
              <a:spLocks/>
            </p:cNvSpPr>
            <p:nvPr/>
          </p:nvSpPr>
          <p:spPr>
            <a:xfrm>
              <a:off x="6537192" y="3571200"/>
              <a:ext cx="5245200" cy="257369"/>
            </a:xfrm>
            <a:prstGeom prst="rect">
              <a:avLst/>
            </a:prstGeom>
            <a:solidFill>
              <a:schemeClr val="accent3"/>
            </a:solidFill>
          </p:spPr>
          <p:txBody>
            <a:bodyPr vert="horz" lIns="72000" tIns="36000" rIns="72000" bIns="3600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180000"/>
              <a:r>
                <a:rPr lang="en-GB"/>
                <a:t>	Grid location</a:t>
              </a:r>
              <a:r>
                <a:rPr lang="en-GB" baseline="30000"/>
                <a:t>2</a:t>
              </a:r>
              <a:r>
                <a:rPr lang="en-GB"/>
                <a:t> </a:t>
              </a:r>
              <a:r>
                <a:rPr lang="en-US" altLang="zh-CN"/>
                <a:t>&amp; Congestion </a:t>
              </a:r>
              <a:r>
                <a:rPr lang="en-GB"/>
                <a:t>revenues</a:t>
              </a:r>
            </a:p>
          </p:txBody>
        </p:sp>
        <p:sp>
          <p:nvSpPr>
            <p:cNvPr id="43" name="Diamond 42">
              <a:extLst>
                <a:ext uri="{FF2B5EF4-FFF2-40B4-BE49-F238E27FC236}">
                  <a16:creationId xmlns:a16="http://schemas.microsoft.com/office/drawing/2014/main" id="{AC18775D-22E6-3259-F6AC-147EAFCB3CD0}"/>
                </a:ext>
              </a:extLst>
            </p:cNvPr>
            <p:cNvSpPr/>
            <p:nvPr/>
          </p:nvSpPr>
          <p:spPr>
            <a:xfrm>
              <a:off x="6408284" y="3571200"/>
              <a:ext cx="259200" cy="2592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4</a:t>
              </a:r>
            </a:p>
          </p:txBody>
        </p:sp>
      </p:grpSp>
      <p:sp>
        <p:nvSpPr>
          <p:cNvPr id="9" name="Diamond 8">
            <a:extLst>
              <a:ext uri="{FF2B5EF4-FFF2-40B4-BE49-F238E27FC236}">
                <a16:creationId xmlns:a16="http://schemas.microsoft.com/office/drawing/2014/main" id="{088A13E6-2681-8F7F-F489-C68B4717A600}"/>
              </a:ext>
            </a:extLst>
          </p:cNvPr>
          <p:cNvSpPr/>
          <p:nvPr/>
        </p:nvSpPr>
        <p:spPr>
          <a:xfrm>
            <a:off x="382484" y="1263412"/>
            <a:ext cx="259200" cy="2592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1</a:t>
            </a:r>
          </a:p>
        </p:txBody>
      </p:sp>
      <p:grpSp>
        <p:nvGrpSpPr>
          <p:cNvPr id="208" name="Group 207">
            <a:extLst>
              <a:ext uri="{FF2B5EF4-FFF2-40B4-BE49-F238E27FC236}">
                <a16:creationId xmlns:a16="http://schemas.microsoft.com/office/drawing/2014/main" id="{3AB0C598-4F63-9750-E2CA-B5F936AC28F7}"/>
              </a:ext>
            </a:extLst>
          </p:cNvPr>
          <p:cNvGrpSpPr/>
          <p:nvPr/>
        </p:nvGrpSpPr>
        <p:grpSpPr>
          <a:xfrm>
            <a:off x="6536400" y="4095728"/>
            <a:ext cx="1318915" cy="2284898"/>
            <a:chOff x="437331" y="1519460"/>
            <a:chExt cx="2555433" cy="4427037"/>
          </a:xfrm>
        </p:grpSpPr>
        <p:grpSp>
          <p:nvGrpSpPr>
            <p:cNvPr id="16" name="Group 15">
              <a:extLst>
                <a:ext uri="{FF2B5EF4-FFF2-40B4-BE49-F238E27FC236}">
                  <a16:creationId xmlns:a16="http://schemas.microsoft.com/office/drawing/2014/main" id="{3673E439-C420-E4D4-86D4-9911B13EFCA8}"/>
                </a:ext>
              </a:extLst>
            </p:cNvPr>
            <p:cNvGrpSpPr>
              <a:grpSpLocks noChangeAspect="1"/>
            </p:cNvGrpSpPr>
            <p:nvPr/>
          </p:nvGrpSpPr>
          <p:grpSpPr bwMode="gray">
            <a:xfrm>
              <a:off x="437331" y="2051860"/>
              <a:ext cx="503263" cy="714263"/>
              <a:chOff x="4692650" y="3530600"/>
              <a:chExt cx="739776" cy="1009650"/>
            </a:xfrm>
            <a:solidFill>
              <a:schemeClr val="bg2"/>
            </a:solidFill>
          </p:grpSpPr>
          <p:sp>
            <p:nvSpPr>
              <p:cNvPr id="21" name="Freeform 39">
                <a:extLst>
                  <a:ext uri="{FF2B5EF4-FFF2-40B4-BE49-F238E27FC236}">
                    <a16:creationId xmlns:a16="http://schemas.microsoft.com/office/drawing/2014/main" id="{57D210A1-90FD-6637-9884-4E8433988006}"/>
                  </a:ext>
                </a:extLst>
              </p:cNvPr>
              <p:cNvSpPr>
                <a:spLocks noEditPoints="1"/>
              </p:cNvSpPr>
              <p:nvPr/>
            </p:nvSpPr>
            <p:spPr bwMode="gray">
              <a:xfrm>
                <a:off x="4692650" y="3530600"/>
                <a:ext cx="739775" cy="1009650"/>
              </a:xfrm>
              <a:custGeom>
                <a:avLst/>
                <a:gdLst>
                  <a:gd name="T0" fmla="*/ 21 w 466"/>
                  <a:gd name="T1" fmla="*/ 601 h 636"/>
                  <a:gd name="T2" fmla="*/ 21 w 466"/>
                  <a:gd name="T3" fmla="*/ 594 h 636"/>
                  <a:gd name="T4" fmla="*/ 54 w 466"/>
                  <a:gd name="T5" fmla="*/ 567 h 636"/>
                  <a:gd name="T6" fmla="*/ 34 w 466"/>
                  <a:gd name="T7" fmla="*/ 594 h 636"/>
                  <a:gd name="T8" fmla="*/ 61 w 466"/>
                  <a:gd name="T9" fmla="*/ 587 h 636"/>
                  <a:gd name="T10" fmla="*/ 81 w 466"/>
                  <a:gd name="T11" fmla="*/ 560 h 636"/>
                  <a:gd name="T12" fmla="*/ 81 w 466"/>
                  <a:gd name="T13" fmla="*/ 462 h 636"/>
                  <a:gd name="T14" fmla="*/ 101 w 466"/>
                  <a:gd name="T15" fmla="*/ 427 h 636"/>
                  <a:gd name="T16" fmla="*/ 122 w 466"/>
                  <a:gd name="T17" fmla="*/ 427 h 636"/>
                  <a:gd name="T18" fmla="*/ 115 w 466"/>
                  <a:gd name="T19" fmla="*/ 441 h 636"/>
                  <a:gd name="T20" fmla="*/ 108 w 466"/>
                  <a:gd name="T21" fmla="*/ 490 h 636"/>
                  <a:gd name="T22" fmla="*/ 108 w 466"/>
                  <a:gd name="T23" fmla="*/ 517 h 636"/>
                  <a:gd name="T24" fmla="*/ 101 w 466"/>
                  <a:gd name="T25" fmla="*/ 546 h 636"/>
                  <a:gd name="T26" fmla="*/ 74 w 466"/>
                  <a:gd name="T27" fmla="*/ 510 h 636"/>
                  <a:gd name="T28" fmla="*/ 115 w 466"/>
                  <a:gd name="T29" fmla="*/ 350 h 636"/>
                  <a:gd name="T30" fmla="*/ 115 w 466"/>
                  <a:gd name="T31" fmla="*/ 378 h 636"/>
                  <a:gd name="T32" fmla="*/ 142 w 466"/>
                  <a:gd name="T33" fmla="*/ 392 h 636"/>
                  <a:gd name="T34" fmla="*/ 129 w 466"/>
                  <a:gd name="T35" fmla="*/ 413 h 636"/>
                  <a:gd name="T36" fmla="*/ 88 w 466"/>
                  <a:gd name="T37" fmla="*/ 322 h 636"/>
                  <a:gd name="T38" fmla="*/ 142 w 466"/>
                  <a:gd name="T39" fmla="*/ 301 h 636"/>
                  <a:gd name="T40" fmla="*/ 149 w 466"/>
                  <a:gd name="T41" fmla="*/ 315 h 636"/>
                  <a:gd name="T42" fmla="*/ 169 w 466"/>
                  <a:gd name="T43" fmla="*/ 322 h 636"/>
                  <a:gd name="T44" fmla="*/ 169 w 466"/>
                  <a:gd name="T45" fmla="*/ 357 h 636"/>
                  <a:gd name="T46" fmla="*/ 156 w 466"/>
                  <a:gd name="T47" fmla="*/ 371 h 636"/>
                  <a:gd name="T48" fmla="*/ 142 w 466"/>
                  <a:gd name="T49" fmla="*/ 378 h 636"/>
                  <a:gd name="T50" fmla="*/ 108 w 466"/>
                  <a:gd name="T51" fmla="*/ 336 h 636"/>
                  <a:gd name="T52" fmla="*/ 129 w 466"/>
                  <a:gd name="T53" fmla="*/ 378 h 636"/>
                  <a:gd name="T54" fmla="*/ 149 w 466"/>
                  <a:gd name="T55" fmla="*/ 385 h 636"/>
                  <a:gd name="T56" fmla="*/ 176 w 466"/>
                  <a:gd name="T57" fmla="*/ 273 h 636"/>
                  <a:gd name="T58" fmla="*/ 176 w 466"/>
                  <a:gd name="T59" fmla="*/ 294 h 636"/>
                  <a:gd name="T60" fmla="*/ 183 w 466"/>
                  <a:gd name="T61" fmla="*/ 329 h 636"/>
                  <a:gd name="T62" fmla="*/ 223 w 466"/>
                  <a:gd name="T63" fmla="*/ 161 h 636"/>
                  <a:gd name="T64" fmla="*/ 230 w 466"/>
                  <a:gd name="T65" fmla="*/ 217 h 636"/>
                  <a:gd name="T66" fmla="*/ 304 w 466"/>
                  <a:gd name="T67" fmla="*/ 259 h 636"/>
                  <a:gd name="T68" fmla="*/ 311 w 466"/>
                  <a:gd name="T69" fmla="*/ 106 h 636"/>
                  <a:gd name="T70" fmla="*/ 304 w 466"/>
                  <a:gd name="T71" fmla="*/ 203 h 636"/>
                  <a:gd name="T72" fmla="*/ 250 w 466"/>
                  <a:gd name="T73" fmla="*/ 238 h 636"/>
                  <a:gd name="T74" fmla="*/ 264 w 466"/>
                  <a:gd name="T75" fmla="*/ 210 h 636"/>
                  <a:gd name="T76" fmla="*/ 230 w 466"/>
                  <a:gd name="T77" fmla="*/ 182 h 636"/>
                  <a:gd name="T78" fmla="*/ 237 w 466"/>
                  <a:gd name="T79" fmla="*/ 161 h 636"/>
                  <a:gd name="T80" fmla="*/ 230 w 466"/>
                  <a:gd name="T81" fmla="*/ 120 h 636"/>
                  <a:gd name="T82" fmla="*/ 250 w 466"/>
                  <a:gd name="T83" fmla="*/ 98 h 636"/>
                  <a:gd name="T84" fmla="*/ 284 w 466"/>
                  <a:gd name="T85" fmla="*/ 106 h 636"/>
                  <a:gd name="T86" fmla="*/ 318 w 466"/>
                  <a:gd name="T87" fmla="*/ 120 h 636"/>
                  <a:gd name="T88" fmla="*/ 311 w 466"/>
                  <a:gd name="T89" fmla="*/ 70 h 636"/>
                  <a:gd name="T90" fmla="*/ 392 w 466"/>
                  <a:gd name="T91" fmla="*/ 36 h 636"/>
                  <a:gd name="T92" fmla="*/ 460 w 466"/>
                  <a:gd name="T93" fmla="*/ 36 h 636"/>
                  <a:gd name="T94" fmla="*/ 419 w 466"/>
                  <a:gd name="T95" fmla="*/ 106 h 636"/>
                  <a:gd name="T96" fmla="*/ 440 w 466"/>
                  <a:gd name="T97" fmla="*/ 120 h 636"/>
                  <a:gd name="T98" fmla="*/ 405 w 466"/>
                  <a:gd name="T99" fmla="*/ 133 h 636"/>
                  <a:gd name="T100" fmla="*/ 392 w 466"/>
                  <a:gd name="T101" fmla="*/ 154 h 636"/>
                  <a:gd name="T102" fmla="*/ 338 w 466"/>
                  <a:gd name="T103" fmla="*/ 161 h 636"/>
                  <a:gd name="T104" fmla="*/ 385 w 466"/>
                  <a:gd name="T105" fmla="*/ 182 h 636"/>
                  <a:gd name="T106" fmla="*/ 352 w 466"/>
                  <a:gd name="T107" fmla="*/ 203 h 636"/>
                  <a:gd name="T108" fmla="*/ 338 w 466"/>
                  <a:gd name="T109" fmla="*/ 224 h 636"/>
                  <a:gd name="T110" fmla="*/ 311 w 466"/>
                  <a:gd name="T111" fmla="*/ 217 h 636"/>
                  <a:gd name="T112" fmla="*/ 318 w 466"/>
                  <a:gd name="T113" fmla="*/ 182 h 636"/>
                  <a:gd name="T114" fmla="*/ 291 w 466"/>
                  <a:gd name="T115" fmla="*/ 245 h 636"/>
                  <a:gd name="T116" fmla="*/ 284 w 466"/>
                  <a:gd name="T117" fmla="*/ 266 h 636"/>
                  <a:gd name="T118" fmla="*/ 250 w 466"/>
                  <a:gd name="T119" fmla="*/ 280 h 636"/>
                  <a:gd name="T120" fmla="*/ 209 w 466"/>
                  <a:gd name="T121" fmla="*/ 259 h 636"/>
                  <a:gd name="T122" fmla="*/ 379 w 466"/>
                  <a:gd name="T123" fmla="*/ 16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6" h="636">
                    <a:moveTo>
                      <a:pt x="0" y="630"/>
                    </a:moveTo>
                    <a:lnTo>
                      <a:pt x="7" y="630"/>
                    </a:lnTo>
                    <a:lnTo>
                      <a:pt x="7" y="636"/>
                    </a:lnTo>
                    <a:lnTo>
                      <a:pt x="7" y="630"/>
                    </a:lnTo>
                    <a:lnTo>
                      <a:pt x="0" y="636"/>
                    </a:lnTo>
                    <a:lnTo>
                      <a:pt x="0" y="630"/>
                    </a:lnTo>
                    <a:close/>
                    <a:moveTo>
                      <a:pt x="21" y="622"/>
                    </a:moveTo>
                    <a:lnTo>
                      <a:pt x="14" y="622"/>
                    </a:lnTo>
                    <a:lnTo>
                      <a:pt x="14" y="615"/>
                    </a:lnTo>
                    <a:lnTo>
                      <a:pt x="21" y="615"/>
                    </a:lnTo>
                    <a:lnTo>
                      <a:pt x="27" y="615"/>
                    </a:lnTo>
                    <a:lnTo>
                      <a:pt x="27" y="622"/>
                    </a:lnTo>
                    <a:lnTo>
                      <a:pt x="21" y="622"/>
                    </a:lnTo>
                    <a:close/>
                    <a:moveTo>
                      <a:pt x="14" y="601"/>
                    </a:moveTo>
                    <a:lnTo>
                      <a:pt x="14" y="594"/>
                    </a:lnTo>
                    <a:lnTo>
                      <a:pt x="21" y="594"/>
                    </a:lnTo>
                    <a:lnTo>
                      <a:pt x="21" y="601"/>
                    </a:lnTo>
                    <a:lnTo>
                      <a:pt x="27" y="601"/>
                    </a:lnTo>
                    <a:lnTo>
                      <a:pt x="27" y="608"/>
                    </a:lnTo>
                    <a:lnTo>
                      <a:pt x="27" y="601"/>
                    </a:lnTo>
                    <a:lnTo>
                      <a:pt x="21" y="601"/>
                    </a:lnTo>
                    <a:lnTo>
                      <a:pt x="21" y="608"/>
                    </a:lnTo>
                    <a:lnTo>
                      <a:pt x="27" y="608"/>
                    </a:lnTo>
                    <a:lnTo>
                      <a:pt x="21" y="608"/>
                    </a:lnTo>
                    <a:lnTo>
                      <a:pt x="14" y="608"/>
                    </a:lnTo>
                    <a:lnTo>
                      <a:pt x="14" y="601"/>
                    </a:lnTo>
                    <a:lnTo>
                      <a:pt x="14" y="608"/>
                    </a:lnTo>
                    <a:lnTo>
                      <a:pt x="21" y="601"/>
                    </a:lnTo>
                    <a:lnTo>
                      <a:pt x="14" y="601"/>
                    </a:lnTo>
                    <a:close/>
                    <a:moveTo>
                      <a:pt x="41" y="615"/>
                    </a:moveTo>
                    <a:lnTo>
                      <a:pt x="34" y="615"/>
                    </a:lnTo>
                    <a:lnTo>
                      <a:pt x="41" y="608"/>
                    </a:lnTo>
                    <a:lnTo>
                      <a:pt x="41" y="615"/>
                    </a:lnTo>
                    <a:close/>
                    <a:moveTo>
                      <a:pt x="21" y="594"/>
                    </a:moveTo>
                    <a:lnTo>
                      <a:pt x="21" y="587"/>
                    </a:lnTo>
                    <a:lnTo>
                      <a:pt x="21" y="580"/>
                    </a:lnTo>
                    <a:lnTo>
                      <a:pt x="27" y="580"/>
                    </a:lnTo>
                    <a:lnTo>
                      <a:pt x="34" y="580"/>
                    </a:lnTo>
                    <a:lnTo>
                      <a:pt x="34" y="573"/>
                    </a:lnTo>
                    <a:lnTo>
                      <a:pt x="34" y="567"/>
                    </a:lnTo>
                    <a:lnTo>
                      <a:pt x="27" y="567"/>
                    </a:lnTo>
                    <a:lnTo>
                      <a:pt x="34" y="567"/>
                    </a:lnTo>
                    <a:lnTo>
                      <a:pt x="41" y="567"/>
                    </a:lnTo>
                    <a:lnTo>
                      <a:pt x="48" y="567"/>
                    </a:lnTo>
                    <a:lnTo>
                      <a:pt x="54" y="560"/>
                    </a:lnTo>
                    <a:lnTo>
                      <a:pt x="48" y="560"/>
                    </a:lnTo>
                    <a:lnTo>
                      <a:pt x="54" y="560"/>
                    </a:lnTo>
                    <a:lnTo>
                      <a:pt x="48" y="553"/>
                    </a:lnTo>
                    <a:lnTo>
                      <a:pt x="54" y="553"/>
                    </a:lnTo>
                    <a:lnTo>
                      <a:pt x="54" y="560"/>
                    </a:lnTo>
                    <a:lnTo>
                      <a:pt x="54" y="567"/>
                    </a:lnTo>
                    <a:lnTo>
                      <a:pt x="48" y="567"/>
                    </a:lnTo>
                    <a:lnTo>
                      <a:pt x="54" y="573"/>
                    </a:lnTo>
                    <a:lnTo>
                      <a:pt x="61" y="573"/>
                    </a:lnTo>
                    <a:lnTo>
                      <a:pt x="61" y="580"/>
                    </a:lnTo>
                    <a:lnTo>
                      <a:pt x="54" y="580"/>
                    </a:lnTo>
                    <a:lnTo>
                      <a:pt x="54" y="573"/>
                    </a:lnTo>
                    <a:lnTo>
                      <a:pt x="54" y="580"/>
                    </a:lnTo>
                    <a:lnTo>
                      <a:pt x="61" y="580"/>
                    </a:lnTo>
                    <a:lnTo>
                      <a:pt x="61" y="587"/>
                    </a:lnTo>
                    <a:lnTo>
                      <a:pt x="54" y="587"/>
                    </a:lnTo>
                    <a:lnTo>
                      <a:pt x="48" y="587"/>
                    </a:lnTo>
                    <a:lnTo>
                      <a:pt x="48" y="594"/>
                    </a:lnTo>
                    <a:lnTo>
                      <a:pt x="41" y="594"/>
                    </a:lnTo>
                    <a:lnTo>
                      <a:pt x="48" y="601"/>
                    </a:lnTo>
                    <a:lnTo>
                      <a:pt x="41" y="601"/>
                    </a:lnTo>
                    <a:lnTo>
                      <a:pt x="34" y="601"/>
                    </a:lnTo>
                    <a:lnTo>
                      <a:pt x="34" y="594"/>
                    </a:lnTo>
                    <a:lnTo>
                      <a:pt x="27" y="594"/>
                    </a:lnTo>
                    <a:lnTo>
                      <a:pt x="21" y="594"/>
                    </a:lnTo>
                    <a:close/>
                    <a:moveTo>
                      <a:pt x="48" y="350"/>
                    </a:moveTo>
                    <a:lnTo>
                      <a:pt x="48" y="343"/>
                    </a:lnTo>
                    <a:lnTo>
                      <a:pt x="54" y="343"/>
                    </a:lnTo>
                    <a:lnTo>
                      <a:pt x="48" y="343"/>
                    </a:lnTo>
                    <a:lnTo>
                      <a:pt x="48" y="350"/>
                    </a:lnTo>
                    <a:close/>
                    <a:moveTo>
                      <a:pt x="61" y="350"/>
                    </a:moveTo>
                    <a:lnTo>
                      <a:pt x="61" y="343"/>
                    </a:lnTo>
                    <a:lnTo>
                      <a:pt x="68" y="343"/>
                    </a:lnTo>
                    <a:lnTo>
                      <a:pt x="68" y="350"/>
                    </a:lnTo>
                    <a:lnTo>
                      <a:pt x="61" y="350"/>
                    </a:lnTo>
                    <a:close/>
                    <a:moveTo>
                      <a:pt x="61" y="587"/>
                    </a:moveTo>
                    <a:lnTo>
                      <a:pt x="61" y="580"/>
                    </a:lnTo>
                    <a:lnTo>
                      <a:pt x="68" y="580"/>
                    </a:lnTo>
                    <a:lnTo>
                      <a:pt x="68" y="587"/>
                    </a:lnTo>
                    <a:lnTo>
                      <a:pt x="61" y="587"/>
                    </a:lnTo>
                    <a:close/>
                    <a:moveTo>
                      <a:pt x="61" y="567"/>
                    </a:moveTo>
                    <a:lnTo>
                      <a:pt x="61" y="560"/>
                    </a:lnTo>
                    <a:lnTo>
                      <a:pt x="68" y="560"/>
                    </a:lnTo>
                    <a:lnTo>
                      <a:pt x="61" y="560"/>
                    </a:lnTo>
                    <a:lnTo>
                      <a:pt x="68" y="553"/>
                    </a:lnTo>
                    <a:lnTo>
                      <a:pt x="68" y="560"/>
                    </a:lnTo>
                    <a:lnTo>
                      <a:pt x="68" y="567"/>
                    </a:lnTo>
                    <a:lnTo>
                      <a:pt x="61" y="567"/>
                    </a:lnTo>
                    <a:close/>
                    <a:moveTo>
                      <a:pt x="68" y="580"/>
                    </a:moveTo>
                    <a:lnTo>
                      <a:pt x="68" y="573"/>
                    </a:lnTo>
                    <a:lnTo>
                      <a:pt x="74" y="573"/>
                    </a:lnTo>
                    <a:lnTo>
                      <a:pt x="74" y="580"/>
                    </a:lnTo>
                    <a:lnTo>
                      <a:pt x="68" y="580"/>
                    </a:lnTo>
                    <a:close/>
                    <a:moveTo>
                      <a:pt x="74" y="580"/>
                    </a:moveTo>
                    <a:lnTo>
                      <a:pt x="74" y="573"/>
                    </a:lnTo>
                    <a:lnTo>
                      <a:pt x="74" y="580"/>
                    </a:lnTo>
                    <a:close/>
                    <a:moveTo>
                      <a:pt x="81" y="560"/>
                    </a:moveTo>
                    <a:lnTo>
                      <a:pt x="88" y="553"/>
                    </a:lnTo>
                    <a:lnTo>
                      <a:pt x="81" y="553"/>
                    </a:lnTo>
                    <a:lnTo>
                      <a:pt x="88" y="553"/>
                    </a:lnTo>
                    <a:lnTo>
                      <a:pt x="88" y="546"/>
                    </a:lnTo>
                    <a:lnTo>
                      <a:pt x="88" y="553"/>
                    </a:lnTo>
                    <a:lnTo>
                      <a:pt x="88" y="546"/>
                    </a:lnTo>
                    <a:lnTo>
                      <a:pt x="88" y="553"/>
                    </a:lnTo>
                    <a:lnTo>
                      <a:pt x="95" y="553"/>
                    </a:lnTo>
                    <a:lnTo>
                      <a:pt x="95" y="560"/>
                    </a:lnTo>
                    <a:lnTo>
                      <a:pt x="88" y="560"/>
                    </a:lnTo>
                    <a:lnTo>
                      <a:pt x="88" y="567"/>
                    </a:lnTo>
                    <a:lnTo>
                      <a:pt x="81" y="567"/>
                    </a:lnTo>
                    <a:lnTo>
                      <a:pt x="81" y="560"/>
                    </a:lnTo>
                    <a:close/>
                    <a:moveTo>
                      <a:pt x="68" y="476"/>
                    </a:moveTo>
                    <a:lnTo>
                      <a:pt x="74" y="476"/>
                    </a:lnTo>
                    <a:lnTo>
                      <a:pt x="81" y="469"/>
                    </a:lnTo>
                    <a:lnTo>
                      <a:pt x="81" y="462"/>
                    </a:lnTo>
                    <a:lnTo>
                      <a:pt x="81" y="455"/>
                    </a:lnTo>
                    <a:lnTo>
                      <a:pt x="88" y="455"/>
                    </a:lnTo>
                    <a:lnTo>
                      <a:pt x="88" y="447"/>
                    </a:lnTo>
                    <a:lnTo>
                      <a:pt x="95" y="441"/>
                    </a:lnTo>
                    <a:lnTo>
                      <a:pt x="95" y="434"/>
                    </a:lnTo>
                    <a:lnTo>
                      <a:pt x="95" y="427"/>
                    </a:lnTo>
                    <a:lnTo>
                      <a:pt x="88" y="420"/>
                    </a:lnTo>
                    <a:lnTo>
                      <a:pt x="95" y="413"/>
                    </a:lnTo>
                    <a:lnTo>
                      <a:pt x="95" y="420"/>
                    </a:lnTo>
                    <a:lnTo>
                      <a:pt x="95" y="413"/>
                    </a:lnTo>
                    <a:lnTo>
                      <a:pt x="101" y="413"/>
                    </a:lnTo>
                    <a:lnTo>
                      <a:pt x="101" y="420"/>
                    </a:lnTo>
                    <a:lnTo>
                      <a:pt x="95" y="413"/>
                    </a:lnTo>
                    <a:lnTo>
                      <a:pt x="95" y="420"/>
                    </a:lnTo>
                    <a:lnTo>
                      <a:pt x="101" y="420"/>
                    </a:lnTo>
                    <a:lnTo>
                      <a:pt x="95" y="427"/>
                    </a:lnTo>
                    <a:lnTo>
                      <a:pt x="101" y="427"/>
                    </a:lnTo>
                    <a:lnTo>
                      <a:pt x="101" y="434"/>
                    </a:lnTo>
                    <a:lnTo>
                      <a:pt x="108" y="434"/>
                    </a:lnTo>
                    <a:lnTo>
                      <a:pt x="115" y="441"/>
                    </a:lnTo>
                    <a:lnTo>
                      <a:pt x="108" y="434"/>
                    </a:lnTo>
                    <a:lnTo>
                      <a:pt x="115" y="434"/>
                    </a:lnTo>
                    <a:lnTo>
                      <a:pt x="108" y="434"/>
                    </a:lnTo>
                    <a:lnTo>
                      <a:pt x="108" y="427"/>
                    </a:lnTo>
                    <a:lnTo>
                      <a:pt x="101" y="427"/>
                    </a:lnTo>
                    <a:lnTo>
                      <a:pt x="108" y="420"/>
                    </a:lnTo>
                    <a:lnTo>
                      <a:pt x="101" y="420"/>
                    </a:lnTo>
                    <a:lnTo>
                      <a:pt x="101" y="413"/>
                    </a:lnTo>
                    <a:lnTo>
                      <a:pt x="108" y="413"/>
                    </a:lnTo>
                    <a:lnTo>
                      <a:pt x="115" y="413"/>
                    </a:lnTo>
                    <a:lnTo>
                      <a:pt x="115" y="420"/>
                    </a:lnTo>
                    <a:lnTo>
                      <a:pt x="122" y="427"/>
                    </a:lnTo>
                    <a:lnTo>
                      <a:pt x="115" y="427"/>
                    </a:lnTo>
                    <a:lnTo>
                      <a:pt x="122" y="427"/>
                    </a:lnTo>
                    <a:lnTo>
                      <a:pt x="115" y="427"/>
                    </a:lnTo>
                    <a:lnTo>
                      <a:pt x="122" y="427"/>
                    </a:lnTo>
                    <a:lnTo>
                      <a:pt x="122" y="434"/>
                    </a:lnTo>
                    <a:lnTo>
                      <a:pt x="129" y="441"/>
                    </a:lnTo>
                    <a:lnTo>
                      <a:pt x="122" y="441"/>
                    </a:lnTo>
                    <a:lnTo>
                      <a:pt x="115" y="441"/>
                    </a:lnTo>
                    <a:lnTo>
                      <a:pt x="115" y="434"/>
                    </a:lnTo>
                    <a:lnTo>
                      <a:pt x="122" y="441"/>
                    </a:lnTo>
                    <a:lnTo>
                      <a:pt x="122" y="434"/>
                    </a:lnTo>
                    <a:lnTo>
                      <a:pt x="115" y="434"/>
                    </a:lnTo>
                    <a:lnTo>
                      <a:pt x="115" y="441"/>
                    </a:lnTo>
                    <a:lnTo>
                      <a:pt x="122" y="441"/>
                    </a:lnTo>
                    <a:lnTo>
                      <a:pt x="129" y="441"/>
                    </a:lnTo>
                    <a:lnTo>
                      <a:pt x="129" y="447"/>
                    </a:lnTo>
                    <a:lnTo>
                      <a:pt x="122" y="447"/>
                    </a:lnTo>
                    <a:lnTo>
                      <a:pt x="115" y="447"/>
                    </a:lnTo>
                    <a:lnTo>
                      <a:pt x="115" y="441"/>
                    </a:lnTo>
                    <a:lnTo>
                      <a:pt x="115" y="447"/>
                    </a:lnTo>
                    <a:lnTo>
                      <a:pt x="122" y="447"/>
                    </a:lnTo>
                    <a:lnTo>
                      <a:pt x="115" y="447"/>
                    </a:lnTo>
                    <a:lnTo>
                      <a:pt x="115" y="455"/>
                    </a:lnTo>
                    <a:lnTo>
                      <a:pt x="122" y="447"/>
                    </a:lnTo>
                    <a:lnTo>
                      <a:pt x="122" y="455"/>
                    </a:lnTo>
                    <a:lnTo>
                      <a:pt x="129" y="455"/>
                    </a:lnTo>
                    <a:lnTo>
                      <a:pt x="129" y="462"/>
                    </a:lnTo>
                    <a:lnTo>
                      <a:pt x="135" y="469"/>
                    </a:lnTo>
                    <a:lnTo>
                      <a:pt x="129" y="469"/>
                    </a:lnTo>
                    <a:lnTo>
                      <a:pt x="129" y="476"/>
                    </a:lnTo>
                    <a:lnTo>
                      <a:pt x="122" y="469"/>
                    </a:lnTo>
                    <a:lnTo>
                      <a:pt x="122" y="476"/>
                    </a:lnTo>
                    <a:lnTo>
                      <a:pt x="115" y="476"/>
                    </a:lnTo>
                    <a:lnTo>
                      <a:pt x="115" y="483"/>
                    </a:lnTo>
                    <a:lnTo>
                      <a:pt x="115" y="490"/>
                    </a:lnTo>
                    <a:lnTo>
                      <a:pt x="108" y="490"/>
                    </a:lnTo>
                    <a:lnTo>
                      <a:pt x="101" y="490"/>
                    </a:lnTo>
                    <a:lnTo>
                      <a:pt x="108" y="490"/>
                    </a:lnTo>
                    <a:lnTo>
                      <a:pt x="101" y="490"/>
                    </a:lnTo>
                    <a:lnTo>
                      <a:pt x="101" y="483"/>
                    </a:lnTo>
                    <a:lnTo>
                      <a:pt x="101" y="490"/>
                    </a:lnTo>
                    <a:lnTo>
                      <a:pt x="101" y="483"/>
                    </a:lnTo>
                    <a:lnTo>
                      <a:pt x="95" y="490"/>
                    </a:lnTo>
                    <a:lnTo>
                      <a:pt x="95" y="483"/>
                    </a:lnTo>
                    <a:lnTo>
                      <a:pt x="88" y="483"/>
                    </a:lnTo>
                    <a:lnTo>
                      <a:pt x="88" y="490"/>
                    </a:lnTo>
                    <a:lnTo>
                      <a:pt x="95" y="490"/>
                    </a:lnTo>
                    <a:lnTo>
                      <a:pt x="101" y="490"/>
                    </a:lnTo>
                    <a:lnTo>
                      <a:pt x="101" y="497"/>
                    </a:lnTo>
                    <a:lnTo>
                      <a:pt x="108" y="497"/>
                    </a:lnTo>
                    <a:lnTo>
                      <a:pt x="108" y="504"/>
                    </a:lnTo>
                    <a:lnTo>
                      <a:pt x="108" y="510"/>
                    </a:lnTo>
                    <a:lnTo>
                      <a:pt x="108" y="517"/>
                    </a:lnTo>
                    <a:lnTo>
                      <a:pt x="108" y="524"/>
                    </a:lnTo>
                    <a:lnTo>
                      <a:pt x="101" y="524"/>
                    </a:lnTo>
                    <a:lnTo>
                      <a:pt x="95" y="517"/>
                    </a:lnTo>
                    <a:lnTo>
                      <a:pt x="88" y="517"/>
                    </a:lnTo>
                    <a:lnTo>
                      <a:pt x="95" y="517"/>
                    </a:lnTo>
                    <a:lnTo>
                      <a:pt x="95" y="524"/>
                    </a:lnTo>
                    <a:lnTo>
                      <a:pt x="88" y="524"/>
                    </a:lnTo>
                    <a:lnTo>
                      <a:pt x="88" y="517"/>
                    </a:lnTo>
                    <a:lnTo>
                      <a:pt x="81" y="517"/>
                    </a:lnTo>
                    <a:lnTo>
                      <a:pt x="88" y="517"/>
                    </a:lnTo>
                    <a:lnTo>
                      <a:pt x="81" y="517"/>
                    </a:lnTo>
                    <a:lnTo>
                      <a:pt x="88" y="524"/>
                    </a:lnTo>
                    <a:lnTo>
                      <a:pt x="88" y="531"/>
                    </a:lnTo>
                    <a:lnTo>
                      <a:pt x="95" y="531"/>
                    </a:lnTo>
                    <a:lnTo>
                      <a:pt x="101" y="531"/>
                    </a:lnTo>
                    <a:lnTo>
                      <a:pt x="101" y="539"/>
                    </a:lnTo>
                    <a:lnTo>
                      <a:pt x="101" y="546"/>
                    </a:lnTo>
                    <a:lnTo>
                      <a:pt x="108" y="539"/>
                    </a:lnTo>
                    <a:lnTo>
                      <a:pt x="108" y="546"/>
                    </a:lnTo>
                    <a:lnTo>
                      <a:pt x="101" y="546"/>
                    </a:lnTo>
                    <a:lnTo>
                      <a:pt x="101" y="553"/>
                    </a:lnTo>
                    <a:lnTo>
                      <a:pt x="101" y="546"/>
                    </a:lnTo>
                    <a:lnTo>
                      <a:pt x="95" y="546"/>
                    </a:lnTo>
                    <a:lnTo>
                      <a:pt x="88" y="546"/>
                    </a:lnTo>
                    <a:lnTo>
                      <a:pt x="88" y="539"/>
                    </a:lnTo>
                    <a:lnTo>
                      <a:pt x="88" y="546"/>
                    </a:lnTo>
                    <a:lnTo>
                      <a:pt x="81" y="546"/>
                    </a:lnTo>
                    <a:lnTo>
                      <a:pt x="81" y="539"/>
                    </a:lnTo>
                    <a:lnTo>
                      <a:pt x="74" y="539"/>
                    </a:lnTo>
                    <a:lnTo>
                      <a:pt x="68" y="531"/>
                    </a:lnTo>
                    <a:lnTo>
                      <a:pt x="74" y="531"/>
                    </a:lnTo>
                    <a:lnTo>
                      <a:pt x="68" y="524"/>
                    </a:lnTo>
                    <a:lnTo>
                      <a:pt x="68" y="517"/>
                    </a:lnTo>
                    <a:lnTo>
                      <a:pt x="74" y="510"/>
                    </a:lnTo>
                    <a:lnTo>
                      <a:pt x="74" y="504"/>
                    </a:lnTo>
                    <a:lnTo>
                      <a:pt x="74" y="497"/>
                    </a:lnTo>
                    <a:lnTo>
                      <a:pt x="74" y="490"/>
                    </a:lnTo>
                    <a:lnTo>
                      <a:pt x="74" y="483"/>
                    </a:lnTo>
                    <a:lnTo>
                      <a:pt x="74" y="476"/>
                    </a:lnTo>
                    <a:lnTo>
                      <a:pt x="68" y="476"/>
                    </a:lnTo>
                    <a:close/>
                    <a:moveTo>
                      <a:pt x="108" y="343"/>
                    </a:moveTo>
                    <a:lnTo>
                      <a:pt x="108" y="336"/>
                    </a:lnTo>
                    <a:lnTo>
                      <a:pt x="108" y="343"/>
                    </a:lnTo>
                    <a:lnTo>
                      <a:pt x="108" y="350"/>
                    </a:lnTo>
                    <a:lnTo>
                      <a:pt x="108" y="343"/>
                    </a:lnTo>
                    <a:close/>
                    <a:moveTo>
                      <a:pt x="115" y="357"/>
                    </a:moveTo>
                    <a:lnTo>
                      <a:pt x="108" y="350"/>
                    </a:lnTo>
                    <a:lnTo>
                      <a:pt x="115" y="350"/>
                    </a:lnTo>
                    <a:lnTo>
                      <a:pt x="108" y="350"/>
                    </a:lnTo>
                    <a:lnTo>
                      <a:pt x="115" y="357"/>
                    </a:lnTo>
                    <a:lnTo>
                      <a:pt x="115" y="350"/>
                    </a:lnTo>
                    <a:lnTo>
                      <a:pt x="122" y="357"/>
                    </a:lnTo>
                    <a:lnTo>
                      <a:pt x="115" y="357"/>
                    </a:lnTo>
                    <a:lnTo>
                      <a:pt x="122" y="357"/>
                    </a:lnTo>
                    <a:lnTo>
                      <a:pt x="122" y="364"/>
                    </a:lnTo>
                    <a:lnTo>
                      <a:pt x="122" y="371"/>
                    </a:lnTo>
                    <a:lnTo>
                      <a:pt x="115" y="371"/>
                    </a:lnTo>
                    <a:lnTo>
                      <a:pt x="115" y="364"/>
                    </a:lnTo>
                    <a:lnTo>
                      <a:pt x="115" y="357"/>
                    </a:lnTo>
                    <a:close/>
                    <a:moveTo>
                      <a:pt x="115" y="301"/>
                    </a:moveTo>
                    <a:lnTo>
                      <a:pt x="122" y="301"/>
                    </a:lnTo>
                    <a:lnTo>
                      <a:pt x="129" y="301"/>
                    </a:lnTo>
                    <a:lnTo>
                      <a:pt x="122" y="301"/>
                    </a:lnTo>
                    <a:lnTo>
                      <a:pt x="115" y="301"/>
                    </a:lnTo>
                    <a:close/>
                    <a:moveTo>
                      <a:pt x="101" y="392"/>
                    </a:moveTo>
                    <a:lnTo>
                      <a:pt x="101" y="385"/>
                    </a:lnTo>
                    <a:lnTo>
                      <a:pt x="108" y="378"/>
                    </a:lnTo>
                    <a:lnTo>
                      <a:pt x="115" y="378"/>
                    </a:lnTo>
                    <a:lnTo>
                      <a:pt x="122" y="378"/>
                    </a:lnTo>
                    <a:lnTo>
                      <a:pt x="115" y="378"/>
                    </a:lnTo>
                    <a:lnTo>
                      <a:pt x="122" y="378"/>
                    </a:lnTo>
                    <a:lnTo>
                      <a:pt x="122" y="385"/>
                    </a:lnTo>
                    <a:lnTo>
                      <a:pt x="129" y="385"/>
                    </a:lnTo>
                    <a:lnTo>
                      <a:pt x="129" y="378"/>
                    </a:lnTo>
                    <a:lnTo>
                      <a:pt x="129" y="385"/>
                    </a:lnTo>
                    <a:lnTo>
                      <a:pt x="135" y="385"/>
                    </a:lnTo>
                    <a:lnTo>
                      <a:pt x="129" y="385"/>
                    </a:lnTo>
                    <a:lnTo>
                      <a:pt x="129" y="392"/>
                    </a:lnTo>
                    <a:lnTo>
                      <a:pt x="135" y="392"/>
                    </a:lnTo>
                    <a:lnTo>
                      <a:pt x="135" y="385"/>
                    </a:lnTo>
                    <a:lnTo>
                      <a:pt x="142" y="392"/>
                    </a:lnTo>
                    <a:lnTo>
                      <a:pt x="135" y="392"/>
                    </a:lnTo>
                    <a:lnTo>
                      <a:pt x="142" y="392"/>
                    </a:lnTo>
                    <a:lnTo>
                      <a:pt x="142" y="399"/>
                    </a:lnTo>
                    <a:lnTo>
                      <a:pt x="142" y="392"/>
                    </a:lnTo>
                    <a:lnTo>
                      <a:pt x="135" y="399"/>
                    </a:lnTo>
                    <a:lnTo>
                      <a:pt x="142" y="399"/>
                    </a:lnTo>
                    <a:lnTo>
                      <a:pt x="135" y="399"/>
                    </a:lnTo>
                    <a:lnTo>
                      <a:pt x="129" y="399"/>
                    </a:lnTo>
                    <a:lnTo>
                      <a:pt x="122" y="399"/>
                    </a:lnTo>
                    <a:lnTo>
                      <a:pt x="122" y="406"/>
                    </a:lnTo>
                    <a:lnTo>
                      <a:pt x="129" y="406"/>
                    </a:lnTo>
                    <a:lnTo>
                      <a:pt x="135" y="406"/>
                    </a:lnTo>
                    <a:lnTo>
                      <a:pt x="142" y="406"/>
                    </a:lnTo>
                    <a:lnTo>
                      <a:pt x="135" y="406"/>
                    </a:lnTo>
                    <a:lnTo>
                      <a:pt x="142" y="406"/>
                    </a:lnTo>
                    <a:lnTo>
                      <a:pt x="142" y="413"/>
                    </a:lnTo>
                    <a:lnTo>
                      <a:pt x="135" y="413"/>
                    </a:lnTo>
                    <a:lnTo>
                      <a:pt x="142" y="413"/>
                    </a:lnTo>
                    <a:lnTo>
                      <a:pt x="135" y="413"/>
                    </a:lnTo>
                    <a:lnTo>
                      <a:pt x="135" y="420"/>
                    </a:lnTo>
                    <a:lnTo>
                      <a:pt x="129" y="413"/>
                    </a:lnTo>
                    <a:lnTo>
                      <a:pt x="135" y="420"/>
                    </a:lnTo>
                    <a:lnTo>
                      <a:pt x="129" y="420"/>
                    </a:lnTo>
                    <a:lnTo>
                      <a:pt x="129" y="413"/>
                    </a:lnTo>
                    <a:lnTo>
                      <a:pt x="122" y="413"/>
                    </a:lnTo>
                    <a:lnTo>
                      <a:pt x="115" y="413"/>
                    </a:lnTo>
                    <a:lnTo>
                      <a:pt x="122" y="413"/>
                    </a:lnTo>
                    <a:lnTo>
                      <a:pt x="115" y="413"/>
                    </a:lnTo>
                    <a:lnTo>
                      <a:pt x="115" y="420"/>
                    </a:lnTo>
                    <a:lnTo>
                      <a:pt x="115" y="413"/>
                    </a:lnTo>
                    <a:lnTo>
                      <a:pt x="115" y="406"/>
                    </a:lnTo>
                    <a:lnTo>
                      <a:pt x="108" y="406"/>
                    </a:lnTo>
                    <a:lnTo>
                      <a:pt x="101" y="399"/>
                    </a:lnTo>
                    <a:lnTo>
                      <a:pt x="101" y="392"/>
                    </a:lnTo>
                    <a:close/>
                    <a:moveTo>
                      <a:pt x="135" y="385"/>
                    </a:moveTo>
                    <a:lnTo>
                      <a:pt x="135" y="392"/>
                    </a:lnTo>
                    <a:lnTo>
                      <a:pt x="135" y="385"/>
                    </a:lnTo>
                    <a:close/>
                    <a:moveTo>
                      <a:pt x="88" y="322"/>
                    </a:moveTo>
                    <a:lnTo>
                      <a:pt x="88" y="315"/>
                    </a:lnTo>
                    <a:lnTo>
                      <a:pt x="88" y="322"/>
                    </a:lnTo>
                    <a:lnTo>
                      <a:pt x="95" y="322"/>
                    </a:lnTo>
                    <a:lnTo>
                      <a:pt x="95" y="315"/>
                    </a:lnTo>
                    <a:lnTo>
                      <a:pt x="95" y="308"/>
                    </a:lnTo>
                    <a:lnTo>
                      <a:pt x="101" y="308"/>
                    </a:lnTo>
                    <a:lnTo>
                      <a:pt x="101" y="301"/>
                    </a:lnTo>
                    <a:lnTo>
                      <a:pt x="108" y="301"/>
                    </a:lnTo>
                    <a:lnTo>
                      <a:pt x="115" y="301"/>
                    </a:lnTo>
                    <a:lnTo>
                      <a:pt x="122" y="308"/>
                    </a:lnTo>
                    <a:lnTo>
                      <a:pt x="115" y="308"/>
                    </a:lnTo>
                    <a:lnTo>
                      <a:pt x="122" y="315"/>
                    </a:lnTo>
                    <a:lnTo>
                      <a:pt x="129" y="315"/>
                    </a:lnTo>
                    <a:lnTo>
                      <a:pt x="129" y="308"/>
                    </a:lnTo>
                    <a:lnTo>
                      <a:pt x="129" y="301"/>
                    </a:lnTo>
                    <a:lnTo>
                      <a:pt x="135" y="301"/>
                    </a:lnTo>
                    <a:lnTo>
                      <a:pt x="142" y="301"/>
                    </a:lnTo>
                    <a:lnTo>
                      <a:pt x="135" y="301"/>
                    </a:lnTo>
                    <a:lnTo>
                      <a:pt x="135" y="294"/>
                    </a:lnTo>
                    <a:lnTo>
                      <a:pt x="142" y="301"/>
                    </a:lnTo>
                    <a:lnTo>
                      <a:pt x="142" y="294"/>
                    </a:lnTo>
                    <a:lnTo>
                      <a:pt x="149" y="294"/>
                    </a:lnTo>
                    <a:lnTo>
                      <a:pt x="142" y="294"/>
                    </a:lnTo>
                    <a:lnTo>
                      <a:pt x="142" y="301"/>
                    </a:lnTo>
                    <a:lnTo>
                      <a:pt x="135" y="308"/>
                    </a:lnTo>
                    <a:lnTo>
                      <a:pt x="142" y="308"/>
                    </a:lnTo>
                    <a:lnTo>
                      <a:pt x="149" y="315"/>
                    </a:lnTo>
                    <a:lnTo>
                      <a:pt x="142" y="315"/>
                    </a:lnTo>
                    <a:lnTo>
                      <a:pt x="149" y="315"/>
                    </a:lnTo>
                    <a:lnTo>
                      <a:pt x="142" y="315"/>
                    </a:lnTo>
                    <a:lnTo>
                      <a:pt x="142" y="322"/>
                    </a:lnTo>
                    <a:lnTo>
                      <a:pt x="142" y="329"/>
                    </a:lnTo>
                    <a:lnTo>
                      <a:pt x="149" y="322"/>
                    </a:lnTo>
                    <a:lnTo>
                      <a:pt x="149" y="315"/>
                    </a:lnTo>
                    <a:lnTo>
                      <a:pt x="156" y="315"/>
                    </a:lnTo>
                    <a:lnTo>
                      <a:pt x="156" y="308"/>
                    </a:lnTo>
                    <a:lnTo>
                      <a:pt x="156" y="315"/>
                    </a:lnTo>
                    <a:lnTo>
                      <a:pt x="156" y="308"/>
                    </a:lnTo>
                    <a:lnTo>
                      <a:pt x="149" y="308"/>
                    </a:lnTo>
                    <a:lnTo>
                      <a:pt x="156" y="308"/>
                    </a:lnTo>
                    <a:lnTo>
                      <a:pt x="162" y="308"/>
                    </a:lnTo>
                    <a:lnTo>
                      <a:pt x="162" y="301"/>
                    </a:lnTo>
                    <a:lnTo>
                      <a:pt x="169" y="301"/>
                    </a:lnTo>
                    <a:lnTo>
                      <a:pt x="176" y="301"/>
                    </a:lnTo>
                    <a:lnTo>
                      <a:pt x="169" y="301"/>
                    </a:lnTo>
                    <a:lnTo>
                      <a:pt x="176" y="308"/>
                    </a:lnTo>
                    <a:lnTo>
                      <a:pt x="176" y="315"/>
                    </a:lnTo>
                    <a:lnTo>
                      <a:pt x="176" y="308"/>
                    </a:lnTo>
                    <a:lnTo>
                      <a:pt x="176" y="315"/>
                    </a:lnTo>
                    <a:lnTo>
                      <a:pt x="169" y="315"/>
                    </a:lnTo>
                    <a:lnTo>
                      <a:pt x="169" y="322"/>
                    </a:lnTo>
                    <a:lnTo>
                      <a:pt x="162" y="322"/>
                    </a:lnTo>
                    <a:lnTo>
                      <a:pt x="169" y="329"/>
                    </a:lnTo>
                    <a:lnTo>
                      <a:pt x="162" y="329"/>
                    </a:lnTo>
                    <a:lnTo>
                      <a:pt x="169" y="336"/>
                    </a:lnTo>
                    <a:lnTo>
                      <a:pt x="176" y="336"/>
                    </a:lnTo>
                    <a:lnTo>
                      <a:pt x="169" y="336"/>
                    </a:lnTo>
                    <a:lnTo>
                      <a:pt x="162" y="336"/>
                    </a:lnTo>
                    <a:lnTo>
                      <a:pt x="162" y="329"/>
                    </a:lnTo>
                    <a:lnTo>
                      <a:pt x="162" y="336"/>
                    </a:lnTo>
                    <a:lnTo>
                      <a:pt x="169" y="336"/>
                    </a:lnTo>
                    <a:lnTo>
                      <a:pt x="169" y="343"/>
                    </a:lnTo>
                    <a:lnTo>
                      <a:pt x="176" y="343"/>
                    </a:lnTo>
                    <a:lnTo>
                      <a:pt x="183" y="343"/>
                    </a:lnTo>
                    <a:lnTo>
                      <a:pt x="183" y="350"/>
                    </a:lnTo>
                    <a:lnTo>
                      <a:pt x="176" y="350"/>
                    </a:lnTo>
                    <a:lnTo>
                      <a:pt x="176" y="357"/>
                    </a:lnTo>
                    <a:lnTo>
                      <a:pt x="169" y="357"/>
                    </a:lnTo>
                    <a:lnTo>
                      <a:pt x="162" y="357"/>
                    </a:lnTo>
                    <a:lnTo>
                      <a:pt x="156" y="350"/>
                    </a:lnTo>
                    <a:lnTo>
                      <a:pt x="156" y="357"/>
                    </a:lnTo>
                    <a:lnTo>
                      <a:pt x="149" y="357"/>
                    </a:lnTo>
                    <a:lnTo>
                      <a:pt x="142" y="357"/>
                    </a:lnTo>
                    <a:lnTo>
                      <a:pt x="142" y="350"/>
                    </a:lnTo>
                    <a:lnTo>
                      <a:pt x="149" y="350"/>
                    </a:lnTo>
                    <a:lnTo>
                      <a:pt x="142" y="350"/>
                    </a:lnTo>
                    <a:lnTo>
                      <a:pt x="135" y="350"/>
                    </a:lnTo>
                    <a:lnTo>
                      <a:pt x="135" y="357"/>
                    </a:lnTo>
                    <a:lnTo>
                      <a:pt x="142" y="357"/>
                    </a:lnTo>
                    <a:lnTo>
                      <a:pt x="149" y="357"/>
                    </a:lnTo>
                    <a:lnTo>
                      <a:pt x="156" y="357"/>
                    </a:lnTo>
                    <a:lnTo>
                      <a:pt x="156" y="364"/>
                    </a:lnTo>
                    <a:lnTo>
                      <a:pt x="149" y="364"/>
                    </a:lnTo>
                    <a:lnTo>
                      <a:pt x="149" y="371"/>
                    </a:lnTo>
                    <a:lnTo>
                      <a:pt x="156" y="371"/>
                    </a:lnTo>
                    <a:lnTo>
                      <a:pt x="156" y="364"/>
                    </a:lnTo>
                    <a:lnTo>
                      <a:pt x="162" y="371"/>
                    </a:lnTo>
                    <a:lnTo>
                      <a:pt x="162" y="364"/>
                    </a:lnTo>
                    <a:lnTo>
                      <a:pt x="162" y="357"/>
                    </a:lnTo>
                    <a:lnTo>
                      <a:pt x="162" y="364"/>
                    </a:lnTo>
                    <a:lnTo>
                      <a:pt x="162" y="357"/>
                    </a:lnTo>
                    <a:lnTo>
                      <a:pt x="169" y="364"/>
                    </a:lnTo>
                    <a:lnTo>
                      <a:pt x="169" y="371"/>
                    </a:lnTo>
                    <a:lnTo>
                      <a:pt x="162" y="371"/>
                    </a:lnTo>
                    <a:lnTo>
                      <a:pt x="162" y="378"/>
                    </a:lnTo>
                    <a:lnTo>
                      <a:pt x="156" y="378"/>
                    </a:lnTo>
                    <a:lnTo>
                      <a:pt x="149" y="378"/>
                    </a:lnTo>
                    <a:lnTo>
                      <a:pt x="149" y="371"/>
                    </a:lnTo>
                    <a:lnTo>
                      <a:pt x="149" y="378"/>
                    </a:lnTo>
                    <a:lnTo>
                      <a:pt x="149" y="371"/>
                    </a:lnTo>
                    <a:lnTo>
                      <a:pt x="142" y="371"/>
                    </a:lnTo>
                    <a:lnTo>
                      <a:pt x="142" y="378"/>
                    </a:lnTo>
                    <a:lnTo>
                      <a:pt x="149" y="378"/>
                    </a:lnTo>
                    <a:lnTo>
                      <a:pt x="142" y="378"/>
                    </a:lnTo>
                    <a:lnTo>
                      <a:pt x="135" y="371"/>
                    </a:lnTo>
                    <a:lnTo>
                      <a:pt x="129" y="371"/>
                    </a:lnTo>
                    <a:lnTo>
                      <a:pt x="122" y="371"/>
                    </a:lnTo>
                    <a:lnTo>
                      <a:pt x="129" y="364"/>
                    </a:lnTo>
                    <a:lnTo>
                      <a:pt x="129" y="357"/>
                    </a:lnTo>
                    <a:lnTo>
                      <a:pt x="122" y="350"/>
                    </a:lnTo>
                    <a:lnTo>
                      <a:pt x="129" y="350"/>
                    </a:lnTo>
                    <a:lnTo>
                      <a:pt x="122" y="350"/>
                    </a:lnTo>
                    <a:lnTo>
                      <a:pt x="122" y="343"/>
                    </a:lnTo>
                    <a:lnTo>
                      <a:pt x="115" y="343"/>
                    </a:lnTo>
                    <a:lnTo>
                      <a:pt x="115" y="336"/>
                    </a:lnTo>
                    <a:lnTo>
                      <a:pt x="108" y="336"/>
                    </a:lnTo>
                    <a:lnTo>
                      <a:pt x="115" y="336"/>
                    </a:lnTo>
                    <a:lnTo>
                      <a:pt x="108" y="329"/>
                    </a:lnTo>
                    <a:lnTo>
                      <a:pt x="108" y="336"/>
                    </a:lnTo>
                    <a:lnTo>
                      <a:pt x="101" y="336"/>
                    </a:lnTo>
                    <a:lnTo>
                      <a:pt x="95" y="336"/>
                    </a:lnTo>
                    <a:lnTo>
                      <a:pt x="95" y="329"/>
                    </a:lnTo>
                    <a:lnTo>
                      <a:pt x="101" y="329"/>
                    </a:lnTo>
                    <a:lnTo>
                      <a:pt x="95" y="329"/>
                    </a:lnTo>
                    <a:lnTo>
                      <a:pt x="88" y="322"/>
                    </a:lnTo>
                    <a:lnTo>
                      <a:pt x="88" y="329"/>
                    </a:lnTo>
                    <a:lnTo>
                      <a:pt x="88" y="322"/>
                    </a:lnTo>
                    <a:close/>
                    <a:moveTo>
                      <a:pt x="135" y="427"/>
                    </a:moveTo>
                    <a:lnTo>
                      <a:pt x="135" y="420"/>
                    </a:lnTo>
                    <a:lnTo>
                      <a:pt x="142" y="420"/>
                    </a:lnTo>
                    <a:lnTo>
                      <a:pt x="142" y="427"/>
                    </a:lnTo>
                    <a:lnTo>
                      <a:pt x="135" y="427"/>
                    </a:lnTo>
                    <a:lnTo>
                      <a:pt x="142" y="427"/>
                    </a:lnTo>
                    <a:lnTo>
                      <a:pt x="135" y="427"/>
                    </a:lnTo>
                    <a:close/>
                    <a:moveTo>
                      <a:pt x="135" y="385"/>
                    </a:moveTo>
                    <a:lnTo>
                      <a:pt x="129" y="378"/>
                    </a:lnTo>
                    <a:lnTo>
                      <a:pt x="135" y="378"/>
                    </a:lnTo>
                    <a:lnTo>
                      <a:pt x="142" y="378"/>
                    </a:lnTo>
                    <a:lnTo>
                      <a:pt x="149" y="378"/>
                    </a:lnTo>
                    <a:lnTo>
                      <a:pt x="149" y="385"/>
                    </a:lnTo>
                    <a:lnTo>
                      <a:pt x="149" y="392"/>
                    </a:lnTo>
                    <a:lnTo>
                      <a:pt x="142" y="385"/>
                    </a:lnTo>
                    <a:lnTo>
                      <a:pt x="135" y="385"/>
                    </a:lnTo>
                    <a:lnTo>
                      <a:pt x="135" y="378"/>
                    </a:lnTo>
                    <a:lnTo>
                      <a:pt x="135" y="385"/>
                    </a:lnTo>
                    <a:close/>
                    <a:moveTo>
                      <a:pt x="149" y="294"/>
                    </a:moveTo>
                    <a:lnTo>
                      <a:pt x="149" y="287"/>
                    </a:lnTo>
                    <a:lnTo>
                      <a:pt x="156" y="280"/>
                    </a:lnTo>
                    <a:lnTo>
                      <a:pt x="156" y="287"/>
                    </a:lnTo>
                    <a:lnTo>
                      <a:pt x="156" y="294"/>
                    </a:lnTo>
                    <a:lnTo>
                      <a:pt x="149" y="294"/>
                    </a:lnTo>
                    <a:close/>
                    <a:moveTo>
                      <a:pt x="156" y="385"/>
                    </a:moveTo>
                    <a:lnTo>
                      <a:pt x="149" y="385"/>
                    </a:lnTo>
                    <a:lnTo>
                      <a:pt x="156" y="385"/>
                    </a:lnTo>
                    <a:lnTo>
                      <a:pt x="156" y="378"/>
                    </a:lnTo>
                    <a:lnTo>
                      <a:pt x="162" y="385"/>
                    </a:lnTo>
                    <a:lnTo>
                      <a:pt x="156" y="385"/>
                    </a:lnTo>
                    <a:lnTo>
                      <a:pt x="162" y="385"/>
                    </a:lnTo>
                    <a:lnTo>
                      <a:pt x="156" y="385"/>
                    </a:lnTo>
                    <a:lnTo>
                      <a:pt x="162" y="392"/>
                    </a:lnTo>
                    <a:lnTo>
                      <a:pt x="156" y="392"/>
                    </a:lnTo>
                    <a:lnTo>
                      <a:pt x="149" y="392"/>
                    </a:lnTo>
                    <a:lnTo>
                      <a:pt x="156" y="385"/>
                    </a:lnTo>
                    <a:close/>
                    <a:moveTo>
                      <a:pt x="169" y="266"/>
                    </a:moveTo>
                    <a:lnTo>
                      <a:pt x="162" y="266"/>
                    </a:lnTo>
                    <a:lnTo>
                      <a:pt x="162" y="259"/>
                    </a:lnTo>
                    <a:lnTo>
                      <a:pt x="169" y="259"/>
                    </a:lnTo>
                    <a:lnTo>
                      <a:pt x="176" y="259"/>
                    </a:lnTo>
                    <a:lnTo>
                      <a:pt x="176" y="266"/>
                    </a:lnTo>
                    <a:lnTo>
                      <a:pt x="176" y="273"/>
                    </a:lnTo>
                    <a:lnTo>
                      <a:pt x="169" y="273"/>
                    </a:lnTo>
                    <a:lnTo>
                      <a:pt x="169" y="266"/>
                    </a:lnTo>
                    <a:close/>
                    <a:moveTo>
                      <a:pt x="169" y="294"/>
                    </a:moveTo>
                    <a:lnTo>
                      <a:pt x="162" y="294"/>
                    </a:lnTo>
                    <a:lnTo>
                      <a:pt x="169" y="294"/>
                    </a:lnTo>
                    <a:lnTo>
                      <a:pt x="169" y="287"/>
                    </a:lnTo>
                    <a:lnTo>
                      <a:pt x="176" y="280"/>
                    </a:lnTo>
                    <a:lnTo>
                      <a:pt x="183" y="280"/>
                    </a:lnTo>
                    <a:lnTo>
                      <a:pt x="189" y="287"/>
                    </a:lnTo>
                    <a:lnTo>
                      <a:pt x="183" y="287"/>
                    </a:lnTo>
                    <a:lnTo>
                      <a:pt x="183" y="294"/>
                    </a:lnTo>
                    <a:lnTo>
                      <a:pt x="183" y="287"/>
                    </a:lnTo>
                    <a:lnTo>
                      <a:pt x="176" y="294"/>
                    </a:lnTo>
                    <a:lnTo>
                      <a:pt x="183" y="294"/>
                    </a:lnTo>
                    <a:lnTo>
                      <a:pt x="176" y="294"/>
                    </a:lnTo>
                    <a:lnTo>
                      <a:pt x="169" y="294"/>
                    </a:lnTo>
                    <a:lnTo>
                      <a:pt x="176" y="294"/>
                    </a:lnTo>
                    <a:lnTo>
                      <a:pt x="169" y="294"/>
                    </a:lnTo>
                    <a:close/>
                    <a:moveTo>
                      <a:pt x="169" y="322"/>
                    </a:moveTo>
                    <a:lnTo>
                      <a:pt x="176" y="322"/>
                    </a:lnTo>
                    <a:lnTo>
                      <a:pt x="176" y="315"/>
                    </a:lnTo>
                    <a:lnTo>
                      <a:pt x="176" y="322"/>
                    </a:lnTo>
                    <a:lnTo>
                      <a:pt x="183" y="322"/>
                    </a:lnTo>
                    <a:lnTo>
                      <a:pt x="176" y="322"/>
                    </a:lnTo>
                    <a:lnTo>
                      <a:pt x="183" y="322"/>
                    </a:lnTo>
                    <a:lnTo>
                      <a:pt x="189" y="322"/>
                    </a:lnTo>
                    <a:lnTo>
                      <a:pt x="183" y="315"/>
                    </a:lnTo>
                    <a:lnTo>
                      <a:pt x="189" y="322"/>
                    </a:lnTo>
                    <a:lnTo>
                      <a:pt x="196" y="322"/>
                    </a:lnTo>
                    <a:lnTo>
                      <a:pt x="196" y="329"/>
                    </a:lnTo>
                    <a:lnTo>
                      <a:pt x="189" y="336"/>
                    </a:lnTo>
                    <a:lnTo>
                      <a:pt x="183" y="343"/>
                    </a:lnTo>
                    <a:lnTo>
                      <a:pt x="183" y="336"/>
                    </a:lnTo>
                    <a:lnTo>
                      <a:pt x="183" y="329"/>
                    </a:lnTo>
                    <a:lnTo>
                      <a:pt x="176" y="329"/>
                    </a:lnTo>
                    <a:lnTo>
                      <a:pt x="183" y="329"/>
                    </a:lnTo>
                    <a:lnTo>
                      <a:pt x="176" y="329"/>
                    </a:lnTo>
                    <a:lnTo>
                      <a:pt x="176" y="322"/>
                    </a:lnTo>
                    <a:lnTo>
                      <a:pt x="169" y="322"/>
                    </a:lnTo>
                    <a:close/>
                    <a:moveTo>
                      <a:pt x="196" y="287"/>
                    </a:moveTo>
                    <a:lnTo>
                      <a:pt x="203" y="280"/>
                    </a:lnTo>
                    <a:lnTo>
                      <a:pt x="203" y="287"/>
                    </a:lnTo>
                    <a:lnTo>
                      <a:pt x="196" y="287"/>
                    </a:lnTo>
                    <a:close/>
                    <a:moveTo>
                      <a:pt x="203" y="273"/>
                    </a:moveTo>
                    <a:lnTo>
                      <a:pt x="203" y="280"/>
                    </a:lnTo>
                    <a:lnTo>
                      <a:pt x="203" y="273"/>
                    </a:lnTo>
                    <a:close/>
                    <a:moveTo>
                      <a:pt x="209" y="161"/>
                    </a:moveTo>
                    <a:lnTo>
                      <a:pt x="216" y="161"/>
                    </a:lnTo>
                    <a:lnTo>
                      <a:pt x="216" y="154"/>
                    </a:lnTo>
                    <a:lnTo>
                      <a:pt x="223" y="154"/>
                    </a:lnTo>
                    <a:lnTo>
                      <a:pt x="223" y="161"/>
                    </a:lnTo>
                    <a:lnTo>
                      <a:pt x="223" y="168"/>
                    </a:lnTo>
                    <a:lnTo>
                      <a:pt x="223" y="175"/>
                    </a:lnTo>
                    <a:lnTo>
                      <a:pt x="216" y="168"/>
                    </a:lnTo>
                    <a:lnTo>
                      <a:pt x="209" y="168"/>
                    </a:lnTo>
                    <a:lnTo>
                      <a:pt x="209" y="161"/>
                    </a:lnTo>
                    <a:close/>
                    <a:moveTo>
                      <a:pt x="223" y="140"/>
                    </a:moveTo>
                    <a:lnTo>
                      <a:pt x="223" y="133"/>
                    </a:lnTo>
                    <a:lnTo>
                      <a:pt x="230" y="140"/>
                    </a:lnTo>
                    <a:lnTo>
                      <a:pt x="223" y="140"/>
                    </a:lnTo>
                    <a:close/>
                    <a:moveTo>
                      <a:pt x="216" y="224"/>
                    </a:moveTo>
                    <a:lnTo>
                      <a:pt x="216" y="217"/>
                    </a:lnTo>
                    <a:lnTo>
                      <a:pt x="216" y="224"/>
                    </a:lnTo>
                    <a:lnTo>
                      <a:pt x="223" y="217"/>
                    </a:lnTo>
                    <a:lnTo>
                      <a:pt x="223" y="224"/>
                    </a:lnTo>
                    <a:lnTo>
                      <a:pt x="230" y="217"/>
                    </a:lnTo>
                    <a:lnTo>
                      <a:pt x="230" y="210"/>
                    </a:lnTo>
                    <a:lnTo>
                      <a:pt x="230" y="217"/>
                    </a:lnTo>
                    <a:lnTo>
                      <a:pt x="237" y="210"/>
                    </a:lnTo>
                    <a:lnTo>
                      <a:pt x="237" y="217"/>
                    </a:lnTo>
                    <a:lnTo>
                      <a:pt x="237" y="224"/>
                    </a:lnTo>
                    <a:lnTo>
                      <a:pt x="237" y="231"/>
                    </a:lnTo>
                    <a:lnTo>
                      <a:pt x="230" y="231"/>
                    </a:lnTo>
                    <a:lnTo>
                      <a:pt x="223" y="224"/>
                    </a:lnTo>
                    <a:lnTo>
                      <a:pt x="216" y="231"/>
                    </a:lnTo>
                    <a:lnTo>
                      <a:pt x="216" y="224"/>
                    </a:lnTo>
                    <a:close/>
                    <a:moveTo>
                      <a:pt x="277" y="84"/>
                    </a:moveTo>
                    <a:lnTo>
                      <a:pt x="284" y="84"/>
                    </a:lnTo>
                    <a:lnTo>
                      <a:pt x="277" y="84"/>
                    </a:lnTo>
                    <a:close/>
                    <a:moveTo>
                      <a:pt x="297" y="77"/>
                    </a:moveTo>
                    <a:lnTo>
                      <a:pt x="297" y="70"/>
                    </a:lnTo>
                    <a:lnTo>
                      <a:pt x="297" y="77"/>
                    </a:lnTo>
                    <a:close/>
                    <a:moveTo>
                      <a:pt x="297" y="252"/>
                    </a:moveTo>
                    <a:lnTo>
                      <a:pt x="304" y="252"/>
                    </a:lnTo>
                    <a:lnTo>
                      <a:pt x="304" y="259"/>
                    </a:lnTo>
                    <a:lnTo>
                      <a:pt x="311" y="259"/>
                    </a:lnTo>
                    <a:lnTo>
                      <a:pt x="304" y="259"/>
                    </a:lnTo>
                    <a:lnTo>
                      <a:pt x="297" y="259"/>
                    </a:lnTo>
                    <a:lnTo>
                      <a:pt x="304" y="259"/>
                    </a:lnTo>
                    <a:lnTo>
                      <a:pt x="297" y="259"/>
                    </a:lnTo>
                    <a:lnTo>
                      <a:pt x="297" y="252"/>
                    </a:lnTo>
                    <a:lnTo>
                      <a:pt x="297" y="259"/>
                    </a:lnTo>
                    <a:lnTo>
                      <a:pt x="297" y="252"/>
                    </a:lnTo>
                    <a:close/>
                    <a:moveTo>
                      <a:pt x="291" y="84"/>
                    </a:moveTo>
                    <a:lnTo>
                      <a:pt x="291" y="77"/>
                    </a:lnTo>
                    <a:lnTo>
                      <a:pt x="297" y="77"/>
                    </a:lnTo>
                    <a:lnTo>
                      <a:pt x="304" y="77"/>
                    </a:lnTo>
                    <a:lnTo>
                      <a:pt x="304" y="84"/>
                    </a:lnTo>
                    <a:lnTo>
                      <a:pt x="304" y="91"/>
                    </a:lnTo>
                    <a:lnTo>
                      <a:pt x="311" y="91"/>
                    </a:lnTo>
                    <a:lnTo>
                      <a:pt x="311" y="98"/>
                    </a:lnTo>
                    <a:lnTo>
                      <a:pt x="311" y="106"/>
                    </a:lnTo>
                    <a:lnTo>
                      <a:pt x="304" y="106"/>
                    </a:lnTo>
                    <a:lnTo>
                      <a:pt x="291" y="98"/>
                    </a:lnTo>
                    <a:lnTo>
                      <a:pt x="291" y="91"/>
                    </a:lnTo>
                    <a:lnTo>
                      <a:pt x="297" y="98"/>
                    </a:lnTo>
                    <a:lnTo>
                      <a:pt x="297" y="91"/>
                    </a:lnTo>
                    <a:lnTo>
                      <a:pt x="297" y="84"/>
                    </a:lnTo>
                    <a:lnTo>
                      <a:pt x="297" y="91"/>
                    </a:lnTo>
                    <a:lnTo>
                      <a:pt x="291" y="91"/>
                    </a:lnTo>
                    <a:lnTo>
                      <a:pt x="291" y="84"/>
                    </a:lnTo>
                    <a:lnTo>
                      <a:pt x="297" y="91"/>
                    </a:lnTo>
                    <a:lnTo>
                      <a:pt x="297" y="84"/>
                    </a:lnTo>
                    <a:lnTo>
                      <a:pt x="291" y="84"/>
                    </a:lnTo>
                    <a:close/>
                    <a:moveTo>
                      <a:pt x="304" y="203"/>
                    </a:moveTo>
                    <a:lnTo>
                      <a:pt x="297" y="196"/>
                    </a:lnTo>
                    <a:lnTo>
                      <a:pt x="304" y="189"/>
                    </a:lnTo>
                    <a:lnTo>
                      <a:pt x="304" y="196"/>
                    </a:lnTo>
                    <a:lnTo>
                      <a:pt x="304" y="203"/>
                    </a:lnTo>
                    <a:close/>
                    <a:moveTo>
                      <a:pt x="203" y="245"/>
                    </a:moveTo>
                    <a:lnTo>
                      <a:pt x="209" y="245"/>
                    </a:lnTo>
                    <a:lnTo>
                      <a:pt x="209" y="252"/>
                    </a:lnTo>
                    <a:lnTo>
                      <a:pt x="209" y="259"/>
                    </a:lnTo>
                    <a:lnTo>
                      <a:pt x="209" y="252"/>
                    </a:lnTo>
                    <a:lnTo>
                      <a:pt x="216" y="252"/>
                    </a:lnTo>
                    <a:lnTo>
                      <a:pt x="223" y="245"/>
                    </a:lnTo>
                    <a:lnTo>
                      <a:pt x="223" y="252"/>
                    </a:lnTo>
                    <a:lnTo>
                      <a:pt x="223" y="245"/>
                    </a:lnTo>
                    <a:lnTo>
                      <a:pt x="230" y="245"/>
                    </a:lnTo>
                    <a:lnTo>
                      <a:pt x="230" y="238"/>
                    </a:lnTo>
                    <a:lnTo>
                      <a:pt x="237" y="238"/>
                    </a:lnTo>
                    <a:lnTo>
                      <a:pt x="244" y="238"/>
                    </a:lnTo>
                    <a:lnTo>
                      <a:pt x="250" y="245"/>
                    </a:lnTo>
                    <a:lnTo>
                      <a:pt x="250" y="238"/>
                    </a:lnTo>
                    <a:lnTo>
                      <a:pt x="250" y="245"/>
                    </a:lnTo>
                    <a:lnTo>
                      <a:pt x="250" y="238"/>
                    </a:lnTo>
                    <a:lnTo>
                      <a:pt x="244" y="231"/>
                    </a:lnTo>
                    <a:lnTo>
                      <a:pt x="244" y="224"/>
                    </a:lnTo>
                    <a:lnTo>
                      <a:pt x="250" y="224"/>
                    </a:lnTo>
                    <a:lnTo>
                      <a:pt x="257" y="224"/>
                    </a:lnTo>
                    <a:lnTo>
                      <a:pt x="264" y="224"/>
                    </a:lnTo>
                    <a:lnTo>
                      <a:pt x="264" y="231"/>
                    </a:lnTo>
                    <a:lnTo>
                      <a:pt x="264" y="224"/>
                    </a:lnTo>
                    <a:lnTo>
                      <a:pt x="270" y="231"/>
                    </a:lnTo>
                    <a:lnTo>
                      <a:pt x="270" y="224"/>
                    </a:lnTo>
                    <a:lnTo>
                      <a:pt x="277" y="231"/>
                    </a:lnTo>
                    <a:lnTo>
                      <a:pt x="270" y="224"/>
                    </a:lnTo>
                    <a:lnTo>
                      <a:pt x="264" y="217"/>
                    </a:lnTo>
                    <a:lnTo>
                      <a:pt x="270" y="217"/>
                    </a:lnTo>
                    <a:lnTo>
                      <a:pt x="264" y="217"/>
                    </a:lnTo>
                    <a:lnTo>
                      <a:pt x="264" y="210"/>
                    </a:lnTo>
                    <a:lnTo>
                      <a:pt x="257" y="210"/>
                    </a:lnTo>
                    <a:lnTo>
                      <a:pt x="264" y="210"/>
                    </a:lnTo>
                    <a:lnTo>
                      <a:pt x="264" y="203"/>
                    </a:lnTo>
                    <a:lnTo>
                      <a:pt x="257" y="210"/>
                    </a:lnTo>
                    <a:lnTo>
                      <a:pt x="257" y="203"/>
                    </a:lnTo>
                    <a:lnTo>
                      <a:pt x="250" y="203"/>
                    </a:lnTo>
                    <a:lnTo>
                      <a:pt x="244" y="203"/>
                    </a:lnTo>
                    <a:lnTo>
                      <a:pt x="244" y="196"/>
                    </a:lnTo>
                    <a:lnTo>
                      <a:pt x="237" y="196"/>
                    </a:lnTo>
                    <a:lnTo>
                      <a:pt x="244" y="196"/>
                    </a:lnTo>
                    <a:lnTo>
                      <a:pt x="244" y="203"/>
                    </a:lnTo>
                    <a:lnTo>
                      <a:pt x="237" y="196"/>
                    </a:lnTo>
                    <a:lnTo>
                      <a:pt x="237" y="203"/>
                    </a:lnTo>
                    <a:lnTo>
                      <a:pt x="230" y="196"/>
                    </a:lnTo>
                    <a:lnTo>
                      <a:pt x="230" y="189"/>
                    </a:lnTo>
                    <a:lnTo>
                      <a:pt x="223" y="189"/>
                    </a:lnTo>
                    <a:lnTo>
                      <a:pt x="230" y="182"/>
                    </a:lnTo>
                    <a:lnTo>
                      <a:pt x="223" y="182"/>
                    </a:lnTo>
                    <a:lnTo>
                      <a:pt x="230" y="182"/>
                    </a:lnTo>
                    <a:lnTo>
                      <a:pt x="223" y="182"/>
                    </a:lnTo>
                    <a:lnTo>
                      <a:pt x="223" y="175"/>
                    </a:lnTo>
                    <a:lnTo>
                      <a:pt x="223" y="182"/>
                    </a:lnTo>
                    <a:lnTo>
                      <a:pt x="223" y="175"/>
                    </a:lnTo>
                    <a:lnTo>
                      <a:pt x="230" y="175"/>
                    </a:lnTo>
                    <a:lnTo>
                      <a:pt x="230" y="168"/>
                    </a:lnTo>
                    <a:lnTo>
                      <a:pt x="230" y="175"/>
                    </a:lnTo>
                    <a:lnTo>
                      <a:pt x="237" y="175"/>
                    </a:lnTo>
                    <a:lnTo>
                      <a:pt x="237" y="168"/>
                    </a:lnTo>
                    <a:lnTo>
                      <a:pt x="244" y="168"/>
                    </a:lnTo>
                    <a:lnTo>
                      <a:pt x="250" y="161"/>
                    </a:lnTo>
                    <a:lnTo>
                      <a:pt x="257" y="161"/>
                    </a:lnTo>
                    <a:lnTo>
                      <a:pt x="264" y="161"/>
                    </a:lnTo>
                    <a:lnTo>
                      <a:pt x="270" y="161"/>
                    </a:lnTo>
                    <a:lnTo>
                      <a:pt x="250" y="161"/>
                    </a:lnTo>
                    <a:lnTo>
                      <a:pt x="244" y="161"/>
                    </a:lnTo>
                    <a:lnTo>
                      <a:pt x="237" y="161"/>
                    </a:lnTo>
                    <a:lnTo>
                      <a:pt x="237" y="154"/>
                    </a:lnTo>
                    <a:lnTo>
                      <a:pt x="244" y="154"/>
                    </a:lnTo>
                    <a:lnTo>
                      <a:pt x="237" y="154"/>
                    </a:lnTo>
                    <a:lnTo>
                      <a:pt x="244" y="154"/>
                    </a:lnTo>
                    <a:lnTo>
                      <a:pt x="244" y="147"/>
                    </a:lnTo>
                    <a:lnTo>
                      <a:pt x="250" y="147"/>
                    </a:lnTo>
                    <a:lnTo>
                      <a:pt x="244" y="147"/>
                    </a:lnTo>
                    <a:lnTo>
                      <a:pt x="237" y="147"/>
                    </a:lnTo>
                    <a:lnTo>
                      <a:pt x="237" y="154"/>
                    </a:lnTo>
                    <a:lnTo>
                      <a:pt x="237" y="147"/>
                    </a:lnTo>
                    <a:lnTo>
                      <a:pt x="230" y="147"/>
                    </a:lnTo>
                    <a:lnTo>
                      <a:pt x="237" y="147"/>
                    </a:lnTo>
                    <a:lnTo>
                      <a:pt x="230" y="147"/>
                    </a:lnTo>
                    <a:lnTo>
                      <a:pt x="230" y="140"/>
                    </a:lnTo>
                    <a:lnTo>
                      <a:pt x="230" y="133"/>
                    </a:lnTo>
                    <a:lnTo>
                      <a:pt x="230" y="126"/>
                    </a:lnTo>
                    <a:lnTo>
                      <a:pt x="230" y="120"/>
                    </a:lnTo>
                    <a:lnTo>
                      <a:pt x="230" y="113"/>
                    </a:lnTo>
                    <a:lnTo>
                      <a:pt x="230" y="120"/>
                    </a:lnTo>
                    <a:lnTo>
                      <a:pt x="237" y="113"/>
                    </a:lnTo>
                    <a:lnTo>
                      <a:pt x="244" y="106"/>
                    </a:lnTo>
                    <a:lnTo>
                      <a:pt x="237" y="106"/>
                    </a:lnTo>
                    <a:lnTo>
                      <a:pt x="237" y="98"/>
                    </a:lnTo>
                    <a:lnTo>
                      <a:pt x="244" y="98"/>
                    </a:lnTo>
                    <a:lnTo>
                      <a:pt x="250" y="98"/>
                    </a:lnTo>
                    <a:lnTo>
                      <a:pt x="250" y="106"/>
                    </a:lnTo>
                    <a:lnTo>
                      <a:pt x="257" y="106"/>
                    </a:lnTo>
                    <a:lnTo>
                      <a:pt x="257" y="98"/>
                    </a:lnTo>
                    <a:lnTo>
                      <a:pt x="257" y="106"/>
                    </a:lnTo>
                    <a:lnTo>
                      <a:pt x="264" y="106"/>
                    </a:lnTo>
                    <a:lnTo>
                      <a:pt x="257" y="98"/>
                    </a:lnTo>
                    <a:lnTo>
                      <a:pt x="257" y="91"/>
                    </a:lnTo>
                    <a:lnTo>
                      <a:pt x="257" y="98"/>
                    </a:lnTo>
                    <a:lnTo>
                      <a:pt x="250" y="98"/>
                    </a:lnTo>
                    <a:lnTo>
                      <a:pt x="250" y="91"/>
                    </a:lnTo>
                    <a:lnTo>
                      <a:pt x="257" y="84"/>
                    </a:lnTo>
                    <a:lnTo>
                      <a:pt x="257" y="77"/>
                    </a:lnTo>
                    <a:lnTo>
                      <a:pt x="264" y="77"/>
                    </a:lnTo>
                    <a:lnTo>
                      <a:pt x="270" y="84"/>
                    </a:lnTo>
                    <a:lnTo>
                      <a:pt x="270" y="91"/>
                    </a:lnTo>
                    <a:lnTo>
                      <a:pt x="277" y="84"/>
                    </a:lnTo>
                    <a:lnTo>
                      <a:pt x="270" y="84"/>
                    </a:lnTo>
                    <a:lnTo>
                      <a:pt x="277" y="84"/>
                    </a:lnTo>
                    <a:lnTo>
                      <a:pt x="277" y="91"/>
                    </a:lnTo>
                    <a:lnTo>
                      <a:pt x="284" y="91"/>
                    </a:lnTo>
                    <a:lnTo>
                      <a:pt x="284" y="98"/>
                    </a:lnTo>
                    <a:lnTo>
                      <a:pt x="277" y="98"/>
                    </a:lnTo>
                    <a:lnTo>
                      <a:pt x="270" y="98"/>
                    </a:lnTo>
                    <a:lnTo>
                      <a:pt x="277" y="98"/>
                    </a:lnTo>
                    <a:lnTo>
                      <a:pt x="277" y="106"/>
                    </a:lnTo>
                    <a:lnTo>
                      <a:pt x="284" y="106"/>
                    </a:lnTo>
                    <a:lnTo>
                      <a:pt x="284" y="113"/>
                    </a:lnTo>
                    <a:lnTo>
                      <a:pt x="284" y="120"/>
                    </a:lnTo>
                    <a:lnTo>
                      <a:pt x="284" y="126"/>
                    </a:lnTo>
                    <a:lnTo>
                      <a:pt x="284" y="133"/>
                    </a:lnTo>
                    <a:lnTo>
                      <a:pt x="284" y="140"/>
                    </a:lnTo>
                    <a:lnTo>
                      <a:pt x="284" y="133"/>
                    </a:lnTo>
                    <a:lnTo>
                      <a:pt x="284" y="120"/>
                    </a:lnTo>
                    <a:lnTo>
                      <a:pt x="284" y="113"/>
                    </a:lnTo>
                    <a:lnTo>
                      <a:pt x="291" y="113"/>
                    </a:lnTo>
                    <a:lnTo>
                      <a:pt x="291" y="106"/>
                    </a:lnTo>
                    <a:lnTo>
                      <a:pt x="291" y="113"/>
                    </a:lnTo>
                    <a:lnTo>
                      <a:pt x="291" y="106"/>
                    </a:lnTo>
                    <a:lnTo>
                      <a:pt x="297" y="106"/>
                    </a:lnTo>
                    <a:lnTo>
                      <a:pt x="311" y="106"/>
                    </a:lnTo>
                    <a:lnTo>
                      <a:pt x="311" y="113"/>
                    </a:lnTo>
                    <a:lnTo>
                      <a:pt x="318" y="113"/>
                    </a:lnTo>
                    <a:lnTo>
                      <a:pt x="318" y="120"/>
                    </a:lnTo>
                    <a:lnTo>
                      <a:pt x="324" y="126"/>
                    </a:lnTo>
                    <a:lnTo>
                      <a:pt x="324" y="120"/>
                    </a:lnTo>
                    <a:lnTo>
                      <a:pt x="324" y="113"/>
                    </a:lnTo>
                    <a:lnTo>
                      <a:pt x="318" y="113"/>
                    </a:lnTo>
                    <a:lnTo>
                      <a:pt x="318" y="106"/>
                    </a:lnTo>
                    <a:lnTo>
                      <a:pt x="324" y="106"/>
                    </a:lnTo>
                    <a:lnTo>
                      <a:pt x="318" y="106"/>
                    </a:lnTo>
                    <a:lnTo>
                      <a:pt x="318" y="98"/>
                    </a:lnTo>
                    <a:lnTo>
                      <a:pt x="318" y="84"/>
                    </a:lnTo>
                    <a:lnTo>
                      <a:pt x="318" y="91"/>
                    </a:lnTo>
                    <a:lnTo>
                      <a:pt x="311" y="91"/>
                    </a:lnTo>
                    <a:lnTo>
                      <a:pt x="311" y="84"/>
                    </a:lnTo>
                    <a:lnTo>
                      <a:pt x="311" y="77"/>
                    </a:lnTo>
                    <a:lnTo>
                      <a:pt x="318" y="77"/>
                    </a:lnTo>
                    <a:lnTo>
                      <a:pt x="318" y="70"/>
                    </a:lnTo>
                    <a:lnTo>
                      <a:pt x="318" y="77"/>
                    </a:lnTo>
                    <a:lnTo>
                      <a:pt x="311" y="70"/>
                    </a:lnTo>
                    <a:lnTo>
                      <a:pt x="318" y="63"/>
                    </a:lnTo>
                    <a:lnTo>
                      <a:pt x="324" y="63"/>
                    </a:lnTo>
                    <a:lnTo>
                      <a:pt x="331" y="63"/>
                    </a:lnTo>
                    <a:lnTo>
                      <a:pt x="331" y="57"/>
                    </a:lnTo>
                    <a:lnTo>
                      <a:pt x="338" y="57"/>
                    </a:lnTo>
                    <a:lnTo>
                      <a:pt x="338" y="50"/>
                    </a:lnTo>
                    <a:lnTo>
                      <a:pt x="345" y="50"/>
                    </a:lnTo>
                    <a:lnTo>
                      <a:pt x="345" y="57"/>
                    </a:lnTo>
                    <a:lnTo>
                      <a:pt x="345" y="50"/>
                    </a:lnTo>
                    <a:lnTo>
                      <a:pt x="352" y="50"/>
                    </a:lnTo>
                    <a:lnTo>
                      <a:pt x="352" y="57"/>
                    </a:lnTo>
                    <a:lnTo>
                      <a:pt x="358" y="50"/>
                    </a:lnTo>
                    <a:lnTo>
                      <a:pt x="365" y="50"/>
                    </a:lnTo>
                    <a:lnTo>
                      <a:pt x="372" y="50"/>
                    </a:lnTo>
                    <a:lnTo>
                      <a:pt x="379" y="50"/>
                    </a:lnTo>
                    <a:lnTo>
                      <a:pt x="385" y="36"/>
                    </a:lnTo>
                    <a:lnTo>
                      <a:pt x="392" y="36"/>
                    </a:lnTo>
                    <a:lnTo>
                      <a:pt x="392" y="29"/>
                    </a:lnTo>
                    <a:lnTo>
                      <a:pt x="405" y="29"/>
                    </a:lnTo>
                    <a:lnTo>
                      <a:pt x="419" y="22"/>
                    </a:lnTo>
                    <a:lnTo>
                      <a:pt x="426" y="14"/>
                    </a:lnTo>
                    <a:lnTo>
                      <a:pt x="432" y="14"/>
                    </a:lnTo>
                    <a:lnTo>
                      <a:pt x="432" y="7"/>
                    </a:lnTo>
                    <a:lnTo>
                      <a:pt x="440" y="14"/>
                    </a:lnTo>
                    <a:lnTo>
                      <a:pt x="440" y="7"/>
                    </a:lnTo>
                    <a:lnTo>
                      <a:pt x="446" y="7"/>
                    </a:lnTo>
                    <a:lnTo>
                      <a:pt x="446" y="0"/>
                    </a:lnTo>
                    <a:lnTo>
                      <a:pt x="453" y="0"/>
                    </a:lnTo>
                    <a:lnTo>
                      <a:pt x="460" y="7"/>
                    </a:lnTo>
                    <a:lnTo>
                      <a:pt x="460" y="14"/>
                    </a:lnTo>
                    <a:lnTo>
                      <a:pt x="460" y="22"/>
                    </a:lnTo>
                    <a:lnTo>
                      <a:pt x="466" y="22"/>
                    </a:lnTo>
                    <a:lnTo>
                      <a:pt x="460" y="29"/>
                    </a:lnTo>
                    <a:lnTo>
                      <a:pt x="460" y="36"/>
                    </a:lnTo>
                    <a:lnTo>
                      <a:pt x="466" y="36"/>
                    </a:lnTo>
                    <a:lnTo>
                      <a:pt x="460" y="43"/>
                    </a:lnTo>
                    <a:lnTo>
                      <a:pt x="460" y="50"/>
                    </a:lnTo>
                    <a:lnTo>
                      <a:pt x="453" y="57"/>
                    </a:lnTo>
                    <a:lnTo>
                      <a:pt x="446" y="63"/>
                    </a:lnTo>
                    <a:lnTo>
                      <a:pt x="453" y="70"/>
                    </a:lnTo>
                    <a:lnTo>
                      <a:pt x="460" y="70"/>
                    </a:lnTo>
                    <a:lnTo>
                      <a:pt x="460" y="77"/>
                    </a:lnTo>
                    <a:lnTo>
                      <a:pt x="453" y="77"/>
                    </a:lnTo>
                    <a:lnTo>
                      <a:pt x="446" y="77"/>
                    </a:lnTo>
                    <a:lnTo>
                      <a:pt x="440" y="84"/>
                    </a:lnTo>
                    <a:lnTo>
                      <a:pt x="440" y="91"/>
                    </a:lnTo>
                    <a:lnTo>
                      <a:pt x="432" y="91"/>
                    </a:lnTo>
                    <a:lnTo>
                      <a:pt x="426" y="91"/>
                    </a:lnTo>
                    <a:lnTo>
                      <a:pt x="426" y="98"/>
                    </a:lnTo>
                    <a:lnTo>
                      <a:pt x="426" y="106"/>
                    </a:lnTo>
                    <a:lnTo>
                      <a:pt x="419" y="106"/>
                    </a:lnTo>
                    <a:lnTo>
                      <a:pt x="419" y="98"/>
                    </a:lnTo>
                    <a:lnTo>
                      <a:pt x="412" y="106"/>
                    </a:lnTo>
                    <a:lnTo>
                      <a:pt x="412" y="113"/>
                    </a:lnTo>
                    <a:lnTo>
                      <a:pt x="405" y="113"/>
                    </a:lnTo>
                    <a:lnTo>
                      <a:pt x="405" y="120"/>
                    </a:lnTo>
                    <a:lnTo>
                      <a:pt x="399" y="120"/>
                    </a:lnTo>
                    <a:lnTo>
                      <a:pt x="405" y="120"/>
                    </a:lnTo>
                    <a:lnTo>
                      <a:pt x="412" y="120"/>
                    </a:lnTo>
                    <a:lnTo>
                      <a:pt x="405" y="120"/>
                    </a:lnTo>
                    <a:lnTo>
                      <a:pt x="412" y="120"/>
                    </a:lnTo>
                    <a:lnTo>
                      <a:pt x="412" y="126"/>
                    </a:lnTo>
                    <a:lnTo>
                      <a:pt x="412" y="120"/>
                    </a:lnTo>
                    <a:lnTo>
                      <a:pt x="419" y="126"/>
                    </a:lnTo>
                    <a:lnTo>
                      <a:pt x="426" y="126"/>
                    </a:lnTo>
                    <a:lnTo>
                      <a:pt x="432" y="126"/>
                    </a:lnTo>
                    <a:lnTo>
                      <a:pt x="432" y="120"/>
                    </a:lnTo>
                    <a:lnTo>
                      <a:pt x="440" y="120"/>
                    </a:lnTo>
                    <a:lnTo>
                      <a:pt x="440" y="113"/>
                    </a:lnTo>
                    <a:lnTo>
                      <a:pt x="446" y="113"/>
                    </a:lnTo>
                    <a:lnTo>
                      <a:pt x="453" y="113"/>
                    </a:lnTo>
                    <a:lnTo>
                      <a:pt x="453" y="120"/>
                    </a:lnTo>
                    <a:lnTo>
                      <a:pt x="446" y="120"/>
                    </a:lnTo>
                    <a:lnTo>
                      <a:pt x="446" y="126"/>
                    </a:lnTo>
                    <a:lnTo>
                      <a:pt x="446" y="133"/>
                    </a:lnTo>
                    <a:lnTo>
                      <a:pt x="440" y="133"/>
                    </a:lnTo>
                    <a:lnTo>
                      <a:pt x="432" y="133"/>
                    </a:lnTo>
                    <a:lnTo>
                      <a:pt x="432" y="140"/>
                    </a:lnTo>
                    <a:lnTo>
                      <a:pt x="426" y="140"/>
                    </a:lnTo>
                    <a:lnTo>
                      <a:pt x="419" y="140"/>
                    </a:lnTo>
                    <a:lnTo>
                      <a:pt x="419" y="133"/>
                    </a:lnTo>
                    <a:lnTo>
                      <a:pt x="419" y="126"/>
                    </a:lnTo>
                    <a:lnTo>
                      <a:pt x="412" y="126"/>
                    </a:lnTo>
                    <a:lnTo>
                      <a:pt x="412" y="133"/>
                    </a:lnTo>
                    <a:lnTo>
                      <a:pt x="405" y="133"/>
                    </a:lnTo>
                    <a:lnTo>
                      <a:pt x="399" y="133"/>
                    </a:lnTo>
                    <a:lnTo>
                      <a:pt x="405" y="126"/>
                    </a:lnTo>
                    <a:lnTo>
                      <a:pt x="399" y="126"/>
                    </a:lnTo>
                    <a:lnTo>
                      <a:pt x="399" y="120"/>
                    </a:lnTo>
                    <a:lnTo>
                      <a:pt x="392" y="126"/>
                    </a:lnTo>
                    <a:lnTo>
                      <a:pt x="392" y="133"/>
                    </a:lnTo>
                    <a:lnTo>
                      <a:pt x="399" y="133"/>
                    </a:lnTo>
                    <a:lnTo>
                      <a:pt x="392" y="133"/>
                    </a:lnTo>
                    <a:lnTo>
                      <a:pt x="392" y="140"/>
                    </a:lnTo>
                    <a:lnTo>
                      <a:pt x="399" y="147"/>
                    </a:lnTo>
                    <a:lnTo>
                      <a:pt x="392" y="147"/>
                    </a:lnTo>
                    <a:lnTo>
                      <a:pt x="385" y="147"/>
                    </a:lnTo>
                    <a:lnTo>
                      <a:pt x="379" y="147"/>
                    </a:lnTo>
                    <a:lnTo>
                      <a:pt x="385" y="154"/>
                    </a:lnTo>
                    <a:lnTo>
                      <a:pt x="385" y="147"/>
                    </a:lnTo>
                    <a:lnTo>
                      <a:pt x="392" y="147"/>
                    </a:lnTo>
                    <a:lnTo>
                      <a:pt x="392" y="154"/>
                    </a:lnTo>
                    <a:lnTo>
                      <a:pt x="385" y="154"/>
                    </a:lnTo>
                    <a:lnTo>
                      <a:pt x="379" y="154"/>
                    </a:lnTo>
                    <a:lnTo>
                      <a:pt x="372" y="147"/>
                    </a:lnTo>
                    <a:lnTo>
                      <a:pt x="365" y="147"/>
                    </a:lnTo>
                    <a:lnTo>
                      <a:pt x="372" y="147"/>
                    </a:lnTo>
                    <a:lnTo>
                      <a:pt x="372" y="154"/>
                    </a:lnTo>
                    <a:lnTo>
                      <a:pt x="379" y="154"/>
                    </a:lnTo>
                    <a:lnTo>
                      <a:pt x="372" y="161"/>
                    </a:lnTo>
                    <a:lnTo>
                      <a:pt x="365" y="161"/>
                    </a:lnTo>
                    <a:lnTo>
                      <a:pt x="358" y="161"/>
                    </a:lnTo>
                    <a:lnTo>
                      <a:pt x="352" y="161"/>
                    </a:lnTo>
                    <a:lnTo>
                      <a:pt x="358" y="161"/>
                    </a:lnTo>
                    <a:lnTo>
                      <a:pt x="352" y="161"/>
                    </a:lnTo>
                    <a:lnTo>
                      <a:pt x="331" y="161"/>
                    </a:lnTo>
                    <a:lnTo>
                      <a:pt x="331" y="168"/>
                    </a:lnTo>
                    <a:lnTo>
                      <a:pt x="331" y="161"/>
                    </a:lnTo>
                    <a:lnTo>
                      <a:pt x="338" y="161"/>
                    </a:lnTo>
                    <a:lnTo>
                      <a:pt x="338" y="168"/>
                    </a:lnTo>
                    <a:lnTo>
                      <a:pt x="338" y="161"/>
                    </a:lnTo>
                    <a:lnTo>
                      <a:pt x="345" y="168"/>
                    </a:lnTo>
                    <a:lnTo>
                      <a:pt x="352" y="168"/>
                    </a:lnTo>
                    <a:lnTo>
                      <a:pt x="358" y="168"/>
                    </a:lnTo>
                    <a:lnTo>
                      <a:pt x="365" y="168"/>
                    </a:lnTo>
                    <a:lnTo>
                      <a:pt x="372" y="168"/>
                    </a:lnTo>
                    <a:lnTo>
                      <a:pt x="379" y="168"/>
                    </a:lnTo>
                    <a:lnTo>
                      <a:pt x="379" y="161"/>
                    </a:lnTo>
                    <a:lnTo>
                      <a:pt x="379" y="168"/>
                    </a:lnTo>
                    <a:lnTo>
                      <a:pt x="379" y="161"/>
                    </a:lnTo>
                    <a:lnTo>
                      <a:pt x="385" y="161"/>
                    </a:lnTo>
                    <a:lnTo>
                      <a:pt x="385" y="168"/>
                    </a:lnTo>
                    <a:lnTo>
                      <a:pt x="385" y="175"/>
                    </a:lnTo>
                    <a:lnTo>
                      <a:pt x="385" y="168"/>
                    </a:lnTo>
                    <a:lnTo>
                      <a:pt x="385" y="175"/>
                    </a:lnTo>
                    <a:lnTo>
                      <a:pt x="385" y="182"/>
                    </a:lnTo>
                    <a:lnTo>
                      <a:pt x="385" y="189"/>
                    </a:lnTo>
                    <a:lnTo>
                      <a:pt x="379" y="189"/>
                    </a:lnTo>
                    <a:lnTo>
                      <a:pt x="372" y="189"/>
                    </a:lnTo>
                    <a:lnTo>
                      <a:pt x="379" y="189"/>
                    </a:lnTo>
                    <a:lnTo>
                      <a:pt x="385" y="196"/>
                    </a:lnTo>
                    <a:lnTo>
                      <a:pt x="385" y="203"/>
                    </a:lnTo>
                    <a:lnTo>
                      <a:pt x="379" y="203"/>
                    </a:lnTo>
                    <a:lnTo>
                      <a:pt x="379" y="210"/>
                    </a:lnTo>
                    <a:lnTo>
                      <a:pt x="372" y="210"/>
                    </a:lnTo>
                    <a:lnTo>
                      <a:pt x="372" y="203"/>
                    </a:lnTo>
                    <a:lnTo>
                      <a:pt x="365" y="203"/>
                    </a:lnTo>
                    <a:lnTo>
                      <a:pt x="365" y="196"/>
                    </a:lnTo>
                    <a:lnTo>
                      <a:pt x="358" y="196"/>
                    </a:lnTo>
                    <a:lnTo>
                      <a:pt x="358" y="203"/>
                    </a:lnTo>
                    <a:lnTo>
                      <a:pt x="352" y="196"/>
                    </a:lnTo>
                    <a:lnTo>
                      <a:pt x="358" y="203"/>
                    </a:lnTo>
                    <a:lnTo>
                      <a:pt x="352" y="203"/>
                    </a:lnTo>
                    <a:lnTo>
                      <a:pt x="345" y="196"/>
                    </a:lnTo>
                    <a:lnTo>
                      <a:pt x="345" y="203"/>
                    </a:lnTo>
                    <a:lnTo>
                      <a:pt x="338" y="196"/>
                    </a:lnTo>
                    <a:lnTo>
                      <a:pt x="338" y="203"/>
                    </a:lnTo>
                    <a:lnTo>
                      <a:pt x="345" y="203"/>
                    </a:lnTo>
                    <a:lnTo>
                      <a:pt x="352" y="203"/>
                    </a:lnTo>
                    <a:lnTo>
                      <a:pt x="358" y="203"/>
                    </a:lnTo>
                    <a:lnTo>
                      <a:pt x="365" y="210"/>
                    </a:lnTo>
                    <a:lnTo>
                      <a:pt x="365" y="217"/>
                    </a:lnTo>
                    <a:lnTo>
                      <a:pt x="358" y="217"/>
                    </a:lnTo>
                    <a:lnTo>
                      <a:pt x="358" y="224"/>
                    </a:lnTo>
                    <a:lnTo>
                      <a:pt x="352" y="231"/>
                    </a:lnTo>
                    <a:lnTo>
                      <a:pt x="345" y="231"/>
                    </a:lnTo>
                    <a:lnTo>
                      <a:pt x="338" y="231"/>
                    </a:lnTo>
                    <a:lnTo>
                      <a:pt x="338" y="224"/>
                    </a:lnTo>
                    <a:lnTo>
                      <a:pt x="338" y="217"/>
                    </a:lnTo>
                    <a:lnTo>
                      <a:pt x="338" y="224"/>
                    </a:lnTo>
                    <a:lnTo>
                      <a:pt x="338" y="231"/>
                    </a:lnTo>
                    <a:lnTo>
                      <a:pt x="338" y="238"/>
                    </a:lnTo>
                    <a:lnTo>
                      <a:pt x="331" y="238"/>
                    </a:lnTo>
                    <a:lnTo>
                      <a:pt x="331" y="231"/>
                    </a:lnTo>
                    <a:lnTo>
                      <a:pt x="331" y="238"/>
                    </a:lnTo>
                    <a:lnTo>
                      <a:pt x="324" y="238"/>
                    </a:lnTo>
                    <a:lnTo>
                      <a:pt x="324" y="231"/>
                    </a:lnTo>
                    <a:lnTo>
                      <a:pt x="324" y="224"/>
                    </a:lnTo>
                    <a:lnTo>
                      <a:pt x="324" y="217"/>
                    </a:lnTo>
                    <a:lnTo>
                      <a:pt x="318" y="210"/>
                    </a:lnTo>
                    <a:lnTo>
                      <a:pt x="318" y="217"/>
                    </a:lnTo>
                    <a:lnTo>
                      <a:pt x="318" y="224"/>
                    </a:lnTo>
                    <a:lnTo>
                      <a:pt x="324" y="231"/>
                    </a:lnTo>
                    <a:lnTo>
                      <a:pt x="318" y="231"/>
                    </a:lnTo>
                    <a:lnTo>
                      <a:pt x="311" y="231"/>
                    </a:lnTo>
                    <a:lnTo>
                      <a:pt x="311" y="224"/>
                    </a:lnTo>
                    <a:lnTo>
                      <a:pt x="311" y="217"/>
                    </a:lnTo>
                    <a:lnTo>
                      <a:pt x="304" y="217"/>
                    </a:lnTo>
                    <a:lnTo>
                      <a:pt x="304" y="210"/>
                    </a:lnTo>
                    <a:lnTo>
                      <a:pt x="304" y="203"/>
                    </a:lnTo>
                    <a:lnTo>
                      <a:pt x="311" y="196"/>
                    </a:lnTo>
                    <a:lnTo>
                      <a:pt x="304" y="196"/>
                    </a:lnTo>
                    <a:lnTo>
                      <a:pt x="304" y="189"/>
                    </a:lnTo>
                    <a:lnTo>
                      <a:pt x="311" y="189"/>
                    </a:lnTo>
                    <a:lnTo>
                      <a:pt x="318" y="182"/>
                    </a:lnTo>
                    <a:lnTo>
                      <a:pt x="324" y="175"/>
                    </a:lnTo>
                    <a:lnTo>
                      <a:pt x="331" y="175"/>
                    </a:lnTo>
                    <a:lnTo>
                      <a:pt x="331" y="182"/>
                    </a:lnTo>
                    <a:lnTo>
                      <a:pt x="338" y="175"/>
                    </a:lnTo>
                    <a:lnTo>
                      <a:pt x="331" y="175"/>
                    </a:lnTo>
                    <a:lnTo>
                      <a:pt x="318" y="175"/>
                    </a:lnTo>
                    <a:lnTo>
                      <a:pt x="318" y="168"/>
                    </a:lnTo>
                    <a:lnTo>
                      <a:pt x="318" y="175"/>
                    </a:lnTo>
                    <a:lnTo>
                      <a:pt x="318" y="182"/>
                    </a:lnTo>
                    <a:lnTo>
                      <a:pt x="311" y="182"/>
                    </a:lnTo>
                    <a:lnTo>
                      <a:pt x="304" y="189"/>
                    </a:lnTo>
                    <a:lnTo>
                      <a:pt x="297" y="189"/>
                    </a:lnTo>
                    <a:lnTo>
                      <a:pt x="297" y="196"/>
                    </a:lnTo>
                    <a:lnTo>
                      <a:pt x="304" y="210"/>
                    </a:lnTo>
                    <a:lnTo>
                      <a:pt x="297" y="210"/>
                    </a:lnTo>
                    <a:lnTo>
                      <a:pt x="297" y="217"/>
                    </a:lnTo>
                    <a:lnTo>
                      <a:pt x="304" y="217"/>
                    </a:lnTo>
                    <a:lnTo>
                      <a:pt x="311" y="231"/>
                    </a:lnTo>
                    <a:lnTo>
                      <a:pt x="304" y="231"/>
                    </a:lnTo>
                    <a:lnTo>
                      <a:pt x="297" y="231"/>
                    </a:lnTo>
                    <a:lnTo>
                      <a:pt x="304" y="231"/>
                    </a:lnTo>
                    <a:lnTo>
                      <a:pt x="304" y="238"/>
                    </a:lnTo>
                    <a:lnTo>
                      <a:pt x="304" y="245"/>
                    </a:lnTo>
                    <a:lnTo>
                      <a:pt x="304" y="252"/>
                    </a:lnTo>
                    <a:lnTo>
                      <a:pt x="297" y="245"/>
                    </a:lnTo>
                    <a:lnTo>
                      <a:pt x="291" y="245"/>
                    </a:lnTo>
                    <a:lnTo>
                      <a:pt x="284" y="245"/>
                    </a:lnTo>
                    <a:lnTo>
                      <a:pt x="284" y="238"/>
                    </a:lnTo>
                    <a:lnTo>
                      <a:pt x="277" y="238"/>
                    </a:lnTo>
                    <a:lnTo>
                      <a:pt x="277" y="231"/>
                    </a:lnTo>
                    <a:lnTo>
                      <a:pt x="277" y="238"/>
                    </a:lnTo>
                    <a:lnTo>
                      <a:pt x="277" y="245"/>
                    </a:lnTo>
                    <a:lnTo>
                      <a:pt x="277" y="238"/>
                    </a:lnTo>
                    <a:lnTo>
                      <a:pt x="270" y="245"/>
                    </a:lnTo>
                    <a:lnTo>
                      <a:pt x="277" y="252"/>
                    </a:lnTo>
                    <a:lnTo>
                      <a:pt x="277" y="245"/>
                    </a:lnTo>
                    <a:lnTo>
                      <a:pt x="277" y="252"/>
                    </a:lnTo>
                    <a:lnTo>
                      <a:pt x="284" y="252"/>
                    </a:lnTo>
                    <a:lnTo>
                      <a:pt x="277" y="252"/>
                    </a:lnTo>
                    <a:lnTo>
                      <a:pt x="284" y="259"/>
                    </a:lnTo>
                    <a:lnTo>
                      <a:pt x="284" y="266"/>
                    </a:lnTo>
                    <a:lnTo>
                      <a:pt x="277" y="266"/>
                    </a:lnTo>
                    <a:lnTo>
                      <a:pt x="284" y="266"/>
                    </a:lnTo>
                    <a:lnTo>
                      <a:pt x="277" y="266"/>
                    </a:lnTo>
                    <a:lnTo>
                      <a:pt x="270" y="266"/>
                    </a:lnTo>
                    <a:lnTo>
                      <a:pt x="270" y="259"/>
                    </a:lnTo>
                    <a:lnTo>
                      <a:pt x="270" y="266"/>
                    </a:lnTo>
                    <a:lnTo>
                      <a:pt x="270" y="273"/>
                    </a:lnTo>
                    <a:lnTo>
                      <a:pt x="264" y="266"/>
                    </a:lnTo>
                    <a:lnTo>
                      <a:pt x="264" y="273"/>
                    </a:lnTo>
                    <a:lnTo>
                      <a:pt x="264" y="266"/>
                    </a:lnTo>
                    <a:lnTo>
                      <a:pt x="264" y="259"/>
                    </a:lnTo>
                    <a:lnTo>
                      <a:pt x="257" y="259"/>
                    </a:lnTo>
                    <a:lnTo>
                      <a:pt x="257" y="266"/>
                    </a:lnTo>
                    <a:lnTo>
                      <a:pt x="264" y="266"/>
                    </a:lnTo>
                    <a:lnTo>
                      <a:pt x="257" y="273"/>
                    </a:lnTo>
                    <a:lnTo>
                      <a:pt x="257" y="266"/>
                    </a:lnTo>
                    <a:lnTo>
                      <a:pt x="257" y="273"/>
                    </a:lnTo>
                    <a:lnTo>
                      <a:pt x="250" y="273"/>
                    </a:lnTo>
                    <a:lnTo>
                      <a:pt x="250" y="280"/>
                    </a:lnTo>
                    <a:lnTo>
                      <a:pt x="250" y="287"/>
                    </a:lnTo>
                    <a:lnTo>
                      <a:pt x="244" y="280"/>
                    </a:lnTo>
                    <a:lnTo>
                      <a:pt x="237" y="280"/>
                    </a:lnTo>
                    <a:lnTo>
                      <a:pt x="244" y="280"/>
                    </a:lnTo>
                    <a:lnTo>
                      <a:pt x="244" y="287"/>
                    </a:lnTo>
                    <a:lnTo>
                      <a:pt x="237" y="287"/>
                    </a:lnTo>
                    <a:lnTo>
                      <a:pt x="230" y="287"/>
                    </a:lnTo>
                    <a:lnTo>
                      <a:pt x="230" y="294"/>
                    </a:lnTo>
                    <a:lnTo>
                      <a:pt x="223" y="294"/>
                    </a:lnTo>
                    <a:lnTo>
                      <a:pt x="223" y="301"/>
                    </a:lnTo>
                    <a:lnTo>
                      <a:pt x="223" y="294"/>
                    </a:lnTo>
                    <a:lnTo>
                      <a:pt x="223" y="287"/>
                    </a:lnTo>
                    <a:lnTo>
                      <a:pt x="216" y="287"/>
                    </a:lnTo>
                    <a:lnTo>
                      <a:pt x="216" y="280"/>
                    </a:lnTo>
                    <a:lnTo>
                      <a:pt x="209" y="273"/>
                    </a:lnTo>
                    <a:lnTo>
                      <a:pt x="209" y="266"/>
                    </a:lnTo>
                    <a:lnTo>
                      <a:pt x="209" y="259"/>
                    </a:lnTo>
                    <a:lnTo>
                      <a:pt x="203" y="259"/>
                    </a:lnTo>
                    <a:lnTo>
                      <a:pt x="203" y="252"/>
                    </a:lnTo>
                    <a:lnTo>
                      <a:pt x="203" y="245"/>
                    </a:lnTo>
                    <a:close/>
                    <a:moveTo>
                      <a:pt x="365" y="210"/>
                    </a:moveTo>
                    <a:lnTo>
                      <a:pt x="365" y="203"/>
                    </a:lnTo>
                    <a:lnTo>
                      <a:pt x="372" y="210"/>
                    </a:lnTo>
                    <a:lnTo>
                      <a:pt x="365" y="210"/>
                    </a:lnTo>
                    <a:close/>
                    <a:moveTo>
                      <a:pt x="372" y="259"/>
                    </a:moveTo>
                    <a:lnTo>
                      <a:pt x="372" y="252"/>
                    </a:lnTo>
                    <a:lnTo>
                      <a:pt x="379" y="252"/>
                    </a:lnTo>
                    <a:lnTo>
                      <a:pt x="379" y="259"/>
                    </a:lnTo>
                    <a:lnTo>
                      <a:pt x="379" y="266"/>
                    </a:lnTo>
                    <a:lnTo>
                      <a:pt x="379" y="259"/>
                    </a:lnTo>
                    <a:lnTo>
                      <a:pt x="372" y="259"/>
                    </a:lnTo>
                    <a:close/>
                    <a:moveTo>
                      <a:pt x="372" y="168"/>
                    </a:moveTo>
                    <a:lnTo>
                      <a:pt x="372" y="161"/>
                    </a:lnTo>
                    <a:lnTo>
                      <a:pt x="379" y="161"/>
                    </a:lnTo>
                    <a:lnTo>
                      <a:pt x="379" y="168"/>
                    </a:lnTo>
                    <a:lnTo>
                      <a:pt x="372" y="168"/>
                    </a:lnTo>
                    <a:close/>
                  </a:path>
                </a:pathLst>
              </a:custGeom>
              <a:solidFill>
                <a:schemeClr val="accent3"/>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26" name="Freeform 40">
                <a:extLst>
                  <a:ext uri="{FF2B5EF4-FFF2-40B4-BE49-F238E27FC236}">
                    <a16:creationId xmlns:a16="http://schemas.microsoft.com/office/drawing/2014/main" id="{6A4C3442-15C8-1BA2-6576-C9AE9E0E3AD0}"/>
                  </a:ext>
                </a:extLst>
              </p:cNvPr>
              <p:cNvSpPr>
                <a:spLocks/>
              </p:cNvSpPr>
              <p:nvPr/>
            </p:nvSpPr>
            <p:spPr bwMode="gray">
              <a:xfrm>
                <a:off x="4692650" y="4530725"/>
                <a:ext cx="11113" cy="9525"/>
              </a:xfrm>
              <a:custGeom>
                <a:avLst/>
                <a:gdLst>
                  <a:gd name="T0" fmla="*/ 0 w 7"/>
                  <a:gd name="T1" fmla="*/ 0 h 6"/>
                  <a:gd name="T2" fmla="*/ 7 w 7"/>
                  <a:gd name="T3" fmla="*/ 0 h 6"/>
                  <a:gd name="T4" fmla="*/ 7 w 7"/>
                  <a:gd name="T5" fmla="*/ 6 h 6"/>
                  <a:gd name="T6" fmla="*/ 7 w 7"/>
                  <a:gd name="T7" fmla="*/ 0 h 6"/>
                  <a:gd name="T8" fmla="*/ 0 w 7"/>
                  <a:gd name="T9" fmla="*/ 6 h 6"/>
                  <a:gd name="T10" fmla="*/ 0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0" y="0"/>
                    </a:moveTo>
                    <a:lnTo>
                      <a:pt x="7" y="0"/>
                    </a:lnTo>
                    <a:lnTo>
                      <a:pt x="7" y="6"/>
                    </a:lnTo>
                    <a:lnTo>
                      <a:pt x="7" y="0"/>
                    </a:lnTo>
                    <a:lnTo>
                      <a:pt x="0" y="6"/>
                    </a:lnTo>
                    <a:lnTo>
                      <a:pt x="0" y="0"/>
                    </a:lnTo>
                    <a:close/>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27" name="Freeform 41">
                <a:extLst>
                  <a:ext uri="{FF2B5EF4-FFF2-40B4-BE49-F238E27FC236}">
                    <a16:creationId xmlns:a16="http://schemas.microsoft.com/office/drawing/2014/main" id="{1553EC6E-263B-4DF8-E62E-B32E1C569933}"/>
                  </a:ext>
                </a:extLst>
              </p:cNvPr>
              <p:cNvSpPr>
                <a:spLocks/>
              </p:cNvSpPr>
              <p:nvPr/>
            </p:nvSpPr>
            <p:spPr bwMode="gray">
              <a:xfrm>
                <a:off x="4714875" y="4506913"/>
                <a:ext cx="20638" cy="11113"/>
              </a:xfrm>
              <a:custGeom>
                <a:avLst/>
                <a:gdLst>
                  <a:gd name="T0" fmla="*/ 7 w 13"/>
                  <a:gd name="T1" fmla="*/ 7 h 7"/>
                  <a:gd name="T2" fmla="*/ 0 w 13"/>
                  <a:gd name="T3" fmla="*/ 7 h 7"/>
                  <a:gd name="T4" fmla="*/ 0 w 13"/>
                  <a:gd name="T5" fmla="*/ 0 h 7"/>
                  <a:gd name="T6" fmla="*/ 7 w 13"/>
                  <a:gd name="T7" fmla="*/ 0 h 7"/>
                  <a:gd name="T8" fmla="*/ 13 w 13"/>
                  <a:gd name="T9" fmla="*/ 0 h 7"/>
                  <a:gd name="T10" fmla="*/ 13 w 13"/>
                  <a:gd name="T11" fmla="*/ 7 h 7"/>
                  <a:gd name="T12" fmla="*/ 7 w 1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7" y="7"/>
                    </a:moveTo>
                    <a:lnTo>
                      <a:pt x="0" y="7"/>
                    </a:lnTo>
                    <a:lnTo>
                      <a:pt x="0" y="0"/>
                    </a:lnTo>
                    <a:lnTo>
                      <a:pt x="7" y="0"/>
                    </a:lnTo>
                    <a:lnTo>
                      <a:pt x="13" y="0"/>
                    </a:lnTo>
                    <a:lnTo>
                      <a:pt x="13" y="7"/>
                    </a:lnTo>
                    <a:lnTo>
                      <a:pt x="7"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28" name="Freeform 42">
                <a:extLst>
                  <a:ext uri="{FF2B5EF4-FFF2-40B4-BE49-F238E27FC236}">
                    <a16:creationId xmlns:a16="http://schemas.microsoft.com/office/drawing/2014/main" id="{61B87F3D-B374-6A1F-DE55-D7DE2AD262E6}"/>
                  </a:ext>
                </a:extLst>
              </p:cNvPr>
              <p:cNvSpPr>
                <a:spLocks/>
              </p:cNvSpPr>
              <p:nvPr/>
            </p:nvSpPr>
            <p:spPr bwMode="gray">
              <a:xfrm>
                <a:off x="4714875" y="4473575"/>
                <a:ext cx="20638" cy="22225"/>
              </a:xfrm>
              <a:custGeom>
                <a:avLst/>
                <a:gdLst>
                  <a:gd name="T0" fmla="*/ 0 w 13"/>
                  <a:gd name="T1" fmla="*/ 7 h 14"/>
                  <a:gd name="T2" fmla="*/ 0 w 13"/>
                  <a:gd name="T3" fmla="*/ 0 h 14"/>
                  <a:gd name="T4" fmla="*/ 7 w 13"/>
                  <a:gd name="T5" fmla="*/ 0 h 14"/>
                  <a:gd name="T6" fmla="*/ 7 w 13"/>
                  <a:gd name="T7" fmla="*/ 7 h 14"/>
                  <a:gd name="T8" fmla="*/ 13 w 13"/>
                  <a:gd name="T9" fmla="*/ 7 h 14"/>
                  <a:gd name="T10" fmla="*/ 13 w 13"/>
                  <a:gd name="T11" fmla="*/ 14 h 14"/>
                  <a:gd name="T12" fmla="*/ 13 w 13"/>
                  <a:gd name="T13" fmla="*/ 7 h 14"/>
                  <a:gd name="T14" fmla="*/ 7 w 13"/>
                  <a:gd name="T15" fmla="*/ 7 h 14"/>
                  <a:gd name="T16" fmla="*/ 7 w 13"/>
                  <a:gd name="T17" fmla="*/ 14 h 14"/>
                  <a:gd name="T18" fmla="*/ 13 w 13"/>
                  <a:gd name="T19" fmla="*/ 14 h 14"/>
                  <a:gd name="T20" fmla="*/ 7 w 13"/>
                  <a:gd name="T21" fmla="*/ 14 h 14"/>
                  <a:gd name="T22" fmla="*/ 0 w 13"/>
                  <a:gd name="T23" fmla="*/ 14 h 14"/>
                  <a:gd name="T24" fmla="*/ 0 w 13"/>
                  <a:gd name="T25" fmla="*/ 7 h 14"/>
                  <a:gd name="T26" fmla="*/ 0 w 13"/>
                  <a:gd name="T27" fmla="*/ 14 h 14"/>
                  <a:gd name="T28" fmla="*/ 7 w 13"/>
                  <a:gd name="T29" fmla="*/ 7 h 14"/>
                  <a:gd name="T30" fmla="*/ 0 w 13"/>
                  <a:gd name="T3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0" y="7"/>
                    </a:moveTo>
                    <a:lnTo>
                      <a:pt x="0" y="0"/>
                    </a:lnTo>
                    <a:lnTo>
                      <a:pt x="7" y="0"/>
                    </a:lnTo>
                    <a:lnTo>
                      <a:pt x="7" y="7"/>
                    </a:lnTo>
                    <a:lnTo>
                      <a:pt x="13" y="7"/>
                    </a:lnTo>
                    <a:lnTo>
                      <a:pt x="13" y="14"/>
                    </a:lnTo>
                    <a:lnTo>
                      <a:pt x="13" y="7"/>
                    </a:lnTo>
                    <a:lnTo>
                      <a:pt x="7" y="7"/>
                    </a:lnTo>
                    <a:lnTo>
                      <a:pt x="7" y="14"/>
                    </a:lnTo>
                    <a:lnTo>
                      <a:pt x="13" y="14"/>
                    </a:lnTo>
                    <a:lnTo>
                      <a:pt x="7" y="14"/>
                    </a:lnTo>
                    <a:lnTo>
                      <a:pt x="0" y="14"/>
                    </a:lnTo>
                    <a:lnTo>
                      <a:pt x="0" y="7"/>
                    </a:lnTo>
                    <a:lnTo>
                      <a:pt x="0" y="14"/>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29" name="Freeform 43">
                <a:extLst>
                  <a:ext uri="{FF2B5EF4-FFF2-40B4-BE49-F238E27FC236}">
                    <a16:creationId xmlns:a16="http://schemas.microsoft.com/office/drawing/2014/main" id="{55BAA776-7481-ACF5-6AE4-DA2EAED5098D}"/>
                  </a:ext>
                </a:extLst>
              </p:cNvPr>
              <p:cNvSpPr>
                <a:spLocks/>
              </p:cNvSpPr>
              <p:nvPr/>
            </p:nvSpPr>
            <p:spPr bwMode="gray">
              <a:xfrm>
                <a:off x="4746625" y="4495800"/>
                <a:ext cx="11113" cy="11113"/>
              </a:xfrm>
              <a:custGeom>
                <a:avLst/>
                <a:gdLst>
                  <a:gd name="T0" fmla="*/ 7 w 7"/>
                  <a:gd name="T1" fmla="*/ 7 h 7"/>
                  <a:gd name="T2" fmla="*/ 0 w 7"/>
                  <a:gd name="T3" fmla="*/ 7 h 7"/>
                  <a:gd name="T4" fmla="*/ 7 w 7"/>
                  <a:gd name="T5" fmla="*/ 0 h 7"/>
                  <a:gd name="T6" fmla="*/ 7 w 7"/>
                  <a:gd name="T7" fmla="*/ 7 h 7"/>
                </a:gdLst>
                <a:ahLst/>
                <a:cxnLst>
                  <a:cxn ang="0">
                    <a:pos x="T0" y="T1"/>
                  </a:cxn>
                  <a:cxn ang="0">
                    <a:pos x="T2" y="T3"/>
                  </a:cxn>
                  <a:cxn ang="0">
                    <a:pos x="T4" y="T5"/>
                  </a:cxn>
                  <a:cxn ang="0">
                    <a:pos x="T6" y="T7"/>
                  </a:cxn>
                </a:cxnLst>
                <a:rect l="0" t="0" r="r" b="b"/>
                <a:pathLst>
                  <a:path w="7" h="7">
                    <a:moveTo>
                      <a:pt x="7" y="7"/>
                    </a:moveTo>
                    <a:lnTo>
                      <a:pt x="0" y="7"/>
                    </a:lnTo>
                    <a:lnTo>
                      <a:pt x="7" y="0"/>
                    </a:lnTo>
                    <a:lnTo>
                      <a:pt x="7"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30" name="Freeform 44">
                <a:extLst>
                  <a:ext uri="{FF2B5EF4-FFF2-40B4-BE49-F238E27FC236}">
                    <a16:creationId xmlns:a16="http://schemas.microsoft.com/office/drawing/2014/main" id="{4E8FD308-5D03-4F8B-AD2F-FFA757672E26}"/>
                  </a:ext>
                </a:extLst>
              </p:cNvPr>
              <p:cNvSpPr>
                <a:spLocks/>
              </p:cNvSpPr>
              <p:nvPr/>
            </p:nvSpPr>
            <p:spPr bwMode="gray">
              <a:xfrm>
                <a:off x="4725988" y="4408488"/>
                <a:ext cx="63500" cy="76200"/>
              </a:xfrm>
              <a:custGeom>
                <a:avLst/>
                <a:gdLst>
                  <a:gd name="T0" fmla="*/ 0 w 40"/>
                  <a:gd name="T1" fmla="*/ 41 h 48"/>
                  <a:gd name="T2" fmla="*/ 0 w 40"/>
                  <a:gd name="T3" fmla="*/ 34 h 48"/>
                  <a:gd name="T4" fmla="*/ 0 w 40"/>
                  <a:gd name="T5" fmla="*/ 27 h 48"/>
                  <a:gd name="T6" fmla="*/ 6 w 40"/>
                  <a:gd name="T7" fmla="*/ 27 h 48"/>
                  <a:gd name="T8" fmla="*/ 13 w 40"/>
                  <a:gd name="T9" fmla="*/ 27 h 48"/>
                  <a:gd name="T10" fmla="*/ 13 w 40"/>
                  <a:gd name="T11" fmla="*/ 20 h 48"/>
                  <a:gd name="T12" fmla="*/ 13 w 40"/>
                  <a:gd name="T13" fmla="*/ 14 h 48"/>
                  <a:gd name="T14" fmla="*/ 6 w 40"/>
                  <a:gd name="T15" fmla="*/ 14 h 48"/>
                  <a:gd name="T16" fmla="*/ 13 w 40"/>
                  <a:gd name="T17" fmla="*/ 14 h 48"/>
                  <a:gd name="T18" fmla="*/ 20 w 40"/>
                  <a:gd name="T19" fmla="*/ 14 h 48"/>
                  <a:gd name="T20" fmla="*/ 27 w 40"/>
                  <a:gd name="T21" fmla="*/ 14 h 48"/>
                  <a:gd name="T22" fmla="*/ 33 w 40"/>
                  <a:gd name="T23" fmla="*/ 7 h 48"/>
                  <a:gd name="T24" fmla="*/ 27 w 40"/>
                  <a:gd name="T25" fmla="*/ 7 h 48"/>
                  <a:gd name="T26" fmla="*/ 33 w 40"/>
                  <a:gd name="T27" fmla="*/ 7 h 48"/>
                  <a:gd name="T28" fmla="*/ 27 w 40"/>
                  <a:gd name="T29" fmla="*/ 0 h 48"/>
                  <a:gd name="T30" fmla="*/ 33 w 40"/>
                  <a:gd name="T31" fmla="*/ 0 h 48"/>
                  <a:gd name="T32" fmla="*/ 33 w 40"/>
                  <a:gd name="T33" fmla="*/ 7 h 48"/>
                  <a:gd name="T34" fmla="*/ 33 w 40"/>
                  <a:gd name="T35" fmla="*/ 14 h 48"/>
                  <a:gd name="T36" fmla="*/ 27 w 40"/>
                  <a:gd name="T37" fmla="*/ 14 h 48"/>
                  <a:gd name="T38" fmla="*/ 33 w 40"/>
                  <a:gd name="T39" fmla="*/ 20 h 48"/>
                  <a:gd name="T40" fmla="*/ 40 w 40"/>
                  <a:gd name="T41" fmla="*/ 20 h 48"/>
                  <a:gd name="T42" fmla="*/ 40 w 40"/>
                  <a:gd name="T43" fmla="*/ 27 h 48"/>
                  <a:gd name="T44" fmla="*/ 33 w 40"/>
                  <a:gd name="T45" fmla="*/ 27 h 48"/>
                  <a:gd name="T46" fmla="*/ 33 w 40"/>
                  <a:gd name="T47" fmla="*/ 20 h 48"/>
                  <a:gd name="T48" fmla="*/ 33 w 40"/>
                  <a:gd name="T49" fmla="*/ 27 h 48"/>
                  <a:gd name="T50" fmla="*/ 40 w 40"/>
                  <a:gd name="T51" fmla="*/ 27 h 48"/>
                  <a:gd name="T52" fmla="*/ 40 w 40"/>
                  <a:gd name="T53" fmla="*/ 34 h 48"/>
                  <a:gd name="T54" fmla="*/ 33 w 40"/>
                  <a:gd name="T55" fmla="*/ 34 h 48"/>
                  <a:gd name="T56" fmla="*/ 27 w 40"/>
                  <a:gd name="T57" fmla="*/ 34 h 48"/>
                  <a:gd name="T58" fmla="*/ 27 w 40"/>
                  <a:gd name="T59" fmla="*/ 41 h 48"/>
                  <a:gd name="T60" fmla="*/ 20 w 40"/>
                  <a:gd name="T61" fmla="*/ 41 h 48"/>
                  <a:gd name="T62" fmla="*/ 27 w 40"/>
                  <a:gd name="T63" fmla="*/ 48 h 48"/>
                  <a:gd name="T64" fmla="*/ 20 w 40"/>
                  <a:gd name="T65" fmla="*/ 48 h 48"/>
                  <a:gd name="T66" fmla="*/ 13 w 40"/>
                  <a:gd name="T67" fmla="*/ 48 h 48"/>
                  <a:gd name="T68" fmla="*/ 13 w 40"/>
                  <a:gd name="T69" fmla="*/ 41 h 48"/>
                  <a:gd name="T70" fmla="*/ 6 w 40"/>
                  <a:gd name="T71" fmla="*/ 41 h 48"/>
                  <a:gd name="T72" fmla="*/ 0 w 40"/>
                  <a:gd name="T73"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8">
                    <a:moveTo>
                      <a:pt x="0" y="41"/>
                    </a:moveTo>
                    <a:lnTo>
                      <a:pt x="0" y="34"/>
                    </a:lnTo>
                    <a:lnTo>
                      <a:pt x="0" y="27"/>
                    </a:lnTo>
                    <a:lnTo>
                      <a:pt x="6" y="27"/>
                    </a:lnTo>
                    <a:lnTo>
                      <a:pt x="13" y="27"/>
                    </a:lnTo>
                    <a:lnTo>
                      <a:pt x="13" y="20"/>
                    </a:lnTo>
                    <a:lnTo>
                      <a:pt x="13" y="14"/>
                    </a:lnTo>
                    <a:lnTo>
                      <a:pt x="6" y="14"/>
                    </a:lnTo>
                    <a:lnTo>
                      <a:pt x="13" y="14"/>
                    </a:lnTo>
                    <a:lnTo>
                      <a:pt x="20" y="14"/>
                    </a:lnTo>
                    <a:lnTo>
                      <a:pt x="27" y="14"/>
                    </a:lnTo>
                    <a:lnTo>
                      <a:pt x="33" y="7"/>
                    </a:lnTo>
                    <a:lnTo>
                      <a:pt x="27" y="7"/>
                    </a:lnTo>
                    <a:lnTo>
                      <a:pt x="33" y="7"/>
                    </a:lnTo>
                    <a:lnTo>
                      <a:pt x="27" y="0"/>
                    </a:lnTo>
                    <a:lnTo>
                      <a:pt x="33" y="0"/>
                    </a:lnTo>
                    <a:lnTo>
                      <a:pt x="33" y="7"/>
                    </a:lnTo>
                    <a:lnTo>
                      <a:pt x="33" y="14"/>
                    </a:lnTo>
                    <a:lnTo>
                      <a:pt x="27" y="14"/>
                    </a:lnTo>
                    <a:lnTo>
                      <a:pt x="33" y="20"/>
                    </a:lnTo>
                    <a:lnTo>
                      <a:pt x="40" y="20"/>
                    </a:lnTo>
                    <a:lnTo>
                      <a:pt x="40" y="27"/>
                    </a:lnTo>
                    <a:lnTo>
                      <a:pt x="33" y="27"/>
                    </a:lnTo>
                    <a:lnTo>
                      <a:pt x="33" y="20"/>
                    </a:lnTo>
                    <a:lnTo>
                      <a:pt x="33" y="27"/>
                    </a:lnTo>
                    <a:lnTo>
                      <a:pt x="40" y="27"/>
                    </a:lnTo>
                    <a:lnTo>
                      <a:pt x="40" y="34"/>
                    </a:lnTo>
                    <a:lnTo>
                      <a:pt x="33" y="34"/>
                    </a:lnTo>
                    <a:lnTo>
                      <a:pt x="27" y="34"/>
                    </a:lnTo>
                    <a:lnTo>
                      <a:pt x="27" y="41"/>
                    </a:lnTo>
                    <a:lnTo>
                      <a:pt x="20" y="41"/>
                    </a:lnTo>
                    <a:lnTo>
                      <a:pt x="27" y="48"/>
                    </a:lnTo>
                    <a:lnTo>
                      <a:pt x="20" y="48"/>
                    </a:lnTo>
                    <a:lnTo>
                      <a:pt x="13" y="48"/>
                    </a:lnTo>
                    <a:lnTo>
                      <a:pt x="13" y="41"/>
                    </a:lnTo>
                    <a:lnTo>
                      <a:pt x="6" y="41"/>
                    </a:lnTo>
                    <a:lnTo>
                      <a:pt x="0" y="41"/>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34" name="Freeform 45">
                <a:extLst>
                  <a:ext uri="{FF2B5EF4-FFF2-40B4-BE49-F238E27FC236}">
                    <a16:creationId xmlns:a16="http://schemas.microsoft.com/office/drawing/2014/main" id="{2F84E5AE-5879-F1FB-5659-664A73895812}"/>
                  </a:ext>
                </a:extLst>
              </p:cNvPr>
              <p:cNvSpPr>
                <a:spLocks/>
              </p:cNvSpPr>
              <p:nvPr/>
            </p:nvSpPr>
            <p:spPr bwMode="gray">
              <a:xfrm>
                <a:off x="4768850" y="4075113"/>
                <a:ext cx="9525" cy="11113"/>
              </a:xfrm>
              <a:custGeom>
                <a:avLst/>
                <a:gdLst>
                  <a:gd name="T0" fmla="*/ 0 w 6"/>
                  <a:gd name="T1" fmla="*/ 7 h 7"/>
                  <a:gd name="T2" fmla="*/ 0 w 6"/>
                  <a:gd name="T3" fmla="*/ 0 h 7"/>
                  <a:gd name="T4" fmla="*/ 6 w 6"/>
                  <a:gd name="T5" fmla="*/ 0 h 7"/>
                  <a:gd name="T6" fmla="*/ 0 w 6"/>
                  <a:gd name="T7" fmla="*/ 0 h 7"/>
                  <a:gd name="T8" fmla="*/ 0 w 6"/>
                  <a:gd name="T9" fmla="*/ 7 h 7"/>
                </a:gdLst>
                <a:ahLst/>
                <a:cxnLst>
                  <a:cxn ang="0">
                    <a:pos x="T0" y="T1"/>
                  </a:cxn>
                  <a:cxn ang="0">
                    <a:pos x="T2" y="T3"/>
                  </a:cxn>
                  <a:cxn ang="0">
                    <a:pos x="T4" y="T5"/>
                  </a:cxn>
                  <a:cxn ang="0">
                    <a:pos x="T6" y="T7"/>
                  </a:cxn>
                  <a:cxn ang="0">
                    <a:pos x="T8" y="T9"/>
                  </a:cxn>
                </a:cxnLst>
                <a:rect l="0" t="0" r="r" b="b"/>
                <a:pathLst>
                  <a:path w="6" h="7">
                    <a:moveTo>
                      <a:pt x="0" y="7"/>
                    </a:moveTo>
                    <a:lnTo>
                      <a:pt x="0" y="0"/>
                    </a:lnTo>
                    <a:lnTo>
                      <a:pt x="6" y="0"/>
                    </a:lnTo>
                    <a:lnTo>
                      <a:pt x="0" y="0"/>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35" name="Rectangle 46">
                <a:extLst>
                  <a:ext uri="{FF2B5EF4-FFF2-40B4-BE49-F238E27FC236}">
                    <a16:creationId xmlns:a16="http://schemas.microsoft.com/office/drawing/2014/main" id="{078239D0-EA0B-2113-8A02-AE966E045A2B}"/>
                  </a:ext>
                </a:extLst>
              </p:cNvPr>
              <p:cNvSpPr>
                <a:spLocks noChangeArrowheads="1"/>
              </p:cNvSpPr>
              <p:nvPr/>
            </p:nvSpPr>
            <p:spPr bwMode="gray">
              <a:xfrm>
                <a:off x="4789488" y="4075113"/>
                <a:ext cx="11113" cy="11113"/>
              </a:xfrm>
              <a:prstGeom prst="rect">
                <a:avLst/>
              </a:pr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36" name="Rectangle 47">
                <a:extLst>
                  <a:ext uri="{FF2B5EF4-FFF2-40B4-BE49-F238E27FC236}">
                    <a16:creationId xmlns:a16="http://schemas.microsoft.com/office/drawing/2014/main" id="{3D18692C-4E3B-E5FA-97A4-91B78CB1D6BB}"/>
                  </a:ext>
                </a:extLst>
              </p:cNvPr>
              <p:cNvSpPr>
                <a:spLocks noChangeArrowheads="1"/>
              </p:cNvSpPr>
              <p:nvPr/>
            </p:nvSpPr>
            <p:spPr bwMode="gray">
              <a:xfrm>
                <a:off x="4789488" y="4451350"/>
                <a:ext cx="11113" cy="11113"/>
              </a:xfrm>
              <a:prstGeom prst="rect">
                <a:avLst/>
              </a:pr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37" name="Freeform 48">
                <a:extLst>
                  <a:ext uri="{FF2B5EF4-FFF2-40B4-BE49-F238E27FC236}">
                    <a16:creationId xmlns:a16="http://schemas.microsoft.com/office/drawing/2014/main" id="{94FE97AF-081F-3338-B7BA-04875947E77D}"/>
                  </a:ext>
                </a:extLst>
              </p:cNvPr>
              <p:cNvSpPr>
                <a:spLocks/>
              </p:cNvSpPr>
              <p:nvPr/>
            </p:nvSpPr>
            <p:spPr bwMode="gray">
              <a:xfrm>
                <a:off x="4789488" y="4408488"/>
                <a:ext cx="11113" cy="22225"/>
              </a:xfrm>
              <a:custGeom>
                <a:avLst/>
                <a:gdLst>
                  <a:gd name="T0" fmla="*/ 0 w 7"/>
                  <a:gd name="T1" fmla="*/ 14 h 14"/>
                  <a:gd name="T2" fmla="*/ 0 w 7"/>
                  <a:gd name="T3" fmla="*/ 7 h 14"/>
                  <a:gd name="T4" fmla="*/ 7 w 7"/>
                  <a:gd name="T5" fmla="*/ 7 h 14"/>
                  <a:gd name="T6" fmla="*/ 0 w 7"/>
                  <a:gd name="T7" fmla="*/ 7 h 14"/>
                  <a:gd name="T8" fmla="*/ 7 w 7"/>
                  <a:gd name="T9" fmla="*/ 0 h 14"/>
                  <a:gd name="T10" fmla="*/ 7 w 7"/>
                  <a:gd name="T11" fmla="*/ 7 h 14"/>
                  <a:gd name="T12" fmla="*/ 7 w 7"/>
                  <a:gd name="T13" fmla="*/ 14 h 14"/>
                  <a:gd name="T14" fmla="*/ 0 w 7"/>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0" y="14"/>
                    </a:moveTo>
                    <a:lnTo>
                      <a:pt x="0" y="7"/>
                    </a:lnTo>
                    <a:lnTo>
                      <a:pt x="7" y="7"/>
                    </a:lnTo>
                    <a:lnTo>
                      <a:pt x="0" y="7"/>
                    </a:lnTo>
                    <a:lnTo>
                      <a:pt x="7" y="0"/>
                    </a:lnTo>
                    <a:lnTo>
                      <a:pt x="7" y="7"/>
                    </a:lnTo>
                    <a:lnTo>
                      <a:pt x="7" y="14"/>
                    </a:lnTo>
                    <a:lnTo>
                      <a:pt x="0" y="1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39" name="Rectangle 49">
                <a:extLst>
                  <a:ext uri="{FF2B5EF4-FFF2-40B4-BE49-F238E27FC236}">
                    <a16:creationId xmlns:a16="http://schemas.microsoft.com/office/drawing/2014/main" id="{652E16E1-6E0F-4B06-94B2-BCF253043B56}"/>
                  </a:ext>
                </a:extLst>
              </p:cNvPr>
              <p:cNvSpPr>
                <a:spLocks noChangeArrowheads="1"/>
              </p:cNvSpPr>
              <p:nvPr/>
            </p:nvSpPr>
            <p:spPr bwMode="gray">
              <a:xfrm>
                <a:off x="4800600" y="4440238"/>
                <a:ext cx="9525" cy="11113"/>
              </a:xfrm>
              <a:prstGeom prst="rect">
                <a:avLst/>
              </a:pr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40" name="Freeform 50">
                <a:extLst>
                  <a:ext uri="{FF2B5EF4-FFF2-40B4-BE49-F238E27FC236}">
                    <a16:creationId xmlns:a16="http://schemas.microsoft.com/office/drawing/2014/main" id="{6A6DA22B-FAE7-BDCD-504B-93BD9EDDB0F2}"/>
                  </a:ext>
                </a:extLst>
              </p:cNvPr>
              <p:cNvSpPr>
                <a:spLocks/>
              </p:cNvSpPr>
              <p:nvPr/>
            </p:nvSpPr>
            <p:spPr bwMode="gray">
              <a:xfrm>
                <a:off x="4810125" y="4440238"/>
                <a:ext cx="0" cy="11113"/>
              </a:xfrm>
              <a:custGeom>
                <a:avLst/>
                <a:gdLst>
                  <a:gd name="T0" fmla="*/ 7 h 7"/>
                  <a:gd name="T1" fmla="*/ 0 h 7"/>
                  <a:gd name="T2" fmla="*/ 7 h 7"/>
                </a:gdLst>
                <a:ahLst/>
                <a:cxnLst>
                  <a:cxn ang="0">
                    <a:pos x="0" y="T0"/>
                  </a:cxn>
                  <a:cxn ang="0">
                    <a:pos x="0" y="T1"/>
                  </a:cxn>
                  <a:cxn ang="0">
                    <a:pos x="0" y="T2"/>
                  </a:cxn>
                </a:cxnLst>
                <a:rect l="0" t="0" r="r" b="b"/>
                <a:pathLst>
                  <a:path h="7">
                    <a:moveTo>
                      <a:pt x="0" y="7"/>
                    </a:moveTo>
                    <a:lnTo>
                      <a:pt x="0" y="0"/>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45" name="Freeform 51">
                <a:extLst>
                  <a:ext uri="{FF2B5EF4-FFF2-40B4-BE49-F238E27FC236}">
                    <a16:creationId xmlns:a16="http://schemas.microsoft.com/office/drawing/2014/main" id="{4FF81719-51E0-B846-BF13-393D54439606}"/>
                  </a:ext>
                </a:extLst>
              </p:cNvPr>
              <p:cNvSpPr>
                <a:spLocks/>
              </p:cNvSpPr>
              <p:nvPr/>
            </p:nvSpPr>
            <p:spPr bwMode="gray">
              <a:xfrm>
                <a:off x="4821238" y="4397375"/>
                <a:ext cx="22225" cy="33338"/>
              </a:xfrm>
              <a:custGeom>
                <a:avLst/>
                <a:gdLst>
                  <a:gd name="T0" fmla="*/ 0 w 14"/>
                  <a:gd name="T1" fmla="*/ 14 h 21"/>
                  <a:gd name="T2" fmla="*/ 7 w 14"/>
                  <a:gd name="T3" fmla="*/ 7 h 21"/>
                  <a:gd name="T4" fmla="*/ 0 w 14"/>
                  <a:gd name="T5" fmla="*/ 7 h 21"/>
                  <a:gd name="T6" fmla="*/ 7 w 14"/>
                  <a:gd name="T7" fmla="*/ 7 h 21"/>
                  <a:gd name="T8" fmla="*/ 7 w 14"/>
                  <a:gd name="T9" fmla="*/ 0 h 21"/>
                  <a:gd name="T10" fmla="*/ 7 w 14"/>
                  <a:gd name="T11" fmla="*/ 7 h 21"/>
                  <a:gd name="T12" fmla="*/ 7 w 14"/>
                  <a:gd name="T13" fmla="*/ 0 h 21"/>
                  <a:gd name="T14" fmla="*/ 7 w 14"/>
                  <a:gd name="T15" fmla="*/ 7 h 21"/>
                  <a:gd name="T16" fmla="*/ 14 w 14"/>
                  <a:gd name="T17" fmla="*/ 7 h 21"/>
                  <a:gd name="T18" fmla="*/ 14 w 14"/>
                  <a:gd name="T19" fmla="*/ 14 h 21"/>
                  <a:gd name="T20" fmla="*/ 7 w 14"/>
                  <a:gd name="T21" fmla="*/ 14 h 21"/>
                  <a:gd name="T22" fmla="*/ 7 w 14"/>
                  <a:gd name="T23" fmla="*/ 21 h 21"/>
                  <a:gd name="T24" fmla="*/ 0 w 14"/>
                  <a:gd name="T25" fmla="*/ 21 h 21"/>
                  <a:gd name="T26" fmla="*/ 0 w 14"/>
                  <a:gd name="T27"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21">
                    <a:moveTo>
                      <a:pt x="0" y="14"/>
                    </a:moveTo>
                    <a:lnTo>
                      <a:pt x="7" y="7"/>
                    </a:lnTo>
                    <a:lnTo>
                      <a:pt x="0" y="7"/>
                    </a:lnTo>
                    <a:lnTo>
                      <a:pt x="7" y="7"/>
                    </a:lnTo>
                    <a:lnTo>
                      <a:pt x="7" y="0"/>
                    </a:lnTo>
                    <a:lnTo>
                      <a:pt x="7" y="7"/>
                    </a:lnTo>
                    <a:lnTo>
                      <a:pt x="7" y="0"/>
                    </a:lnTo>
                    <a:lnTo>
                      <a:pt x="7" y="7"/>
                    </a:lnTo>
                    <a:lnTo>
                      <a:pt x="14" y="7"/>
                    </a:lnTo>
                    <a:lnTo>
                      <a:pt x="14" y="14"/>
                    </a:lnTo>
                    <a:lnTo>
                      <a:pt x="7" y="14"/>
                    </a:lnTo>
                    <a:lnTo>
                      <a:pt x="7" y="21"/>
                    </a:lnTo>
                    <a:lnTo>
                      <a:pt x="0" y="21"/>
                    </a:lnTo>
                    <a:lnTo>
                      <a:pt x="0" y="1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46" name="Freeform 52">
                <a:extLst>
                  <a:ext uri="{FF2B5EF4-FFF2-40B4-BE49-F238E27FC236}">
                    <a16:creationId xmlns:a16="http://schemas.microsoft.com/office/drawing/2014/main" id="{98506895-1630-9032-A55D-14D62ED8C7FA}"/>
                  </a:ext>
                </a:extLst>
              </p:cNvPr>
              <p:cNvSpPr>
                <a:spLocks/>
              </p:cNvSpPr>
              <p:nvPr/>
            </p:nvSpPr>
            <p:spPr bwMode="gray">
              <a:xfrm>
                <a:off x="4800600" y="4186238"/>
                <a:ext cx="106363" cy="222250"/>
              </a:xfrm>
              <a:custGeom>
                <a:avLst/>
                <a:gdLst>
                  <a:gd name="T0" fmla="*/ 13 w 67"/>
                  <a:gd name="T1" fmla="*/ 56 h 140"/>
                  <a:gd name="T2" fmla="*/ 20 w 67"/>
                  <a:gd name="T3" fmla="*/ 42 h 140"/>
                  <a:gd name="T4" fmla="*/ 27 w 67"/>
                  <a:gd name="T5" fmla="*/ 21 h 140"/>
                  <a:gd name="T6" fmla="*/ 27 w 67"/>
                  <a:gd name="T7" fmla="*/ 0 h 140"/>
                  <a:gd name="T8" fmla="*/ 33 w 67"/>
                  <a:gd name="T9" fmla="*/ 0 h 140"/>
                  <a:gd name="T10" fmla="*/ 27 w 67"/>
                  <a:gd name="T11" fmla="*/ 7 h 140"/>
                  <a:gd name="T12" fmla="*/ 33 w 67"/>
                  <a:gd name="T13" fmla="*/ 14 h 140"/>
                  <a:gd name="T14" fmla="*/ 47 w 67"/>
                  <a:gd name="T15" fmla="*/ 28 h 140"/>
                  <a:gd name="T16" fmla="*/ 40 w 67"/>
                  <a:gd name="T17" fmla="*/ 21 h 140"/>
                  <a:gd name="T18" fmla="*/ 40 w 67"/>
                  <a:gd name="T19" fmla="*/ 7 h 140"/>
                  <a:gd name="T20" fmla="*/ 40 w 67"/>
                  <a:gd name="T21" fmla="*/ 0 h 140"/>
                  <a:gd name="T22" fmla="*/ 54 w 67"/>
                  <a:gd name="T23" fmla="*/ 14 h 140"/>
                  <a:gd name="T24" fmla="*/ 47 w 67"/>
                  <a:gd name="T25" fmla="*/ 14 h 140"/>
                  <a:gd name="T26" fmla="*/ 61 w 67"/>
                  <a:gd name="T27" fmla="*/ 28 h 140"/>
                  <a:gd name="T28" fmla="*/ 47 w 67"/>
                  <a:gd name="T29" fmla="*/ 21 h 140"/>
                  <a:gd name="T30" fmla="*/ 47 w 67"/>
                  <a:gd name="T31" fmla="*/ 21 h 140"/>
                  <a:gd name="T32" fmla="*/ 61 w 67"/>
                  <a:gd name="T33" fmla="*/ 28 h 140"/>
                  <a:gd name="T34" fmla="*/ 47 w 67"/>
                  <a:gd name="T35" fmla="*/ 34 h 140"/>
                  <a:gd name="T36" fmla="*/ 54 w 67"/>
                  <a:gd name="T37" fmla="*/ 34 h 140"/>
                  <a:gd name="T38" fmla="*/ 54 w 67"/>
                  <a:gd name="T39" fmla="*/ 34 h 140"/>
                  <a:gd name="T40" fmla="*/ 61 w 67"/>
                  <a:gd name="T41" fmla="*/ 49 h 140"/>
                  <a:gd name="T42" fmla="*/ 61 w 67"/>
                  <a:gd name="T43" fmla="*/ 63 h 140"/>
                  <a:gd name="T44" fmla="*/ 47 w 67"/>
                  <a:gd name="T45" fmla="*/ 63 h 140"/>
                  <a:gd name="T46" fmla="*/ 40 w 67"/>
                  <a:gd name="T47" fmla="*/ 77 h 140"/>
                  <a:gd name="T48" fmla="*/ 33 w 67"/>
                  <a:gd name="T49" fmla="*/ 77 h 140"/>
                  <a:gd name="T50" fmla="*/ 33 w 67"/>
                  <a:gd name="T51" fmla="*/ 70 h 140"/>
                  <a:gd name="T52" fmla="*/ 20 w 67"/>
                  <a:gd name="T53" fmla="*/ 70 h 140"/>
                  <a:gd name="T54" fmla="*/ 33 w 67"/>
                  <a:gd name="T55" fmla="*/ 77 h 140"/>
                  <a:gd name="T56" fmla="*/ 40 w 67"/>
                  <a:gd name="T57" fmla="*/ 91 h 140"/>
                  <a:gd name="T58" fmla="*/ 40 w 67"/>
                  <a:gd name="T59" fmla="*/ 111 h 140"/>
                  <a:gd name="T60" fmla="*/ 20 w 67"/>
                  <a:gd name="T61" fmla="*/ 104 h 140"/>
                  <a:gd name="T62" fmla="*/ 20 w 67"/>
                  <a:gd name="T63" fmla="*/ 111 h 140"/>
                  <a:gd name="T64" fmla="*/ 20 w 67"/>
                  <a:gd name="T65" fmla="*/ 104 h 140"/>
                  <a:gd name="T66" fmla="*/ 20 w 67"/>
                  <a:gd name="T67" fmla="*/ 118 h 140"/>
                  <a:gd name="T68" fmla="*/ 33 w 67"/>
                  <a:gd name="T69" fmla="*/ 126 h 140"/>
                  <a:gd name="T70" fmla="*/ 40 w 67"/>
                  <a:gd name="T71" fmla="*/ 133 h 140"/>
                  <a:gd name="T72" fmla="*/ 33 w 67"/>
                  <a:gd name="T73" fmla="*/ 133 h 140"/>
                  <a:gd name="T74" fmla="*/ 20 w 67"/>
                  <a:gd name="T75" fmla="*/ 126 h 140"/>
                  <a:gd name="T76" fmla="*/ 13 w 67"/>
                  <a:gd name="T77" fmla="*/ 126 h 140"/>
                  <a:gd name="T78" fmla="*/ 6 w 67"/>
                  <a:gd name="T79" fmla="*/ 118 h 140"/>
                  <a:gd name="T80" fmla="*/ 6 w 67"/>
                  <a:gd name="T81" fmla="*/ 97 h 140"/>
                  <a:gd name="T82" fmla="*/ 6 w 67"/>
                  <a:gd name="T83" fmla="*/ 77 h 140"/>
                  <a:gd name="T84" fmla="*/ 0 w 67"/>
                  <a:gd name="T85" fmla="*/ 6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 h="140">
                    <a:moveTo>
                      <a:pt x="0" y="63"/>
                    </a:moveTo>
                    <a:lnTo>
                      <a:pt x="6" y="63"/>
                    </a:lnTo>
                    <a:lnTo>
                      <a:pt x="13" y="56"/>
                    </a:lnTo>
                    <a:lnTo>
                      <a:pt x="13" y="49"/>
                    </a:lnTo>
                    <a:lnTo>
                      <a:pt x="13" y="42"/>
                    </a:lnTo>
                    <a:lnTo>
                      <a:pt x="20" y="42"/>
                    </a:lnTo>
                    <a:lnTo>
                      <a:pt x="20" y="34"/>
                    </a:lnTo>
                    <a:lnTo>
                      <a:pt x="27" y="28"/>
                    </a:lnTo>
                    <a:lnTo>
                      <a:pt x="27" y="21"/>
                    </a:lnTo>
                    <a:lnTo>
                      <a:pt x="27" y="14"/>
                    </a:lnTo>
                    <a:lnTo>
                      <a:pt x="20" y="7"/>
                    </a:lnTo>
                    <a:lnTo>
                      <a:pt x="27" y="0"/>
                    </a:lnTo>
                    <a:lnTo>
                      <a:pt x="27" y="7"/>
                    </a:lnTo>
                    <a:lnTo>
                      <a:pt x="27" y="0"/>
                    </a:lnTo>
                    <a:lnTo>
                      <a:pt x="33" y="0"/>
                    </a:lnTo>
                    <a:lnTo>
                      <a:pt x="33" y="7"/>
                    </a:lnTo>
                    <a:lnTo>
                      <a:pt x="27" y="0"/>
                    </a:lnTo>
                    <a:lnTo>
                      <a:pt x="27" y="7"/>
                    </a:lnTo>
                    <a:lnTo>
                      <a:pt x="33" y="7"/>
                    </a:lnTo>
                    <a:lnTo>
                      <a:pt x="27" y="14"/>
                    </a:lnTo>
                    <a:lnTo>
                      <a:pt x="33" y="14"/>
                    </a:lnTo>
                    <a:lnTo>
                      <a:pt x="33" y="21"/>
                    </a:lnTo>
                    <a:lnTo>
                      <a:pt x="40" y="21"/>
                    </a:lnTo>
                    <a:lnTo>
                      <a:pt x="47" y="28"/>
                    </a:lnTo>
                    <a:lnTo>
                      <a:pt x="40" y="21"/>
                    </a:lnTo>
                    <a:lnTo>
                      <a:pt x="47" y="21"/>
                    </a:lnTo>
                    <a:lnTo>
                      <a:pt x="40" y="21"/>
                    </a:lnTo>
                    <a:lnTo>
                      <a:pt x="40" y="14"/>
                    </a:lnTo>
                    <a:lnTo>
                      <a:pt x="33" y="14"/>
                    </a:lnTo>
                    <a:lnTo>
                      <a:pt x="40" y="7"/>
                    </a:lnTo>
                    <a:lnTo>
                      <a:pt x="33" y="7"/>
                    </a:lnTo>
                    <a:lnTo>
                      <a:pt x="33" y="0"/>
                    </a:lnTo>
                    <a:lnTo>
                      <a:pt x="40" y="0"/>
                    </a:lnTo>
                    <a:lnTo>
                      <a:pt x="47" y="0"/>
                    </a:lnTo>
                    <a:lnTo>
                      <a:pt x="47" y="7"/>
                    </a:lnTo>
                    <a:lnTo>
                      <a:pt x="54" y="14"/>
                    </a:lnTo>
                    <a:lnTo>
                      <a:pt x="47" y="14"/>
                    </a:lnTo>
                    <a:lnTo>
                      <a:pt x="54" y="14"/>
                    </a:lnTo>
                    <a:lnTo>
                      <a:pt x="47" y="14"/>
                    </a:lnTo>
                    <a:lnTo>
                      <a:pt x="54" y="14"/>
                    </a:lnTo>
                    <a:lnTo>
                      <a:pt x="54" y="21"/>
                    </a:lnTo>
                    <a:lnTo>
                      <a:pt x="61" y="28"/>
                    </a:lnTo>
                    <a:lnTo>
                      <a:pt x="54" y="28"/>
                    </a:lnTo>
                    <a:lnTo>
                      <a:pt x="47" y="28"/>
                    </a:lnTo>
                    <a:lnTo>
                      <a:pt x="47" y="21"/>
                    </a:lnTo>
                    <a:lnTo>
                      <a:pt x="54" y="28"/>
                    </a:lnTo>
                    <a:lnTo>
                      <a:pt x="54" y="21"/>
                    </a:lnTo>
                    <a:lnTo>
                      <a:pt x="47" y="21"/>
                    </a:lnTo>
                    <a:lnTo>
                      <a:pt x="47" y="28"/>
                    </a:lnTo>
                    <a:lnTo>
                      <a:pt x="54" y="28"/>
                    </a:lnTo>
                    <a:lnTo>
                      <a:pt x="61" y="28"/>
                    </a:lnTo>
                    <a:lnTo>
                      <a:pt x="61" y="34"/>
                    </a:lnTo>
                    <a:lnTo>
                      <a:pt x="54" y="34"/>
                    </a:lnTo>
                    <a:lnTo>
                      <a:pt x="47" y="34"/>
                    </a:lnTo>
                    <a:lnTo>
                      <a:pt x="47" y="28"/>
                    </a:lnTo>
                    <a:lnTo>
                      <a:pt x="47" y="34"/>
                    </a:lnTo>
                    <a:lnTo>
                      <a:pt x="54" y="34"/>
                    </a:lnTo>
                    <a:lnTo>
                      <a:pt x="47" y="34"/>
                    </a:lnTo>
                    <a:lnTo>
                      <a:pt x="47" y="42"/>
                    </a:lnTo>
                    <a:lnTo>
                      <a:pt x="54" y="34"/>
                    </a:lnTo>
                    <a:lnTo>
                      <a:pt x="54" y="42"/>
                    </a:lnTo>
                    <a:lnTo>
                      <a:pt x="61" y="42"/>
                    </a:lnTo>
                    <a:lnTo>
                      <a:pt x="61" y="49"/>
                    </a:lnTo>
                    <a:lnTo>
                      <a:pt x="67" y="56"/>
                    </a:lnTo>
                    <a:lnTo>
                      <a:pt x="61" y="56"/>
                    </a:lnTo>
                    <a:lnTo>
                      <a:pt x="61" y="63"/>
                    </a:lnTo>
                    <a:lnTo>
                      <a:pt x="54" y="56"/>
                    </a:lnTo>
                    <a:lnTo>
                      <a:pt x="54" y="63"/>
                    </a:lnTo>
                    <a:lnTo>
                      <a:pt x="47" y="63"/>
                    </a:lnTo>
                    <a:lnTo>
                      <a:pt x="47" y="70"/>
                    </a:lnTo>
                    <a:lnTo>
                      <a:pt x="47" y="77"/>
                    </a:lnTo>
                    <a:lnTo>
                      <a:pt x="40" y="77"/>
                    </a:lnTo>
                    <a:lnTo>
                      <a:pt x="33" y="77"/>
                    </a:lnTo>
                    <a:lnTo>
                      <a:pt x="40" y="77"/>
                    </a:lnTo>
                    <a:lnTo>
                      <a:pt x="33" y="77"/>
                    </a:lnTo>
                    <a:lnTo>
                      <a:pt x="33" y="70"/>
                    </a:lnTo>
                    <a:lnTo>
                      <a:pt x="33" y="77"/>
                    </a:lnTo>
                    <a:lnTo>
                      <a:pt x="33" y="70"/>
                    </a:lnTo>
                    <a:lnTo>
                      <a:pt x="27" y="77"/>
                    </a:lnTo>
                    <a:lnTo>
                      <a:pt x="27" y="70"/>
                    </a:lnTo>
                    <a:lnTo>
                      <a:pt x="20" y="70"/>
                    </a:lnTo>
                    <a:lnTo>
                      <a:pt x="20" y="77"/>
                    </a:lnTo>
                    <a:lnTo>
                      <a:pt x="27" y="77"/>
                    </a:lnTo>
                    <a:lnTo>
                      <a:pt x="33" y="77"/>
                    </a:lnTo>
                    <a:lnTo>
                      <a:pt x="33" y="84"/>
                    </a:lnTo>
                    <a:lnTo>
                      <a:pt x="40" y="84"/>
                    </a:lnTo>
                    <a:lnTo>
                      <a:pt x="40" y="91"/>
                    </a:lnTo>
                    <a:lnTo>
                      <a:pt x="40" y="97"/>
                    </a:lnTo>
                    <a:lnTo>
                      <a:pt x="40" y="104"/>
                    </a:lnTo>
                    <a:lnTo>
                      <a:pt x="40" y="111"/>
                    </a:lnTo>
                    <a:lnTo>
                      <a:pt x="33" y="111"/>
                    </a:lnTo>
                    <a:lnTo>
                      <a:pt x="27" y="104"/>
                    </a:lnTo>
                    <a:lnTo>
                      <a:pt x="20" y="104"/>
                    </a:lnTo>
                    <a:lnTo>
                      <a:pt x="27" y="104"/>
                    </a:lnTo>
                    <a:lnTo>
                      <a:pt x="27" y="111"/>
                    </a:lnTo>
                    <a:lnTo>
                      <a:pt x="20" y="111"/>
                    </a:lnTo>
                    <a:lnTo>
                      <a:pt x="20" y="104"/>
                    </a:lnTo>
                    <a:lnTo>
                      <a:pt x="13" y="104"/>
                    </a:lnTo>
                    <a:lnTo>
                      <a:pt x="20" y="104"/>
                    </a:lnTo>
                    <a:lnTo>
                      <a:pt x="13" y="104"/>
                    </a:lnTo>
                    <a:lnTo>
                      <a:pt x="20" y="111"/>
                    </a:lnTo>
                    <a:lnTo>
                      <a:pt x="20" y="118"/>
                    </a:lnTo>
                    <a:lnTo>
                      <a:pt x="27" y="118"/>
                    </a:lnTo>
                    <a:lnTo>
                      <a:pt x="33" y="118"/>
                    </a:lnTo>
                    <a:lnTo>
                      <a:pt x="33" y="126"/>
                    </a:lnTo>
                    <a:lnTo>
                      <a:pt x="33" y="133"/>
                    </a:lnTo>
                    <a:lnTo>
                      <a:pt x="40" y="126"/>
                    </a:lnTo>
                    <a:lnTo>
                      <a:pt x="40" y="133"/>
                    </a:lnTo>
                    <a:lnTo>
                      <a:pt x="33" y="133"/>
                    </a:lnTo>
                    <a:lnTo>
                      <a:pt x="33" y="140"/>
                    </a:lnTo>
                    <a:lnTo>
                      <a:pt x="33" y="133"/>
                    </a:lnTo>
                    <a:lnTo>
                      <a:pt x="27" y="133"/>
                    </a:lnTo>
                    <a:lnTo>
                      <a:pt x="20" y="133"/>
                    </a:lnTo>
                    <a:lnTo>
                      <a:pt x="20" y="126"/>
                    </a:lnTo>
                    <a:lnTo>
                      <a:pt x="20" y="133"/>
                    </a:lnTo>
                    <a:lnTo>
                      <a:pt x="13" y="133"/>
                    </a:lnTo>
                    <a:lnTo>
                      <a:pt x="13" y="126"/>
                    </a:lnTo>
                    <a:lnTo>
                      <a:pt x="6" y="126"/>
                    </a:lnTo>
                    <a:lnTo>
                      <a:pt x="0" y="118"/>
                    </a:lnTo>
                    <a:lnTo>
                      <a:pt x="6" y="118"/>
                    </a:lnTo>
                    <a:lnTo>
                      <a:pt x="0" y="111"/>
                    </a:lnTo>
                    <a:lnTo>
                      <a:pt x="0" y="104"/>
                    </a:lnTo>
                    <a:lnTo>
                      <a:pt x="6" y="97"/>
                    </a:lnTo>
                    <a:lnTo>
                      <a:pt x="6" y="91"/>
                    </a:lnTo>
                    <a:lnTo>
                      <a:pt x="6" y="84"/>
                    </a:lnTo>
                    <a:lnTo>
                      <a:pt x="6" y="77"/>
                    </a:lnTo>
                    <a:lnTo>
                      <a:pt x="6" y="70"/>
                    </a:lnTo>
                    <a:lnTo>
                      <a:pt x="6" y="63"/>
                    </a:lnTo>
                    <a:lnTo>
                      <a:pt x="0" y="63"/>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47" name="Freeform 53">
                <a:extLst>
                  <a:ext uri="{FF2B5EF4-FFF2-40B4-BE49-F238E27FC236}">
                    <a16:creationId xmlns:a16="http://schemas.microsoft.com/office/drawing/2014/main" id="{4DA6E06E-2035-198B-C15D-0C952EB50BC6}"/>
                  </a:ext>
                </a:extLst>
              </p:cNvPr>
              <p:cNvSpPr>
                <a:spLocks/>
              </p:cNvSpPr>
              <p:nvPr/>
            </p:nvSpPr>
            <p:spPr bwMode="gray">
              <a:xfrm>
                <a:off x="4864100" y="4064000"/>
                <a:ext cx="0" cy="22225"/>
              </a:xfrm>
              <a:custGeom>
                <a:avLst/>
                <a:gdLst>
                  <a:gd name="T0" fmla="*/ 7 h 14"/>
                  <a:gd name="T1" fmla="*/ 0 h 14"/>
                  <a:gd name="T2" fmla="*/ 7 h 14"/>
                  <a:gd name="T3" fmla="*/ 14 h 14"/>
                  <a:gd name="T4" fmla="*/ 7 h 14"/>
                </a:gdLst>
                <a:ahLst/>
                <a:cxnLst>
                  <a:cxn ang="0">
                    <a:pos x="0" y="T0"/>
                  </a:cxn>
                  <a:cxn ang="0">
                    <a:pos x="0" y="T1"/>
                  </a:cxn>
                  <a:cxn ang="0">
                    <a:pos x="0" y="T2"/>
                  </a:cxn>
                  <a:cxn ang="0">
                    <a:pos x="0" y="T3"/>
                  </a:cxn>
                  <a:cxn ang="0">
                    <a:pos x="0" y="T4"/>
                  </a:cxn>
                </a:cxnLst>
                <a:rect l="0" t="0" r="r" b="b"/>
                <a:pathLst>
                  <a:path h="14">
                    <a:moveTo>
                      <a:pt x="0" y="7"/>
                    </a:moveTo>
                    <a:lnTo>
                      <a:pt x="0" y="0"/>
                    </a:lnTo>
                    <a:lnTo>
                      <a:pt x="0" y="7"/>
                    </a:lnTo>
                    <a:lnTo>
                      <a:pt x="0" y="14"/>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48" name="Freeform 54">
                <a:extLst>
                  <a:ext uri="{FF2B5EF4-FFF2-40B4-BE49-F238E27FC236}">
                    <a16:creationId xmlns:a16="http://schemas.microsoft.com/office/drawing/2014/main" id="{1E9A8555-96D0-A60C-5DAB-B7AEA3771976}"/>
                  </a:ext>
                </a:extLst>
              </p:cNvPr>
              <p:cNvSpPr>
                <a:spLocks/>
              </p:cNvSpPr>
              <p:nvPr/>
            </p:nvSpPr>
            <p:spPr bwMode="gray">
              <a:xfrm>
                <a:off x="4864100" y="4086225"/>
                <a:ext cx="22225" cy="33338"/>
              </a:xfrm>
              <a:custGeom>
                <a:avLst/>
                <a:gdLst>
                  <a:gd name="T0" fmla="*/ 7 w 14"/>
                  <a:gd name="T1" fmla="*/ 7 h 21"/>
                  <a:gd name="T2" fmla="*/ 0 w 14"/>
                  <a:gd name="T3" fmla="*/ 0 h 21"/>
                  <a:gd name="T4" fmla="*/ 7 w 14"/>
                  <a:gd name="T5" fmla="*/ 0 h 21"/>
                  <a:gd name="T6" fmla="*/ 0 w 14"/>
                  <a:gd name="T7" fmla="*/ 0 h 21"/>
                  <a:gd name="T8" fmla="*/ 7 w 14"/>
                  <a:gd name="T9" fmla="*/ 7 h 21"/>
                  <a:gd name="T10" fmla="*/ 7 w 14"/>
                  <a:gd name="T11" fmla="*/ 0 h 21"/>
                  <a:gd name="T12" fmla="*/ 14 w 14"/>
                  <a:gd name="T13" fmla="*/ 7 h 21"/>
                  <a:gd name="T14" fmla="*/ 7 w 14"/>
                  <a:gd name="T15" fmla="*/ 7 h 21"/>
                  <a:gd name="T16" fmla="*/ 14 w 14"/>
                  <a:gd name="T17" fmla="*/ 7 h 21"/>
                  <a:gd name="T18" fmla="*/ 14 w 14"/>
                  <a:gd name="T19" fmla="*/ 14 h 21"/>
                  <a:gd name="T20" fmla="*/ 14 w 14"/>
                  <a:gd name="T21" fmla="*/ 21 h 21"/>
                  <a:gd name="T22" fmla="*/ 7 w 14"/>
                  <a:gd name="T23" fmla="*/ 21 h 21"/>
                  <a:gd name="T24" fmla="*/ 7 w 14"/>
                  <a:gd name="T25" fmla="*/ 14 h 21"/>
                  <a:gd name="T26" fmla="*/ 7 w 14"/>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21">
                    <a:moveTo>
                      <a:pt x="7" y="7"/>
                    </a:moveTo>
                    <a:lnTo>
                      <a:pt x="0" y="0"/>
                    </a:lnTo>
                    <a:lnTo>
                      <a:pt x="7" y="0"/>
                    </a:lnTo>
                    <a:lnTo>
                      <a:pt x="0" y="0"/>
                    </a:lnTo>
                    <a:lnTo>
                      <a:pt x="7" y="7"/>
                    </a:lnTo>
                    <a:lnTo>
                      <a:pt x="7" y="0"/>
                    </a:lnTo>
                    <a:lnTo>
                      <a:pt x="14" y="7"/>
                    </a:lnTo>
                    <a:lnTo>
                      <a:pt x="7" y="7"/>
                    </a:lnTo>
                    <a:lnTo>
                      <a:pt x="14" y="7"/>
                    </a:lnTo>
                    <a:lnTo>
                      <a:pt x="14" y="14"/>
                    </a:lnTo>
                    <a:lnTo>
                      <a:pt x="14" y="21"/>
                    </a:lnTo>
                    <a:lnTo>
                      <a:pt x="7" y="21"/>
                    </a:lnTo>
                    <a:lnTo>
                      <a:pt x="7" y="14"/>
                    </a:lnTo>
                    <a:lnTo>
                      <a:pt x="7"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49" name="Freeform 55">
                <a:extLst>
                  <a:ext uri="{FF2B5EF4-FFF2-40B4-BE49-F238E27FC236}">
                    <a16:creationId xmlns:a16="http://schemas.microsoft.com/office/drawing/2014/main" id="{1139E819-AB76-B7C1-F4AB-E4C94505E3C2}"/>
                  </a:ext>
                </a:extLst>
              </p:cNvPr>
              <p:cNvSpPr>
                <a:spLocks/>
              </p:cNvSpPr>
              <p:nvPr/>
            </p:nvSpPr>
            <p:spPr bwMode="gray">
              <a:xfrm>
                <a:off x="4875213" y="4008438"/>
                <a:ext cx="22225" cy="0"/>
              </a:xfrm>
              <a:custGeom>
                <a:avLst/>
                <a:gdLst>
                  <a:gd name="T0" fmla="*/ 0 w 14"/>
                  <a:gd name="T1" fmla="*/ 7 w 14"/>
                  <a:gd name="T2" fmla="*/ 14 w 14"/>
                  <a:gd name="T3" fmla="*/ 7 w 14"/>
                  <a:gd name="T4" fmla="*/ 0 w 14"/>
                </a:gdLst>
                <a:ahLst/>
                <a:cxnLst>
                  <a:cxn ang="0">
                    <a:pos x="T0" y="0"/>
                  </a:cxn>
                  <a:cxn ang="0">
                    <a:pos x="T1" y="0"/>
                  </a:cxn>
                  <a:cxn ang="0">
                    <a:pos x="T2" y="0"/>
                  </a:cxn>
                  <a:cxn ang="0">
                    <a:pos x="T3" y="0"/>
                  </a:cxn>
                  <a:cxn ang="0">
                    <a:pos x="T4" y="0"/>
                  </a:cxn>
                </a:cxnLst>
                <a:rect l="0" t="0" r="r" b="b"/>
                <a:pathLst>
                  <a:path w="14">
                    <a:moveTo>
                      <a:pt x="0" y="0"/>
                    </a:moveTo>
                    <a:lnTo>
                      <a:pt x="7" y="0"/>
                    </a:lnTo>
                    <a:lnTo>
                      <a:pt x="14" y="0"/>
                    </a:lnTo>
                    <a:lnTo>
                      <a:pt x="7" y="0"/>
                    </a:lnTo>
                    <a:lnTo>
                      <a:pt x="0" y="0"/>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0" name="Freeform 56">
                <a:extLst>
                  <a:ext uri="{FF2B5EF4-FFF2-40B4-BE49-F238E27FC236}">
                    <a16:creationId xmlns:a16="http://schemas.microsoft.com/office/drawing/2014/main" id="{C5E52EF5-7DF7-311F-DD48-0FA9C18A7FDF}"/>
                  </a:ext>
                </a:extLst>
              </p:cNvPr>
              <p:cNvSpPr>
                <a:spLocks/>
              </p:cNvSpPr>
              <p:nvPr/>
            </p:nvSpPr>
            <p:spPr bwMode="gray">
              <a:xfrm>
                <a:off x="4852988" y="4130675"/>
                <a:ext cx="65088" cy="66675"/>
              </a:xfrm>
              <a:custGeom>
                <a:avLst/>
                <a:gdLst>
                  <a:gd name="T0" fmla="*/ 0 w 41"/>
                  <a:gd name="T1" fmla="*/ 14 h 42"/>
                  <a:gd name="T2" fmla="*/ 0 w 41"/>
                  <a:gd name="T3" fmla="*/ 7 h 42"/>
                  <a:gd name="T4" fmla="*/ 7 w 41"/>
                  <a:gd name="T5" fmla="*/ 0 h 42"/>
                  <a:gd name="T6" fmla="*/ 14 w 41"/>
                  <a:gd name="T7" fmla="*/ 0 h 42"/>
                  <a:gd name="T8" fmla="*/ 21 w 41"/>
                  <a:gd name="T9" fmla="*/ 0 h 42"/>
                  <a:gd name="T10" fmla="*/ 14 w 41"/>
                  <a:gd name="T11" fmla="*/ 0 h 42"/>
                  <a:gd name="T12" fmla="*/ 21 w 41"/>
                  <a:gd name="T13" fmla="*/ 0 h 42"/>
                  <a:gd name="T14" fmla="*/ 21 w 41"/>
                  <a:gd name="T15" fmla="*/ 7 h 42"/>
                  <a:gd name="T16" fmla="*/ 28 w 41"/>
                  <a:gd name="T17" fmla="*/ 7 h 42"/>
                  <a:gd name="T18" fmla="*/ 28 w 41"/>
                  <a:gd name="T19" fmla="*/ 0 h 42"/>
                  <a:gd name="T20" fmla="*/ 28 w 41"/>
                  <a:gd name="T21" fmla="*/ 7 h 42"/>
                  <a:gd name="T22" fmla="*/ 34 w 41"/>
                  <a:gd name="T23" fmla="*/ 7 h 42"/>
                  <a:gd name="T24" fmla="*/ 28 w 41"/>
                  <a:gd name="T25" fmla="*/ 7 h 42"/>
                  <a:gd name="T26" fmla="*/ 28 w 41"/>
                  <a:gd name="T27" fmla="*/ 14 h 42"/>
                  <a:gd name="T28" fmla="*/ 34 w 41"/>
                  <a:gd name="T29" fmla="*/ 14 h 42"/>
                  <a:gd name="T30" fmla="*/ 34 w 41"/>
                  <a:gd name="T31" fmla="*/ 7 h 42"/>
                  <a:gd name="T32" fmla="*/ 41 w 41"/>
                  <a:gd name="T33" fmla="*/ 14 h 42"/>
                  <a:gd name="T34" fmla="*/ 34 w 41"/>
                  <a:gd name="T35" fmla="*/ 14 h 42"/>
                  <a:gd name="T36" fmla="*/ 41 w 41"/>
                  <a:gd name="T37" fmla="*/ 14 h 42"/>
                  <a:gd name="T38" fmla="*/ 41 w 41"/>
                  <a:gd name="T39" fmla="*/ 21 h 42"/>
                  <a:gd name="T40" fmla="*/ 41 w 41"/>
                  <a:gd name="T41" fmla="*/ 14 h 42"/>
                  <a:gd name="T42" fmla="*/ 34 w 41"/>
                  <a:gd name="T43" fmla="*/ 21 h 42"/>
                  <a:gd name="T44" fmla="*/ 41 w 41"/>
                  <a:gd name="T45" fmla="*/ 21 h 42"/>
                  <a:gd name="T46" fmla="*/ 34 w 41"/>
                  <a:gd name="T47" fmla="*/ 21 h 42"/>
                  <a:gd name="T48" fmla="*/ 28 w 41"/>
                  <a:gd name="T49" fmla="*/ 21 h 42"/>
                  <a:gd name="T50" fmla="*/ 21 w 41"/>
                  <a:gd name="T51" fmla="*/ 21 h 42"/>
                  <a:gd name="T52" fmla="*/ 21 w 41"/>
                  <a:gd name="T53" fmla="*/ 28 h 42"/>
                  <a:gd name="T54" fmla="*/ 28 w 41"/>
                  <a:gd name="T55" fmla="*/ 28 h 42"/>
                  <a:gd name="T56" fmla="*/ 34 w 41"/>
                  <a:gd name="T57" fmla="*/ 28 h 42"/>
                  <a:gd name="T58" fmla="*/ 41 w 41"/>
                  <a:gd name="T59" fmla="*/ 28 h 42"/>
                  <a:gd name="T60" fmla="*/ 34 w 41"/>
                  <a:gd name="T61" fmla="*/ 28 h 42"/>
                  <a:gd name="T62" fmla="*/ 41 w 41"/>
                  <a:gd name="T63" fmla="*/ 28 h 42"/>
                  <a:gd name="T64" fmla="*/ 41 w 41"/>
                  <a:gd name="T65" fmla="*/ 35 h 42"/>
                  <a:gd name="T66" fmla="*/ 34 w 41"/>
                  <a:gd name="T67" fmla="*/ 35 h 42"/>
                  <a:gd name="T68" fmla="*/ 41 w 41"/>
                  <a:gd name="T69" fmla="*/ 35 h 42"/>
                  <a:gd name="T70" fmla="*/ 34 w 41"/>
                  <a:gd name="T71" fmla="*/ 35 h 42"/>
                  <a:gd name="T72" fmla="*/ 34 w 41"/>
                  <a:gd name="T73" fmla="*/ 42 h 42"/>
                  <a:gd name="T74" fmla="*/ 28 w 41"/>
                  <a:gd name="T75" fmla="*/ 35 h 42"/>
                  <a:gd name="T76" fmla="*/ 34 w 41"/>
                  <a:gd name="T77" fmla="*/ 42 h 42"/>
                  <a:gd name="T78" fmla="*/ 28 w 41"/>
                  <a:gd name="T79" fmla="*/ 42 h 42"/>
                  <a:gd name="T80" fmla="*/ 28 w 41"/>
                  <a:gd name="T81" fmla="*/ 35 h 42"/>
                  <a:gd name="T82" fmla="*/ 21 w 41"/>
                  <a:gd name="T83" fmla="*/ 35 h 42"/>
                  <a:gd name="T84" fmla="*/ 14 w 41"/>
                  <a:gd name="T85" fmla="*/ 35 h 42"/>
                  <a:gd name="T86" fmla="*/ 21 w 41"/>
                  <a:gd name="T87" fmla="*/ 35 h 42"/>
                  <a:gd name="T88" fmla="*/ 14 w 41"/>
                  <a:gd name="T89" fmla="*/ 35 h 42"/>
                  <a:gd name="T90" fmla="*/ 14 w 41"/>
                  <a:gd name="T91" fmla="*/ 42 h 42"/>
                  <a:gd name="T92" fmla="*/ 14 w 41"/>
                  <a:gd name="T93" fmla="*/ 35 h 42"/>
                  <a:gd name="T94" fmla="*/ 14 w 41"/>
                  <a:gd name="T95" fmla="*/ 28 h 42"/>
                  <a:gd name="T96" fmla="*/ 7 w 41"/>
                  <a:gd name="T97" fmla="*/ 28 h 42"/>
                  <a:gd name="T98" fmla="*/ 0 w 41"/>
                  <a:gd name="T99" fmla="*/ 21 h 42"/>
                  <a:gd name="T100" fmla="*/ 0 w 41"/>
                  <a:gd name="T101"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 h="42">
                    <a:moveTo>
                      <a:pt x="0" y="14"/>
                    </a:moveTo>
                    <a:lnTo>
                      <a:pt x="0" y="7"/>
                    </a:lnTo>
                    <a:lnTo>
                      <a:pt x="7" y="0"/>
                    </a:lnTo>
                    <a:lnTo>
                      <a:pt x="14" y="0"/>
                    </a:lnTo>
                    <a:lnTo>
                      <a:pt x="21" y="0"/>
                    </a:lnTo>
                    <a:lnTo>
                      <a:pt x="14" y="0"/>
                    </a:lnTo>
                    <a:lnTo>
                      <a:pt x="21" y="0"/>
                    </a:lnTo>
                    <a:lnTo>
                      <a:pt x="21" y="7"/>
                    </a:lnTo>
                    <a:lnTo>
                      <a:pt x="28" y="7"/>
                    </a:lnTo>
                    <a:lnTo>
                      <a:pt x="28" y="0"/>
                    </a:lnTo>
                    <a:lnTo>
                      <a:pt x="28" y="7"/>
                    </a:lnTo>
                    <a:lnTo>
                      <a:pt x="34" y="7"/>
                    </a:lnTo>
                    <a:lnTo>
                      <a:pt x="28" y="7"/>
                    </a:lnTo>
                    <a:lnTo>
                      <a:pt x="28" y="14"/>
                    </a:lnTo>
                    <a:lnTo>
                      <a:pt x="34" y="14"/>
                    </a:lnTo>
                    <a:lnTo>
                      <a:pt x="34" y="7"/>
                    </a:lnTo>
                    <a:lnTo>
                      <a:pt x="41" y="14"/>
                    </a:lnTo>
                    <a:lnTo>
                      <a:pt x="34" y="14"/>
                    </a:lnTo>
                    <a:lnTo>
                      <a:pt x="41" y="14"/>
                    </a:lnTo>
                    <a:lnTo>
                      <a:pt x="41" y="21"/>
                    </a:lnTo>
                    <a:lnTo>
                      <a:pt x="41" y="14"/>
                    </a:lnTo>
                    <a:lnTo>
                      <a:pt x="34" y="21"/>
                    </a:lnTo>
                    <a:lnTo>
                      <a:pt x="41" y="21"/>
                    </a:lnTo>
                    <a:lnTo>
                      <a:pt x="34" y="21"/>
                    </a:lnTo>
                    <a:lnTo>
                      <a:pt x="28" y="21"/>
                    </a:lnTo>
                    <a:lnTo>
                      <a:pt x="21" y="21"/>
                    </a:lnTo>
                    <a:lnTo>
                      <a:pt x="21" y="28"/>
                    </a:lnTo>
                    <a:lnTo>
                      <a:pt x="28" y="28"/>
                    </a:lnTo>
                    <a:lnTo>
                      <a:pt x="34" y="28"/>
                    </a:lnTo>
                    <a:lnTo>
                      <a:pt x="41" y="28"/>
                    </a:lnTo>
                    <a:lnTo>
                      <a:pt x="34" y="28"/>
                    </a:lnTo>
                    <a:lnTo>
                      <a:pt x="41" y="28"/>
                    </a:lnTo>
                    <a:lnTo>
                      <a:pt x="41" y="35"/>
                    </a:lnTo>
                    <a:lnTo>
                      <a:pt x="34" y="35"/>
                    </a:lnTo>
                    <a:lnTo>
                      <a:pt x="41" y="35"/>
                    </a:lnTo>
                    <a:lnTo>
                      <a:pt x="34" y="35"/>
                    </a:lnTo>
                    <a:lnTo>
                      <a:pt x="34" y="42"/>
                    </a:lnTo>
                    <a:lnTo>
                      <a:pt x="28" y="35"/>
                    </a:lnTo>
                    <a:lnTo>
                      <a:pt x="34" y="42"/>
                    </a:lnTo>
                    <a:lnTo>
                      <a:pt x="28" y="42"/>
                    </a:lnTo>
                    <a:lnTo>
                      <a:pt x="28" y="35"/>
                    </a:lnTo>
                    <a:lnTo>
                      <a:pt x="21" y="35"/>
                    </a:lnTo>
                    <a:lnTo>
                      <a:pt x="14" y="35"/>
                    </a:lnTo>
                    <a:lnTo>
                      <a:pt x="21" y="35"/>
                    </a:lnTo>
                    <a:lnTo>
                      <a:pt x="14" y="35"/>
                    </a:lnTo>
                    <a:lnTo>
                      <a:pt x="14" y="42"/>
                    </a:lnTo>
                    <a:lnTo>
                      <a:pt x="14" y="35"/>
                    </a:lnTo>
                    <a:lnTo>
                      <a:pt x="14" y="28"/>
                    </a:lnTo>
                    <a:lnTo>
                      <a:pt x="7" y="28"/>
                    </a:lnTo>
                    <a:lnTo>
                      <a:pt x="0" y="21"/>
                    </a:lnTo>
                    <a:lnTo>
                      <a:pt x="0" y="14"/>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1" name="Freeform 57">
                <a:extLst>
                  <a:ext uri="{FF2B5EF4-FFF2-40B4-BE49-F238E27FC236}">
                    <a16:creationId xmlns:a16="http://schemas.microsoft.com/office/drawing/2014/main" id="{592997A5-DEF4-CBC6-2D73-9481CCFBFFC6}"/>
                  </a:ext>
                </a:extLst>
              </p:cNvPr>
              <p:cNvSpPr>
                <a:spLocks/>
              </p:cNvSpPr>
              <p:nvPr/>
            </p:nvSpPr>
            <p:spPr bwMode="gray">
              <a:xfrm>
                <a:off x="4906963" y="4141788"/>
                <a:ext cx="0" cy="11113"/>
              </a:xfrm>
              <a:custGeom>
                <a:avLst/>
                <a:gdLst>
                  <a:gd name="T0" fmla="*/ 0 h 7"/>
                  <a:gd name="T1" fmla="*/ 7 h 7"/>
                  <a:gd name="T2" fmla="*/ 0 h 7"/>
                </a:gdLst>
                <a:ahLst/>
                <a:cxnLst>
                  <a:cxn ang="0">
                    <a:pos x="0" y="T0"/>
                  </a:cxn>
                  <a:cxn ang="0">
                    <a:pos x="0" y="T1"/>
                  </a:cxn>
                  <a:cxn ang="0">
                    <a:pos x="0" y="T2"/>
                  </a:cxn>
                </a:cxnLst>
                <a:rect l="0" t="0" r="r" b="b"/>
                <a:pathLst>
                  <a:path h="7">
                    <a:moveTo>
                      <a:pt x="0" y="0"/>
                    </a:moveTo>
                    <a:lnTo>
                      <a:pt x="0" y="7"/>
                    </a:lnTo>
                    <a:lnTo>
                      <a:pt x="0" y="0"/>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2" name="Freeform 58">
                <a:extLst>
                  <a:ext uri="{FF2B5EF4-FFF2-40B4-BE49-F238E27FC236}">
                    <a16:creationId xmlns:a16="http://schemas.microsoft.com/office/drawing/2014/main" id="{2AB74E5B-6F3D-730A-5248-13967EC2DB6B}"/>
                  </a:ext>
                </a:extLst>
              </p:cNvPr>
              <p:cNvSpPr>
                <a:spLocks/>
              </p:cNvSpPr>
              <p:nvPr/>
            </p:nvSpPr>
            <p:spPr bwMode="gray">
              <a:xfrm>
                <a:off x="4832350" y="3997325"/>
                <a:ext cx="150813" cy="133350"/>
              </a:xfrm>
              <a:custGeom>
                <a:avLst/>
                <a:gdLst>
                  <a:gd name="T0" fmla="*/ 0 w 95"/>
                  <a:gd name="T1" fmla="*/ 28 h 84"/>
                  <a:gd name="T2" fmla="*/ 7 w 95"/>
                  <a:gd name="T3" fmla="*/ 14 h 84"/>
                  <a:gd name="T4" fmla="*/ 20 w 95"/>
                  <a:gd name="T5" fmla="*/ 7 h 84"/>
                  <a:gd name="T6" fmla="*/ 27 w 95"/>
                  <a:gd name="T7" fmla="*/ 14 h 84"/>
                  <a:gd name="T8" fmla="*/ 41 w 95"/>
                  <a:gd name="T9" fmla="*/ 14 h 84"/>
                  <a:gd name="T10" fmla="*/ 54 w 95"/>
                  <a:gd name="T11" fmla="*/ 7 h 84"/>
                  <a:gd name="T12" fmla="*/ 54 w 95"/>
                  <a:gd name="T13" fmla="*/ 7 h 84"/>
                  <a:gd name="T14" fmla="*/ 54 w 95"/>
                  <a:gd name="T15" fmla="*/ 0 h 84"/>
                  <a:gd name="T16" fmla="*/ 54 w 95"/>
                  <a:gd name="T17" fmla="*/ 14 h 84"/>
                  <a:gd name="T18" fmla="*/ 61 w 95"/>
                  <a:gd name="T19" fmla="*/ 21 h 84"/>
                  <a:gd name="T20" fmla="*/ 54 w 95"/>
                  <a:gd name="T21" fmla="*/ 35 h 84"/>
                  <a:gd name="T22" fmla="*/ 68 w 95"/>
                  <a:gd name="T23" fmla="*/ 21 h 84"/>
                  <a:gd name="T24" fmla="*/ 68 w 95"/>
                  <a:gd name="T25" fmla="*/ 14 h 84"/>
                  <a:gd name="T26" fmla="*/ 74 w 95"/>
                  <a:gd name="T27" fmla="*/ 14 h 84"/>
                  <a:gd name="T28" fmla="*/ 88 w 95"/>
                  <a:gd name="T29" fmla="*/ 7 h 84"/>
                  <a:gd name="T30" fmla="*/ 88 w 95"/>
                  <a:gd name="T31" fmla="*/ 21 h 84"/>
                  <a:gd name="T32" fmla="*/ 81 w 95"/>
                  <a:gd name="T33" fmla="*/ 21 h 84"/>
                  <a:gd name="T34" fmla="*/ 81 w 95"/>
                  <a:gd name="T35" fmla="*/ 35 h 84"/>
                  <a:gd name="T36" fmla="*/ 88 w 95"/>
                  <a:gd name="T37" fmla="*/ 42 h 84"/>
                  <a:gd name="T38" fmla="*/ 74 w 95"/>
                  <a:gd name="T39" fmla="*/ 35 h 84"/>
                  <a:gd name="T40" fmla="*/ 81 w 95"/>
                  <a:gd name="T41" fmla="*/ 49 h 84"/>
                  <a:gd name="T42" fmla="*/ 95 w 95"/>
                  <a:gd name="T43" fmla="*/ 56 h 84"/>
                  <a:gd name="T44" fmla="*/ 81 w 95"/>
                  <a:gd name="T45" fmla="*/ 63 h 84"/>
                  <a:gd name="T46" fmla="*/ 68 w 95"/>
                  <a:gd name="T47" fmla="*/ 63 h 84"/>
                  <a:gd name="T48" fmla="*/ 54 w 95"/>
                  <a:gd name="T49" fmla="*/ 56 h 84"/>
                  <a:gd name="T50" fmla="*/ 47 w 95"/>
                  <a:gd name="T51" fmla="*/ 56 h 84"/>
                  <a:gd name="T52" fmla="*/ 61 w 95"/>
                  <a:gd name="T53" fmla="*/ 63 h 84"/>
                  <a:gd name="T54" fmla="*/ 61 w 95"/>
                  <a:gd name="T55" fmla="*/ 70 h 84"/>
                  <a:gd name="T56" fmla="*/ 68 w 95"/>
                  <a:gd name="T57" fmla="*/ 70 h 84"/>
                  <a:gd name="T58" fmla="*/ 74 w 95"/>
                  <a:gd name="T59" fmla="*/ 63 h 84"/>
                  <a:gd name="T60" fmla="*/ 81 w 95"/>
                  <a:gd name="T61" fmla="*/ 70 h 84"/>
                  <a:gd name="T62" fmla="*/ 74 w 95"/>
                  <a:gd name="T63" fmla="*/ 84 h 84"/>
                  <a:gd name="T64" fmla="*/ 61 w 95"/>
                  <a:gd name="T65" fmla="*/ 77 h 84"/>
                  <a:gd name="T66" fmla="*/ 54 w 95"/>
                  <a:gd name="T67" fmla="*/ 77 h 84"/>
                  <a:gd name="T68" fmla="*/ 54 w 95"/>
                  <a:gd name="T69" fmla="*/ 84 h 84"/>
                  <a:gd name="T70" fmla="*/ 34 w 95"/>
                  <a:gd name="T71" fmla="*/ 77 h 84"/>
                  <a:gd name="T72" fmla="*/ 34 w 95"/>
                  <a:gd name="T73" fmla="*/ 56 h 84"/>
                  <a:gd name="T74" fmla="*/ 34 w 95"/>
                  <a:gd name="T75" fmla="*/ 49 h 84"/>
                  <a:gd name="T76" fmla="*/ 20 w 95"/>
                  <a:gd name="T77" fmla="*/ 42 h 84"/>
                  <a:gd name="T78" fmla="*/ 20 w 95"/>
                  <a:gd name="T79" fmla="*/ 42 h 84"/>
                  <a:gd name="T80" fmla="*/ 7 w 95"/>
                  <a:gd name="T81" fmla="*/ 35 h 84"/>
                  <a:gd name="T82" fmla="*/ 0 w 95"/>
                  <a:gd name="T83" fmla="*/ 2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 h="84">
                    <a:moveTo>
                      <a:pt x="0" y="28"/>
                    </a:moveTo>
                    <a:lnTo>
                      <a:pt x="0" y="21"/>
                    </a:lnTo>
                    <a:lnTo>
                      <a:pt x="0" y="28"/>
                    </a:lnTo>
                    <a:lnTo>
                      <a:pt x="7" y="28"/>
                    </a:lnTo>
                    <a:lnTo>
                      <a:pt x="7" y="21"/>
                    </a:lnTo>
                    <a:lnTo>
                      <a:pt x="7" y="14"/>
                    </a:lnTo>
                    <a:lnTo>
                      <a:pt x="13" y="14"/>
                    </a:lnTo>
                    <a:lnTo>
                      <a:pt x="13" y="7"/>
                    </a:lnTo>
                    <a:lnTo>
                      <a:pt x="20" y="7"/>
                    </a:lnTo>
                    <a:lnTo>
                      <a:pt x="27" y="7"/>
                    </a:lnTo>
                    <a:lnTo>
                      <a:pt x="34" y="14"/>
                    </a:lnTo>
                    <a:lnTo>
                      <a:pt x="27" y="14"/>
                    </a:lnTo>
                    <a:lnTo>
                      <a:pt x="34" y="21"/>
                    </a:lnTo>
                    <a:lnTo>
                      <a:pt x="41" y="21"/>
                    </a:lnTo>
                    <a:lnTo>
                      <a:pt x="41" y="14"/>
                    </a:lnTo>
                    <a:lnTo>
                      <a:pt x="41" y="7"/>
                    </a:lnTo>
                    <a:lnTo>
                      <a:pt x="47" y="7"/>
                    </a:lnTo>
                    <a:lnTo>
                      <a:pt x="54" y="7"/>
                    </a:lnTo>
                    <a:lnTo>
                      <a:pt x="47" y="7"/>
                    </a:lnTo>
                    <a:lnTo>
                      <a:pt x="47" y="0"/>
                    </a:lnTo>
                    <a:lnTo>
                      <a:pt x="54" y="7"/>
                    </a:lnTo>
                    <a:lnTo>
                      <a:pt x="54" y="0"/>
                    </a:lnTo>
                    <a:lnTo>
                      <a:pt x="61" y="0"/>
                    </a:lnTo>
                    <a:lnTo>
                      <a:pt x="54" y="0"/>
                    </a:lnTo>
                    <a:lnTo>
                      <a:pt x="54" y="7"/>
                    </a:lnTo>
                    <a:lnTo>
                      <a:pt x="47" y="14"/>
                    </a:lnTo>
                    <a:lnTo>
                      <a:pt x="54" y="14"/>
                    </a:lnTo>
                    <a:lnTo>
                      <a:pt x="61" y="21"/>
                    </a:lnTo>
                    <a:lnTo>
                      <a:pt x="54" y="21"/>
                    </a:lnTo>
                    <a:lnTo>
                      <a:pt x="61" y="21"/>
                    </a:lnTo>
                    <a:lnTo>
                      <a:pt x="54" y="21"/>
                    </a:lnTo>
                    <a:lnTo>
                      <a:pt x="54" y="28"/>
                    </a:lnTo>
                    <a:lnTo>
                      <a:pt x="54" y="35"/>
                    </a:lnTo>
                    <a:lnTo>
                      <a:pt x="61" y="28"/>
                    </a:lnTo>
                    <a:lnTo>
                      <a:pt x="61" y="21"/>
                    </a:lnTo>
                    <a:lnTo>
                      <a:pt x="68" y="21"/>
                    </a:lnTo>
                    <a:lnTo>
                      <a:pt x="68" y="14"/>
                    </a:lnTo>
                    <a:lnTo>
                      <a:pt x="68" y="21"/>
                    </a:lnTo>
                    <a:lnTo>
                      <a:pt x="68" y="14"/>
                    </a:lnTo>
                    <a:lnTo>
                      <a:pt x="61" y="14"/>
                    </a:lnTo>
                    <a:lnTo>
                      <a:pt x="68" y="14"/>
                    </a:lnTo>
                    <a:lnTo>
                      <a:pt x="74" y="14"/>
                    </a:lnTo>
                    <a:lnTo>
                      <a:pt x="74" y="7"/>
                    </a:lnTo>
                    <a:lnTo>
                      <a:pt x="81" y="7"/>
                    </a:lnTo>
                    <a:lnTo>
                      <a:pt x="88" y="7"/>
                    </a:lnTo>
                    <a:lnTo>
                      <a:pt x="81" y="7"/>
                    </a:lnTo>
                    <a:lnTo>
                      <a:pt x="88" y="14"/>
                    </a:lnTo>
                    <a:lnTo>
                      <a:pt x="88" y="21"/>
                    </a:lnTo>
                    <a:lnTo>
                      <a:pt x="88" y="14"/>
                    </a:lnTo>
                    <a:lnTo>
                      <a:pt x="88" y="21"/>
                    </a:lnTo>
                    <a:lnTo>
                      <a:pt x="81" y="21"/>
                    </a:lnTo>
                    <a:lnTo>
                      <a:pt x="81" y="28"/>
                    </a:lnTo>
                    <a:lnTo>
                      <a:pt x="74" y="28"/>
                    </a:lnTo>
                    <a:lnTo>
                      <a:pt x="81" y="35"/>
                    </a:lnTo>
                    <a:lnTo>
                      <a:pt x="74" y="35"/>
                    </a:lnTo>
                    <a:lnTo>
                      <a:pt x="81" y="42"/>
                    </a:lnTo>
                    <a:lnTo>
                      <a:pt x="88" y="42"/>
                    </a:lnTo>
                    <a:lnTo>
                      <a:pt x="81" y="42"/>
                    </a:lnTo>
                    <a:lnTo>
                      <a:pt x="74" y="42"/>
                    </a:lnTo>
                    <a:lnTo>
                      <a:pt x="74" y="35"/>
                    </a:lnTo>
                    <a:lnTo>
                      <a:pt x="74" y="42"/>
                    </a:lnTo>
                    <a:lnTo>
                      <a:pt x="81" y="42"/>
                    </a:lnTo>
                    <a:lnTo>
                      <a:pt x="81" y="49"/>
                    </a:lnTo>
                    <a:lnTo>
                      <a:pt x="88" y="49"/>
                    </a:lnTo>
                    <a:lnTo>
                      <a:pt x="95" y="49"/>
                    </a:lnTo>
                    <a:lnTo>
                      <a:pt x="95" y="56"/>
                    </a:lnTo>
                    <a:lnTo>
                      <a:pt x="88" y="56"/>
                    </a:lnTo>
                    <a:lnTo>
                      <a:pt x="88" y="63"/>
                    </a:lnTo>
                    <a:lnTo>
                      <a:pt x="81" y="63"/>
                    </a:lnTo>
                    <a:lnTo>
                      <a:pt x="74" y="63"/>
                    </a:lnTo>
                    <a:lnTo>
                      <a:pt x="68" y="56"/>
                    </a:lnTo>
                    <a:lnTo>
                      <a:pt x="68" y="63"/>
                    </a:lnTo>
                    <a:lnTo>
                      <a:pt x="61" y="63"/>
                    </a:lnTo>
                    <a:lnTo>
                      <a:pt x="54" y="63"/>
                    </a:lnTo>
                    <a:lnTo>
                      <a:pt x="54" y="56"/>
                    </a:lnTo>
                    <a:lnTo>
                      <a:pt x="61" y="56"/>
                    </a:lnTo>
                    <a:lnTo>
                      <a:pt x="54" y="56"/>
                    </a:lnTo>
                    <a:lnTo>
                      <a:pt x="47" y="56"/>
                    </a:lnTo>
                    <a:lnTo>
                      <a:pt x="47" y="63"/>
                    </a:lnTo>
                    <a:lnTo>
                      <a:pt x="54" y="63"/>
                    </a:lnTo>
                    <a:lnTo>
                      <a:pt x="61" y="63"/>
                    </a:lnTo>
                    <a:lnTo>
                      <a:pt x="68" y="63"/>
                    </a:lnTo>
                    <a:lnTo>
                      <a:pt x="68" y="70"/>
                    </a:lnTo>
                    <a:lnTo>
                      <a:pt x="61" y="70"/>
                    </a:lnTo>
                    <a:lnTo>
                      <a:pt x="61" y="77"/>
                    </a:lnTo>
                    <a:lnTo>
                      <a:pt x="68" y="77"/>
                    </a:lnTo>
                    <a:lnTo>
                      <a:pt x="68" y="70"/>
                    </a:lnTo>
                    <a:lnTo>
                      <a:pt x="74" y="77"/>
                    </a:lnTo>
                    <a:lnTo>
                      <a:pt x="74" y="70"/>
                    </a:lnTo>
                    <a:lnTo>
                      <a:pt x="74" y="63"/>
                    </a:lnTo>
                    <a:lnTo>
                      <a:pt x="74" y="70"/>
                    </a:lnTo>
                    <a:lnTo>
                      <a:pt x="74" y="63"/>
                    </a:lnTo>
                    <a:lnTo>
                      <a:pt x="81" y="70"/>
                    </a:lnTo>
                    <a:lnTo>
                      <a:pt x="81" y="77"/>
                    </a:lnTo>
                    <a:lnTo>
                      <a:pt x="74" y="77"/>
                    </a:lnTo>
                    <a:lnTo>
                      <a:pt x="74" y="84"/>
                    </a:lnTo>
                    <a:lnTo>
                      <a:pt x="68" y="84"/>
                    </a:lnTo>
                    <a:lnTo>
                      <a:pt x="61" y="84"/>
                    </a:lnTo>
                    <a:lnTo>
                      <a:pt x="61" y="77"/>
                    </a:lnTo>
                    <a:lnTo>
                      <a:pt x="61" y="84"/>
                    </a:lnTo>
                    <a:lnTo>
                      <a:pt x="61" y="77"/>
                    </a:lnTo>
                    <a:lnTo>
                      <a:pt x="54" y="77"/>
                    </a:lnTo>
                    <a:lnTo>
                      <a:pt x="54" y="84"/>
                    </a:lnTo>
                    <a:lnTo>
                      <a:pt x="61" y="84"/>
                    </a:lnTo>
                    <a:lnTo>
                      <a:pt x="54" y="84"/>
                    </a:lnTo>
                    <a:lnTo>
                      <a:pt x="47" y="77"/>
                    </a:lnTo>
                    <a:lnTo>
                      <a:pt x="41" y="77"/>
                    </a:lnTo>
                    <a:lnTo>
                      <a:pt x="34" y="77"/>
                    </a:lnTo>
                    <a:lnTo>
                      <a:pt x="41" y="70"/>
                    </a:lnTo>
                    <a:lnTo>
                      <a:pt x="41" y="63"/>
                    </a:lnTo>
                    <a:lnTo>
                      <a:pt x="34" y="56"/>
                    </a:lnTo>
                    <a:lnTo>
                      <a:pt x="41" y="56"/>
                    </a:lnTo>
                    <a:lnTo>
                      <a:pt x="34" y="56"/>
                    </a:lnTo>
                    <a:lnTo>
                      <a:pt x="34" y="49"/>
                    </a:lnTo>
                    <a:lnTo>
                      <a:pt x="27" y="49"/>
                    </a:lnTo>
                    <a:lnTo>
                      <a:pt x="27" y="42"/>
                    </a:lnTo>
                    <a:lnTo>
                      <a:pt x="20" y="42"/>
                    </a:lnTo>
                    <a:lnTo>
                      <a:pt x="27" y="42"/>
                    </a:lnTo>
                    <a:lnTo>
                      <a:pt x="20" y="35"/>
                    </a:lnTo>
                    <a:lnTo>
                      <a:pt x="20" y="42"/>
                    </a:lnTo>
                    <a:lnTo>
                      <a:pt x="13" y="42"/>
                    </a:lnTo>
                    <a:lnTo>
                      <a:pt x="7" y="42"/>
                    </a:lnTo>
                    <a:lnTo>
                      <a:pt x="7" y="35"/>
                    </a:lnTo>
                    <a:lnTo>
                      <a:pt x="13" y="35"/>
                    </a:lnTo>
                    <a:lnTo>
                      <a:pt x="7" y="35"/>
                    </a:lnTo>
                    <a:lnTo>
                      <a:pt x="0" y="28"/>
                    </a:lnTo>
                    <a:lnTo>
                      <a:pt x="0" y="35"/>
                    </a:lnTo>
                    <a:lnTo>
                      <a:pt x="0" y="28"/>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3" name="Freeform 59">
                <a:extLst>
                  <a:ext uri="{FF2B5EF4-FFF2-40B4-BE49-F238E27FC236}">
                    <a16:creationId xmlns:a16="http://schemas.microsoft.com/office/drawing/2014/main" id="{99A89B6E-57E7-29B7-23DB-0B346206DDBA}"/>
                  </a:ext>
                </a:extLst>
              </p:cNvPr>
              <p:cNvSpPr>
                <a:spLocks/>
              </p:cNvSpPr>
              <p:nvPr/>
            </p:nvSpPr>
            <p:spPr bwMode="gray">
              <a:xfrm>
                <a:off x="4906963" y="4197350"/>
                <a:ext cx="11113" cy="11113"/>
              </a:xfrm>
              <a:custGeom>
                <a:avLst/>
                <a:gdLst>
                  <a:gd name="T0" fmla="*/ 0 w 7"/>
                  <a:gd name="T1" fmla="*/ 7 h 7"/>
                  <a:gd name="T2" fmla="*/ 0 w 7"/>
                  <a:gd name="T3" fmla="*/ 0 h 7"/>
                  <a:gd name="T4" fmla="*/ 7 w 7"/>
                  <a:gd name="T5" fmla="*/ 0 h 7"/>
                  <a:gd name="T6" fmla="*/ 7 w 7"/>
                  <a:gd name="T7" fmla="*/ 7 h 7"/>
                  <a:gd name="T8" fmla="*/ 0 w 7"/>
                  <a:gd name="T9" fmla="*/ 7 h 7"/>
                  <a:gd name="T10" fmla="*/ 7 w 7"/>
                  <a:gd name="T11" fmla="*/ 7 h 7"/>
                  <a:gd name="T12" fmla="*/ 0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0" y="0"/>
                    </a:lnTo>
                    <a:lnTo>
                      <a:pt x="7" y="0"/>
                    </a:lnTo>
                    <a:lnTo>
                      <a:pt x="7" y="7"/>
                    </a:lnTo>
                    <a:lnTo>
                      <a:pt x="0" y="7"/>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4" name="Freeform 60">
                <a:extLst>
                  <a:ext uri="{FF2B5EF4-FFF2-40B4-BE49-F238E27FC236}">
                    <a16:creationId xmlns:a16="http://schemas.microsoft.com/office/drawing/2014/main" id="{668E7DED-8BC0-808D-57AB-51A704D6B6EA}"/>
                  </a:ext>
                </a:extLst>
              </p:cNvPr>
              <p:cNvSpPr>
                <a:spLocks/>
              </p:cNvSpPr>
              <p:nvPr/>
            </p:nvSpPr>
            <p:spPr bwMode="gray">
              <a:xfrm>
                <a:off x="4897438" y="4130675"/>
                <a:ext cx="31750" cy="22225"/>
              </a:xfrm>
              <a:custGeom>
                <a:avLst/>
                <a:gdLst>
                  <a:gd name="T0" fmla="*/ 6 w 20"/>
                  <a:gd name="T1" fmla="*/ 7 h 14"/>
                  <a:gd name="T2" fmla="*/ 0 w 20"/>
                  <a:gd name="T3" fmla="*/ 0 h 14"/>
                  <a:gd name="T4" fmla="*/ 6 w 20"/>
                  <a:gd name="T5" fmla="*/ 0 h 14"/>
                  <a:gd name="T6" fmla="*/ 13 w 20"/>
                  <a:gd name="T7" fmla="*/ 0 h 14"/>
                  <a:gd name="T8" fmla="*/ 20 w 20"/>
                  <a:gd name="T9" fmla="*/ 0 h 14"/>
                  <a:gd name="T10" fmla="*/ 20 w 20"/>
                  <a:gd name="T11" fmla="*/ 7 h 14"/>
                  <a:gd name="T12" fmla="*/ 20 w 20"/>
                  <a:gd name="T13" fmla="*/ 14 h 14"/>
                  <a:gd name="T14" fmla="*/ 13 w 20"/>
                  <a:gd name="T15" fmla="*/ 7 h 14"/>
                  <a:gd name="T16" fmla="*/ 6 w 20"/>
                  <a:gd name="T17" fmla="*/ 7 h 14"/>
                  <a:gd name="T18" fmla="*/ 6 w 20"/>
                  <a:gd name="T19" fmla="*/ 0 h 14"/>
                  <a:gd name="T20" fmla="*/ 6 w 20"/>
                  <a:gd name="T2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
                    <a:moveTo>
                      <a:pt x="6" y="7"/>
                    </a:moveTo>
                    <a:lnTo>
                      <a:pt x="0" y="0"/>
                    </a:lnTo>
                    <a:lnTo>
                      <a:pt x="6" y="0"/>
                    </a:lnTo>
                    <a:lnTo>
                      <a:pt x="13" y="0"/>
                    </a:lnTo>
                    <a:lnTo>
                      <a:pt x="20" y="0"/>
                    </a:lnTo>
                    <a:lnTo>
                      <a:pt x="20" y="7"/>
                    </a:lnTo>
                    <a:lnTo>
                      <a:pt x="20" y="14"/>
                    </a:lnTo>
                    <a:lnTo>
                      <a:pt x="13" y="7"/>
                    </a:lnTo>
                    <a:lnTo>
                      <a:pt x="6" y="7"/>
                    </a:lnTo>
                    <a:lnTo>
                      <a:pt x="6" y="0"/>
                    </a:lnTo>
                    <a:lnTo>
                      <a:pt x="6"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5" name="Freeform 61">
                <a:extLst>
                  <a:ext uri="{FF2B5EF4-FFF2-40B4-BE49-F238E27FC236}">
                    <a16:creationId xmlns:a16="http://schemas.microsoft.com/office/drawing/2014/main" id="{C035684D-FE60-ECBA-ED5F-D51C09EC9B79}"/>
                  </a:ext>
                </a:extLst>
              </p:cNvPr>
              <p:cNvSpPr>
                <a:spLocks/>
              </p:cNvSpPr>
              <p:nvPr/>
            </p:nvSpPr>
            <p:spPr bwMode="gray">
              <a:xfrm>
                <a:off x="4929188" y="3975100"/>
                <a:ext cx="11113" cy="22225"/>
              </a:xfrm>
              <a:custGeom>
                <a:avLst/>
                <a:gdLst>
                  <a:gd name="T0" fmla="*/ 0 w 7"/>
                  <a:gd name="T1" fmla="*/ 14 h 14"/>
                  <a:gd name="T2" fmla="*/ 0 w 7"/>
                  <a:gd name="T3" fmla="*/ 7 h 14"/>
                  <a:gd name="T4" fmla="*/ 7 w 7"/>
                  <a:gd name="T5" fmla="*/ 0 h 14"/>
                  <a:gd name="T6" fmla="*/ 7 w 7"/>
                  <a:gd name="T7" fmla="*/ 7 h 14"/>
                  <a:gd name="T8" fmla="*/ 7 w 7"/>
                  <a:gd name="T9" fmla="*/ 14 h 14"/>
                  <a:gd name="T10" fmla="*/ 0 w 7"/>
                  <a:gd name="T11" fmla="*/ 14 h 14"/>
                </a:gdLst>
                <a:ahLst/>
                <a:cxnLst>
                  <a:cxn ang="0">
                    <a:pos x="T0" y="T1"/>
                  </a:cxn>
                  <a:cxn ang="0">
                    <a:pos x="T2" y="T3"/>
                  </a:cxn>
                  <a:cxn ang="0">
                    <a:pos x="T4" y="T5"/>
                  </a:cxn>
                  <a:cxn ang="0">
                    <a:pos x="T6" y="T7"/>
                  </a:cxn>
                  <a:cxn ang="0">
                    <a:pos x="T8" y="T9"/>
                  </a:cxn>
                  <a:cxn ang="0">
                    <a:pos x="T10" y="T11"/>
                  </a:cxn>
                </a:cxnLst>
                <a:rect l="0" t="0" r="r" b="b"/>
                <a:pathLst>
                  <a:path w="7" h="14">
                    <a:moveTo>
                      <a:pt x="0" y="14"/>
                    </a:moveTo>
                    <a:lnTo>
                      <a:pt x="0" y="7"/>
                    </a:lnTo>
                    <a:lnTo>
                      <a:pt x="7" y="0"/>
                    </a:lnTo>
                    <a:lnTo>
                      <a:pt x="7" y="7"/>
                    </a:lnTo>
                    <a:lnTo>
                      <a:pt x="7" y="14"/>
                    </a:lnTo>
                    <a:lnTo>
                      <a:pt x="0" y="14"/>
                    </a:lnTo>
                    <a:close/>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6" name="Freeform 62">
                <a:extLst>
                  <a:ext uri="{FF2B5EF4-FFF2-40B4-BE49-F238E27FC236}">
                    <a16:creationId xmlns:a16="http://schemas.microsoft.com/office/drawing/2014/main" id="{8A0A3950-0E95-C163-F50E-75DA14643E5B}"/>
                  </a:ext>
                </a:extLst>
              </p:cNvPr>
              <p:cNvSpPr>
                <a:spLocks/>
              </p:cNvSpPr>
              <p:nvPr/>
            </p:nvSpPr>
            <p:spPr bwMode="gray">
              <a:xfrm>
                <a:off x="4929188" y="4130675"/>
                <a:ext cx="20638" cy="22225"/>
              </a:xfrm>
              <a:custGeom>
                <a:avLst/>
                <a:gdLst>
                  <a:gd name="T0" fmla="*/ 7 w 13"/>
                  <a:gd name="T1" fmla="*/ 7 h 14"/>
                  <a:gd name="T2" fmla="*/ 0 w 13"/>
                  <a:gd name="T3" fmla="*/ 7 h 14"/>
                  <a:gd name="T4" fmla="*/ 7 w 13"/>
                  <a:gd name="T5" fmla="*/ 7 h 14"/>
                  <a:gd name="T6" fmla="*/ 7 w 13"/>
                  <a:gd name="T7" fmla="*/ 0 h 14"/>
                  <a:gd name="T8" fmla="*/ 13 w 13"/>
                  <a:gd name="T9" fmla="*/ 7 h 14"/>
                  <a:gd name="T10" fmla="*/ 7 w 13"/>
                  <a:gd name="T11" fmla="*/ 7 h 14"/>
                  <a:gd name="T12" fmla="*/ 13 w 13"/>
                  <a:gd name="T13" fmla="*/ 7 h 14"/>
                  <a:gd name="T14" fmla="*/ 7 w 13"/>
                  <a:gd name="T15" fmla="*/ 7 h 14"/>
                  <a:gd name="T16" fmla="*/ 13 w 13"/>
                  <a:gd name="T17" fmla="*/ 14 h 14"/>
                  <a:gd name="T18" fmla="*/ 7 w 13"/>
                  <a:gd name="T19" fmla="*/ 14 h 14"/>
                  <a:gd name="T20" fmla="*/ 0 w 13"/>
                  <a:gd name="T21" fmla="*/ 14 h 14"/>
                  <a:gd name="T22" fmla="*/ 7 w 13"/>
                  <a:gd name="T2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7" y="7"/>
                    </a:moveTo>
                    <a:lnTo>
                      <a:pt x="0" y="7"/>
                    </a:lnTo>
                    <a:lnTo>
                      <a:pt x="7" y="7"/>
                    </a:lnTo>
                    <a:lnTo>
                      <a:pt x="7" y="0"/>
                    </a:lnTo>
                    <a:lnTo>
                      <a:pt x="13" y="7"/>
                    </a:lnTo>
                    <a:lnTo>
                      <a:pt x="7" y="7"/>
                    </a:lnTo>
                    <a:lnTo>
                      <a:pt x="13" y="7"/>
                    </a:lnTo>
                    <a:lnTo>
                      <a:pt x="7" y="7"/>
                    </a:lnTo>
                    <a:lnTo>
                      <a:pt x="13" y="14"/>
                    </a:lnTo>
                    <a:lnTo>
                      <a:pt x="7" y="14"/>
                    </a:lnTo>
                    <a:lnTo>
                      <a:pt x="0" y="14"/>
                    </a:lnTo>
                    <a:lnTo>
                      <a:pt x="7"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7" name="Freeform 63">
                <a:extLst>
                  <a:ext uri="{FF2B5EF4-FFF2-40B4-BE49-F238E27FC236}">
                    <a16:creationId xmlns:a16="http://schemas.microsoft.com/office/drawing/2014/main" id="{2A91CD7C-DF1B-A69E-A240-650C17A316E0}"/>
                  </a:ext>
                </a:extLst>
              </p:cNvPr>
              <p:cNvSpPr>
                <a:spLocks/>
              </p:cNvSpPr>
              <p:nvPr/>
            </p:nvSpPr>
            <p:spPr bwMode="gray">
              <a:xfrm>
                <a:off x="4949825" y="3941763"/>
                <a:ext cx="22225" cy="22225"/>
              </a:xfrm>
              <a:custGeom>
                <a:avLst/>
                <a:gdLst>
                  <a:gd name="T0" fmla="*/ 7 w 14"/>
                  <a:gd name="T1" fmla="*/ 7 h 14"/>
                  <a:gd name="T2" fmla="*/ 0 w 14"/>
                  <a:gd name="T3" fmla="*/ 7 h 14"/>
                  <a:gd name="T4" fmla="*/ 0 w 14"/>
                  <a:gd name="T5" fmla="*/ 0 h 14"/>
                  <a:gd name="T6" fmla="*/ 7 w 14"/>
                  <a:gd name="T7" fmla="*/ 0 h 14"/>
                  <a:gd name="T8" fmla="*/ 14 w 14"/>
                  <a:gd name="T9" fmla="*/ 0 h 14"/>
                  <a:gd name="T10" fmla="*/ 14 w 14"/>
                  <a:gd name="T11" fmla="*/ 7 h 14"/>
                  <a:gd name="T12" fmla="*/ 14 w 14"/>
                  <a:gd name="T13" fmla="*/ 14 h 14"/>
                  <a:gd name="T14" fmla="*/ 7 w 14"/>
                  <a:gd name="T15" fmla="*/ 14 h 14"/>
                  <a:gd name="T16" fmla="*/ 7 w 14"/>
                  <a:gd name="T17"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7" y="7"/>
                    </a:moveTo>
                    <a:lnTo>
                      <a:pt x="0" y="7"/>
                    </a:lnTo>
                    <a:lnTo>
                      <a:pt x="0" y="0"/>
                    </a:lnTo>
                    <a:lnTo>
                      <a:pt x="7" y="0"/>
                    </a:lnTo>
                    <a:lnTo>
                      <a:pt x="14" y="0"/>
                    </a:lnTo>
                    <a:lnTo>
                      <a:pt x="14" y="7"/>
                    </a:lnTo>
                    <a:lnTo>
                      <a:pt x="14" y="14"/>
                    </a:lnTo>
                    <a:lnTo>
                      <a:pt x="7" y="14"/>
                    </a:lnTo>
                    <a:lnTo>
                      <a:pt x="7"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59" name="Freeform 64">
                <a:extLst>
                  <a:ext uri="{FF2B5EF4-FFF2-40B4-BE49-F238E27FC236}">
                    <a16:creationId xmlns:a16="http://schemas.microsoft.com/office/drawing/2014/main" id="{49CF567F-357E-5256-9F11-769A32AFCC78}"/>
                  </a:ext>
                </a:extLst>
              </p:cNvPr>
              <p:cNvSpPr>
                <a:spLocks/>
              </p:cNvSpPr>
              <p:nvPr/>
            </p:nvSpPr>
            <p:spPr bwMode="gray">
              <a:xfrm>
                <a:off x="4949825" y="3975100"/>
                <a:ext cx="42863" cy="22225"/>
              </a:xfrm>
              <a:custGeom>
                <a:avLst/>
                <a:gdLst>
                  <a:gd name="T0" fmla="*/ 7 w 27"/>
                  <a:gd name="T1" fmla="*/ 14 h 14"/>
                  <a:gd name="T2" fmla="*/ 0 w 27"/>
                  <a:gd name="T3" fmla="*/ 14 h 14"/>
                  <a:gd name="T4" fmla="*/ 7 w 27"/>
                  <a:gd name="T5" fmla="*/ 14 h 14"/>
                  <a:gd name="T6" fmla="*/ 7 w 27"/>
                  <a:gd name="T7" fmla="*/ 7 h 14"/>
                  <a:gd name="T8" fmla="*/ 14 w 27"/>
                  <a:gd name="T9" fmla="*/ 0 h 14"/>
                  <a:gd name="T10" fmla="*/ 21 w 27"/>
                  <a:gd name="T11" fmla="*/ 0 h 14"/>
                  <a:gd name="T12" fmla="*/ 27 w 27"/>
                  <a:gd name="T13" fmla="*/ 7 h 14"/>
                  <a:gd name="T14" fmla="*/ 21 w 27"/>
                  <a:gd name="T15" fmla="*/ 7 h 14"/>
                  <a:gd name="T16" fmla="*/ 21 w 27"/>
                  <a:gd name="T17" fmla="*/ 14 h 14"/>
                  <a:gd name="T18" fmla="*/ 21 w 27"/>
                  <a:gd name="T19" fmla="*/ 7 h 14"/>
                  <a:gd name="T20" fmla="*/ 14 w 27"/>
                  <a:gd name="T21" fmla="*/ 14 h 14"/>
                  <a:gd name="T22" fmla="*/ 21 w 27"/>
                  <a:gd name="T23" fmla="*/ 14 h 14"/>
                  <a:gd name="T24" fmla="*/ 14 w 27"/>
                  <a:gd name="T25" fmla="*/ 14 h 14"/>
                  <a:gd name="T26" fmla="*/ 7 w 27"/>
                  <a:gd name="T27" fmla="*/ 14 h 14"/>
                  <a:gd name="T28" fmla="*/ 14 w 27"/>
                  <a:gd name="T29" fmla="*/ 14 h 14"/>
                  <a:gd name="T30" fmla="*/ 7 w 27"/>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14">
                    <a:moveTo>
                      <a:pt x="7" y="14"/>
                    </a:moveTo>
                    <a:lnTo>
                      <a:pt x="0" y="14"/>
                    </a:lnTo>
                    <a:lnTo>
                      <a:pt x="7" y="14"/>
                    </a:lnTo>
                    <a:lnTo>
                      <a:pt x="7" y="7"/>
                    </a:lnTo>
                    <a:lnTo>
                      <a:pt x="14" y="0"/>
                    </a:lnTo>
                    <a:lnTo>
                      <a:pt x="21" y="0"/>
                    </a:lnTo>
                    <a:lnTo>
                      <a:pt x="27" y="7"/>
                    </a:lnTo>
                    <a:lnTo>
                      <a:pt x="21" y="7"/>
                    </a:lnTo>
                    <a:lnTo>
                      <a:pt x="21" y="14"/>
                    </a:lnTo>
                    <a:lnTo>
                      <a:pt x="21" y="7"/>
                    </a:lnTo>
                    <a:lnTo>
                      <a:pt x="14" y="14"/>
                    </a:lnTo>
                    <a:lnTo>
                      <a:pt x="21" y="14"/>
                    </a:lnTo>
                    <a:lnTo>
                      <a:pt x="14" y="14"/>
                    </a:lnTo>
                    <a:lnTo>
                      <a:pt x="7" y="14"/>
                    </a:lnTo>
                    <a:lnTo>
                      <a:pt x="14" y="14"/>
                    </a:lnTo>
                    <a:lnTo>
                      <a:pt x="7" y="1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68" name="Freeform 65">
                <a:extLst>
                  <a:ext uri="{FF2B5EF4-FFF2-40B4-BE49-F238E27FC236}">
                    <a16:creationId xmlns:a16="http://schemas.microsoft.com/office/drawing/2014/main" id="{698BF392-7AFC-5D2C-0090-469AFC0A3F3D}"/>
                  </a:ext>
                </a:extLst>
              </p:cNvPr>
              <p:cNvSpPr>
                <a:spLocks/>
              </p:cNvSpPr>
              <p:nvPr/>
            </p:nvSpPr>
            <p:spPr bwMode="gray">
              <a:xfrm>
                <a:off x="4960938" y="4030663"/>
                <a:ext cx="42863" cy="44450"/>
              </a:xfrm>
              <a:custGeom>
                <a:avLst/>
                <a:gdLst>
                  <a:gd name="T0" fmla="*/ 0 w 27"/>
                  <a:gd name="T1" fmla="*/ 7 h 28"/>
                  <a:gd name="T2" fmla="*/ 7 w 27"/>
                  <a:gd name="T3" fmla="*/ 7 h 28"/>
                  <a:gd name="T4" fmla="*/ 7 w 27"/>
                  <a:gd name="T5" fmla="*/ 0 h 28"/>
                  <a:gd name="T6" fmla="*/ 7 w 27"/>
                  <a:gd name="T7" fmla="*/ 7 h 28"/>
                  <a:gd name="T8" fmla="*/ 14 w 27"/>
                  <a:gd name="T9" fmla="*/ 7 h 28"/>
                  <a:gd name="T10" fmla="*/ 7 w 27"/>
                  <a:gd name="T11" fmla="*/ 7 h 28"/>
                  <a:gd name="T12" fmla="*/ 14 w 27"/>
                  <a:gd name="T13" fmla="*/ 7 h 28"/>
                  <a:gd name="T14" fmla="*/ 20 w 27"/>
                  <a:gd name="T15" fmla="*/ 7 h 28"/>
                  <a:gd name="T16" fmla="*/ 14 w 27"/>
                  <a:gd name="T17" fmla="*/ 0 h 28"/>
                  <a:gd name="T18" fmla="*/ 20 w 27"/>
                  <a:gd name="T19" fmla="*/ 7 h 28"/>
                  <a:gd name="T20" fmla="*/ 27 w 27"/>
                  <a:gd name="T21" fmla="*/ 7 h 28"/>
                  <a:gd name="T22" fmla="*/ 27 w 27"/>
                  <a:gd name="T23" fmla="*/ 14 h 28"/>
                  <a:gd name="T24" fmla="*/ 20 w 27"/>
                  <a:gd name="T25" fmla="*/ 21 h 28"/>
                  <a:gd name="T26" fmla="*/ 14 w 27"/>
                  <a:gd name="T27" fmla="*/ 28 h 28"/>
                  <a:gd name="T28" fmla="*/ 14 w 27"/>
                  <a:gd name="T29" fmla="*/ 21 h 28"/>
                  <a:gd name="T30" fmla="*/ 14 w 27"/>
                  <a:gd name="T31" fmla="*/ 14 h 28"/>
                  <a:gd name="T32" fmla="*/ 7 w 27"/>
                  <a:gd name="T33" fmla="*/ 14 h 28"/>
                  <a:gd name="T34" fmla="*/ 14 w 27"/>
                  <a:gd name="T35" fmla="*/ 14 h 28"/>
                  <a:gd name="T36" fmla="*/ 7 w 27"/>
                  <a:gd name="T37" fmla="*/ 14 h 28"/>
                  <a:gd name="T38" fmla="*/ 7 w 27"/>
                  <a:gd name="T39" fmla="*/ 7 h 28"/>
                  <a:gd name="T40" fmla="*/ 0 w 27"/>
                  <a:gd name="T41"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28">
                    <a:moveTo>
                      <a:pt x="0" y="7"/>
                    </a:moveTo>
                    <a:lnTo>
                      <a:pt x="7" y="7"/>
                    </a:lnTo>
                    <a:lnTo>
                      <a:pt x="7" y="0"/>
                    </a:lnTo>
                    <a:lnTo>
                      <a:pt x="7" y="7"/>
                    </a:lnTo>
                    <a:lnTo>
                      <a:pt x="14" y="7"/>
                    </a:lnTo>
                    <a:lnTo>
                      <a:pt x="7" y="7"/>
                    </a:lnTo>
                    <a:lnTo>
                      <a:pt x="14" y="7"/>
                    </a:lnTo>
                    <a:lnTo>
                      <a:pt x="20" y="7"/>
                    </a:lnTo>
                    <a:lnTo>
                      <a:pt x="14" y="0"/>
                    </a:lnTo>
                    <a:lnTo>
                      <a:pt x="20" y="7"/>
                    </a:lnTo>
                    <a:lnTo>
                      <a:pt x="27" y="7"/>
                    </a:lnTo>
                    <a:lnTo>
                      <a:pt x="27" y="14"/>
                    </a:lnTo>
                    <a:lnTo>
                      <a:pt x="20" y="21"/>
                    </a:lnTo>
                    <a:lnTo>
                      <a:pt x="14" y="28"/>
                    </a:lnTo>
                    <a:lnTo>
                      <a:pt x="14" y="21"/>
                    </a:lnTo>
                    <a:lnTo>
                      <a:pt x="14" y="14"/>
                    </a:lnTo>
                    <a:lnTo>
                      <a:pt x="7" y="14"/>
                    </a:lnTo>
                    <a:lnTo>
                      <a:pt x="14" y="14"/>
                    </a:lnTo>
                    <a:lnTo>
                      <a:pt x="7" y="14"/>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69" name="Freeform 66">
                <a:extLst>
                  <a:ext uri="{FF2B5EF4-FFF2-40B4-BE49-F238E27FC236}">
                    <a16:creationId xmlns:a16="http://schemas.microsoft.com/office/drawing/2014/main" id="{3EE4B177-8219-2264-6CF6-541F6DC523C6}"/>
                  </a:ext>
                </a:extLst>
              </p:cNvPr>
              <p:cNvSpPr>
                <a:spLocks/>
              </p:cNvSpPr>
              <p:nvPr/>
            </p:nvSpPr>
            <p:spPr bwMode="gray">
              <a:xfrm>
                <a:off x="5003800" y="3975100"/>
                <a:ext cx="11113" cy="11113"/>
              </a:xfrm>
              <a:custGeom>
                <a:avLst/>
                <a:gdLst>
                  <a:gd name="T0" fmla="*/ 0 w 7"/>
                  <a:gd name="T1" fmla="*/ 7 h 7"/>
                  <a:gd name="T2" fmla="*/ 7 w 7"/>
                  <a:gd name="T3" fmla="*/ 0 h 7"/>
                  <a:gd name="T4" fmla="*/ 7 w 7"/>
                  <a:gd name="T5" fmla="*/ 7 h 7"/>
                  <a:gd name="T6" fmla="*/ 0 w 7"/>
                  <a:gd name="T7" fmla="*/ 7 h 7"/>
                </a:gdLst>
                <a:ahLst/>
                <a:cxnLst>
                  <a:cxn ang="0">
                    <a:pos x="T0" y="T1"/>
                  </a:cxn>
                  <a:cxn ang="0">
                    <a:pos x="T2" y="T3"/>
                  </a:cxn>
                  <a:cxn ang="0">
                    <a:pos x="T4" y="T5"/>
                  </a:cxn>
                  <a:cxn ang="0">
                    <a:pos x="T6" y="T7"/>
                  </a:cxn>
                </a:cxnLst>
                <a:rect l="0" t="0" r="r" b="b"/>
                <a:pathLst>
                  <a:path w="7" h="7">
                    <a:moveTo>
                      <a:pt x="0" y="7"/>
                    </a:moveTo>
                    <a:lnTo>
                      <a:pt x="7" y="0"/>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95" name="Freeform 67">
                <a:extLst>
                  <a:ext uri="{FF2B5EF4-FFF2-40B4-BE49-F238E27FC236}">
                    <a16:creationId xmlns:a16="http://schemas.microsoft.com/office/drawing/2014/main" id="{818357B5-DC27-C798-C9F7-399401B5E5C5}"/>
                  </a:ext>
                </a:extLst>
              </p:cNvPr>
              <p:cNvSpPr>
                <a:spLocks/>
              </p:cNvSpPr>
              <p:nvPr/>
            </p:nvSpPr>
            <p:spPr bwMode="gray">
              <a:xfrm>
                <a:off x="5014913" y="3963988"/>
                <a:ext cx="0" cy="11113"/>
              </a:xfrm>
              <a:custGeom>
                <a:avLst/>
                <a:gdLst>
                  <a:gd name="T0" fmla="*/ 0 h 7"/>
                  <a:gd name="T1" fmla="*/ 7 h 7"/>
                  <a:gd name="T2" fmla="*/ 0 h 7"/>
                </a:gdLst>
                <a:ahLst/>
                <a:cxnLst>
                  <a:cxn ang="0">
                    <a:pos x="0" y="T0"/>
                  </a:cxn>
                  <a:cxn ang="0">
                    <a:pos x="0" y="T1"/>
                  </a:cxn>
                  <a:cxn ang="0">
                    <a:pos x="0" y="T2"/>
                  </a:cxn>
                </a:cxnLst>
                <a:rect l="0" t="0" r="r" b="b"/>
                <a:pathLst>
                  <a:path h="7">
                    <a:moveTo>
                      <a:pt x="0" y="0"/>
                    </a:moveTo>
                    <a:lnTo>
                      <a:pt x="0" y="7"/>
                    </a:lnTo>
                    <a:lnTo>
                      <a:pt x="0" y="0"/>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96" name="Freeform 68">
                <a:extLst>
                  <a:ext uri="{FF2B5EF4-FFF2-40B4-BE49-F238E27FC236}">
                    <a16:creationId xmlns:a16="http://schemas.microsoft.com/office/drawing/2014/main" id="{5C579F0C-7DA6-B0AE-C2D1-7D801D30D28E}"/>
                  </a:ext>
                </a:extLst>
              </p:cNvPr>
              <p:cNvSpPr>
                <a:spLocks/>
              </p:cNvSpPr>
              <p:nvPr/>
            </p:nvSpPr>
            <p:spPr bwMode="gray">
              <a:xfrm>
                <a:off x="5024438" y="3775075"/>
                <a:ext cx="22225" cy="33338"/>
              </a:xfrm>
              <a:custGeom>
                <a:avLst/>
                <a:gdLst>
                  <a:gd name="T0" fmla="*/ 0 w 14"/>
                  <a:gd name="T1" fmla="*/ 7 h 21"/>
                  <a:gd name="T2" fmla="*/ 7 w 14"/>
                  <a:gd name="T3" fmla="*/ 7 h 21"/>
                  <a:gd name="T4" fmla="*/ 7 w 14"/>
                  <a:gd name="T5" fmla="*/ 0 h 21"/>
                  <a:gd name="T6" fmla="*/ 14 w 14"/>
                  <a:gd name="T7" fmla="*/ 0 h 21"/>
                  <a:gd name="T8" fmla="*/ 14 w 14"/>
                  <a:gd name="T9" fmla="*/ 7 h 21"/>
                  <a:gd name="T10" fmla="*/ 14 w 14"/>
                  <a:gd name="T11" fmla="*/ 14 h 21"/>
                  <a:gd name="T12" fmla="*/ 14 w 14"/>
                  <a:gd name="T13" fmla="*/ 21 h 21"/>
                  <a:gd name="T14" fmla="*/ 7 w 14"/>
                  <a:gd name="T15" fmla="*/ 14 h 21"/>
                  <a:gd name="T16" fmla="*/ 0 w 14"/>
                  <a:gd name="T17" fmla="*/ 14 h 21"/>
                  <a:gd name="T18" fmla="*/ 0 w 14"/>
                  <a:gd name="T19"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1">
                    <a:moveTo>
                      <a:pt x="0" y="7"/>
                    </a:moveTo>
                    <a:lnTo>
                      <a:pt x="7" y="7"/>
                    </a:lnTo>
                    <a:lnTo>
                      <a:pt x="7" y="0"/>
                    </a:lnTo>
                    <a:lnTo>
                      <a:pt x="14" y="0"/>
                    </a:lnTo>
                    <a:lnTo>
                      <a:pt x="14" y="7"/>
                    </a:lnTo>
                    <a:lnTo>
                      <a:pt x="14" y="14"/>
                    </a:lnTo>
                    <a:lnTo>
                      <a:pt x="14" y="21"/>
                    </a:lnTo>
                    <a:lnTo>
                      <a:pt x="7" y="14"/>
                    </a:lnTo>
                    <a:lnTo>
                      <a:pt x="0" y="14"/>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97" name="Freeform 69">
                <a:extLst>
                  <a:ext uri="{FF2B5EF4-FFF2-40B4-BE49-F238E27FC236}">
                    <a16:creationId xmlns:a16="http://schemas.microsoft.com/office/drawing/2014/main" id="{33E70B90-3B91-668A-C099-CFE1AEC7BC45}"/>
                  </a:ext>
                </a:extLst>
              </p:cNvPr>
              <p:cNvSpPr>
                <a:spLocks/>
              </p:cNvSpPr>
              <p:nvPr/>
            </p:nvSpPr>
            <p:spPr bwMode="gray">
              <a:xfrm>
                <a:off x="5046663" y="3741738"/>
                <a:ext cx="11113" cy="11113"/>
              </a:xfrm>
              <a:custGeom>
                <a:avLst/>
                <a:gdLst>
                  <a:gd name="T0" fmla="*/ 0 w 7"/>
                  <a:gd name="T1" fmla="*/ 7 h 7"/>
                  <a:gd name="T2" fmla="*/ 0 w 7"/>
                  <a:gd name="T3" fmla="*/ 0 h 7"/>
                  <a:gd name="T4" fmla="*/ 7 w 7"/>
                  <a:gd name="T5" fmla="*/ 7 h 7"/>
                  <a:gd name="T6" fmla="*/ 0 w 7"/>
                  <a:gd name="T7" fmla="*/ 7 h 7"/>
                </a:gdLst>
                <a:ahLst/>
                <a:cxnLst>
                  <a:cxn ang="0">
                    <a:pos x="T0" y="T1"/>
                  </a:cxn>
                  <a:cxn ang="0">
                    <a:pos x="T2" y="T3"/>
                  </a:cxn>
                  <a:cxn ang="0">
                    <a:pos x="T4" y="T5"/>
                  </a:cxn>
                  <a:cxn ang="0">
                    <a:pos x="T6" y="T7"/>
                  </a:cxn>
                </a:cxnLst>
                <a:rect l="0" t="0" r="r" b="b"/>
                <a:pathLst>
                  <a:path w="7" h="7">
                    <a:moveTo>
                      <a:pt x="0" y="7"/>
                    </a:moveTo>
                    <a:lnTo>
                      <a:pt x="0" y="0"/>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98" name="Freeform 70">
                <a:extLst>
                  <a:ext uri="{FF2B5EF4-FFF2-40B4-BE49-F238E27FC236}">
                    <a16:creationId xmlns:a16="http://schemas.microsoft.com/office/drawing/2014/main" id="{5C5527B4-A004-C980-C253-C02B551784FB}"/>
                  </a:ext>
                </a:extLst>
              </p:cNvPr>
              <p:cNvSpPr>
                <a:spLocks/>
              </p:cNvSpPr>
              <p:nvPr/>
            </p:nvSpPr>
            <p:spPr bwMode="gray">
              <a:xfrm>
                <a:off x="5035550" y="3863975"/>
                <a:ext cx="33338" cy="33338"/>
              </a:xfrm>
              <a:custGeom>
                <a:avLst/>
                <a:gdLst>
                  <a:gd name="T0" fmla="*/ 0 w 21"/>
                  <a:gd name="T1" fmla="*/ 14 h 21"/>
                  <a:gd name="T2" fmla="*/ 0 w 21"/>
                  <a:gd name="T3" fmla="*/ 7 h 21"/>
                  <a:gd name="T4" fmla="*/ 0 w 21"/>
                  <a:gd name="T5" fmla="*/ 14 h 21"/>
                  <a:gd name="T6" fmla="*/ 7 w 21"/>
                  <a:gd name="T7" fmla="*/ 7 h 21"/>
                  <a:gd name="T8" fmla="*/ 7 w 21"/>
                  <a:gd name="T9" fmla="*/ 14 h 21"/>
                  <a:gd name="T10" fmla="*/ 14 w 21"/>
                  <a:gd name="T11" fmla="*/ 7 h 21"/>
                  <a:gd name="T12" fmla="*/ 14 w 21"/>
                  <a:gd name="T13" fmla="*/ 0 h 21"/>
                  <a:gd name="T14" fmla="*/ 14 w 21"/>
                  <a:gd name="T15" fmla="*/ 7 h 21"/>
                  <a:gd name="T16" fmla="*/ 21 w 21"/>
                  <a:gd name="T17" fmla="*/ 0 h 21"/>
                  <a:gd name="T18" fmla="*/ 21 w 21"/>
                  <a:gd name="T19" fmla="*/ 7 h 21"/>
                  <a:gd name="T20" fmla="*/ 21 w 21"/>
                  <a:gd name="T21" fmla="*/ 14 h 21"/>
                  <a:gd name="T22" fmla="*/ 21 w 21"/>
                  <a:gd name="T23" fmla="*/ 21 h 21"/>
                  <a:gd name="T24" fmla="*/ 14 w 21"/>
                  <a:gd name="T25" fmla="*/ 21 h 21"/>
                  <a:gd name="T26" fmla="*/ 7 w 21"/>
                  <a:gd name="T27" fmla="*/ 14 h 21"/>
                  <a:gd name="T28" fmla="*/ 0 w 21"/>
                  <a:gd name="T29" fmla="*/ 21 h 21"/>
                  <a:gd name="T30" fmla="*/ 0 w 21"/>
                  <a:gd name="T31"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1">
                    <a:moveTo>
                      <a:pt x="0" y="14"/>
                    </a:moveTo>
                    <a:lnTo>
                      <a:pt x="0" y="7"/>
                    </a:lnTo>
                    <a:lnTo>
                      <a:pt x="0" y="14"/>
                    </a:lnTo>
                    <a:lnTo>
                      <a:pt x="7" y="7"/>
                    </a:lnTo>
                    <a:lnTo>
                      <a:pt x="7" y="14"/>
                    </a:lnTo>
                    <a:lnTo>
                      <a:pt x="14" y="7"/>
                    </a:lnTo>
                    <a:lnTo>
                      <a:pt x="14" y="0"/>
                    </a:lnTo>
                    <a:lnTo>
                      <a:pt x="14" y="7"/>
                    </a:lnTo>
                    <a:lnTo>
                      <a:pt x="21" y="0"/>
                    </a:lnTo>
                    <a:lnTo>
                      <a:pt x="21" y="7"/>
                    </a:lnTo>
                    <a:lnTo>
                      <a:pt x="21" y="14"/>
                    </a:lnTo>
                    <a:lnTo>
                      <a:pt x="21" y="21"/>
                    </a:lnTo>
                    <a:lnTo>
                      <a:pt x="14" y="21"/>
                    </a:lnTo>
                    <a:lnTo>
                      <a:pt x="7" y="14"/>
                    </a:lnTo>
                    <a:lnTo>
                      <a:pt x="0" y="21"/>
                    </a:lnTo>
                    <a:lnTo>
                      <a:pt x="0" y="1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01" name="Freeform 71">
                <a:extLst>
                  <a:ext uri="{FF2B5EF4-FFF2-40B4-BE49-F238E27FC236}">
                    <a16:creationId xmlns:a16="http://schemas.microsoft.com/office/drawing/2014/main" id="{369C253C-17DE-50D2-18BC-1E233AA8818A}"/>
                  </a:ext>
                </a:extLst>
              </p:cNvPr>
              <p:cNvSpPr>
                <a:spLocks/>
              </p:cNvSpPr>
              <p:nvPr/>
            </p:nvSpPr>
            <p:spPr bwMode="gray">
              <a:xfrm>
                <a:off x="5132388" y="3663950"/>
                <a:ext cx="11113" cy="0"/>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02" name="Freeform 72">
                <a:extLst>
                  <a:ext uri="{FF2B5EF4-FFF2-40B4-BE49-F238E27FC236}">
                    <a16:creationId xmlns:a16="http://schemas.microsoft.com/office/drawing/2014/main" id="{DAC53870-99A4-B39F-0EF2-5859E48D6E89}"/>
                  </a:ext>
                </a:extLst>
              </p:cNvPr>
              <p:cNvSpPr>
                <a:spLocks/>
              </p:cNvSpPr>
              <p:nvPr/>
            </p:nvSpPr>
            <p:spPr bwMode="gray">
              <a:xfrm>
                <a:off x="5164138" y="3641725"/>
                <a:ext cx="0" cy="11113"/>
              </a:xfrm>
              <a:custGeom>
                <a:avLst/>
                <a:gdLst>
                  <a:gd name="T0" fmla="*/ 7 h 7"/>
                  <a:gd name="T1" fmla="*/ 0 h 7"/>
                  <a:gd name="T2" fmla="*/ 7 h 7"/>
                </a:gdLst>
                <a:ahLst/>
                <a:cxnLst>
                  <a:cxn ang="0">
                    <a:pos x="0" y="T0"/>
                  </a:cxn>
                  <a:cxn ang="0">
                    <a:pos x="0" y="T1"/>
                  </a:cxn>
                  <a:cxn ang="0">
                    <a:pos x="0" y="T2"/>
                  </a:cxn>
                </a:cxnLst>
                <a:rect l="0" t="0" r="r" b="b"/>
                <a:pathLst>
                  <a:path h="7">
                    <a:moveTo>
                      <a:pt x="0" y="7"/>
                    </a:moveTo>
                    <a:lnTo>
                      <a:pt x="0" y="0"/>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03" name="Freeform 73">
                <a:extLst>
                  <a:ext uri="{FF2B5EF4-FFF2-40B4-BE49-F238E27FC236}">
                    <a16:creationId xmlns:a16="http://schemas.microsoft.com/office/drawing/2014/main" id="{B2661027-4B29-1989-BD8D-CD5973D11D7B}"/>
                  </a:ext>
                </a:extLst>
              </p:cNvPr>
              <p:cNvSpPr>
                <a:spLocks/>
              </p:cNvSpPr>
              <p:nvPr/>
            </p:nvSpPr>
            <p:spPr bwMode="gray">
              <a:xfrm>
                <a:off x="5164138" y="3930650"/>
                <a:ext cx="22225" cy="11113"/>
              </a:xfrm>
              <a:custGeom>
                <a:avLst/>
                <a:gdLst>
                  <a:gd name="T0" fmla="*/ 0 w 14"/>
                  <a:gd name="T1" fmla="*/ 0 h 7"/>
                  <a:gd name="T2" fmla="*/ 7 w 14"/>
                  <a:gd name="T3" fmla="*/ 0 h 7"/>
                  <a:gd name="T4" fmla="*/ 7 w 14"/>
                  <a:gd name="T5" fmla="*/ 7 h 7"/>
                  <a:gd name="T6" fmla="*/ 14 w 14"/>
                  <a:gd name="T7" fmla="*/ 7 h 7"/>
                  <a:gd name="T8" fmla="*/ 7 w 14"/>
                  <a:gd name="T9" fmla="*/ 7 h 7"/>
                  <a:gd name="T10" fmla="*/ 0 w 14"/>
                  <a:gd name="T11" fmla="*/ 7 h 7"/>
                  <a:gd name="T12" fmla="*/ 7 w 14"/>
                  <a:gd name="T13" fmla="*/ 7 h 7"/>
                  <a:gd name="T14" fmla="*/ 0 w 14"/>
                  <a:gd name="T15" fmla="*/ 7 h 7"/>
                  <a:gd name="T16" fmla="*/ 0 w 14"/>
                  <a:gd name="T17" fmla="*/ 0 h 7"/>
                  <a:gd name="T18" fmla="*/ 0 w 14"/>
                  <a:gd name="T19" fmla="*/ 7 h 7"/>
                  <a:gd name="T20" fmla="*/ 0 w 14"/>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0" y="0"/>
                    </a:moveTo>
                    <a:lnTo>
                      <a:pt x="7" y="0"/>
                    </a:lnTo>
                    <a:lnTo>
                      <a:pt x="7" y="7"/>
                    </a:lnTo>
                    <a:lnTo>
                      <a:pt x="14" y="7"/>
                    </a:lnTo>
                    <a:lnTo>
                      <a:pt x="7" y="7"/>
                    </a:lnTo>
                    <a:lnTo>
                      <a:pt x="0" y="7"/>
                    </a:lnTo>
                    <a:lnTo>
                      <a:pt x="7" y="7"/>
                    </a:lnTo>
                    <a:lnTo>
                      <a:pt x="0" y="7"/>
                    </a:lnTo>
                    <a:lnTo>
                      <a:pt x="0" y="0"/>
                    </a:lnTo>
                    <a:lnTo>
                      <a:pt x="0" y="7"/>
                    </a:lnTo>
                    <a:lnTo>
                      <a:pt x="0" y="0"/>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04" name="Freeform 74">
                <a:extLst>
                  <a:ext uri="{FF2B5EF4-FFF2-40B4-BE49-F238E27FC236}">
                    <a16:creationId xmlns:a16="http://schemas.microsoft.com/office/drawing/2014/main" id="{71B4DCB3-5491-59C1-27F1-BC51489C0306}"/>
                  </a:ext>
                </a:extLst>
              </p:cNvPr>
              <p:cNvSpPr>
                <a:spLocks/>
              </p:cNvSpPr>
              <p:nvPr/>
            </p:nvSpPr>
            <p:spPr bwMode="gray">
              <a:xfrm>
                <a:off x="5154613" y="3652838"/>
                <a:ext cx="31750" cy="46038"/>
              </a:xfrm>
              <a:custGeom>
                <a:avLst/>
                <a:gdLst>
                  <a:gd name="T0" fmla="*/ 0 w 20"/>
                  <a:gd name="T1" fmla="*/ 7 h 29"/>
                  <a:gd name="T2" fmla="*/ 0 w 20"/>
                  <a:gd name="T3" fmla="*/ 0 h 29"/>
                  <a:gd name="T4" fmla="*/ 6 w 20"/>
                  <a:gd name="T5" fmla="*/ 0 h 29"/>
                  <a:gd name="T6" fmla="*/ 13 w 20"/>
                  <a:gd name="T7" fmla="*/ 0 h 29"/>
                  <a:gd name="T8" fmla="*/ 13 w 20"/>
                  <a:gd name="T9" fmla="*/ 7 h 29"/>
                  <a:gd name="T10" fmla="*/ 13 w 20"/>
                  <a:gd name="T11" fmla="*/ 14 h 29"/>
                  <a:gd name="T12" fmla="*/ 20 w 20"/>
                  <a:gd name="T13" fmla="*/ 14 h 29"/>
                  <a:gd name="T14" fmla="*/ 20 w 20"/>
                  <a:gd name="T15" fmla="*/ 21 h 29"/>
                  <a:gd name="T16" fmla="*/ 20 w 20"/>
                  <a:gd name="T17" fmla="*/ 29 h 29"/>
                  <a:gd name="T18" fmla="*/ 13 w 20"/>
                  <a:gd name="T19" fmla="*/ 29 h 29"/>
                  <a:gd name="T20" fmla="*/ 0 w 20"/>
                  <a:gd name="T21" fmla="*/ 21 h 29"/>
                  <a:gd name="T22" fmla="*/ 0 w 20"/>
                  <a:gd name="T23" fmla="*/ 14 h 29"/>
                  <a:gd name="T24" fmla="*/ 6 w 20"/>
                  <a:gd name="T25" fmla="*/ 21 h 29"/>
                  <a:gd name="T26" fmla="*/ 6 w 20"/>
                  <a:gd name="T27" fmla="*/ 14 h 29"/>
                  <a:gd name="T28" fmla="*/ 6 w 20"/>
                  <a:gd name="T29" fmla="*/ 7 h 29"/>
                  <a:gd name="T30" fmla="*/ 6 w 20"/>
                  <a:gd name="T31" fmla="*/ 14 h 29"/>
                  <a:gd name="T32" fmla="*/ 0 w 20"/>
                  <a:gd name="T33" fmla="*/ 14 h 29"/>
                  <a:gd name="T34" fmla="*/ 0 w 20"/>
                  <a:gd name="T35" fmla="*/ 7 h 29"/>
                  <a:gd name="T36" fmla="*/ 6 w 20"/>
                  <a:gd name="T37" fmla="*/ 14 h 29"/>
                  <a:gd name="T38" fmla="*/ 6 w 20"/>
                  <a:gd name="T39" fmla="*/ 7 h 29"/>
                  <a:gd name="T40" fmla="*/ 0 w 20"/>
                  <a:gd name="T41"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9">
                    <a:moveTo>
                      <a:pt x="0" y="7"/>
                    </a:moveTo>
                    <a:lnTo>
                      <a:pt x="0" y="0"/>
                    </a:lnTo>
                    <a:lnTo>
                      <a:pt x="6" y="0"/>
                    </a:lnTo>
                    <a:lnTo>
                      <a:pt x="13" y="0"/>
                    </a:lnTo>
                    <a:lnTo>
                      <a:pt x="13" y="7"/>
                    </a:lnTo>
                    <a:lnTo>
                      <a:pt x="13" y="14"/>
                    </a:lnTo>
                    <a:lnTo>
                      <a:pt x="20" y="14"/>
                    </a:lnTo>
                    <a:lnTo>
                      <a:pt x="20" y="21"/>
                    </a:lnTo>
                    <a:lnTo>
                      <a:pt x="20" y="29"/>
                    </a:lnTo>
                    <a:lnTo>
                      <a:pt x="13" y="29"/>
                    </a:lnTo>
                    <a:lnTo>
                      <a:pt x="0" y="21"/>
                    </a:lnTo>
                    <a:lnTo>
                      <a:pt x="0" y="14"/>
                    </a:lnTo>
                    <a:lnTo>
                      <a:pt x="6" y="21"/>
                    </a:lnTo>
                    <a:lnTo>
                      <a:pt x="6" y="14"/>
                    </a:lnTo>
                    <a:lnTo>
                      <a:pt x="6" y="7"/>
                    </a:lnTo>
                    <a:lnTo>
                      <a:pt x="6" y="14"/>
                    </a:lnTo>
                    <a:lnTo>
                      <a:pt x="0" y="14"/>
                    </a:lnTo>
                    <a:lnTo>
                      <a:pt x="0" y="7"/>
                    </a:lnTo>
                    <a:lnTo>
                      <a:pt x="6" y="14"/>
                    </a:lnTo>
                    <a:lnTo>
                      <a:pt x="6"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05" name="Freeform 75">
                <a:extLst>
                  <a:ext uri="{FF2B5EF4-FFF2-40B4-BE49-F238E27FC236}">
                    <a16:creationId xmlns:a16="http://schemas.microsoft.com/office/drawing/2014/main" id="{83543402-C33F-372B-6834-685CAC289CDB}"/>
                  </a:ext>
                </a:extLst>
              </p:cNvPr>
              <p:cNvSpPr>
                <a:spLocks/>
              </p:cNvSpPr>
              <p:nvPr/>
            </p:nvSpPr>
            <p:spPr bwMode="gray">
              <a:xfrm>
                <a:off x="5164138" y="3830638"/>
                <a:ext cx="11113" cy="22225"/>
              </a:xfrm>
              <a:custGeom>
                <a:avLst/>
                <a:gdLst>
                  <a:gd name="T0" fmla="*/ 7 w 7"/>
                  <a:gd name="T1" fmla="*/ 14 h 14"/>
                  <a:gd name="T2" fmla="*/ 0 w 7"/>
                  <a:gd name="T3" fmla="*/ 7 h 14"/>
                  <a:gd name="T4" fmla="*/ 7 w 7"/>
                  <a:gd name="T5" fmla="*/ 0 h 14"/>
                  <a:gd name="T6" fmla="*/ 7 w 7"/>
                  <a:gd name="T7" fmla="*/ 7 h 14"/>
                  <a:gd name="T8" fmla="*/ 7 w 7"/>
                  <a:gd name="T9" fmla="*/ 14 h 14"/>
                </a:gdLst>
                <a:ahLst/>
                <a:cxnLst>
                  <a:cxn ang="0">
                    <a:pos x="T0" y="T1"/>
                  </a:cxn>
                  <a:cxn ang="0">
                    <a:pos x="T2" y="T3"/>
                  </a:cxn>
                  <a:cxn ang="0">
                    <a:pos x="T4" y="T5"/>
                  </a:cxn>
                  <a:cxn ang="0">
                    <a:pos x="T6" y="T7"/>
                  </a:cxn>
                  <a:cxn ang="0">
                    <a:pos x="T8" y="T9"/>
                  </a:cxn>
                </a:cxnLst>
                <a:rect l="0" t="0" r="r" b="b"/>
                <a:pathLst>
                  <a:path w="7" h="14">
                    <a:moveTo>
                      <a:pt x="7" y="14"/>
                    </a:moveTo>
                    <a:lnTo>
                      <a:pt x="0" y="7"/>
                    </a:lnTo>
                    <a:lnTo>
                      <a:pt x="7" y="0"/>
                    </a:lnTo>
                    <a:lnTo>
                      <a:pt x="7" y="7"/>
                    </a:lnTo>
                    <a:lnTo>
                      <a:pt x="7" y="1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06" name="Freeform 76">
                <a:extLst>
                  <a:ext uri="{FF2B5EF4-FFF2-40B4-BE49-F238E27FC236}">
                    <a16:creationId xmlns:a16="http://schemas.microsoft.com/office/drawing/2014/main" id="{98FA2287-7FF4-26E5-137F-D22DA0565306}"/>
                  </a:ext>
                </a:extLst>
              </p:cNvPr>
              <p:cNvSpPr>
                <a:spLocks/>
              </p:cNvSpPr>
              <p:nvPr/>
            </p:nvSpPr>
            <p:spPr bwMode="gray">
              <a:xfrm>
                <a:off x="5014913" y="3530600"/>
                <a:ext cx="417513" cy="477838"/>
              </a:xfrm>
              <a:custGeom>
                <a:avLst/>
                <a:gdLst>
                  <a:gd name="T0" fmla="*/ 20 w 263"/>
                  <a:gd name="T1" fmla="*/ 245 h 301"/>
                  <a:gd name="T2" fmla="*/ 47 w 263"/>
                  <a:gd name="T3" fmla="*/ 245 h 301"/>
                  <a:gd name="T4" fmla="*/ 54 w 263"/>
                  <a:gd name="T5" fmla="*/ 224 h 301"/>
                  <a:gd name="T6" fmla="*/ 67 w 263"/>
                  <a:gd name="T7" fmla="*/ 224 h 301"/>
                  <a:gd name="T8" fmla="*/ 61 w 263"/>
                  <a:gd name="T9" fmla="*/ 203 h 301"/>
                  <a:gd name="T10" fmla="*/ 41 w 263"/>
                  <a:gd name="T11" fmla="*/ 196 h 301"/>
                  <a:gd name="T12" fmla="*/ 27 w 263"/>
                  <a:gd name="T13" fmla="*/ 182 h 301"/>
                  <a:gd name="T14" fmla="*/ 27 w 263"/>
                  <a:gd name="T15" fmla="*/ 175 h 301"/>
                  <a:gd name="T16" fmla="*/ 54 w 263"/>
                  <a:gd name="T17" fmla="*/ 161 h 301"/>
                  <a:gd name="T18" fmla="*/ 41 w 263"/>
                  <a:gd name="T19" fmla="*/ 154 h 301"/>
                  <a:gd name="T20" fmla="*/ 34 w 263"/>
                  <a:gd name="T21" fmla="*/ 154 h 301"/>
                  <a:gd name="T22" fmla="*/ 27 w 263"/>
                  <a:gd name="T23" fmla="*/ 126 h 301"/>
                  <a:gd name="T24" fmla="*/ 34 w 263"/>
                  <a:gd name="T25" fmla="*/ 98 h 301"/>
                  <a:gd name="T26" fmla="*/ 61 w 263"/>
                  <a:gd name="T27" fmla="*/ 106 h 301"/>
                  <a:gd name="T28" fmla="*/ 54 w 263"/>
                  <a:gd name="T29" fmla="*/ 77 h 301"/>
                  <a:gd name="T30" fmla="*/ 74 w 263"/>
                  <a:gd name="T31" fmla="*/ 91 h 301"/>
                  <a:gd name="T32" fmla="*/ 81 w 263"/>
                  <a:gd name="T33" fmla="*/ 106 h 301"/>
                  <a:gd name="T34" fmla="*/ 81 w 263"/>
                  <a:gd name="T35" fmla="*/ 120 h 301"/>
                  <a:gd name="T36" fmla="*/ 108 w 263"/>
                  <a:gd name="T37" fmla="*/ 106 h 301"/>
                  <a:gd name="T38" fmla="*/ 115 w 263"/>
                  <a:gd name="T39" fmla="*/ 113 h 301"/>
                  <a:gd name="T40" fmla="*/ 108 w 263"/>
                  <a:gd name="T41" fmla="*/ 91 h 301"/>
                  <a:gd name="T42" fmla="*/ 115 w 263"/>
                  <a:gd name="T43" fmla="*/ 63 h 301"/>
                  <a:gd name="T44" fmla="*/ 142 w 263"/>
                  <a:gd name="T45" fmla="*/ 57 h 301"/>
                  <a:gd name="T46" fmla="*/ 176 w 263"/>
                  <a:gd name="T47" fmla="*/ 50 h 301"/>
                  <a:gd name="T48" fmla="*/ 229 w 263"/>
                  <a:gd name="T49" fmla="*/ 14 h 301"/>
                  <a:gd name="T50" fmla="*/ 257 w 263"/>
                  <a:gd name="T51" fmla="*/ 7 h 301"/>
                  <a:gd name="T52" fmla="*/ 257 w 263"/>
                  <a:gd name="T53" fmla="*/ 43 h 301"/>
                  <a:gd name="T54" fmla="*/ 250 w 263"/>
                  <a:gd name="T55" fmla="*/ 77 h 301"/>
                  <a:gd name="T56" fmla="*/ 223 w 263"/>
                  <a:gd name="T57" fmla="*/ 106 h 301"/>
                  <a:gd name="T58" fmla="*/ 196 w 263"/>
                  <a:gd name="T59" fmla="*/ 120 h 301"/>
                  <a:gd name="T60" fmla="*/ 216 w 263"/>
                  <a:gd name="T61" fmla="*/ 126 h 301"/>
                  <a:gd name="T62" fmla="*/ 250 w 263"/>
                  <a:gd name="T63" fmla="*/ 113 h 301"/>
                  <a:gd name="T64" fmla="*/ 229 w 263"/>
                  <a:gd name="T65" fmla="*/ 140 h 301"/>
                  <a:gd name="T66" fmla="*/ 202 w 263"/>
                  <a:gd name="T67" fmla="*/ 133 h 301"/>
                  <a:gd name="T68" fmla="*/ 196 w 263"/>
                  <a:gd name="T69" fmla="*/ 133 h 301"/>
                  <a:gd name="T70" fmla="*/ 182 w 263"/>
                  <a:gd name="T71" fmla="*/ 154 h 301"/>
                  <a:gd name="T72" fmla="*/ 162 w 263"/>
                  <a:gd name="T73" fmla="*/ 147 h 301"/>
                  <a:gd name="T74" fmla="*/ 149 w 263"/>
                  <a:gd name="T75" fmla="*/ 161 h 301"/>
                  <a:gd name="T76" fmla="*/ 135 w 263"/>
                  <a:gd name="T77" fmla="*/ 168 h 301"/>
                  <a:gd name="T78" fmla="*/ 176 w 263"/>
                  <a:gd name="T79" fmla="*/ 168 h 301"/>
                  <a:gd name="T80" fmla="*/ 182 w 263"/>
                  <a:gd name="T81" fmla="*/ 168 h 301"/>
                  <a:gd name="T82" fmla="*/ 182 w 263"/>
                  <a:gd name="T83" fmla="*/ 196 h 301"/>
                  <a:gd name="T84" fmla="*/ 162 w 263"/>
                  <a:gd name="T85" fmla="*/ 196 h 301"/>
                  <a:gd name="T86" fmla="*/ 142 w 263"/>
                  <a:gd name="T87" fmla="*/ 203 h 301"/>
                  <a:gd name="T88" fmla="*/ 162 w 263"/>
                  <a:gd name="T89" fmla="*/ 217 h 301"/>
                  <a:gd name="T90" fmla="*/ 135 w 263"/>
                  <a:gd name="T91" fmla="*/ 217 h 301"/>
                  <a:gd name="T92" fmla="*/ 121 w 263"/>
                  <a:gd name="T93" fmla="*/ 238 h 301"/>
                  <a:gd name="T94" fmla="*/ 121 w 263"/>
                  <a:gd name="T95" fmla="*/ 231 h 301"/>
                  <a:gd name="T96" fmla="*/ 101 w 263"/>
                  <a:gd name="T97" fmla="*/ 203 h 301"/>
                  <a:gd name="T98" fmla="*/ 128 w 263"/>
                  <a:gd name="T99" fmla="*/ 175 h 301"/>
                  <a:gd name="T100" fmla="*/ 115 w 263"/>
                  <a:gd name="T101" fmla="*/ 182 h 301"/>
                  <a:gd name="T102" fmla="*/ 94 w 263"/>
                  <a:gd name="T103" fmla="*/ 217 h 301"/>
                  <a:gd name="T104" fmla="*/ 101 w 263"/>
                  <a:gd name="T105" fmla="*/ 245 h 301"/>
                  <a:gd name="T106" fmla="*/ 74 w 263"/>
                  <a:gd name="T107" fmla="*/ 231 h 301"/>
                  <a:gd name="T108" fmla="*/ 74 w 263"/>
                  <a:gd name="T109" fmla="*/ 252 h 301"/>
                  <a:gd name="T110" fmla="*/ 74 w 263"/>
                  <a:gd name="T111" fmla="*/ 266 h 301"/>
                  <a:gd name="T112" fmla="*/ 61 w 263"/>
                  <a:gd name="T113" fmla="*/ 266 h 301"/>
                  <a:gd name="T114" fmla="*/ 54 w 263"/>
                  <a:gd name="T115" fmla="*/ 273 h 301"/>
                  <a:gd name="T116" fmla="*/ 41 w 263"/>
                  <a:gd name="T117" fmla="*/ 287 h 301"/>
                  <a:gd name="T118" fmla="*/ 20 w 263"/>
                  <a:gd name="T119" fmla="*/ 287 h 301"/>
                  <a:gd name="T120" fmla="*/ 0 w 263"/>
                  <a:gd name="T121" fmla="*/ 25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3" h="301">
                    <a:moveTo>
                      <a:pt x="0" y="245"/>
                    </a:moveTo>
                    <a:lnTo>
                      <a:pt x="6" y="245"/>
                    </a:lnTo>
                    <a:lnTo>
                      <a:pt x="6" y="252"/>
                    </a:lnTo>
                    <a:lnTo>
                      <a:pt x="6" y="259"/>
                    </a:lnTo>
                    <a:lnTo>
                      <a:pt x="6" y="252"/>
                    </a:lnTo>
                    <a:lnTo>
                      <a:pt x="13" y="252"/>
                    </a:lnTo>
                    <a:lnTo>
                      <a:pt x="20" y="245"/>
                    </a:lnTo>
                    <a:lnTo>
                      <a:pt x="20" y="252"/>
                    </a:lnTo>
                    <a:lnTo>
                      <a:pt x="20" y="245"/>
                    </a:lnTo>
                    <a:lnTo>
                      <a:pt x="27" y="245"/>
                    </a:lnTo>
                    <a:lnTo>
                      <a:pt x="27" y="238"/>
                    </a:lnTo>
                    <a:lnTo>
                      <a:pt x="34" y="238"/>
                    </a:lnTo>
                    <a:lnTo>
                      <a:pt x="41" y="238"/>
                    </a:lnTo>
                    <a:lnTo>
                      <a:pt x="47" y="245"/>
                    </a:lnTo>
                    <a:lnTo>
                      <a:pt x="47" y="238"/>
                    </a:lnTo>
                    <a:lnTo>
                      <a:pt x="47" y="245"/>
                    </a:lnTo>
                    <a:lnTo>
                      <a:pt x="47" y="238"/>
                    </a:lnTo>
                    <a:lnTo>
                      <a:pt x="41" y="231"/>
                    </a:lnTo>
                    <a:lnTo>
                      <a:pt x="41" y="224"/>
                    </a:lnTo>
                    <a:lnTo>
                      <a:pt x="47" y="224"/>
                    </a:lnTo>
                    <a:lnTo>
                      <a:pt x="54" y="224"/>
                    </a:lnTo>
                    <a:lnTo>
                      <a:pt x="61" y="224"/>
                    </a:lnTo>
                    <a:lnTo>
                      <a:pt x="61" y="231"/>
                    </a:lnTo>
                    <a:lnTo>
                      <a:pt x="61" y="224"/>
                    </a:lnTo>
                    <a:lnTo>
                      <a:pt x="67" y="231"/>
                    </a:lnTo>
                    <a:lnTo>
                      <a:pt x="67" y="224"/>
                    </a:lnTo>
                    <a:lnTo>
                      <a:pt x="74" y="231"/>
                    </a:lnTo>
                    <a:lnTo>
                      <a:pt x="67" y="224"/>
                    </a:lnTo>
                    <a:lnTo>
                      <a:pt x="61" y="217"/>
                    </a:lnTo>
                    <a:lnTo>
                      <a:pt x="67" y="217"/>
                    </a:lnTo>
                    <a:lnTo>
                      <a:pt x="61" y="217"/>
                    </a:lnTo>
                    <a:lnTo>
                      <a:pt x="61" y="210"/>
                    </a:lnTo>
                    <a:lnTo>
                      <a:pt x="54" y="210"/>
                    </a:lnTo>
                    <a:lnTo>
                      <a:pt x="61" y="210"/>
                    </a:lnTo>
                    <a:lnTo>
                      <a:pt x="61" y="203"/>
                    </a:lnTo>
                    <a:lnTo>
                      <a:pt x="54" y="210"/>
                    </a:lnTo>
                    <a:lnTo>
                      <a:pt x="54" y="203"/>
                    </a:lnTo>
                    <a:lnTo>
                      <a:pt x="47" y="203"/>
                    </a:lnTo>
                    <a:lnTo>
                      <a:pt x="41" y="203"/>
                    </a:lnTo>
                    <a:lnTo>
                      <a:pt x="41" y="196"/>
                    </a:lnTo>
                    <a:lnTo>
                      <a:pt x="34" y="196"/>
                    </a:lnTo>
                    <a:lnTo>
                      <a:pt x="41" y="196"/>
                    </a:lnTo>
                    <a:lnTo>
                      <a:pt x="41" y="203"/>
                    </a:lnTo>
                    <a:lnTo>
                      <a:pt x="34" y="196"/>
                    </a:lnTo>
                    <a:lnTo>
                      <a:pt x="34" y="203"/>
                    </a:lnTo>
                    <a:lnTo>
                      <a:pt x="27" y="196"/>
                    </a:lnTo>
                    <a:lnTo>
                      <a:pt x="27" y="189"/>
                    </a:lnTo>
                    <a:lnTo>
                      <a:pt x="20" y="189"/>
                    </a:lnTo>
                    <a:lnTo>
                      <a:pt x="27" y="182"/>
                    </a:lnTo>
                    <a:lnTo>
                      <a:pt x="20" y="182"/>
                    </a:lnTo>
                    <a:lnTo>
                      <a:pt x="27" y="182"/>
                    </a:lnTo>
                    <a:lnTo>
                      <a:pt x="20" y="182"/>
                    </a:lnTo>
                    <a:lnTo>
                      <a:pt x="20" y="175"/>
                    </a:lnTo>
                    <a:lnTo>
                      <a:pt x="20" y="182"/>
                    </a:lnTo>
                    <a:lnTo>
                      <a:pt x="20" y="175"/>
                    </a:lnTo>
                    <a:lnTo>
                      <a:pt x="27" y="175"/>
                    </a:lnTo>
                    <a:lnTo>
                      <a:pt x="27" y="168"/>
                    </a:lnTo>
                    <a:lnTo>
                      <a:pt x="27" y="175"/>
                    </a:lnTo>
                    <a:lnTo>
                      <a:pt x="34" y="175"/>
                    </a:lnTo>
                    <a:lnTo>
                      <a:pt x="34" y="168"/>
                    </a:lnTo>
                    <a:lnTo>
                      <a:pt x="41" y="168"/>
                    </a:lnTo>
                    <a:lnTo>
                      <a:pt x="47" y="161"/>
                    </a:lnTo>
                    <a:lnTo>
                      <a:pt x="54" y="161"/>
                    </a:lnTo>
                    <a:lnTo>
                      <a:pt x="61" y="161"/>
                    </a:lnTo>
                    <a:lnTo>
                      <a:pt x="67" y="161"/>
                    </a:lnTo>
                    <a:lnTo>
                      <a:pt x="47" y="161"/>
                    </a:lnTo>
                    <a:lnTo>
                      <a:pt x="41" y="161"/>
                    </a:lnTo>
                    <a:lnTo>
                      <a:pt x="34" y="161"/>
                    </a:lnTo>
                    <a:lnTo>
                      <a:pt x="34" y="154"/>
                    </a:lnTo>
                    <a:lnTo>
                      <a:pt x="41" y="154"/>
                    </a:lnTo>
                    <a:lnTo>
                      <a:pt x="34" y="154"/>
                    </a:lnTo>
                    <a:lnTo>
                      <a:pt x="41" y="154"/>
                    </a:lnTo>
                    <a:lnTo>
                      <a:pt x="41" y="147"/>
                    </a:lnTo>
                    <a:lnTo>
                      <a:pt x="47" y="147"/>
                    </a:lnTo>
                    <a:lnTo>
                      <a:pt x="41" y="147"/>
                    </a:lnTo>
                    <a:lnTo>
                      <a:pt x="34" y="147"/>
                    </a:lnTo>
                    <a:lnTo>
                      <a:pt x="34" y="154"/>
                    </a:lnTo>
                    <a:lnTo>
                      <a:pt x="34" y="147"/>
                    </a:lnTo>
                    <a:lnTo>
                      <a:pt x="27" y="147"/>
                    </a:lnTo>
                    <a:lnTo>
                      <a:pt x="34" y="147"/>
                    </a:lnTo>
                    <a:lnTo>
                      <a:pt x="27" y="147"/>
                    </a:lnTo>
                    <a:lnTo>
                      <a:pt x="27" y="140"/>
                    </a:lnTo>
                    <a:lnTo>
                      <a:pt x="27" y="133"/>
                    </a:lnTo>
                    <a:lnTo>
                      <a:pt x="27" y="126"/>
                    </a:lnTo>
                    <a:lnTo>
                      <a:pt x="27" y="120"/>
                    </a:lnTo>
                    <a:lnTo>
                      <a:pt x="27" y="113"/>
                    </a:lnTo>
                    <a:lnTo>
                      <a:pt x="27" y="120"/>
                    </a:lnTo>
                    <a:lnTo>
                      <a:pt x="34" y="113"/>
                    </a:lnTo>
                    <a:lnTo>
                      <a:pt x="41" y="106"/>
                    </a:lnTo>
                    <a:lnTo>
                      <a:pt x="34" y="106"/>
                    </a:lnTo>
                    <a:lnTo>
                      <a:pt x="34" y="98"/>
                    </a:lnTo>
                    <a:lnTo>
                      <a:pt x="41" y="98"/>
                    </a:lnTo>
                    <a:lnTo>
                      <a:pt x="47" y="98"/>
                    </a:lnTo>
                    <a:lnTo>
                      <a:pt x="47" y="106"/>
                    </a:lnTo>
                    <a:lnTo>
                      <a:pt x="54" y="106"/>
                    </a:lnTo>
                    <a:lnTo>
                      <a:pt x="54" y="98"/>
                    </a:lnTo>
                    <a:lnTo>
                      <a:pt x="54" y="106"/>
                    </a:lnTo>
                    <a:lnTo>
                      <a:pt x="61" y="106"/>
                    </a:lnTo>
                    <a:lnTo>
                      <a:pt x="54" y="98"/>
                    </a:lnTo>
                    <a:lnTo>
                      <a:pt x="54" y="91"/>
                    </a:lnTo>
                    <a:lnTo>
                      <a:pt x="54" y="98"/>
                    </a:lnTo>
                    <a:lnTo>
                      <a:pt x="47" y="98"/>
                    </a:lnTo>
                    <a:lnTo>
                      <a:pt x="47" y="91"/>
                    </a:lnTo>
                    <a:lnTo>
                      <a:pt x="54" y="84"/>
                    </a:lnTo>
                    <a:lnTo>
                      <a:pt x="54" y="77"/>
                    </a:lnTo>
                    <a:lnTo>
                      <a:pt x="61" y="77"/>
                    </a:lnTo>
                    <a:lnTo>
                      <a:pt x="67" y="84"/>
                    </a:lnTo>
                    <a:lnTo>
                      <a:pt x="67" y="91"/>
                    </a:lnTo>
                    <a:lnTo>
                      <a:pt x="74" y="84"/>
                    </a:lnTo>
                    <a:lnTo>
                      <a:pt x="67" y="84"/>
                    </a:lnTo>
                    <a:lnTo>
                      <a:pt x="74" y="84"/>
                    </a:lnTo>
                    <a:lnTo>
                      <a:pt x="74" y="91"/>
                    </a:lnTo>
                    <a:lnTo>
                      <a:pt x="81" y="91"/>
                    </a:lnTo>
                    <a:lnTo>
                      <a:pt x="81" y="98"/>
                    </a:lnTo>
                    <a:lnTo>
                      <a:pt x="74" y="98"/>
                    </a:lnTo>
                    <a:lnTo>
                      <a:pt x="67" y="98"/>
                    </a:lnTo>
                    <a:lnTo>
                      <a:pt x="74" y="98"/>
                    </a:lnTo>
                    <a:lnTo>
                      <a:pt x="74" y="106"/>
                    </a:lnTo>
                    <a:lnTo>
                      <a:pt x="81" y="106"/>
                    </a:lnTo>
                    <a:lnTo>
                      <a:pt x="81" y="113"/>
                    </a:lnTo>
                    <a:lnTo>
                      <a:pt x="81" y="120"/>
                    </a:lnTo>
                    <a:lnTo>
                      <a:pt x="81" y="126"/>
                    </a:lnTo>
                    <a:lnTo>
                      <a:pt x="81" y="133"/>
                    </a:lnTo>
                    <a:lnTo>
                      <a:pt x="81" y="140"/>
                    </a:lnTo>
                    <a:lnTo>
                      <a:pt x="81" y="133"/>
                    </a:lnTo>
                    <a:lnTo>
                      <a:pt x="81" y="120"/>
                    </a:lnTo>
                    <a:lnTo>
                      <a:pt x="81" y="113"/>
                    </a:lnTo>
                    <a:lnTo>
                      <a:pt x="88" y="113"/>
                    </a:lnTo>
                    <a:lnTo>
                      <a:pt x="88" y="106"/>
                    </a:lnTo>
                    <a:lnTo>
                      <a:pt x="88" y="113"/>
                    </a:lnTo>
                    <a:lnTo>
                      <a:pt x="88" y="106"/>
                    </a:lnTo>
                    <a:lnTo>
                      <a:pt x="94" y="106"/>
                    </a:lnTo>
                    <a:lnTo>
                      <a:pt x="108" y="106"/>
                    </a:lnTo>
                    <a:lnTo>
                      <a:pt x="108" y="113"/>
                    </a:lnTo>
                    <a:lnTo>
                      <a:pt x="115" y="113"/>
                    </a:lnTo>
                    <a:lnTo>
                      <a:pt x="115" y="120"/>
                    </a:lnTo>
                    <a:lnTo>
                      <a:pt x="121" y="126"/>
                    </a:lnTo>
                    <a:lnTo>
                      <a:pt x="121" y="120"/>
                    </a:lnTo>
                    <a:lnTo>
                      <a:pt x="121" y="113"/>
                    </a:lnTo>
                    <a:lnTo>
                      <a:pt x="115" y="113"/>
                    </a:lnTo>
                    <a:lnTo>
                      <a:pt x="115" y="106"/>
                    </a:lnTo>
                    <a:lnTo>
                      <a:pt x="121" y="106"/>
                    </a:lnTo>
                    <a:lnTo>
                      <a:pt x="115" y="106"/>
                    </a:lnTo>
                    <a:lnTo>
                      <a:pt x="115" y="98"/>
                    </a:lnTo>
                    <a:lnTo>
                      <a:pt x="115" y="84"/>
                    </a:lnTo>
                    <a:lnTo>
                      <a:pt x="115" y="91"/>
                    </a:lnTo>
                    <a:lnTo>
                      <a:pt x="108" y="91"/>
                    </a:lnTo>
                    <a:lnTo>
                      <a:pt x="108" y="84"/>
                    </a:lnTo>
                    <a:lnTo>
                      <a:pt x="108" y="77"/>
                    </a:lnTo>
                    <a:lnTo>
                      <a:pt x="115" y="77"/>
                    </a:lnTo>
                    <a:lnTo>
                      <a:pt x="115" y="70"/>
                    </a:lnTo>
                    <a:lnTo>
                      <a:pt x="115" y="77"/>
                    </a:lnTo>
                    <a:lnTo>
                      <a:pt x="108" y="70"/>
                    </a:lnTo>
                    <a:lnTo>
                      <a:pt x="115" y="63"/>
                    </a:lnTo>
                    <a:lnTo>
                      <a:pt x="121" y="63"/>
                    </a:lnTo>
                    <a:lnTo>
                      <a:pt x="128" y="63"/>
                    </a:lnTo>
                    <a:lnTo>
                      <a:pt x="128" y="57"/>
                    </a:lnTo>
                    <a:lnTo>
                      <a:pt x="135" y="57"/>
                    </a:lnTo>
                    <a:lnTo>
                      <a:pt x="135" y="50"/>
                    </a:lnTo>
                    <a:lnTo>
                      <a:pt x="142" y="50"/>
                    </a:lnTo>
                    <a:lnTo>
                      <a:pt x="142" y="57"/>
                    </a:lnTo>
                    <a:lnTo>
                      <a:pt x="142" y="50"/>
                    </a:lnTo>
                    <a:lnTo>
                      <a:pt x="149" y="50"/>
                    </a:lnTo>
                    <a:lnTo>
                      <a:pt x="149" y="57"/>
                    </a:lnTo>
                    <a:lnTo>
                      <a:pt x="155" y="50"/>
                    </a:lnTo>
                    <a:lnTo>
                      <a:pt x="162" y="50"/>
                    </a:lnTo>
                    <a:lnTo>
                      <a:pt x="169" y="50"/>
                    </a:lnTo>
                    <a:lnTo>
                      <a:pt x="176" y="50"/>
                    </a:lnTo>
                    <a:lnTo>
                      <a:pt x="182" y="36"/>
                    </a:lnTo>
                    <a:lnTo>
                      <a:pt x="189" y="36"/>
                    </a:lnTo>
                    <a:lnTo>
                      <a:pt x="189" y="29"/>
                    </a:lnTo>
                    <a:lnTo>
                      <a:pt x="202" y="29"/>
                    </a:lnTo>
                    <a:lnTo>
                      <a:pt x="216" y="22"/>
                    </a:lnTo>
                    <a:lnTo>
                      <a:pt x="223" y="14"/>
                    </a:lnTo>
                    <a:lnTo>
                      <a:pt x="229" y="14"/>
                    </a:lnTo>
                    <a:lnTo>
                      <a:pt x="229" y="7"/>
                    </a:lnTo>
                    <a:lnTo>
                      <a:pt x="237" y="14"/>
                    </a:lnTo>
                    <a:lnTo>
                      <a:pt x="237" y="7"/>
                    </a:lnTo>
                    <a:lnTo>
                      <a:pt x="243" y="7"/>
                    </a:lnTo>
                    <a:lnTo>
                      <a:pt x="243" y="0"/>
                    </a:lnTo>
                    <a:lnTo>
                      <a:pt x="250" y="0"/>
                    </a:lnTo>
                    <a:lnTo>
                      <a:pt x="257" y="7"/>
                    </a:lnTo>
                    <a:lnTo>
                      <a:pt x="257" y="14"/>
                    </a:lnTo>
                    <a:lnTo>
                      <a:pt x="257" y="22"/>
                    </a:lnTo>
                    <a:lnTo>
                      <a:pt x="263" y="22"/>
                    </a:lnTo>
                    <a:lnTo>
                      <a:pt x="257" y="29"/>
                    </a:lnTo>
                    <a:lnTo>
                      <a:pt x="257" y="36"/>
                    </a:lnTo>
                    <a:lnTo>
                      <a:pt x="263" y="36"/>
                    </a:lnTo>
                    <a:lnTo>
                      <a:pt x="257" y="43"/>
                    </a:lnTo>
                    <a:lnTo>
                      <a:pt x="257" y="50"/>
                    </a:lnTo>
                    <a:lnTo>
                      <a:pt x="250" y="57"/>
                    </a:lnTo>
                    <a:lnTo>
                      <a:pt x="243" y="63"/>
                    </a:lnTo>
                    <a:lnTo>
                      <a:pt x="250" y="70"/>
                    </a:lnTo>
                    <a:lnTo>
                      <a:pt x="257" y="70"/>
                    </a:lnTo>
                    <a:lnTo>
                      <a:pt x="257" y="77"/>
                    </a:lnTo>
                    <a:lnTo>
                      <a:pt x="250" y="77"/>
                    </a:lnTo>
                    <a:lnTo>
                      <a:pt x="243" y="77"/>
                    </a:lnTo>
                    <a:lnTo>
                      <a:pt x="237" y="84"/>
                    </a:lnTo>
                    <a:lnTo>
                      <a:pt x="237" y="91"/>
                    </a:lnTo>
                    <a:lnTo>
                      <a:pt x="229" y="91"/>
                    </a:lnTo>
                    <a:lnTo>
                      <a:pt x="223" y="91"/>
                    </a:lnTo>
                    <a:lnTo>
                      <a:pt x="223" y="98"/>
                    </a:lnTo>
                    <a:lnTo>
                      <a:pt x="223" y="106"/>
                    </a:lnTo>
                    <a:lnTo>
                      <a:pt x="216" y="106"/>
                    </a:lnTo>
                    <a:lnTo>
                      <a:pt x="216" y="98"/>
                    </a:lnTo>
                    <a:lnTo>
                      <a:pt x="209" y="106"/>
                    </a:lnTo>
                    <a:lnTo>
                      <a:pt x="209" y="113"/>
                    </a:lnTo>
                    <a:lnTo>
                      <a:pt x="202" y="113"/>
                    </a:lnTo>
                    <a:lnTo>
                      <a:pt x="202" y="120"/>
                    </a:lnTo>
                    <a:lnTo>
                      <a:pt x="196" y="120"/>
                    </a:lnTo>
                    <a:lnTo>
                      <a:pt x="202" y="120"/>
                    </a:lnTo>
                    <a:lnTo>
                      <a:pt x="209" y="120"/>
                    </a:lnTo>
                    <a:lnTo>
                      <a:pt x="202" y="120"/>
                    </a:lnTo>
                    <a:lnTo>
                      <a:pt x="209" y="120"/>
                    </a:lnTo>
                    <a:lnTo>
                      <a:pt x="209" y="126"/>
                    </a:lnTo>
                    <a:lnTo>
                      <a:pt x="209" y="120"/>
                    </a:lnTo>
                    <a:lnTo>
                      <a:pt x="216" y="126"/>
                    </a:lnTo>
                    <a:lnTo>
                      <a:pt x="223" y="126"/>
                    </a:lnTo>
                    <a:lnTo>
                      <a:pt x="229" y="126"/>
                    </a:lnTo>
                    <a:lnTo>
                      <a:pt x="229" y="120"/>
                    </a:lnTo>
                    <a:lnTo>
                      <a:pt x="237" y="120"/>
                    </a:lnTo>
                    <a:lnTo>
                      <a:pt x="237" y="113"/>
                    </a:lnTo>
                    <a:lnTo>
                      <a:pt x="243" y="113"/>
                    </a:lnTo>
                    <a:lnTo>
                      <a:pt x="250" y="113"/>
                    </a:lnTo>
                    <a:lnTo>
                      <a:pt x="250" y="120"/>
                    </a:lnTo>
                    <a:lnTo>
                      <a:pt x="243" y="120"/>
                    </a:lnTo>
                    <a:lnTo>
                      <a:pt x="243" y="126"/>
                    </a:lnTo>
                    <a:lnTo>
                      <a:pt x="243" y="133"/>
                    </a:lnTo>
                    <a:lnTo>
                      <a:pt x="237" y="133"/>
                    </a:lnTo>
                    <a:lnTo>
                      <a:pt x="229" y="133"/>
                    </a:lnTo>
                    <a:lnTo>
                      <a:pt x="229" y="140"/>
                    </a:lnTo>
                    <a:lnTo>
                      <a:pt x="223" y="140"/>
                    </a:lnTo>
                    <a:lnTo>
                      <a:pt x="216" y="140"/>
                    </a:lnTo>
                    <a:lnTo>
                      <a:pt x="216" y="133"/>
                    </a:lnTo>
                    <a:lnTo>
                      <a:pt x="216" y="126"/>
                    </a:lnTo>
                    <a:lnTo>
                      <a:pt x="209" y="126"/>
                    </a:lnTo>
                    <a:lnTo>
                      <a:pt x="209" y="133"/>
                    </a:lnTo>
                    <a:lnTo>
                      <a:pt x="202" y="133"/>
                    </a:lnTo>
                    <a:lnTo>
                      <a:pt x="196" y="133"/>
                    </a:lnTo>
                    <a:lnTo>
                      <a:pt x="202" y="126"/>
                    </a:lnTo>
                    <a:lnTo>
                      <a:pt x="196" y="126"/>
                    </a:lnTo>
                    <a:lnTo>
                      <a:pt x="196" y="120"/>
                    </a:lnTo>
                    <a:lnTo>
                      <a:pt x="189" y="126"/>
                    </a:lnTo>
                    <a:lnTo>
                      <a:pt x="189" y="133"/>
                    </a:lnTo>
                    <a:lnTo>
                      <a:pt x="196" y="133"/>
                    </a:lnTo>
                    <a:lnTo>
                      <a:pt x="189" y="133"/>
                    </a:lnTo>
                    <a:lnTo>
                      <a:pt x="189" y="140"/>
                    </a:lnTo>
                    <a:lnTo>
                      <a:pt x="196" y="147"/>
                    </a:lnTo>
                    <a:lnTo>
                      <a:pt x="189" y="147"/>
                    </a:lnTo>
                    <a:lnTo>
                      <a:pt x="182" y="147"/>
                    </a:lnTo>
                    <a:lnTo>
                      <a:pt x="176" y="147"/>
                    </a:lnTo>
                    <a:lnTo>
                      <a:pt x="182" y="154"/>
                    </a:lnTo>
                    <a:lnTo>
                      <a:pt x="182" y="147"/>
                    </a:lnTo>
                    <a:lnTo>
                      <a:pt x="189" y="147"/>
                    </a:lnTo>
                    <a:lnTo>
                      <a:pt x="189" y="154"/>
                    </a:lnTo>
                    <a:lnTo>
                      <a:pt x="182" y="154"/>
                    </a:lnTo>
                    <a:lnTo>
                      <a:pt x="176" y="154"/>
                    </a:lnTo>
                    <a:lnTo>
                      <a:pt x="169" y="147"/>
                    </a:lnTo>
                    <a:lnTo>
                      <a:pt x="162" y="147"/>
                    </a:lnTo>
                    <a:lnTo>
                      <a:pt x="169" y="147"/>
                    </a:lnTo>
                    <a:lnTo>
                      <a:pt x="169" y="154"/>
                    </a:lnTo>
                    <a:lnTo>
                      <a:pt x="176" y="154"/>
                    </a:lnTo>
                    <a:lnTo>
                      <a:pt x="169" y="161"/>
                    </a:lnTo>
                    <a:lnTo>
                      <a:pt x="162" y="161"/>
                    </a:lnTo>
                    <a:lnTo>
                      <a:pt x="155" y="161"/>
                    </a:lnTo>
                    <a:lnTo>
                      <a:pt x="149" y="161"/>
                    </a:lnTo>
                    <a:lnTo>
                      <a:pt x="155" y="161"/>
                    </a:lnTo>
                    <a:lnTo>
                      <a:pt x="149" y="161"/>
                    </a:lnTo>
                    <a:lnTo>
                      <a:pt x="128" y="161"/>
                    </a:lnTo>
                    <a:lnTo>
                      <a:pt x="128" y="168"/>
                    </a:lnTo>
                    <a:lnTo>
                      <a:pt x="128" y="161"/>
                    </a:lnTo>
                    <a:lnTo>
                      <a:pt x="135" y="161"/>
                    </a:lnTo>
                    <a:lnTo>
                      <a:pt x="135" y="168"/>
                    </a:lnTo>
                    <a:lnTo>
                      <a:pt x="135" y="161"/>
                    </a:lnTo>
                    <a:lnTo>
                      <a:pt x="142" y="168"/>
                    </a:lnTo>
                    <a:lnTo>
                      <a:pt x="149" y="168"/>
                    </a:lnTo>
                    <a:lnTo>
                      <a:pt x="155" y="168"/>
                    </a:lnTo>
                    <a:lnTo>
                      <a:pt x="162" y="168"/>
                    </a:lnTo>
                    <a:lnTo>
                      <a:pt x="169" y="168"/>
                    </a:lnTo>
                    <a:lnTo>
                      <a:pt x="176" y="168"/>
                    </a:lnTo>
                    <a:lnTo>
                      <a:pt x="176" y="161"/>
                    </a:lnTo>
                    <a:lnTo>
                      <a:pt x="176" y="168"/>
                    </a:lnTo>
                    <a:lnTo>
                      <a:pt x="176" y="161"/>
                    </a:lnTo>
                    <a:lnTo>
                      <a:pt x="182" y="161"/>
                    </a:lnTo>
                    <a:lnTo>
                      <a:pt x="182" y="168"/>
                    </a:lnTo>
                    <a:lnTo>
                      <a:pt x="182" y="175"/>
                    </a:lnTo>
                    <a:lnTo>
                      <a:pt x="182" y="168"/>
                    </a:lnTo>
                    <a:lnTo>
                      <a:pt x="182" y="175"/>
                    </a:lnTo>
                    <a:lnTo>
                      <a:pt x="182" y="182"/>
                    </a:lnTo>
                    <a:lnTo>
                      <a:pt x="182" y="189"/>
                    </a:lnTo>
                    <a:lnTo>
                      <a:pt x="176" y="189"/>
                    </a:lnTo>
                    <a:lnTo>
                      <a:pt x="169" y="189"/>
                    </a:lnTo>
                    <a:lnTo>
                      <a:pt x="176" y="189"/>
                    </a:lnTo>
                    <a:lnTo>
                      <a:pt x="182" y="196"/>
                    </a:lnTo>
                    <a:lnTo>
                      <a:pt x="182" y="203"/>
                    </a:lnTo>
                    <a:lnTo>
                      <a:pt x="176" y="203"/>
                    </a:lnTo>
                    <a:lnTo>
                      <a:pt x="176" y="210"/>
                    </a:lnTo>
                    <a:lnTo>
                      <a:pt x="169" y="210"/>
                    </a:lnTo>
                    <a:lnTo>
                      <a:pt x="169" y="203"/>
                    </a:lnTo>
                    <a:lnTo>
                      <a:pt x="162" y="203"/>
                    </a:lnTo>
                    <a:lnTo>
                      <a:pt x="162" y="196"/>
                    </a:lnTo>
                    <a:lnTo>
                      <a:pt x="155" y="196"/>
                    </a:lnTo>
                    <a:lnTo>
                      <a:pt x="155" y="203"/>
                    </a:lnTo>
                    <a:lnTo>
                      <a:pt x="149" y="196"/>
                    </a:lnTo>
                    <a:lnTo>
                      <a:pt x="155" y="203"/>
                    </a:lnTo>
                    <a:lnTo>
                      <a:pt x="149" y="203"/>
                    </a:lnTo>
                    <a:lnTo>
                      <a:pt x="142" y="196"/>
                    </a:lnTo>
                    <a:lnTo>
                      <a:pt x="142" y="203"/>
                    </a:lnTo>
                    <a:lnTo>
                      <a:pt x="135" y="196"/>
                    </a:lnTo>
                    <a:lnTo>
                      <a:pt x="135" y="203"/>
                    </a:lnTo>
                    <a:lnTo>
                      <a:pt x="142" y="203"/>
                    </a:lnTo>
                    <a:lnTo>
                      <a:pt x="149" y="203"/>
                    </a:lnTo>
                    <a:lnTo>
                      <a:pt x="155" y="203"/>
                    </a:lnTo>
                    <a:lnTo>
                      <a:pt x="162" y="210"/>
                    </a:lnTo>
                    <a:lnTo>
                      <a:pt x="162" y="217"/>
                    </a:lnTo>
                    <a:lnTo>
                      <a:pt x="155" y="217"/>
                    </a:lnTo>
                    <a:lnTo>
                      <a:pt x="155" y="224"/>
                    </a:lnTo>
                    <a:lnTo>
                      <a:pt x="149" y="231"/>
                    </a:lnTo>
                    <a:lnTo>
                      <a:pt x="142" y="231"/>
                    </a:lnTo>
                    <a:lnTo>
                      <a:pt x="135" y="231"/>
                    </a:lnTo>
                    <a:lnTo>
                      <a:pt x="135" y="224"/>
                    </a:lnTo>
                    <a:lnTo>
                      <a:pt x="135" y="217"/>
                    </a:lnTo>
                    <a:lnTo>
                      <a:pt x="135" y="224"/>
                    </a:lnTo>
                    <a:lnTo>
                      <a:pt x="135" y="231"/>
                    </a:lnTo>
                    <a:lnTo>
                      <a:pt x="135" y="238"/>
                    </a:lnTo>
                    <a:lnTo>
                      <a:pt x="128" y="238"/>
                    </a:lnTo>
                    <a:lnTo>
                      <a:pt x="128" y="231"/>
                    </a:lnTo>
                    <a:lnTo>
                      <a:pt x="128" y="238"/>
                    </a:lnTo>
                    <a:lnTo>
                      <a:pt x="121" y="238"/>
                    </a:lnTo>
                    <a:lnTo>
                      <a:pt x="121" y="231"/>
                    </a:lnTo>
                    <a:lnTo>
                      <a:pt x="121" y="224"/>
                    </a:lnTo>
                    <a:lnTo>
                      <a:pt x="121" y="217"/>
                    </a:lnTo>
                    <a:lnTo>
                      <a:pt x="115" y="210"/>
                    </a:lnTo>
                    <a:lnTo>
                      <a:pt x="115" y="217"/>
                    </a:lnTo>
                    <a:lnTo>
                      <a:pt x="115" y="224"/>
                    </a:lnTo>
                    <a:lnTo>
                      <a:pt x="121" y="231"/>
                    </a:lnTo>
                    <a:lnTo>
                      <a:pt x="115" y="231"/>
                    </a:lnTo>
                    <a:lnTo>
                      <a:pt x="108" y="231"/>
                    </a:lnTo>
                    <a:lnTo>
                      <a:pt x="108" y="224"/>
                    </a:lnTo>
                    <a:lnTo>
                      <a:pt x="108" y="217"/>
                    </a:lnTo>
                    <a:lnTo>
                      <a:pt x="101" y="217"/>
                    </a:lnTo>
                    <a:lnTo>
                      <a:pt x="101" y="210"/>
                    </a:lnTo>
                    <a:lnTo>
                      <a:pt x="101" y="203"/>
                    </a:lnTo>
                    <a:lnTo>
                      <a:pt x="108" y="196"/>
                    </a:lnTo>
                    <a:lnTo>
                      <a:pt x="101" y="196"/>
                    </a:lnTo>
                    <a:lnTo>
                      <a:pt x="101" y="189"/>
                    </a:lnTo>
                    <a:lnTo>
                      <a:pt x="108" y="189"/>
                    </a:lnTo>
                    <a:lnTo>
                      <a:pt x="115" y="182"/>
                    </a:lnTo>
                    <a:lnTo>
                      <a:pt x="121" y="175"/>
                    </a:lnTo>
                    <a:lnTo>
                      <a:pt x="128" y="175"/>
                    </a:lnTo>
                    <a:lnTo>
                      <a:pt x="128" y="182"/>
                    </a:lnTo>
                    <a:lnTo>
                      <a:pt x="135" y="175"/>
                    </a:lnTo>
                    <a:lnTo>
                      <a:pt x="128" y="175"/>
                    </a:lnTo>
                    <a:lnTo>
                      <a:pt x="115" y="175"/>
                    </a:lnTo>
                    <a:lnTo>
                      <a:pt x="115" y="168"/>
                    </a:lnTo>
                    <a:lnTo>
                      <a:pt x="115" y="175"/>
                    </a:lnTo>
                    <a:lnTo>
                      <a:pt x="115" y="182"/>
                    </a:lnTo>
                    <a:lnTo>
                      <a:pt x="108" y="182"/>
                    </a:lnTo>
                    <a:lnTo>
                      <a:pt x="101" y="189"/>
                    </a:lnTo>
                    <a:lnTo>
                      <a:pt x="94" y="189"/>
                    </a:lnTo>
                    <a:lnTo>
                      <a:pt x="94" y="196"/>
                    </a:lnTo>
                    <a:lnTo>
                      <a:pt x="101" y="210"/>
                    </a:lnTo>
                    <a:lnTo>
                      <a:pt x="94" y="210"/>
                    </a:lnTo>
                    <a:lnTo>
                      <a:pt x="94" y="217"/>
                    </a:lnTo>
                    <a:lnTo>
                      <a:pt x="101" y="217"/>
                    </a:lnTo>
                    <a:lnTo>
                      <a:pt x="108" y="231"/>
                    </a:lnTo>
                    <a:lnTo>
                      <a:pt x="101" y="231"/>
                    </a:lnTo>
                    <a:lnTo>
                      <a:pt x="94" y="231"/>
                    </a:lnTo>
                    <a:lnTo>
                      <a:pt x="101" y="231"/>
                    </a:lnTo>
                    <a:lnTo>
                      <a:pt x="101" y="238"/>
                    </a:lnTo>
                    <a:lnTo>
                      <a:pt x="101" y="245"/>
                    </a:lnTo>
                    <a:lnTo>
                      <a:pt x="101" y="252"/>
                    </a:lnTo>
                    <a:lnTo>
                      <a:pt x="94" y="245"/>
                    </a:lnTo>
                    <a:lnTo>
                      <a:pt x="88" y="245"/>
                    </a:lnTo>
                    <a:lnTo>
                      <a:pt x="81" y="245"/>
                    </a:lnTo>
                    <a:lnTo>
                      <a:pt x="81" y="238"/>
                    </a:lnTo>
                    <a:lnTo>
                      <a:pt x="74" y="238"/>
                    </a:lnTo>
                    <a:lnTo>
                      <a:pt x="74" y="231"/>
                    </a:lnTo>
                    <a:lnTo>
                      <a:pt x="74" y="238"/>
                    </a:lnTo>
                    <a:lnTo>
                      <a:pt x="74" y="245"/>
                    </a:lnTo>
                    <a:lnTo>
                      <a:pt x="74" y="238"/>
                    </a:lnTo>
                    <a:lnTo>
                      <a:pt x="67" y="245"/>
                    </a:lnTo>
                    <a:lnTo>
                      <a:pt x="74" y="252"/>
                    </a:lnTo>
                    <a:lnTo>
                      <a:pt x="74" y="245"/>
                    </a:lnTo>
                    <a:lnTo>
                      <a:pt x="74" y="252"/>
                    </a:lnTo>
                    <a:lnTo>
                      <a:pt x="81" y="252"/>
                    </a:lnTo>
                    <a:lnTo>
                      <a:pt x="74" y="252"/>
                    </a:lnTo>
                    <a:lnTo>
                      <a:pt x="81" y="259"/>
                    </a:lnTo>
                    <a:lnTo>
                      <a:pt x="81" y="266"/>
                    </a:lnTo>
                    <a:lnTo>
                      <a:pt x="74" y="266"/>
                    </a:lnTo>
                    <a:lnTo>
                      <a:pt x="81" y="266"/>
                    </a:lnTo>
                    <a:lnTo>
                      <a:pt x="74" y="266"/>
                    </a:lnTo>
                    <a:lnTo>
                      <a:pt x="67" y="266"/>
                    </a:lnTo>
                    <a:lnTo>
                      <a:pt x="67" y="259"/>
                    </a:lnTo>
                    <a:lnTo>
                      <a:pt x="67" y="266"/>
                    </a:lnTo>
                    <a:lnTo>
                      <a:pt x="67" y="273"/>
                    </a:lnTo>
                    <a:lnTo>
                      <a:pt x="61" y="266"/>
                    </a:lnTo>
                    <a:lnTo>
                      <a:pt x="61" y="273"/>
                    </a:lnTo>
                    <a:lnTo>
                      <a:pt x="61" y="266"/>
                    </a:lnTo>
                    <a:lnTo>
                      <a:pt x="61" y="259"/>
                    </a:lnTo>
                    <a:lnTo>
                      <a:pt x="54" y="259"/>
                    </a:lnTo>
                    <a:lnTo>
                      <a:pt x="54" y="266"/>
                    </a:lnTo>
                    <a:lnTo>
                      <a:pt x="61" y="266"/>
                    </a:lnTo>
                    <a:lnTo>
                      <a:pt x="54" y="273"/>
                    </a:lnTo>
                    <a:lnTo>
                      <a:pt x="54" y="266"/>
                    </a:lnTo>
                    <a:lnTo>
                      <a:pt x="54" y="273"/>
                    </a:lnTo>
                    <a:lnTo>
                      <a:pt x="47" y="273"/>
                    </a:lnTo>
                    <a:lnTo>
                      <a:pt x="47" y="280"/>
                    </a:lnTo>
                    <a:lnTo>
                      <a:pt x="47" y="287"/>
                    </a:lnTo>
                    <a:lnTo>
                      <a:pt x="41" y="280"/>
                    </a:lnTo>
                    <a:lnTo>
                      <a:pt x="34" y="280"/>
                    </a:lnTo>
                    <a:lnTo>
                      <a:pt x="41" y="280"/>
                    </a:lnTo>
                    <a:lnTo>
                      <a:pt x="41" y="287"/>
                    </a:lnTo>
                    <a:lnTo>
                      <a:pt x="34" y="287"/>
                    </a:lnTo>
                    <a:lnTo>
                      <a:pt x="27" y="287"/>
                    </a:lnTo>
                    <a:lnTo>
                      <a:pt x="27" y="294"/>
                    </a:lnTo>
                    <a:lnTo>
                      <a:pt x="20" y="294"/>
                    </a:lnTo>
                    <a:lnTo>
                      <a:pt x="20" y="301"/>
                    </a:lnTo>
                    <a:lnTo>
                      <a:pt x="20" y="294"/>
                    </a:lnTo>
                    <a:lnTo>
                      <a:pt x="20" y="287"/>
                    </a:lnTo>
                    <a:lnTo>
                      <a:pt x="13" y="287"/>
                    </a:lnTo>
                    <a:lnTo>
                      <a:pt x="13" y="280"/>
                    </a:lnTo>
                    <a:lnTo>
                      <a:pt x="6" y="273"/>
                    </a:lnTo>
                    <a:lnTo>
                      <a:pt x="6" y="266"/>
                    </a:lnTo>
                    <a:lnTo>
                      <a:pt x="6" y="259"/>
                    </a:lnTo>
                    <a:lnTo>
                      <a:pt x="0" y="259"/>
                    </a:lnTo>
                    <a:lnTo>
                      <a:pt x="0" y="252"/>
                    </a:lnTo>
                    <a:lnTo>
                      <a:pt x="0" y="245"/>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10" name="Freeform 77">
                <a:extLst>
                  <a:ext uri="{FF2B5EF4-FFF2-40B4-BE49-F238E27FC236}">
                    <a16:creationId xmlns:a16="http://schemas.microsoft.com/office/drawing/2014/main" id="{23662C5A-48D2-9454-AE42-EF9C31B3481A}"/>
                  </a:ext>
                </a:extLst>
              </p:cNvPr>
              <p:cNvSpPr>
                <a:spLocks/>
              </p:cNvSpPr>
              <p:nvPr/>
            </p:nvSpPr>
            <p:spPr bwMode="gray">
              <a:xfrm>
                <a:off x="5272088" y="3852863"/>
                <a:ext cx="11113" cy="11113"/>
              </a:xfrm>
              <a:custGeom>
                <a:avLst/>
                <a:gdLst>
                  <a:gd name="T0" fmla="*/ 0 w 7"/>
                  <a:gd name="T1" fmla="*/ 7 h 7"/>
                  <a:gd name="T2" fmla="*/ 0 w 7"/>
                  <a:gd name="T3" fmla="*/ 0 h 7"/>
                  <a:gd name="T4" fmla="*/ 7 w 7"/>
                  <a:gd name="T5" fmla="*/ 7 h 7"/>
                  <a:gd name="T6" fmla="*/ 0 w 7"/>
                  <a:gd name="T7" fmla="*/ 7 h 7"/>
                </a:gdLst>
                <a:ahLst/>
                <a:cxnLst>
                  <a:cxn ang="0">
                    <a:pos x="T0" y="T1"/>
                  </a:cxn>
                  <a:cxn ang="0">
                    <a:pos x="T2" y="T3"/>
                  </a:cxn>
                  <a:cxn ang="0">
                    <a:pos x="T4" y="T5"/>
                  </a:cxn>
                  <a:cxn ang="0">
                    <a:pos x="T6" y="T7"/>
                  </a:cxn>
                </a:cxnLst>
                <a:rect l="0" t="0" r="r" b="b"/>
                <a:pathLst>
                  <a:path w="7" h="7">
                    <a:moveTo>
                      <a:pt x="0" y="7"/>
                    </a:moveTo>
                    <a:lnTo>
                      <a:pt x="0" y="0"/>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11" name="Freeform 78">
                <a:extLst>
                  <a:ext uri="{FF2B5EF4-FFF2-40B4-BE49-F238E27FC236}">
                    <a16:creationId xmlns:a16="http://schemas.microsoft.com/office/drawing/2014/main" id="{D68B4A74-6E46-0E35-AFB1-529064A16DD0}"/>
                  </a:ext>
                </a:extLst>
              </p:cNvPr>
              <p:cNvSpPr>
                <a:spLocks/>
              </p:cNvSpPr>
              <p:nvPr/>
            </p:nvSpPr>
            <p:spPr bwMode="gray">
              <a:xfrm>
                <a:off x="5283200" y="3930650"/>
                <a:ext cx="11113" cy="22225"/>
              </a:xfrm>
              <a:custGeom>
                <a:avLst/>
                <a:gdLst>
                  <a:gd name="T0" fmla="*/ 0 w 7"/>
                  <a:gd name="T1" fmla="*/ 7 h 14"/>
                  <a:gd name="T2" fmla="*/ 0 w 7"/>
                  <a:gd name="T3" fmla="*/ 0 h 14"/>
                  <a:gd name="T4" fmla="*/ 7 w 7"/>
                  <a:gd name="T5" fmla="*/ 0 h 14"/>
                  <a:gd name="T6" fmla="*/ 7 w 7"/>
                  <a:gd name="T7" fmla="*/ 7 h 14"/>
                  <a:gd name="T8" fmla="*/ 7 w 7"/>
                  <a:gd name="T9" fmla="*/ 14 h 14"/>
                  <a:gd name="T10" fmla="*/ 7 w 7"/>
                  <a:gd name="T11" fmla="*/ 7 h 14"/>
                  <a:gd name="T12" fmla="*/ 0 w 7"/>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0" y="7"/>
                    </a:moveTo>
                    <a:lnTo>
                      <a:pt x="0" y="0"/>
                    </a:lnTo>
                    <a:lnTo>
                      <a:pt x="7" y="0"/>
                    </a:lnTo>
                    <a:lnTo>
                      <a:pt x="7" y="7"/>
                    </a:lnTo>
                    <a:lnTo>
                      <a:pt x="7" y="14"/>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12" name="Rectangle 79">
                <a:extLst>
                  <a:ext uri="{FF2B5EF4-FFF2-40B4-BE49-F238E27FC236}">
                    <a16:creationId xmlns:a16="http://schemas.microsoft.com/office/drawing/2014/main" id="{322E31A4-D09B-BD9E-1938-4C1A7966C713}"/>
                  </a:ext>
                </a:extLst>
              </p:cNvPr>
              <p:cNvSpPr>
                <a:spLocks noChangeArrowheads="1"/>
              </p:cNvSpPr>
              <p:nvPr/>
            </p:nvSpPr>
            <p:spPr bwMode="gray">
              <a:xfrm>
                <a:off x="5283200" y="3786188"/>
                <a:ext cx="11113" cy="11113"/>
              </a:xfrm>
              <a:prstGeom prst="rect">
                <a:avLst/>
              </a:pr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grpSp>
        <p:grpSp>
          <p:nvGrpSpPr>
            <p:cNvPr id="113" name="Group 112">
              <a:extLst>
                <a:ext uri="{FF2B5EF4-FFF2-40B4-BE49-F238E27FC236}">
                  <a16:creationId xmlns:a16="http://schemas.microsoft.com/office/drawing/2014/main" id="{BF19B2B8-663E-0215-2B46-10FC6129F72F}"/>
                </a:ext>
              </a:extLst>
            </p:cNvPr>
            <p:cNvGrpSpPr>
              <a:grpSpLocks noChangeAspect="1"/>
            </p:cNvGrpSpPr>
            <p:nvPr/>
          </p:nvGrpSpPr>
          <p:grpSpPr bwMode="gray">
            <a:xfrm>
              <a:off x="1603554" y="1519460"/>
              <a:ext cx="387513" cy="483452"/>
              <a:chOff x="6402388" y="2317750"/>
              <a:chExt cx="1096963" cy="1316038"/>
            </a:xfrm>
            <a:solidFill>
              <a:schemeClr val="bg2"/>
            </a:solidFill>
          </p:grpSpPr>
          <p:sp>
            <p:nvSpPr>
              <p:cNvPr id="114" name="Freeform 5">
                <a:extLst>
                  <a:ext uri="{FF2B5EF4-FFF2-40B4-BE49-F238E27FC236}">
                    <a16:creationId xmlns:a16="http://schemas.microsoft.com/office/drawing/2014/main" id="{AC9300C4-23EF-7000-AED1-92940B12E4D1}"/>
                  </a:ext>
                </a:extLst>
              </p:cNvPr>
              <p:cNvSpPr>
                <a:spLocks noEditPoints="1"/>
              </p:cNvSpPr>
              <p:nvPr/>
            </p:nvSpPr>
            <p:spPr bwMode="gray">
              <a:xfrm>
                <a:off x="6402388" y="3198813"/>
                <a:ext cx="420688" cy="434975"/>
              </a:xfrm>
              <a:custGeom>
                <a:avLst/>
                <a:gdLst>
                  <a:gd name="T0" fmla="*/ 28 w 265"/>
                  <a:gd name="T1" fmla="*/ 178 h 274"/>
                  <a:gd name="T2" fmla="*/ 48 w 265"/>
                  <a:gd name="T3" fmla="*/ 219 h 274"/>
                  <a:gd name="T4" fmla="*/ 41 w 265"/>
                  <a:gd name="T5" fmla="*/ 233 h 274"/>
                  <a:gd name="T6" fmla="*/ 34 w 265"/>
                  <a:gd name="T7" fmla="*/ 240 h 274"/>
                  <a:gd name="T8" fmla="*/ 14 w 265"/>
                  <a:gd name="T9" fmla="*/ 205 h 274"/>
                  <a:gd name="T10" fmla="*/ 34 w 265"/>
                  <a:gd name="T11" fmla="*/ 178 h 274"/>
                  <a:gd name="T12" fmla="*/ 28 w 265"/>
                  <a:gd name="T13" fmla="*/ 137 h 274"/>
                  <a:gd name="T14" fmla="*/ 34 w 265"/>
                  <a:gd name="T15" fmla="*/ 103 h 274"/>
                  <a:gd name="T16" fmla="*/ 68 w 265"/>
                  <a:gd name="T17" fmla="*/ 83 h 274"/>
                  <a:gd name="T18" fmla="*/ 102 w 265"/>
                  <a:gd name="T19" fmla="*/ 110 h 274"/>
                  <a:gd name="T20" fmla="*/ 95 w 265"/>
                  <a:gd name="T21" fmla="*/ 137 h 274"/>
                  <a:gd name="T22" fmla="*/ 75 w 265"/>
                  <a:gd name="T23" fmla="*/ 144 h 274"/>
                  <a:gd name="T24" fmla="*/ 116 w 265"/>
                  <a:gd name="T25" fmla="*/ 158 h 274"/>
                  <a:gd name="T26" fmla="*/ 116 w 265"/>
                  <a:gd name="T27" fmla="*/ 178 h 274"/>
                  <a:gd name="T28" fmla="*/ 143 w 265"/>
                  <a:gd name="T29" fmla="*/ 171 h 274"/>
                  <a:gd name="T30" fmla="*/ 136 w 265"/>
                  <a:gd name="T31" fmla="*/ 199 h 274"/>
                  <a:gd name="T32" fmla="*/ 150 w 265"/>
                  <a:gd name="T33" fmla="*/ 185 h 274"/>
                  <a:gd name="T34" fmla="*/ 150 w 265"/>
                  <a:gd name="T35" fmla="*/ 199 h 274"/>
                  <a:gd name="T36" fmla="*/ 122 w 265"/>
                  <a:gd name="T37" fmla="*/ 205 h 274"/>
                  <a:gd name="T38" fmla="*/ 95 w 265"/>
                  <a:gd name="T39" fmla="*/ 178 h 274"/>
                  <a:gd name="T40" fmla="*/ 55 w 265"/>
                  <a:gd name="T41" fmla="*/ 178 h 274"/>
                  <a:gd name="T42" fmla="*/ 41 w 265"/>
                  <a:gd name="T43" fmla="*/ 158 h 274"/>
                  <a:gd name="T44" fmla="*/ 61 w 265"/>
                  <a:gd name="T45" fmla="*/ 219 h 274"/>
                  <a:gd name="T46" fmla="*/ 61 w 265"/>
                  <a:gd name="T47" fmla="*/ 226 h 274"/>
                  <a:gd name="T48" fmla="*/ 116 w 265"/>
                  <a:gd name="T49" fmla="*/ 233 h 274"/>
                  <a:gd name="T50" fmla="*/ 102 w 265"/>
                  <a:gd name="T51" fmla="*/ 260 h 274"/>
                  <a:gd name="T52" fmla="*/ 88 w 265"/>
                  <a:gd name="T53" fmla="*/ 247 h 274"/>
                  <a:gd name="T54" fmla="*/ 82 w 265"/>
                  <a:gd name="T55" fmla="*/ 233 h 274"/>
                  <a:gd name="T56" fmla="*/ 109 w 265"/>
                  <a:gd name="T57" fmla="*/ 76 h 274"/>
                  <a:gd name="T58" fmla="*/ 122 w 265"/>
                  <a:gd name="T59" fmla="*/ 83 h 274"/>
                  <a:gd name="T60" fmla="*/ 102 w 265"/>
                  <a:gd name="T61" fmla="*/ 96 h 274"/>
                  <a:gd name="T62" fmla="*/ 116 w 265"/>
                  <a:gd name="T63" fmla="*/ 212 h 274"/>
                  <a:gd name="T64" fmla="*/ 109 w 265"/>
                  <a:gd name="T65" fmla="*/ 123 h 274"/>
                  <a:gd name="T66" fmla="*/ 109 w 265"/>
                  <a:gd name="T67" fmla="*/ 110 h 274"/>
                  <a:gd name="T68" fmla="*/ 136 w 265"/>
                  <a:gd name="T69" fmla="*/ 89 h 274"/>
                  <a:gd name="T70" fmla="*/ 122 w 265"/>
                  <a:gd name="T71" fmla="*/ 21 h 274"/>
                  <a:gd name="T72" fmla="*/ 143 w 265"/>
                  <a:gd name="T73" fmla="*/ 14 h 274"/>
                  <a:gd name="T74" fmla="*/ 150 w 265"/>
                  <a:gd name="T75" fmla="*/ 41 h 274"/>
                  <a:gd name="T76" fmla="*/ 150 w 265"/>
                  <a:gd name="T77" fmla="*/ 62 h 274"/>
                  <a:gd name="T78" fmla="*/ 130 w 265"/>
                  <a:gd name="T79" fmla="*/ 41 h 274"/>
                  <a:gd name="T80" fmla="*/ 122 w 265"/>
                  <a:gd name="T81" fmla="*/ 144 h 274"/>
                  <a:gd name="T82" fmla="*/ 150 w 265"/>
                  <a:gd name="T83" fmla="*/ 130 h 274"/>
                  <a:gd name="T84" fmla="*/ 130 w 265"/>
                  <a:gd name="T85" fmla="*/ 151 h 274"/>
                  <a:gd name="T86" fmla="*/ 157 w 265"/>
                  <a:gd name="T87" fmla="*/ 7 h 274"/>
                  <a:gd name="T88" fmla="*/ 157 w 265"/>
                  <a:gd name="T89" fmla="*/ 89 h 274"/>
                  <a:gd name="T90" fmla="*/ 177 w 265"/>
                  <a:gd name="T91" fmla="*/ 69 h 274"/>
                  <a:gd name="T92" fmla="*/ 163 w 265"/>
                  <a:gd name="T93" fmla="*/ 103 h 274"/>
                  <a:gd name="T94" fmla="*/ 177 w 265"/>
                  <a:gd name="T95" fmla="*/ 137 h 274"/>
                  <a:gd name="T96" fmla="*/ 191 w 265"/>
                  <a:gd name="T97" fmla="*/ 103 h 274"/>
                  <a:gd name="T98" fmla="*/ 197 w 265"/>
                  <a:gd name="T99" fmla="*/ 117 h 274"/>
                  <a:gd name="T100" fmla="*/ 197 w 265"/>
                  <a:gd name="T101" fmla="*/ 144 h 274"/>
                  <a:gd name="T102" fmla="*/ 184 w 265"/>
                  <a:gd name="T103" fmla="*/ 137 h 274"/>
                  <a:gd name="T104" fmla="*/ 197 w 265"/>
                  <a:gd name="T105" fmla="*/ 62 h 274"/>
                  <a:gd name="T106" fmla="*/ 224 w 265"/>
                  <a:gd name="T107" fmla="*/ 48 h 274"/>
                  <a:gd name="T108" fmla="*/ 245 w 265"/>
                  <a:gd name="T109" fmla="*/ 55 h 274"/>
                  <a:gd name="T110" fmla="*/ 238 w 265"/>
                  <a:gd name="T111" fmla="*/ 62 h 274"/>
                  <a:gd name="T112" fmla="*/ 224 w 265"/>
                  <a:gd name="T113" fmla="*/ 69 h 274"/>
                  <a:gd name="T114" fmla="*/ 204 w 265"/>
                  <a:gd name="T115" fmla="*/ 76 h 274"/>
                  <a:gd name="T116" fmla="*/ 252 w 265"/>
                  <a:gd name="T117" fmla="*/ 28 h 274"/>
                  <a:gd name="T118" fmla="*/ 265 w 265"/>
                  <a:gd name="T119" fmla="*/ 1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5" h="274">
                    <a:moveTo>
                      <a:pt x="7" y="192"/>
                    </a:moveTo>
                    <a:lnTo>
                      <a:pt x="0" y="192"/>
                    </a:lnTo>
                    <a:lnTo>
                      <a:pt x="7" y="185"/>
                    </a:lnTo>
                    <a:lnTo>
                      <a:pt x="7" y="178"/>
                    </a:lnTo>
                    <a:lnTo>
                      <a:pt x="14" y="171"/>
                    </a:lnTo>
                    <a:lnTo>
                      <a:pt x="21" y="171"/>
                    </a:lnTo>
                    <a:lnTo>
                      <a:pt x="28" y="171"/>
                    </a:lnTo>
                    <a:lnTo>
                      <a:pt x="28" y="178"/>
                    </a:lnTo>
                    <a:lnTo>
                      <a:pt x="28" y="185"/>
                    </a:lnTo>
                    <a:lnTo>
                      <a:pt x="34" y="185"/>
                    </a:lnTo>
                    <a:lnTo>
                      <a:pt x="41" y="192"/>
                    </a:lnTo>
                    <a:lnTo>
                      <a:pt x="48" y="192"/>
                    </a:lnTo>
                    <a:lnTo>
                      <a:pt x="48" y="199"/>
                    </a:lnTo>
                    <a:lnTo>
                      <a:pt x="48" y="205"/>
                    </a:lnTo>
                    <a:lnTo>
                      <a:pt x="48" y="212"/>
                    </a:lnTo>
                    <a:lnTo>
                      <a:pt x="48" y="219"/>
                    </a:lnTo>
                    <a:lnTo>
                      <a:pt x="55" y="219"/>
                    </a:lnTo>
                    <a:lnTo>
                      <a:pt x="55" y="226"/>
                    </a:lnTo>
                    <a:lnTo>
                      <a:pt x="48" y="226"/>
                    </a:lnTo>
                    <a:lnTo>
                      <a:pt x="41" y="226"/>
                    </a:lnTo>
                    <a:lnTo>
                      <a:pt x="34" y="226"/>
                    </a:lnTo>
                    <a:lnTo>
                      <a:pt x="34" y="233"/>
                    </a:lnTo>
                    <a:lnTo>
                      <a:pt x="34" y="240"/>
                    </a:lnTo>
                    <a:lnTo>
                      <a:pt x="41" y="233"/>
                    </a:lnTo>
                    <a:lnTo>
                      <a:pt x="48" y="233"/>
                    </a:lnTo>
                    <a:lnTo>
                      <a:pt x="55" y="233"/>
                    </a:lnTo>
                    <a:lnTo>
                      <a:pt x="55" y="240"/>
                    </a:lnTo>
                    <a:lnTo>
                      <a:pt x="48" y="240"/>
                    </a:lnTo>
                    <a:lnTo>
                      <a:pt x="41" y="240"/>
                    </a:lnTo>
                    <a:lnTo>
                      <a:pt x="34" y="240"/>
                    </a:lnTo>
                    <a:lnTo>
                      <a:pt x="41" y="240"/>
                    </a:lnTo>
                    <a:lnTo>
                      <a:pt x="34" y="240"/>
                    </a:lnTo>
                    <a:lnTo>
                      <a:pt x="28" y="240"/>
                    </a:lnTo>
                    <a:lnTo>
                      <a:pt x="21" y="240"/>
                    </a:lnTo>
                    <a:lnTo>
                      <a:pt x="21" y="233"/>
                    </a:lnTo>
                    <a:lnTo>
                      <a:pt x="21" y="226"/>
                    </a:lnTo>
                    <a:lnTo>
                      <a:pt x="21" y="219"/>
                    </a:lnTo>
                    <a:lnTo>
                      <a:pt x="14" y="219"/>
                    </a:lnTo>
                    <a:lnTo>
                      <a:pt x="14" y="212"/>
                    </a:lnTo>
                    <a:lnTo>
                      <a:pt x="14" y="205"/>
                    </a:lnTo>
                    <a:lnTo>
                      <a:pt x="14" y="199"/>
                    </a:lnTo>
                    <a:lnTo>
                      <a:pt x="7" y="192"/>
                    </a:lnTo>
                    <a:close/>
                    <a:moveTo>
                      <a:pt x="28" y="178"/>
                    </a:moveTo>
                    <a:lnTo>
                      <a:pt x="28" y="171"/>
                    </a:lnTo>
                    <a:lnTo>
                      <a:pt x="34" y="171"/>
                    </a:lnTo>
                    <a:lnTo>
                      <a:pt x="41" y="171"/>
                    </a:lnTo>
                    <a:lnTo>
                      <a:pt x="41" y="178"/>
                    </a:lnTo>
                    <a:lnTo>
                      <a:pt x="34" y="178"/>
                    </a:lnTo>
                    <a:lnTo>
                      <a:pt x="28" y="178"/>
                    </a:lnTo>
                    <a:close/>
                    <a:moveTo>
                      <a:pt x="55" y="219"/>
                    </a:moveTo>
                    <a:lnTo>
                      <a:pt x="55" y="212"/>
                    </a:lnTo>
                    <a:lnTo>
                      <a:pt x="61" y="219"/>
                    </a:lnTo>
                    <a:lnTo>
                      <a:pt x="55" y="219"/>
                    </a:lnTo>
                    <a:close/>
                    <a:moveTo>
                      <a:pt x="28" y="151"/>
                    </a:moveTo>
                    <a:lnTo>
                      <a:pt x="28" y="144"/>
                    </a:lnTo>
                    <a:lnTo>
                      <a:pt x="28" y="137"/>
                    </a:lnTo>
                    <a:lnTo>
                      <a:pt x="28" y="130"/>
                    </a:lnTo>
                    <a:lnTo>
                      <a:pt x="34" y="130"/>
                    </a:lnTo>
                    <a:lnTo>
                      <a:pt x="34" y="123"/>
                    </a:lnTo>
                    <a:lnTo>
                      <a:pt x="28" y="123"/>
                    </a:lnTo>
                    <a:lnTo>
                      <a:pt x="34" y="123"/>
                    </a:lnTo>
                    <a:lnTo>
                      <a:pt x="34" y="117"/>
                    </a:lnTo>
                    <a:lnTo>
                      <a:pt x="34" y="110"/>
                    </a:lnTo>
                    <a:lnTo>
                      <a:pt x="34" y="103"/>
                    </a:lnTo>
                    <a:lnTo>
                      <a:pt x="34" y="96"/>
                    </a:lnTo>
                    <a:lnTo>
                      <a:pt x="41" y="96"/>
                    </a:lnTo>
                    <a:lnTo>
                      <a:pt x="48" y="89"/>
                    </a:lnTo>
                    <a:lnTo>
                      <a:pt x="48" y="83"/>
                    </a:lnTo>
                    <a:lnTo>
                      <a:pt x="55" y="89"/>
                    </a:lnTo>
                    <a:lnTo>
                      <a:pt x="55" y="83"/>
                    </a:lnTo>
                    <a:lnTo>
                      <a:pt x="61" y="83"/>
                    </a:lnTo>
                    <a:lnTo>
                      <a:pt x="68" y="83"/>
                    </a:lnTo>
                    <a:lnTo>
                      <a:pt x="75" y="83"/>
                    </a:lnTo>
                    <a:lnTo>
                      <a:pt x="75" y="89"/>
                    </a:lnTo>
                    <a:lnTo>
                      <a:pt x="82" y="89"/>
                    </a:lnTo>
                    <a:lnTo>
                      <a:pt x="82" y="96"/>
                    </a:lnTo>
                    <a:lnTo>
                      <a:pt x="88" y="96"/>
                    </a:lnTo>
                    <a:lnTo>
                      <a:pt x="88" y="103"/>
                    </a:lnTo>
                    <a:lnTo>
                      <a:pt x="95" y="103"/>
                    </a:lnTo>
                    <a:lnTo>
                      <a:pt x="102" y="110"/>
                    </a:lnTo>
                    <a:lnTo>
                      <a:pt x="95" y="110"/>
                    </a:lnTo>
                    <a:lnTo>
                      <a:pt x="95" y="117"/>
                    </a:lnTo>
                    <a:lnTo>
                      <a:pt x="102" y="117"/>
                    </a:lnTo>
                    <a:lnTo>
                      <a:pt x="102" y="123"/>
                    </a:lnTo>
                    <a:lnTo>
                      <a:pt x="109" y="123"/>
                    </a:lnTo>
                    <a:lnTo>
                      <a:pt x="109" y="130"/>
                    </a:lnTo>
                    <a:lnTo>
                      <a:pt x="102" y="137"/>
                    </a:lnTo>
                    <a:lnTo>
                      <a:pt x="95" y="137"/>
                    </a:lnTo>
                    <a:lnTo>
                      <a:pt x="95" y="130"/>
                    </a:lnTo>
                    <a:lnTo>
                      <a:pt x="88" y="137"/>
                    </a:lnTo>
                    <a:lnTo>
                      <a:pt x="95" y="137"/>
                    </a:lnTo>
                    <a:lnTo>
                      <a:pt x="88" y="144"/>
                    </a:lnTo>
                    <a:lnTo>
                      <a:pt x="82" y="144"/>
                    </a:lnTo>
                    <a:lnTo>
                      <a:pt x="82" y="151"/>
                    </a:lnTo>
                    <a:lnTo>
                      <a:pt x="82" y="144"/>
                    </a:lnTo>
                    <a:lnTo>
                      <a:pt x="75" y="144"/>
                    </a:lnTo>
                    <a:lnTo>
                      <a:pt x="82" y="151"/>
                    </a:lnTo>
                    <a:lnTo>
                      <a:pt x="88" y="158"/>
                    </a:lnTo>
                    <a:lnTo>
                      <a:pt x="95" y="151"/>
                    </a:lnTo>
                    <a:lnTo>
                      <a:pt x="102" y="151"/>
                    </a:lnTo>
                    <a:lnTo>
                      <a:pt x="102" y="158"/>
                    </a:lnTo>
                    <a:lnTo>
                      <a:pt x="109" y="158"/>
                    </a:lnTo>
                    <a:lnTo>
                      <a:pt x="109" y="165"/>
                    </a:lnTo>
                    <a:lnTo>
                      <a:pt x="116" y="158"/>
                    </a:lnTo>
                    <a:lnTo>
                      <a:pt x="116" y="151"/>
                    </a:lnTo>
                    <a:lnTo>
                      <a:pt x="122" y="151"/>
                    </a:lnTo>
                    <a:lnTo>
                      <a:pt x="116" y="158"/>
                    </a:lnTo>
                    <a:lnTo>
                      <a:pt x="122" y="158"/>
                    </a:lnTo>
                    <a:lnTo>
                      <a:pt x="122" y="165"/>
                    </a:lnTo>
                    <a:lnTo>
                      <a:pt x="116" y="165"/>
                    </a:lnTo>
                    <a:lnTo>
                      <a:pt x="116" y="171"/>
                    </a:lnTo>
                    <a:lnTo>
                      <a:pt x="116" y="178"/>
                    </a:lnTo>
                    <a:lnTo>
                      <a:pt x="122" y="178"/>
                    </a:lnTo>
                    <a:lnTo>
                      <a:pt x="122" y="171"/>
                    </a:lnTo>
                    <a:lnTo>
                      <a:pt x="130" y="178"/>
                    </a:lnTo>
                    <a:lnTo>
                      <a:pt x="130" y="171"/>
                    </a:lnTo>
                    <a:lnTo>
                      <a:pt x="136" y="171"/>
                    </a:lnTo>
                    <a:lnTo>
                      <a:pt x="143" y="171"/>
                    </a:lnTo>
                    <a:lnTo>
                      <a:pt x="143" y="165"/>
                    </a:lnTo>
                    <a:lnTo>
                      <a:pt x="143" y="171"/>
                    </a:lnTo>
                    <a:lnTo>
                      <a:pt x="143" y="178"/>
                    </a:lnTo>
                    <a:lnTo>
                      <a:pt x="136" y="178"/>
                    </a:lnTo>
                    <a:lnTo>
                      <a:pt x="130" y="178"/>
                    </a:lnTo>
                    <a:lnTo>
                      <a:pt x="130" y="185"/>
                    </a:lnTo>
                    <a:lnTo>
                      <a:pt x="136" y="185"/>
                    </a:lnTo>
                    <a:lnTo>
                      <a:pt x="136" y="192"/>
                    </a:lnTo>
                    <a:lnTo>
                      <a:pt x="130" y="192"/>
                    </a:lnTo>
                    <a:lnTo>
                      <a:pt x="136" y="199"/>
                    </a:lnTo>
                    <a:lnTo>
                      <a:pt x="136" y="192"/>
                    </a:lnTo>
                    <a:lnTo>
                      <a:pt x="136" y="199"/>
                    </a:lnTo>
                    <a:lnTo>
                      <a:pt x="143" y="199"/>
                    </a:lnTo>
                    <a:lnTo>
                      <a:pt x="143" y="192"/>
                    </a:lnTo>
                    <a:lnTo>
                      <a:pt x="143" y="185"/>
                    </a:lnTo>
                    <a:lnTo>
                      <a:pt x="136" y="185"/>
                    </a:lnTo>
                    <a:lnTo>
                      <a:pt x="143" y="185"/>
                    </a:lnTo>
                    <a:lnTo>
                      <a:pt x="150" y="185"/>
                    </a:lnTo>
                    <a:lnTo>
                      <a:pt x="157" y="185"/>
                    </a:lnTo>
                    <a:lnTo>
                      <a:pt x="157" y="178"/>
                    </a:lnTo>
                    <a:lnTo>
                      <a:pt x="163" y="178"/>
                    </a:lnTo>
                    <a:lnTo>
                      <a:pt x="163" y="185"/>
                    </a:lnTo>
                    <a:lnTo>
                      <a:pt x="163" y="192"/>
                    </a:lnTo>
                    <a:lnTo>
                      <a:pt x="157" y="192"/>
                    </a:lnTo>
                    <a:lnTo>
                      <a:pt x="157" y="199"/>
                    </a:lnTo>
                    <a:lnTo>
                      <a:pt x="150" y="199"/>
                    </a:lnTo>
                    <a:lnTo>
                      <a:pt x="143" y="205"/>
                    </a:lnTo>
                    <a:lnTo>
                      <a:pt x="143" y="199"/>
                    </a:lnTo>
                    <a:lnTo>
                      <a:pt x="136" y="205"/>
                    </a:lnTo>
                    <a:lnTo>
                      <a:pt x="136" y="212"/>
                    </a:lnTo>
                    <a:lnTo>
                      <a:pt x="130" y="212"/>
                    </a:lnTo>
                    <a:lnTo>
                      <a:pt x="130" y="219"/>
                    </a:lnTo>
                    <a:lnTo>
                      <a:pt x="130" y="212"/>
                    </a:lnTo>
                    <a:lnTo>
                      <a:pt x="122" y="205"/>
                    </a:lnTo>
                    <a:lnTo>
                      <a:pt x="116" y="205"/>
                    </a:lnTo>
                    <a:lnTo>
                      <a:pt x="109" y="205"/>
                    </a:lnTo>
                    <a:lnTo>
                      <a:pt x="109" y="199"/>
                    </a:lnTo>
                    <a:lnTo>
                      <a:pt x="109" y="192"/>
                    </a:lnTo>
                    <a:lnTo>
                      <a:pt x="102" y="185"/>
                    </a:lnTo>
                    <a:lnTo>
                      <a:pt x="102" y="178"/>
                    </a:lnTo>
                    <a:lnTo>
                      <a:pt x="102" y="171"/>
                    </a:lnTo>
                    <a:lnTo>
                      <a:pt x="95" y="178"/>
                    </a:lnTo>
                    <a:lnTo>
                      <a:pt x="88" y="178"/>
                    </a:lnTo>
                    <a:lnTo>
                      <a:pt x="82" y="178"/>
                    </a:lnTo>
                    <a:lnTo>
                      <a:pt x="82" y="185"/>
                    </a:lnTo>
                    <a:lnTo>
                      <a:pt x="75" y="178"/>
                    </a:lnTo>
                    <a:lnTo>
                      <a:pt x="68" y="185"/>
                    </a:lnTo>
                    <a:lnTo>
                      <a:pt x="61" y="185"/>
                    </a:lnTo>
                    <a:lnTo>
                      <a:pt x="55" y="185"/>
                    </a:lnTo>
                    <a:lnTo>
                      <a:pt x="55" y="178"/>
                    </a:lnTo>
                    <a:lnTo>
                      <a:pt x="48" y="178"/>
                    </a:lnTo>
                    <a:lnTo>
                      <a:pt x="48" y="171"/>
                    </a:lnTo>
                    <a:lnTo>
                      <a:pt x="48" y="165"/>
                    </a:lnTo>
                    <a:lnTo>
                      <a:pt x="55" y="165"/>
                    </a:lnTo>
                    <a:lnTo>
                      <a:pt x="48" y="158"/>
                    </a:lnTo>
                    <a:lnTo>
                      <a:pt x="41" y="158"/>
                    </a:lnTo>
                    <a:lnTo>
                      <a:pt x="41" y="165"/>
                    </a:lnTo>
                    <a:lnTo>
                      <a:pt x="41" y="158"/>
                    </a:lnTo>
                    <a:lnTo>
                      <a:pt x="34" y="158"/>
                    </a:lnTo>
                    <a:lnTo>
                      <a:pt x="34" y="165"/>
                    </a:lnTo>
                    <a:lnTo>
                      <a:pt x="28" y="165"/>
                    </a:lnTo>
                    <a:lnTo>
                      <a:pt x="28" y="158"/>
                    </a:lnTo>
                    <a:lnTo>
                      <a:pt x="28" y="151"/>
                    </a:lnTo>
                    <a:close/>
                    <a:moveTo>
                      <a:pt x="61" y="226"/>
                    </a:moveTo>
                    <a:lnTo>
                      <a:pt x="55" y="226"/>
                    </a:lnTo>
                    <a:lnTo>
                      <a:pt x="61" y="219"/>
                    </a:lnTo>
                    <a:lnTo>
                      <a:pt x="68" y="219"/>
                    </a:lnTo>
                    <a:lnTo>
                      <a:pt x="75" y="219"/>
                    </a:lnTo>
                    <a:lnTo>
                      <a:pt x="68" y="219"/>
                    </a:lnTo>
                    <a:lnTo>
                      <a:pt x="68" y="226"/>
                    </a:lnTo>
                    <a:lnTo>
                      <a:pt x="75" y="226"/>
                    </a:lnTo>
                    <a:lnTo>
                      <a:pt x="68" y="233"/>
                    </a:lnTo>
                    <a:lnTo>
                      <a:pt x="68" y="226"/>
                    </a:lnTo>
                    <a:lnTo>
                      <a:pt x="61" y="226"/>
                    </a:lnTo>
                    <a:close/>
                    <a:moveTo>
                      <a:pt x="82" y="233"/>
                    </a:moveTo>
                    <a:lnTo>
                      <a:pt x="82" y="226"/>
                    </a:lnTo>
                    <a:lnTo>
                      <a:pt x="88" y="226"/>
                    </a:lnTo>
                    <a:lnTo>
                      <a:pt x="95" y="226"/>
                    </a:lnTo>
                    <a:lnTo>
                      <a:pt x="95" y="233"/>
                    </a:lnTo>
                    <a:lnTo>
                      <a:pt x="102" y="226"/>
                    </a:lnTo>
                    <a:lnTo>
                      <a:pt x="109" y="226"/>
                    </a:lnTo>
                    <a:lnTo>
                      <a:pt x="116" y="233"/>
                    </a:lnTo>
                    <a:lnTo>
                      <a:pt x="109" y="233"/>
                    </a:lnTo>
                    <a:lnTo>
                      <a:pt x="116" y="240"/>
                    </a:lnTo>
                    <a:lnTo>
                      <a:pt x="109" y="240"/>
                    </a:lnTo>
                    <a:lnTo>
                      <a:pt x="109" y="247"/>
                    </a:lnTo>
                    <a:lnTo>
                      <a:pt x="102" y="247"/>
                    </a:lnTo>
                    <a:lnTo>
                      <a:pt x="102" y="254"/>
                    </a:lnTo>
                    <a:lnTo>
                      <a:pt x="95" y="260"/>
                    </a:lnTo>
                    <a:lnTo>
                      <a:pt x="102" y="260"/>
                    </a:lnTo>
                    <a:lnTo>
                      <a:pt x="102" y="267"/>
                    </a:lnTo>
                    <a:lnTo>
                      <a:pt x="95" y="274"/>
                    </a:lnTo>
                    <a:lnTo>
                      <a:pt x="88" y="274"/>
                    </a:lnTo>
                    <a:lnTo>
                      <a:pt x="88" y="267"/>
                    </a:lnTo>
                    <a:lnTo>
                      <a:pt x="88" y="260"/>
                    </a:lnTo>
                    <a:lnTo>
                      <a:pt x="82" y="260"/>
                    </a:lnTo>
                    <a:lnTo>
                      <a:pt x="88" y="260"/>
                    </a:lnTo>
                    <a:lnTo>
                      <a:pt x="88" y="247"/>
                    </a:lnTo>
                    <a:lnTo>
                      <a:pt x="88" y="240"/>
                    </a:lnTo>
                    <a:lnTo>
                      <a:pt x="82" y="240"/>
                    </a:lnTo>
                    <a:lnTo>
                      <a:pt x="82" y="233"/>
                    </a:lnTo>
                    <a:lnTo>
                      <a:pt x="88" y="240"/>
                    </a:lnTo>
                    <a:lnTo>
                      <a:pt x="95" y="233"/>
                    </a:lnTo>
                    <a:lnTo>
                      <a:pt x="88" y="233"/>
                    </a:lnTo>
                    <a:lnTo>
                      <a:pt x="88" y="226"/>
                    </a:lnTo>
                    <a:lnTo>
                      <a:pt x="82" y="233"/>
                    </a:lnTo>
                    <a:close/>
                    <a:moveTo>
                      <a:pt x="95" y="89"/>
                    </a:moveTo>
                    <a:lnTo>
                      <a:pt x="88" y="83"/>
                    </a:lnTo>
                    <a:lnTo>
                      <a:pt x="95" y="83"/>
                    </a:lnTo>
                    <a:lnTo>
                      <a:pt x="95" y="76"/>
                    </a:lnTo>
                    <a:lnTo>
                      <a:pt x="102" y="69"/>
                    </a:lnTo>
                    <a:lnTo>
                      <a:pt x="102" y="76"/>
                    </a:lnTo>
                    <a:lnTo>
                      <a:pt x="109" y="69"/>
                    </a:lnTo>
                    <a:lnTo>
                      <a:pt x="109" y="76"/>
                    </a:lnTo>
                    <a:lnTo>
                      <a:pt x="102" y="76"/>
                    </a:lnTo>
                    <a:lnTo>
                      <a:pt x="109" y="83"/>
                    </a:lnTo>
                    <a:lnTo>
                      <a:pt x="116" y="83"/>
                    </a:lnTo>
                    <a:lnTo>
                      <a:pt x="122" y="83"/>
                    </a:lnTo>
                    <a:lnTo>
                      <a:pt x="122" y="76"/>
                    </a:lnTo>
                    <a:lnTo>
                      <a:pt x="122" y="83"/>
                    </a:lnTo>
                    <a:lnTo>
                      <a:pt x="130" y="83"/>
                    </a:lnTo>
                    <a:lnTo>
                      <a:pt x="122" y="83"/>
                    </a:lnTo>
                    <a:lnTo>
                      <a:pt x="122" y="89"/>
                    </a:lnTo>
                    <a:lnTo>
                      <a:pt x="116" y="89"/>
                    </a:lnTo>
                    <a:lnTo>
                      <a:pt x="122" y="96"/>
                    </a:lnTo>
                    <a:lnTo>
                      <a:pt x="122" y="103"/>
                    </a:lnTo>
                    <a:lnTo>
                      <a:pt x="116" y="103"/>
                    </a:lnTo>
                    <a:lnTo>
                      <a:pt x="109" y="103"/>
                    </a:lnTo>
                    <a:lnTo>
                      <a:pt x="102" y="103"/>
                    </a:lnTo>
                    <a:lnTo>
                      <a:pt x="102" y="96"/>
                    </a:lnTo>
                    <a:lnTo>
                      <a:pt x="95" y="96"/>
                    </a:lnTo>
                    <a:lnTo>
                      <a:pt x="95" y="89"/>
                    </a:lnTo>
                    <a:close/>
                    <a:moveTo>
                      <a:pt x="102" y="226"/>
                    </a:moveTo>
                    <a:lnTo>
                      <a:pt x="95" y="219"/>
                    </a:lnTo>
                    <a:lnTo>
                      <a:pt x="102" y="219"/>
                    </a:lnTo>
                    <a:lnTo>
                      <a:pt x="109" y="219"/>
                    </a:lnTo>
                    <a:lnTo>
                      <a:pt x="109" y="212"/>
                    </a:lnTo>
                    <a:lnTo>
                      <a:pt x="116" y="212"/>
                    </a:lnTo>
                    <a:lnTo>
                      <a:pt x="116" y="219"/>
                    </a:lnTo>
                    <a:lnTo>
                      <a:pt x="116" y="226"/>
                    </a:lnTo>
                    <a:lnTo>
                      <a:pt x="122" y="226"/>
                    </a:lnTo>
                    <a:lnTo>
                      <a:pt x="116" y="226"/>
                    </a:lnTo>
                    <a:lnTo>
                      <a:pt x="109" y="226"/>
                    </a:lnTo>
                    <a:lnTo>
                      <a:pt x="102" y="226"/>
                    </a:lnTo>
                    <a:close/>
                    <a:moveTo>
                      <a:pt x="116" y="123"/>
                    </a:moveTo>
                    <a:lnTo>
                      <a:pt x="109" y="123"/>
                    </a:lnTo>
                    <a:lnTo>
                      <a:pt x="109" y="117"/>
                    </a:lnTo>
                    <a:lnTo>
                      <a:pt x="116" y="117"/>
                    </a:lnTo>
                    <a:lnTo>
                      <a:pt x="116" y="123"/>
                    </a:lnTo>
                    <a:lnTo>
                      <a:pt x="122" y="123"/>
                    </a:lnTo>
                    <a:lnTo>
                      <a:pt x="122" y="130"/>
                    </a:lnTo>
                    <a:lnTo>
                      <a:pt x="116" y="123"/>
                    </a:lnTo>
                    <a:close/>
                    <a:moveTo>
                      <a:pt x="116" y="110"/>
                    </a:moveTo>
                    <a:lnTo>
                      <a:pt x="109" y="110"/>
                    </a:lnTo>
                    <a:lnTo>
                      <a:pt x="116" y="103"/>
                    </a:lnTo>
                    <a:lnTo>
                      <a:pt x="122" y="103"/>
                    </a:lnTo>
                    <a:lnTo>
                      <a:pt x="122" y="110"/>
                    </a:lnTo>
                    <a:lnTo>
                      <a:pt x="116" y="110"/>
                    </a:lnTo>
                    <a:close/>
                    <a:moveTo>
                      <a:pt x="130" y="103"/>
                    </a:moveTo>
                    <a:lnTo>
                      <a:pt x="130" y="96"/>
                    </a:lnTo>
                    <a:lnTo>
                      <a:pt x="130" y="89"/>
                    </a:lnTo>
                    <a:lnTo>
                      <a:pt x="136" y="89"/>
                    </a:lnTo>
                    <a:lnTo>
                      <a:pt x="136" y="96"/>
                    </a:lnTo>
                    <a:lnTo>
                      <a:pt x="130" y="103"/>
                    </a:lnTo>
                    <a:lnTo>
                      <a:pt x="130" y="110"/>
                    </a:lnTo>
                    <a:lnTo>
                      <a:pt x="130" y="103"/>
                    </a:lnTo>
                    <a:close/>
                    <a:moveTo>
                      <a:pt x="116" y="21"/>
                    </a:moveTo>
                    <a:lnTo>
                      <a:pt x="116" y="14"/>
                    </a:lnTo>
                    <a:lnTo>
                      <a:pt x="122" y="14"/>
                    </a:lnTo>
                    <a:lnTo>
                      <a:pt x="122" y="21"/>
                    </a:lnTo>
                    <a:lnTo>
                      <a:pt x="122" y="14"/>
                    </a:lnTo>
                    <a:lnTo>
                      <a:pt x="130" y="21"/>
                    </a:lnTo>
                    <a:lnTo>
                      <a:pt x="136" y="14"/>
                    </a:lnTo>
                    <a:lnTo>
                      <a:pt x="136" y="7"/>
                    </a:lnTo>
                    <a:lnTo>
                      <a:pt x="143" y="7"/>
                    </a:lnTo>
                    <a:lnTo>
                      <a:pt x="143" y="14"/>
                    </a:lnTo>
                    <a:lnTo>
                      <a:pt x="136" y="14"/>
                    </a:lnTo>
                    <a:lnTo>
                      <a:pt x="143" y="14"/>
                    </a:lnTo>
                    <a:lnTo>
                      <a:pt x="136" y="21"/>
                    </a:lnTo>
                    <a:lnTo>
                      <a:pt x="130" y="21"/>
                    </a:lnTo>
                    <a:lnTo>
                      <a:pt x="130" y="28"/>
                    </a:lnTo>
                    <a:lnTo>
                      <a:pt x="136" y="21"/>
                    </a:lnTo>
                    <a:lnTo>
                      <a:pt x="136" y="28"/>
                    </a:lnTo>
                    <a:lnTo>
                      <a:pt x="143" y="34"/>
                    </a:lnTo>
                    <a:lnTo>
                      <a:pt x="150" y="34"/>
                    </a:lnTo>
                    <a:lnTo>
                      <a:pt x="150" y="41"/>
                    </a:lnTo>
                    <a:lnTo>
                      <a:pt x="150" y="48"/>
                    </a:lnTo>
                    <a:lnTo>
                      <a:pt x="157" y="48"/>
                    </a:lnTo>
                    <a:lnTo>
                      <a:pt x="157" y="55"/>
                    </a:lnTo>
                    <a:lnTo>
                      <a:pt x="150" y="55"/>
                    </a:lnTo>
                    <a:lnTo>
                      <a:pt x="150" y="62"/>
                    </a:lnTo>
                    <a:lnTo>
                      <a:pt x="143" y="69"/>
                    </a:lnTo>
                    <a:lnTo>
                      <a:pt x="143" y="62"/>
                    </a:lnTo>
                    <a:lnTo>
                      <a:pt x="150" y="62"/>
                    </a:lnTo>
                    <a:lnTo>
                      <a:pt x="150" y="55"/>
                    </a:lnTo>
                    <a:lnTo>
                      <a:pt x="143" y="55"/>
                    </a:lnTo>
                    <a:lnTo>
                      <a:pt x="143" y="48"/>
                    </a:lnTo>
                    <a:lnTo>
                      <a:pt x="143" y="41"/>
                    </a:lnTo>
                    <a:lnTo>
                      <a:pt x="136" y="41"/>
                    </a:lnTo>
                    <a:lnTo>
                      <a:pt x="136" y="34"/>
                    </a:lnTo>
                    <a:lnTo>
                      <a:pt x="136" y="41"/>
                    </a:lnTo>
                    <a:lnTo>
                      <a:pt x="130" y="41"/>
                    </a:lnTo>
                    <a:lnTo>
                      <a:pt x="130" y="48"/>
                    </a:lnTo>
                    <a:lnTo>
                      <a:pt x="122" y="41"/>
                    </a:lnTo>
                    <a:lnTo>
                      <a:pt x="122" y="34"/>
                    </a:lnTo>
                    <a:lnTo>
                      <a:pt x="122" y="28"/>
                    </a:lnTo>
                    <a:lnTo>
                      <a:pt x="122" y="21"/>
                    </a:lnTo>
                    <a:lnTo>
                      <a:pt x="116" y="21"/>
                    </a:lnTo>
                    <a:close/>
                    <a:moveTo>
                      <a:pt x="122" y="151"/>
                    </a:moveTo>
                    <a:lnTo>
                      <a:pt x="122" y="144"/>
                    </a:lnTo>
                    <a:lnTo>
                      <a:pt x="122" y="137"/>
                    </a:lnTo>
                    <a:lnTo>
                      <a:pt x="122" y="130"/>
                    </a:lnTo>
                    <a:lnTo>
                      <a:pt x="130" y="130"/>
                    </a:lnTo>
                    <a:lnTo>
                      <a:pt x="130" y="137"/>
                    </a:lnTo>
                    <a:lnTo>
                      <a:pt x="136" y="137"/>
                    </a:lnTo>
                    <a:lnTo>
                      <a:pt x="143" y="137"/>
                    </a:lnTo>
                    <a:lnTo>
                      <a:pt x="143" y="130"/>
                    </a:lnTo>
                    <a:lnTo>
                      <a:pt x="150" y="130"/>
                    </a:lnTo>
                    <a:lnTo>
                      <a:pt x="150" y="137"/>
                    </a:lnTo>
                    <a:lnTo>
                      <a:pt x="143" y="144"/>
                    </a:lnTo>
                    <a:lnTo>
                      <a:pt x="150" y="151"/>
                    </a:lnTo>
                    <a:lnTo>
                      <a:pt x="143" y="151"/>
                    </a:lnTo>
                    <a:lnTo>
                      <a:pt x="136" y="158"/>
                    </a:lnTo>
                    <a:lnTo>
                      <a:pt x="143" y="151"/>
                    </a:lnTo>
                    <a:lnTo>
                      <a:pt x="136" y="151"/>
                    </a:lnTo>
                    <a:lnTo>
                      <a:pt x="130" y="151"/>
                    </a:lnTo>
                    <a:lnTo>
                      <a:pt x="122" y="144"/>
                    </a:lnTo>
                    <a:lnTo>
                      <a:pt x="122" y="151"/>
                    </a:lnTo>
                    <a:close/>
                    <a:moveTo>
                      <a:pt x="150" y="21"/>
                    </a:moveTo>
                    <a:lnTo>
                      <a:pt x="150" y="14"/>
                    </a:lnTo>
                    <a:lnTo>
                      <a:pt x="150" y="7"/>
                    </a:lnTo>
                    <a:lnTo>
                      <a:pt x="157" y="0"/>
                    </a:lnTo>
                    <a:lnTo>
                      <a:pt x="163" y="7"/>
                    </a:lnTo>
                    <a:lnTo>
                      <a:pt x="157" y="7"/>
                    </a:lnTo>
                    <a:lnTo>
                      <a:pt x="157" y="14"/>
                    </a:lnTo>
                    <a:lnTo>
                      <a:pt x="157" y="21"/>
                    </a:lnTo>
                    <a:lnTo>
                      <a:pt x="150" y="21"/>
                    </a:lnTo>
                    <a:close/>
                    <a:moveTo>
                      <a:pt x="157" y="89"/>
                    </a:moveTo>
                    <a:lnTo>
                      <a:pt x="150" y="89"/>
                    </a:lnTo>
                    <a:lnTo>
                      <a:pt x="150" y="83"/>
                    </a:lnTo>
                    <a:lnTo>
                      <a:pt x="157" y="83"/>
                    </a:lnTo>
                    <a:lnTo>
                      <a:pt x="157" y="89"/>
                    </a:lnTo>
                    <a:lnTo>
                      <a:pt x="163" y="83"/>
                    </a:lnTo>
                    <a:lnTo>
                      <a:pt x="163" y="76"/>
                    </a:lnTo>
                    <a:lnTo>
                      <a:pt x="163" y="69"/>
                    </a:lnTo>
                    <a:lnTo>
                      <a:pt x="163" y="62"/>
                    </a:lnTo>
                    <a:lnTo>
                      <a:pt x="170" y="62"/>
                    </a:lnTo>
                    <a:lnTo>
                      <a:pt x="177" y="62"/>
                    </a:lnTo>
                    <a:lnTo>
                      <a:pt x="170" y="69"/>
                    </a:lnTo>
                    <a:lnTo>
                      <a:pt x="177" y="69"/>
                    </a:lnTo>
                    <a:lnTo>
                      <a:pt x="177" y="76"/>
                    </a:lnTo>
                    <a:lnTo>
                      <a:pt x="170" y="76"/>
                    </a:lnTo>
                    <a:lnTo>
                      <a:pt x="170" y="83"/>
                    </a:lnTo>
                    <a:lnTo>
                      <a:pt x="170" y="89"/>
                    </a:lnTo>
                    <a:lnTo>
                      <a:pt x="163" y="96"/>
                    </a:lnTo>
                    <a:lnTo>
                      <a:pt x="170" y="103"/>
                    </a:lnTo>
                    <a:lnTo>
                      <a:pt x="170" y="110"/>
                    </a:lnTo>
                    <a:lnTo>
                      <a:pt x="163" y="103"/>
                    </a:lnTo>
                    <a:lnTo>
                      <a:pt x="157" y="110"/>
                    </a:lnTo>
                    <a:lnTo>
                      <a:pt x="157" y="103"/>
                    </a:lnTo>
                    <a:lnTo>
                      <a:pt x="157" y="96"/>
                    </a:lnTo>
                    <a:lnTo>
                      <a:pt x="157" y="89"/>
                    </a:lnTo>
                    <a:close/>
                    <a:moveTo>
                      <a:pt x="177" y="69"/>
                    </a:moveTo>
                    <a:lnTo>
                      <a:pt x="177" y="62"/>
                    </a:lnTo>
                    <a:lnTo>
                      <a:pt x="177" y="69"/>
                    </a:lnTo>
                    <a:close/>
                    <a:moveTo>
                      <a:pt x="177" y="137"/>
                    </a:moveTo>
                    <a:lnTo>
                      <a:pt x="177" y="130"/>
                    </a:lnTo>
                    <a:lnTo>
                      <a:pt x="184" y="130"/>
                    </a:lnTo>
                    <a:lnTo>
                      <a:pt x="184" y="123"/>
                    </a:lnTo>
                    <a:lnTo>
                      <a:pt x="191" y="123"/>
                    </a:lnTo>
                    <a:lnTo>
                      <a:pt x="191" y="117"/>
                    </a:lnTo>
                    <a:lnTo>
                      <a:pt x="191" y="110"/>
                    </a:lnTo>
                    <a:lnTo>
                      <a:pt x="184" y="103"/>
                    </a:lnTo>
                    <a:lnTo>
                      <a:pt x="191" y="103"/>
                    </a:lnTo>
                    <a:lnTo>
                      <a:pt x="197" y="103"/>
                    </a:lnTo>
                    <a:lnTo>
                      <a:pt x="197" y="110"/>
                    </a:lnTo>
                    <a:lnTo>
                      <a:pt x="191" y="103"/>
                    </a:lnTo>
                    <a:lnTo>
                      <a:pt x="197" y="110"/>
                    </a:lnTo>
                    <a:lnTo>
                      <a:pt x="204" y="117"/>
                    </a:lnTo>
                    <a:lnTo>
                      <a:pt x="204" y="110"/>
                    </a:lnTo>
                    <a:lnTo>
                      <a:pt x="204" y="117"/>
                    </a:lnTo>
                    <a:lnTo>
                      <a:pt x="197" y="117"/>
                    </a:lnTo>
                    <a:lnTo>
                      <a:pt x="197" y="123"/>
                    </a:lnTo>
                    <a:lnTo>
                      <a:pt x="204" y="123"/>
                    </a:lnTo>
                    <a:lnTo>
                      <a:pt x="211" y="123"/>
                    </a:lnTo>
                    <a:lnTo>
                      <a:pt x="204" y="130"/>
                    </a:lnTo>
                    <a:lnTo>
                      <a:pt x="211" y="130"/>
                    </a:lnTo>
                    <a:lnTo>
                      <a:pt x="211" y="137"/>
                    </a:lnTo>
                    <a:lnTo>
                      <a:pt x="204" y="137"/>
                    </a:lnTo>
                    <a:lnTo>
                      <a:pt x="197" y="144"/>
                    </a:lnTo>
                    <a:lnTo>
                      <a:pt x="197" y="137"/>
                    </a:lnTo>
                    <a:lnTo>
                      <a:pt x="197" y="144"/>
                    </a:lnTo>
                    <a:lnTo>
                      <a:pt x="191" y="137"/>
                    </a:lnTo>
                    <a:lnTo>
                      <a:pt x="197" y="130"/>
                    </a:lnTo>
                    <a:lnTo>
                      <a:pt x="191" y="123"/>
                    </a:lnTo>
                    <a:lnTo>
                      <a:pt x="184" y="123"/>
                    </a:lnTo>
                    <a:lnTo>
                      <a:pt x="184" y="130"/>
                    </a:lnTo>
                    <a:lnTo>
                      <a:pt x="184" y="137"/>
                    </a:lnTo>
                    <a:lnTo>
                      <a:pt x="177" y="137"/>
                    </a:lnTo>
                    <a:close/>
                    <a:moveTo>
                      <a:pt x="184" y="89"/>
                    </a:moveTo>
                    <a:lnTo>
                      <a:pt x="184" y="83"/>
                    </a:lnTo>
                    <a:lnTo>
                      <a:pt x="184" y="76"/>
                    </a:lnTo>
                    <a:lnTo>
                      <a:pt x="191" y="76"/>
                    </a:lnTo>
                    <a:lnTo>
                      <a:pt x="191" y="69"/>
                    </a:lnTo>
                    <a:lnTo>
                      <a:pt x="197" y="69"/>
                    </a:lnTo>
                    <a:lnTo>
                      <a:pt x="197" y="62"/>
                    </a:lnTo>
                    <a:lnTo>
                      <a:pt x="204" y="62"/>
                    </a:lnTo>
                    <a:lnTo>
                      <a:pt x="211" y="62"/>
                    </a:lnTo>
                    <a:lnTo>
                      <a:pt x="211" y="55"/>
                    </a:lnTo>
                    <a:lnTo>
                      <a:pt x="204" y="55"/>
                    </a:lnTo>
                    <a:lnTo>
                      <a:pt x="204" y="48"/>
                    </a:lnTo>
                    <a:lnTo>
                      <a:pt x="211" y="48"/>
                    </a:lnTo>
                    <a:lnTo>
                      <a:pt x="218" y="48"/>
                    </a:lnTo>
                    <a:lnTo>
                      <a:pt x="224" y="48"/>
                    </a:lnTo>
                    <a:lnTo>
                      <a:pt x="218" y="55"/>
                    </a:lnTo>
                    <a:lnTo>
                      <a:pt x="218" y="62"/>
                    </a:lnTo>
                    <a:lnTo>
                      <a:pt x="211" y="62"/>
                    </a:lnTo>
                    <a:lnTo>
                      <a:pt x="218" y="62"/>
                    </a:lnTo>
                    <a:lnTo>
                      <a:pt x="224" y="62"/>
                    </a:lnTo>
                    <a:lnTo>
                      <a:pt x="231" y="55"/>
                    </a:lnTo>
                    <a:lnTo>
                      <a:pt x="238" y="55"/>
                    </a:lnTo>
                    <a:lnTo>
                      <a:pt x="245" y="55"/>
                    </a:lnTo>
                    <a:lnTo>
                      <a:pt x="245" y="48"/>
                    </a:lnTo>
                    <a:lnTo>
                      <a:pt x="252" y="48"/>
                    </a:lnTo>
                    <a:lnTo>
                      <a:pt x="245" y="55"/>
                    </a:lnTo>
                    <a:lnTo>
                      <a:pt x="252" y="55"/>
                    </a:lnTo>
                    <a:lnTo>
                      <a:pt x="245" y="55"/>
                    </a:lnTo>
                    <a:lnTo>
                      <a:pt x="252" y="62"/>
                    </a:lnTo>
                    <a:lnTo>
                      <a:pt x="245" y="62"/>
                    </a:lnTo>
                    <a:lnTo>
                      <a:pt x="238" y="62"/>
                    </a:lnTo>
                    <a:lnTo>
                      <a:pt x="231" y="62"/>
                    </a:lnTo>
                    <a:lnTo>
                      <a:pt x="231" y="69"/>
                    </a:lnTo>
                    <a:lnTo>
                      <a:pt x="224" y="69"/>
                    </a:lnTo>
                    <a:lnTo>
                      <a:pt x="224" y="76"/>
                    </a:lnTo>
                    <a:lnTo>
                      <a:pt x="224" y="83"/>
                    </a:lnTo>
                    <a:lnTo>
                      <a:pt x="218" y="76"/>
                    </a:lnTo>
                    <a:lnTo>
                      <a:pt x="224" y="76"/>
                    </a:lnTo>
                    <a:lnTo>
                      <a:pt x="224" y="69"/>
                    </a:lnTo>
                    <a:lnTo>
                      <a:pt x="218" y="69"/>
                    </a:lnTo>
                    <a:lnTo>
                      <a:pt x="224" y="69"/>
                    </a:lnTo>
                    <a:lnTo>
                      <a:pt x="218" y="76"/>
                    </a:lnTo>
                    <a:lnTo>
                      <a:pt x="211" y="76"/>
                    </a:lnTo>
                    <a:lnTo>
                      <a:pt x="211" y="83"/>
                    </a:lnTo>
                    <a:lnTo>
                      <a:pt x="211" y="76"/>
                    </a:lnTo>
                    <a:lnTo>
                      <a:pt x="211" y="69"/>
                    </a:lnTo>
                    <a:lnTo>
                      <a:pt x="204" y="76"/>
                    </a:lnTo>
                    <a:lnTo>
                      <a:pt x="204" y="69"/>
                    </a:lnTo>
                    <a:lnTo>
                      <a:pt x="197" y="69"/>
                    </a:lnTo>
                    <a:lnTo>
                      <a:pt x="197" y="76"/>
                    </a:lnTo>
                    <a:lnTo>
                      <a:pt x="191" y="83"/>
                    </a:lnTo>
                    <a:lnTo>
                      <a:pt x="184" y="89"/>
                    </a:lnTo>
                    <a:lnTo>
                      <a:pt x="184" y="83"/>
                    </a:lnTo>
                    <a:lnTo>
                      <a:pt x="184" y="89"/>
                    </a:lnTo>
                    <a:close/>
                    <a:moveTo>
                      <a:pt x="252" y="28"/>
                    </a:moveTo>
                    <a:lnTo>
                      <a:pt x="245" y="28"/>
                    </a:lnTo>
                    <a:lnTo>
                      <a:pt x="252" y="28"/>
                    </a:lnTo>
                    <a:lnTo>
                      <a:pt x="252" y="21"/>
                    </a:lnTo>
                    <a:lnTo>
                      <a:pt x="252" y="14"/>
                    </a:lnTo>
                    <a:lnTo>
                      <a:pt x="259" y="14"/>
                    </a:lnTo>
                    <a:lnTo>
                      <a:pt x="259" y="21"/>
                    </a:lnTo>
                    <a:lnTo>
                      <a:pt x="259" y="14"/>
                    </a:lnTo>
                    <a:lnTo>
                      <a:pt x="265" y="14"/>
                    </a:lnTo>
                    <a:lnTo>
                      <a:pt x="265" y="21"/>
                    </a:lnTo>
                    <a:lnTo>
                      <a:pt x="259" y="21"/>
                    </a:lnTo>
                    <a:lnTo>
                      <a:pt x="259" y="28"/>
                    </a:lnTo>
                    <a:lnTo>
                      <a:pt x="252" y="34"/>
                    </a:lnTo>
                    <a:lnTo>
                      <a:pt x="252" y="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15" name="Freeform 6">
                <a:extLst>
                  <a:ext uri="{FF2B5EF4-FFF2-40B4-BE49-F238E27FC236}">
                    <a16:creationId xmlns:a16="http://schemas.microsoft.com/office/drawing/2014/main" id="{E61F6AFF-F5EA-A168-DF38-CB021A8DCAF7}"/>
                  </a:ext>
                </a:extLst>
              </p:cNvPr>
              <p:cNvSpPr>
                <a:spLocks/>
              </p:cNvSpPr>
              <p:nvPr/>
            </p:nvSpPr>
            <p:spPr bwMode="gray">
              <a:xfrm>
                <a:off x="6402388" y="3470275"/>
                <a:ext cx="87313" cy="109538"/>
              </a:xfrm>
              <a:custGeom>
                <a:avLst/>
                <a:gdLst>
                  <a:gd name="T0" fmla="*/ 7 w 55"/>
                  <a:gd name="T1" fmla="*/ 21 h 69"/>
                  <a:gd name="T2" fmla="*/ 0 w 55"/>
                  <a:gd name="T3" fmla="*/ 21 h 69"/>
                  <a:gd name="T4" fmla="*/ 7 w 55"/>
                  <a:gd name="T5" fmla="*/ 14 h 69"/>
                  <a:gd name="T6" fmla="*/ 7 w 55"/>
                  <a:gd name="T7" fmla="*/ 7 h 69"/>
                  <a:gd name="T8" fmla="*/ 14 w 55"/>
                  <a:gd name="T9" fmla="*/ 0 h 69"/>
                  <a:gd name="T10" fmla="*/ 21 w 55"/>
                  <a:gd name="T11" fmla="*/ 0 h 69"/>
                  <a:gd name="T12" fmla="*/ 28 w 55"/>
                  <a:gd name="T13" fmla="*/ 0 h 69"/>
                  <a:gd name="T14" fmla="*/ 28 w 55"/>
                  <a:gd name="T15" fmla="*/ 7 h 69"/>
                  <a:gd name="T16" fmla="*/ 28 w 55"/>
                  <a:gd name="T17" fmla="*/ 14 h 69"/>
                  <a:gd name="T18" fmla="*/ 34 w 55"/>
                  <a:gd name="T19" fmla="*/ 14 h 69"/>
                  <a:gd name="T20" fmla="*/ 41 w 55"/>
                  <a:gd name="T21" fmla="*/ 21 h 69"/>
                  <a:gd name="T22" fmla="*/ 48 w 55"/>
                  <a:gd name="T23" fmla="*/ 21 h 69"/>
                  <a:gd name="T24" fmla="*/ 48 w 55"/>
                  <a:gd name="T25" fmla="*/ 28 h 69"/>
                  <a:gd name="T26" fmla="*/ 48 w 55"/>
                  <a:gd name="T27" fmla="*/ 34 h 69"/>
                  <a:gd name="T28" fmla="*/ 48 w 55"/>
                  <a:gd name="T29" fmla="*/ 41 h 69"/>
                  <a:gd name="T30" fmla="*/ 48 w 55"/>
                  <a:gd name="T31" fmla="*/ 48 h 69"/>
                  <a:gd name="T32" fmla="*/ 55 w 55"/>
                  <a:gd name="T33" fmla="*/ 48 h 69"/>
                  <a:gd name="T34" fmla="*/ 55 w 55"/>
                  <a:gd name="T35" fmla="*/ 55 h 69"/>
                  <a:gd name="T36" fmla="*/ 48 w 55"/>
                  <a:gd name="T37" fmla="*/ 55 h 69"/>
                  <a:gd name="T38" fmla="*/ 41 w 55"/>
                  <a:gd name="T39" fmla="*/ 55 h 69"/>
                  <a:gd name="T40" fmla="*/ 34 w 55"/>
                  <a:gd name="T41" fmla="*/ 55 h 69"/>
                  <a:gd name="T42" fmla="*/ 34 w 55"/>
                  <a:gd name="T43" fmla="*/ 62 h 69"/>
                  <a:gd name="T44" fmla="*/ 34 w 55"/>
                  <a:gd name="T45" fmla="*/ 69 h 69"/>
                  <a:gd name="T46" fmla="*/ 41 w 55"/>
                  <a:gd name="T47" fmla="*/ 62 h 69"/>
                  <a:gd name="T48" fmla="*/ 48 w 55"/>
                  <a:gd name="T49" fmla="*/ 62 h 69"/>
                  <a:gd name="T50" fmla="*/ 55 w 55"/>
                  <a:gd name="T51" fmla="*/ 62 h 69"/>
                  <a:gd name="T52" fmla="*/ 55 w 55"/>
                  <a:gd name="T53" fmla="*/ 69 h 69"/>
                  <a:gd name="T54" fmla="*/ 48 w 55"/>
                  <a:gd name="T55" fmla="*/ 69 h 69"/>
                  <a:gd name="T56" fmla="*/ 41 w 55"/>
                  <a:gd name="T57" fmla="*/ 69 h 69"/>
                  <a:gd name="T58" fmla="*/ 34 w 55"/>
                  <a:gd name="T59" fmla="*/ 69 h 69"/>
                  <a:gd name="T60" fmla="*/ 41 w 55"/>
                  <a:gd name="T61" fmla="*/ 69 h 69"/>
                  <a:gd name="T62" fmla="*/ 34 w 55"/>
                  <a:gd name="T63" fmla="*/ 69 h 69"/>
                  <a:gd name="T64" fmla="*/ 28 w 55"/>
                  <a:gd name="T65" fmla="*/ 69 h 69"/>
                  <a:gd name="T66" fmla="*/ 21 w 55"/>
                  <a:gd name="T67" fmla="*/ 69 h 69"/>
                  <a:gd name="T68" fmla="*/ 21 w 55"/>
                  <a:gd name="T69" fmla="*/ 62 h 69"/>
                  <a:gd name="T70" fmla="*/ 21 w 55"/>
                  <a:gd name="T71" fmla="*/ 55 h 69"/>
                  <a:gd name="T72" fmla="*/ 21 w 55"/>
                  <a:gd name="T73" fmla="*/ 48 h 69"/>
                  <a:gd name="T74" fmla="*/ 14 w 55"/>
                  <a:gd name="T75" fmla="*/ 48 h 69"/>
                  <a:gd name="T76" fmla="*/ 14 w 55"/>
                  <a:gd name="T77" fmla="*/ 41 h 69"/>
                  <a:gd name="T78" fmla="*/ 14 w 55"/>
                  <a:gd name="T79" fmla="*/ 34 h 69"/>
                  <a:gd name="T80" fmla="*/ 14 w 55"/>
                  <a:gd name="T81" fmla="*/ 28 h 69"/>
                  <a:gd name="T82" fmla="*/ 7 w 55"/>
                  <a:gd name="T83" fmla="*/ 2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 h="69">
                    <a:moveTo>
                      <a:pt x="7" y="21"/>
                    </a:moveTo>
                    <a:lnTo>
                      <a:pt x="0" y="21"/>
                    </a:lnTo>
                    <a:lnTo>
                      <a:pt x="7" y="14"/>
                    </a:lnTo>
                    <a:lnTo>
                      <a:pt x="7" y="7"/>
                    </a:lnTo>
                    <a:lnTo>
                      <a:pt x="14" y="0"/>
                    </a:lnTo>
                    <a:lnTo>
                      <a:pt x="21" y="0"/>
                    </a:lnTo>
                    <a:lnTo>
                      <a:pt x="28" y="0"/>
                    </a:lnTo>
                    <a:lnTo>
                      <a:pt x="28" y="7"/>
                    </a:lnTo>
                    <a:lnTo>
                      <a:pt x="28" y="14"/>
                    </a:lnTo>
                    <a:lnTo>
                      <a:pt x="34" y="14"/>
                    </a:lnTo>
                    <a:lnTo>
                      <a:pt x="41" y="21"/>
                    </a:lnTo>
                    <a:lnTo>
                      <a:pt x="48" y="21"/>
                    </a:lnTo>
                    <a:lnTo>
                      <a:pt x="48" y="28"/>
                    </a:lnTo>
                    <a:lnTo>
                      <a:pt x="48" y="34"/>
                    </a:lnTo>
                    <a:lnTo>
                      <a:pt x="48" y="41"/>
                    </a:lnTo>
                    <a:lnTo>
                      <a:pt x="48" y="48"/>
                    </a:lnTo>
                    <a:lnTo>
                      <a:pt x="55" y="48"/>
                    </a:lnTo>
                    <a:lnTo>
                      <a:pt x="55" y="55"/>
                    </a:lnTo>
                    <a:lnTo>
                      <a:pt x="48" y="55"/>
                    </a:lnTo>
                    <a:lnTo>
                      <a:pt x="41" y="55"/>
                    </a:lnTo>
                    <a:lnTo>
                      <a:pt x="34" y="55"/>
                    </a:lnTo>
                    <a:lnTo>
                      <a:pt x="34" y="62"/>
                    </a:lnTo>
                    <a:lnTo>
                      <a:pt x="34" y="69"/>
                    </a:lnTo>
                    <a:lnTo>
                      <a:pt x="41" y="62"/>
                    </a:lnTo>
                    <a:lnTo>
                      <a:pt x="48" y="62"/>
                    </a:lnTo>
                    <a:lnTo>
                      <a:pt x="55" y="62"/>
                    </a:lnTo>
                    <a:lnTo>
                      <a:pt x="55" y="69"/>
                    </a:lnTo>
                    <a:lnTo>
                      <a:pt x="48" y="69"/>
                    </a:lnTo>
                    <a:lnTo>
                      <a:pt x="41" y="69"/>
                    </a:lnTo>
                    <a:lnTo>
                      <a:pt x="34" y="69"/>
                    </a:lnTo>
                    <a:lnTo>
                      <a:pt x="41" y="69"/>
                    </a:lnTo>
                    <a:lnTo>
                      <a:pt x="34" y="69"/>
                    </a:lnTo>
                    <a:lnTo>
                      <a:pt x="28" y="69"/>
                    </a:lnTo>
                    <a:lnTo>
                      <a:pt x="21" y="69"/>
                    </a:lnTo>
                    <a:lnTo>
                      <a:pt x="21" y="62"/>
                    </a:lnTo>
                    <a:lnTo>
                      <a:pt x="21" y="55"/>
                    </a:lnTo>
                    <a:lnTo>
                      <a:pt x="21" y="48"/>
                    </a:lnTo>
                    <a:lnTo>
                      <a:pt x="14" y="48"/>
                    </a:lnTo>
                    <a:lnTo>
                      <a:pt x="14" y="41"/>
                    </a:lnTo>
                    <a:lnTo>
                      <a:pt x="14" y="34"/>
                    </a:lnTo>
                    <a:lnTo>
                      <a:pt x="14" y="28"/>
                    </a:lnTo>
                    <a:lnTo>
                      <a:pt x="7" y="21"/>
                    </a:lnTo>
                    <a:close/>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16" name="Freeform 7">
                <a:extLst>
                  <a:ext uri="{FF2B5EF4-FFF2-40B4-BE49-F238E27FC236}">
                    <a16:creationId xmlns:a16="http://schemas.microsoft.com/office/drawing/2014/main" id="{6E0F5378-D9E8-3222-F88D-778DD3D1CFF1}"/>
                  </a:ext>
                </a:extLst>
              </p:cNvPr>
              <p:cNvSpPr>
                <a:spLocks/>
              </p:cNvSpPr>
              <p:nvPr/>
            </p:nvSpPr>
            <p:spPr bwMode="gray">
              <a:xfrm>
                <a:off x="6446838" y="3470275"/>
                <a:ext cx="20638" cy="11113"/>
              </a:xfrm>
              <a:custGeom>
                <a:avLst/>
                <a:gdLst>
                  <a:gd name="T0" fmla="*/ 0 w 13"/>
                  <a:gd name="T1" fmla="*/ 7 h 7"/>
                  <a:gd name="T2" fmla="*/ 0 w 13"/>
                  <a:gd name="T3" fmla="*/ 0 h 7"/>
                  <a:gd name="T4" fmla="*/ 6 w 13"/>
                  <a:gd name="T5" fmla="*/ 0 h 7"/>
                  <a:gd name="T6" fmla="*/ 13 w 13"/>
                  <a:gd name="T7" fmla="*/ 0 h 7"/>
                  <a:gd name="T8" fmla="*/ 13 w 13"/>
                  <a:gd name="T9" fmla="*/ 7 h 7"/>
                  <a:gd name="T10" fmla="*/ 6 w 13"/>
                  <a:gd name="T11" fmla="*/ 7 h 7"/>
                  <a:gd name="T12" fmla="*/ 0 w 1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0" y="7"/>
                    </a:moveTo>
                    <a:lnTo>
                      <a:pt x="0" y="0"/>
                    </a:lnTo>
                    <a:lnTo>
                      <a:pt x="6" y="0"/>
                    </a:lnTo>
                    <a:lnTo>
                      <a:pt x="13" y="0"/>
                    </a:lnTo>
                    <a:lnTo>
                      <a:pt x="13" y="7"/>
                    </a:lnTo>
                    <a:lnTo>
                      <a:pt x="6"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17" name="Freeform 8">
                <a:extLst>
                  <a:ext uri="{FF2B5EF4-FFF2-40B4-BE49-F238E27FC236}">
                    <a16:creationId xmlns:a16="http://schemas.microsoft.com/office/drawing/2014/main" id="{63D877A9-5EF3-3CF4-34A0-B5620DA86450}"/>
                  </a:ext>
                </a:extLst>
              </p:cNvPr>
              <p:cNvSpPr>
                <a:spLocks/>
              </p:cNvSpPr>
              <p:nvPr/>
            </p:nvSpPr>
            <p:spPr bwMode="gray">
              <a:xfrm>
                <a:off x="6489700" y="3535363"/>
                <a:ext cx="9525" cy="11113"/>
              </a:xfrm>
              <a:custGeom>
                <a:avLst/>
                <a:gdLst>
                  <a:gd name="T0" fmla="*/ 0 w 6"/>
                  <a:gd name="T1" fmla="*/ 7 h 7"/>
                  <a:gd name="T2" fmla="*/ 0 w 6"/>
                  <a:gd name="T3" fmla="*/ 0 h 7"/>
                  <a:gd name="T4" fmla="*/ 6 w 6"/>
                  <a:gd name="T5" fmla="*/ 7 h 7"/>
                  <a:gd name="T6" fmla="*/ 0 w 6"/>
                  <a:gd name="T7" fmla="*/ 7 h 7"/>
                </a:gdLst>
                <a:ahLst/>
                <a:cxnLst>
                  <a:cxn ang="0">
                    <a:pos x="T0" y="T1"/>
                  </a:cxn>
                  <a:cxn ang="0">
                    <a:pos x="T2" y="T3"/>
                  </a:cxn>
                  <a:cxn ang="0">
                    <a:pos x="T4" y="T5"/>
                  </a:cxn>
                  <a:cxn ang="0">
                    <a:pos x="T6" y="T7"/>
                  </a:cxn>
                </a:cxnLst>
                <a:rect l="0" t="0" r="r" b="b"/>
                <a:pathLst>
                  <a:path w="6" h="7">
                    <a:moveTo>
                      <a:pt x="0" y="7"/>
                    </a:moveTo>
                    <a:lnTo>
                      <a:pt x="0" y="0"/>
                    </a:lnTo>
                    <a:lnTo>
                      <a:pt x="6"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29" name="Freeform 9">
                <a:extLst>
                  <a:ext uri="{FF2B5EF4-FFF2-40B4-BE49-F238E27FC236}">
                    <a16:creationId xmlns:a16="http://schemas.microsoft.com/office/drawing/2014/main" id="{D754936A-3D22-6756-18BA-EEF2E79C24AE}"/>
                  </a:ext>
                </a:extLst>
              </p:cNvPr>
              <p:cNvSpPr>
                <a:spLocks/>
              </p:cNvSpPr>
              <p:nvPr/>
            </p:nvSpPr>
            <p:spPr bwMode="gray">
              <a:xfrm>
                <a:off x="6446838" y="3330575"/>
                <a:ext cx="214313" cy="215900"/>
              </a:xfrm>
              <a:custGeom>
                <a:avLst/>
                <a:gdLst>
                  <a:gd name="T0" fmla="*/ 0 w 135"/>
                  <a:gd name="T1" fmla="*/ 54 h 136"/>
                  <a:gd name="T2" fmla="*/ 6 w 135"/>
                  <a:gd name="T3" fmla="*/ 40 h 136"/>
                  <a:gd name="T4" fmla="*/ 6 w 135"/>
                  <a:gd name="T5" fmla="*/ 34 h 136"/>
                  <a:gd name="T6" fmla="*/ 6 w 135"/>
                  <a:gd name="T7" fmla="*/ 13 h 136"/>
                  <a:gd name="T8" fmla="*/ 20 w 135"/>
                  <a:gd name="T9" fmla="*/ 0 h 136"/>
                  <a:gd name="T10" fmla="*/ 33 w 135"/>
                  <a:gd name="T11" fmla="*/ 0 h 136"/>
                  <a:gd name="T12" fmla="*/ 47 w 135"/>
                  <a:gd name="T13" fmla="*/ 6 h 136"/>
                  <a:gd name="T14" fmla="*/ 60 w 135"/>
                  <a:gd name="T15" fmla="*/ 13 h 136"/>
                  <a:gd name="T16" fmla="*/ 74 w 135"/>
                  <a:gd name="T17" fmla="*/ 27 h 136"/>
                  <a:gd name="T18" fmla="*/ 74 w 135"/>
                  <a:gd name="T19" fmla="*/ 34 h 136"/>
                  <a:gd name="T20" fmla="*/ 81 w 135"/>
                  <a:gd name="T21" fmla="*/ 47 h 136"/>
                  <a:gd name="T22" fmla="*/ 67 w 135"/>
                  <a:gd name="T23" fmla="*/ 47 h 136"/>
                  <a:gd name="T24" fmla="*/ 60 w 135"/>
                  <a:gd name="T25" fmla="*/ 61 h 136"/>
                  <a:gd name="T26" fmla="*/ 54 w 135"/>
                  <a:gd name="T27" fmla="*/ 61 h 136"/>
                  <a:gd name="T28" fmla="*/ 60 w 135"/>
                  <a:gd name="T29" fmla="*/ 75 h 136"/>
                  <a:gd name="T30" fmla="*/ 74 w 135"/>
                  <a:gd name="T31" fmla="*/ 75 h 136"/>
                  <a:gd name="T32" fmla="*/ 88 w 135"/>
                  <a:gd name="T33" fmla="*/ 75 h 136"/>
                  <a:gd name="T34" fmla="*/ 88 w 135"/>
                  <a:gd name="T35" fmla="*/ 75 h 136"/>
                  <a:gd name="T36" fmla="*/ 88 w 135"/>
                  <a:gd name="T37" fmla="*/ 82 h 136"/>
                  <a:gd name="T38" fmla="*/ 94 w 135"/>
                  <a:gd name="T39" fmla="*/ 95 h 136"/>
                  <a:gd name="T40" fmla="*/ 102 w 135"/>
                  <a:gd name="T41" fmla="*/ 88 h 136"/>
                  <a:gd name="T42" fmla="*/ 115 w 135"/>
                  <a:gd name="T43" fmla="*/ 82 h 136"/>
                  <a:gd name="T44" fmla="*/ 108 w 135"/>
                  <a:gd name="T45" fmla="*/ 95 h 136"/>
                  <a:gd name="T46" fmla="*/ 108 w 135"/>
                  <a:gd name="T47" fmla="*/ 102 h 136"/>
                  <a:gd name="T48" fmla="*/ 108 w 135"/>
                  <a:gd name="T49" fmla="*/ 116 h 136"/>
                  <a:gd name="T50" fmla="*/ 115 w 135"/>
                  <a:gd name="T51" fmla="*/ 116 h 136"/>
                  <a:gd name="T52" fmla="*/ 108 w 135"/>
                  <a:gd name="T53" fmla="*/ 102 h 136"/>
                  <a:gd name="T54" fmla="*/ 129 w 135"/>
                  <a:gd name="T55" fmla="*/ 102 h 136"/>
                  <a:gd name="T56" fmla="*/ 135 w 135"/>
                  <a:gd name="T57" fmla="*/ 102 h 136"/>
                  <a:gd name="T58" fmla="*/ 129 w 135"/>
                  <a:gd name="T59" fmla="*/ 116 h 136"/>
                  <a:gd name="T60" fmla="*/ 115 w 135"/>
                  <a:gd name="T61" fmla="*/ 116 h 136"/>
                  <a:gd name="T62" fmla="*/ 102 w 135"/>
                  <a:gd name="T63" fmla="*/ 129 h 136"/>
                  <a:gd name="T64" fmla="*/ 94 w 135"/>
                  <a:gd name="T65" fmla="*/ 122 h 136"/>
                  <a:gd name="T66" fmla="*/ 81 w 135"/>
                  <a:gd name="T67" fmla="*/ 116 h 136"/>
                  <a:gd name="T68" fmla="*/ 74 w 135"/>
                  <a:gd name="T69" fmla="*/ 95 h 136"/>
                  <a:gd name="T70" fmla="*/ 60 w 135"/>
                  <a:gd name="T71" fmla="*/ 95 h 136"/>
                  <a:gd name="T72" fmla="*/ 47 w 135"/>
                  <a:gd name="T73" fmla="*/ 95 h 136"/>
                  <a:gd name="T74" fmla="*/ 27 w 135"/>
                  <a:gd name="T75" fmla="*/ 102 h 136"/>
                  <a:gd name="T76" fmla="*/ 20 w 135"/>
                  <a:gd name="T77" fmla="*/ 88 h 136"/>
                  <a:gd name="T78" fmla="*/ 20 w 135"/>
                  <a:gd name="T79" fmla="*/ 75 h 136"/>
                  <a:gd name="T80" fmla="*/ 13 w 135"/>
                  <a:gd name="T81" fmla="*/ 75 h 136"/>
                  <a:gd name="T82" fmla="*/ 0 w 135"/>
                  <a:gd name="T83" fmla="*/ 8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5" h="136">
                    <a:moveTo>
                      <a:pt x="0" y="68"/>
                    </a:moveTo>
                    <a:lnTo>
                      <a:pt x="0" y="61"/>
                    </a:lnTo>
                    <a:lnTo>
                      <a:pt x="0" y="54"/>
                    </a:lnTo>
                    <a:lnTo>
                      <a:pt x="0" y="47"/>
                    </a:lnTo>
                    <a:lnTo>
                      <a:pt x="6" y="47"/>
                    </a:lnTo>
                    <a:lnTo>
                      <a:pt x="6" y="40"/>
                    </a:lnTo>
                    <a:lnTo>
                      <a:pt x="0" y="40"/>
                    </a:lnTo>
                    <a:lnTo>
                      <a:pt x="6" y="40"/>
                    </a:lnTo>
                    <a:lnTo>
                      <a:pt x="6" y="34"/>
                    </a:lnTo>
                    <a:lnTo>
                      <a:pt x="6" y="27"/>
                    </a:lnTo>
                    <a:lnTo>
                      <a:pt x="6" y="20"/>
                    </a:lnTo>
                    <a:lnTo>
                      <a:pt x="6" y="13"/>
                    </a:lnTo>
                    <a:lnTo>
                      <a:pt x="13" y="13"/>
                    </a:lnTo>
                    <a:lnTo>
                      <a:pt x="20" y="6"/>
                    </a:lnTo>
                    <a:lnTo>
                      <a:pt x="20" y="0"/>
                    </a:lnTo>
                    <a:lnTo>
                      <a:pt x="27" y="6"/>
                    </a:lnTo>
                    <a:lnTo>
                      <a:pt x="27" y="0"/>
                    </a:lnTo>
                    <a:lnTo>
                      <a:pt x="33" y="0"/>
                    </a:lnTo>
                    <a:lnTo>
                      <a:pt x="40" y="0"/>
                    </a:lnTo>
                    <a:lnTo>
                      <a:pt x="47" y="0"/>
                    </a:lnTo>
                    <a:lnTo>
                      <a:pt x="47" y="6"/>
                    </a:lnTo>
                    <a:lnTo>
                      <a:pt x="54" y="6"/>
                    </a:lnTo>
                    <a:lnTo>
                      <a:pt x="54" y="13"/>
                    </a:lnTo>
                    <a:lnTo>
                      <a:pt x="60" y="13"/>
                    </a:lnTo>
                    <a:lnTo>
                      <a:pt x="60" y="20"/>
                    </a:lnTo>
                    <a:lnTo>
                      <a:pt x="67" y="20"/>
                    </a:lnTo>
                    <a:lnTo>
                      <a:pt x="74" y="27"/>
                    </a:lnTo>
                    <a:lnTo>
                      <a:pt x="67" y="27"/>
                    </a:lnTo>
                    <a:lnTo>
                      <a:pt x="67" y="34"/>
                    </a:lnTo>
                    <a:lnTo>
                      <a:pt x="74" y="34"/>
                    </a:lnTo>
                    <a:lnTo>
                      <a:pt x="74" y="40"/>
                    </a:lnTo>
                    <a:lnTo>
                      <a:pt x="81" y="40"/>
                    </a:lnTo>
                    <a:lnTo>
                      <a:pt x="81" y="47"/>
                    </a:lnTo>
                    <a:lnTo>
                      <a:pt x="74" y="54"/>
                    </a:lnTo>
                    <a:lnTo>
                      <a:pt x="67" y="54"/>
                    </a:lnTo>
                    <a:lnTo>
                      <a:pt x="67" y="47"/>
                    </a:lnTo>
                    <a:lnTo>
                      <a:pt x="60" y="54"/>
                    </a:lnTo>
                    <a:lnTo>
                      <a:pt x="67" y="54"/>
                    </a:lnTo>
                    <a:lnTo>
                      <a:pt x="60" y="61"/>
                    </a:lnTo>
                    <a:lnTo>
                      <a:pt x="54" y="61"/>
                    </a:lnTo>
                    <a:lnTo>
                      <a:pt x="54" y="68"/>
                    </a:lnTo>
                    <a:lnTo>
                      <a:pt x="54" y="61"/>
                    </a:lnTo>
                    <a:lnTo>
                      <a:pt x="47" y="61"/>
                    </a:lnTo>
                    <a:lnTo>
                      <a:pt x="54" y="68"/>
                    </a:lnTo>
                    <a:lnTo>
                      <a:pt x="60" y="75"/>
                    </a:lnTo>
                    <a:lnTo>
                      <a:pt x="67" y="68"/>
                    </a:lnTo>
                    <a:lnTo>
                      <a:pt x="74" y="68"/>
                    </a:lnTo>
                    <a:lnTo>
                      <a:pt x="74" y="75"/>
                    </a:lnTo>
                    <a:lnTo>
                      <a:pt x="81" y="75"/>
                    </a:lnTo>
                    <a:lnTo>
                      <a:pt x="81" y="82"/>
                    </a:lnTo>
                    <a:lnTo>
                      <a:pt x="88" y="75"/>
                    </a:lnTo>
                    <a:lnTo>
                      <a:pt x="88" y="68"/>
                    </a:lnTo>
                    <a:lnTo>
                      <a:pt x="94" y="68"/>
                    </a:lnTo>
                    <a:lnTo>
                      <a:pt x="88" y="75"/>
                    </a:lnTo>
                    <a:lnTo>
                      <a:pt x="94" y="75"/>
                    </a:lnTo>
                    <a:lnTo>
                      <a:pt x="94" y="82"/>
                    </a:lnTo>
                    <a:lnTo>
                      <a:pt x="88" y="82"/>
                    </a:lnTo>
                    <a:lnTo>
                      <a:pt x="88" y="88"/>
                    </a:lnTo>
                    <a:lnTo>
                      <a:pt x="88" y="95"/>
                    </a:lnTo>
                    <a:lnTo>
                      <a:pt x="94" y="95"/>
                    </a:lnTo>
                    <a:lnTo>
                      <a:pt x="94" y="88"/>
                    </a:lnTo>
                    <a:lnTo>
                      <a:pt x="102" y="95"/>
                    </a:lnTo>
                    <a:lnTo>
                      <a:pt x="102" y="88"/>
                    </a:lnTo>
                    <a:lnTo>
                      <a:pt x="108" y="88"/>
                    </a:lnTo>
                    <a:lnTo>
                      <a:pt x="115" y="88"/>
                    </a:lnTo>
                    <a:lnTo>
                      <a:pt x="115" y="82"/>
                    </a:lnTo>
                    <a:lnTo>
                      <a:pt x="115" y="88"/>
                    </a:lnTo>
                    <a:lnTo>
                      <a:pt x="115" y="95"/>
                    </a:lnTo>
                    <a:lnTo>
                      <a:pt x="108" y="95"/>
                    </a:lnTo>
                    <a:lnTo>
                      <a:pt x="102" y="95"/>
                    </a:lnTo>
                    <a:lnTo>
                      <a:pt x="102" y="102"/>
                    </a:lnTo>
                    <a:lnTo>
                      <a:pt x="108" y="102"/>
                    </a:lnTo>
                    <a:lnTo>
                      <a:pt x="108" y="109"/>
                    </a:lnTo>
                    <a:lnTo>
                      <a:pt x="102" y="109"/>
                    </a:lnTo>
                    <a:lnTo>
                      <a:pt x="108" y="116"/>
                    </a:lnTo>
                    <a:lnTo>
                      <a:pt x="108" y="109"/>
                    </a:lnTo>
                    <a:lnTo>
                      <a:pt x="108" y="116"/>
                    </a:lnTo>
                    <a:lnTo>
                      <a:pt x="115" y="116"/>
                    </a:lnTo>
                    <a:lnTo>
                      <a:pt x="115" y="109"/>
                    </a:lnTo>
                    <a:lnTo>
                      <a:pt x="115" y="102"/>
                    </a:lnTo>
                    <a:lnTo>
                      <a:pt x="108" y="102"/>
                    </a:lnTo>
                    <a:lnTo>
                      <a:pt x="115" y="102"/>
                    </a:lnTo>
                    <a:lnTo>
                      <a:pt x="122" y="102"/>
                    </a:lnTo>
                    <a:lnTo>
                      <a:pt x="129" y="102"/>
                    </a:lnTo>
                    <a:lnTo>
                      <a:pt x="129" y="95"/>
                    </a:lnTo>
                    <a:lnTo>
                      <a:pt x="135" y="95"/>
                    </a:lnTo>
                    <a:lnTo>
                      <a:pt x="135" y="102"/>
                    </a:lnTo>
                    <a:lnTo>
                      <a:pt x="135" y="109"/>
                    </a:lnTo>
                    <a:lnTo>
                      <a:pt x="129" y="109"/>
                    </a:lnTo>
                    <a:lnTo>
                      <a:pt x="129" y="116"/>
                    </a:lnTo>
                    <a:lnTo>
                      <a:pt x="122" y="116"/>
                    </a:lnTo>
                    <a:lnTo>
                      <a:pt x="115" y="122"/>
                    </a:lnTo>
                    <a:lnTo>
                      <a:pt x="115" y="116"/>
                    </a:lnTo>
                    <a:lnTo>
                      <a:pt x="108" y="122"/>
                    </a:lnTo>
                    <a:lnTo>
                      <a:pt x="108" y="129"/>
                    </a:lnTo>
                    <a:lnTo>
                      <a:pt x="102" y="129"/>
                    </a:lnTo>
                    <a:lnTo>
                      <a:pt x="102" y="136"/>
                    </a:lnTo>
                    <a:lnTo>
                      <a:pt x="102" y="129"/>
                    </a:lnTo>
                    <a:lnTo>
                      <a:pt x="94" y="122"/>
                    </a:lnTo>
                    <a:lnTo>
                      <a:pt x="88" y="122"/>
                    </a:lnTo>
                    <a:lnTo>
                      <a:pt x="81" y="122"/>
                    </a:lnTo>
                    <a:lnTo>
                      <a:pt x="81" y="116"/>
                    </a:lnTo>
                    <a:lnTo>
                      <a:pt x="81" y="109"/>
                    </a:lnTo>
                    <a:lnTo>
                      <a:pt x="74" y="102"/>
                    </a:lnTo>
                    <a:lnTo>
                      <a:pt x="74" y="95"/>
                    </a:lnTo>
                    <a:lnTo>
                      <a:pt x="74" y="88"/>
                    </a:lnTo>
                    <a:lnTo>
                      <a:pt x="67" y="95"/>
                    </a:lnTo>
                    <a:lnTo>
                      <a:pt x="60" y="95"/>
                    </a:lnTo>
                    <a:lnTo>
                      <a:pt x="54" y="95"/>
                    </a:lnTo>
                    <a:lnTo>
                      <a:pt x="54" y="102"/>
                    </a:lnTo>
                    <a:lnTo>
                      <a:pt x="47" y="95"/>
                    </a:lnTo>
                    <a:lnTo>
                      <a:pt x="40" y="102"/>
                    </a:lnTo>
                    <a:lnTo>
                      <a:pt x="33" y="102"/>
                    </a:lnTo>
                    <a:lnTo>
                      <a:pt x="27" y="102"/>
                    </a:lnTo>
                    <a:lnTo>
                      <a:pt x="27" y="95"/>
                    </a:lnTo>
                    <a:lnTo>
                      <a:pt x="20" y="95"/>
                    </a:lnTo>
                    <a:lnTo>
                      <a:pt x="20" y="88"/>
                    </a:lnTo>
                    <a:lnTo>
                      <a:pt x="20" y="82"/>
                    </a:lnTo>
                    <a:lnTo>
                      <a:pt x="27" y="82"/>
                    </a:lnTo>
                    <a:lnTo>
                      <a:pt x="20" y="75"/>
                    </a:lnTo>
                    <a:lnTo>
                      <a:pt x="13" y="75"/>
                    </a:lnTo>
                    <a:lnTo>
                      <a:pt x="13" y="82"/>
                    </a:lnTo>
                    <a:lnTo>
                      <a:pt x="13" y="75"/>
                    </a:lnTo>
                    <a:lnTo>
                      <a:pt x="6" y="75"/>
                    </a:lnTo>
                    <a:lnTo>
                      <a:pt x="6" y="82"/>
                    </a:lnTo>
                    <a:lnTo>
                      <a:pt x="0" y="82"/>
                    </a:lnTo>
                    <a:lnTo>
                      <a:pt x="0" y="75"/>
                    </a:lnTo>
                    <a:lnTo>
                      <a:pt x="0" y="68"/>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30" name="Freeform 10">
                <a:extLst>
                  <a:ext uri="{FF2B5EF4-FFF2-40B4-BE49-F238E27FC236}">
                    <a16:creationId xmlns:a16="http://schemas.microsoft.com/office/drawing/2014/main" id="{378D27E8-821C-C3B5-F371-CFED906AFFF9}"/>
                  </a:ext>
                </a:extLst>
              </p:cNvPr>
              <p:cNvSpPr>
                <a:spLocks/>
              </p:cNvSpPr>
              <p:nvPr/>
            </p:nvSpPr>
            <p:spPr bwMode="gray">
              <a:xfrm>
                <a:off x="6489700" y="3546475"/>
                <a:ext cx="31750" cy="22225"/>
              </a:xfrm>
              <a:custGeom>
                <a:avLst/>
                <a:gdLst>
                  <a:gd name="T0" fmla="*/ 6 w 20"/>
                  <a:gd name="T1" fmla="*/ 7 h 14"/>
                  <a:gd name="T2" fmla="*/ 0 w 20"/>
                  <a:gd name="T3" fmla="*/ 7 h 14"/>
                  <a:gd name="T4" fmla="*/ 6 w 20"/>
                  <a:gd name="T5" fmla="*/ 0 h 14"/>
                  <a:gd name="T6" fmla="*/ 13 w 20"/>
                  <a:gd name="T7" fmla="*/ 0 h 14"/>
                  <a:gd name="T8" fmla="*/ 20 w 20"/>
                  <a:gd name="T9" fmla="*/ 0 h 14"/>
                  <a:gd name="T10" fmla="*/ 13 w 20"/>
                  <a:gd name="T11" fmla="*/ 0 h 14"/>
                  <a:gd name="T12" fmla="*/ 13 w 20"/>
                  <a:gd name="T13" fmla="*/ 7 h 14"/>
                  <a:gd name="T14" fmla="*/ 20 w 20"/>
                  <a:gd name="T15" fmla="*/ 7 h 14"/>
                  <a:gd name="T16" fmla="*/ 13 w 20"/>
                  <a:gd name="T17" fmla="*/ 14 h 14"/>
                  <a:gd name="T18" fmla="*/ 13 w 20"/>
                  <a:gd name="T19" fmla="*/ 7 h 14"/>
                  <a:gd name="T20" fmla="*/ 6 w 20"/>
                  <a:gd name="T2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
                    <a:moveTo>
                      <a:pt x="6" y="7"/>
                    </a:moveTo>
                    <a:lnTo>
                      <a:pt x="0" y="7"/>
                    </a:lnTo>
                    <a:lnTo>
                      <a:pt x="6" y="0"/>
                    </a:lnTo>
                    <a:lnTo>
                      <a:pt x="13" y="0"/>
                    </a:lnTo>
                    <a:lnTo>
                      <a:pt x="20" y="0"/>
                    </a:lnTo>
                    <a:lnTo>
                      <a:pt x="13" y="0"/>
                    </a:lnTo>
                    <a:lnTo>
                      <a:pt x="13" y="7"/>
                    </a:lnTo>
                    <a:lnTo>
                      <a:pt x="20" y="7"/>
                    </a:lnTo>
                    <a:lnTo>
                      <a:pt x="13" y="14"/>
                    </a:lnTo>
                    <a:lnTo>
                      <a:pt x="13" y="7"/>
                    </a:lnTo>
                    <a:lnTo>
                      <a:pt x="6"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31" name="Freeform 11">
                <a:extLst>
                  <a:ext uri="{FF2B5EF4-FFF2-40B4-BE49-F238E27FC236}">
                    <a16:creationId xmlns:a16="http://schemas.microsoft.com/office/drawing/2014/main" id="{1E25DCDB-3A43-160A-EEAC-68DA808A2823}"/>
                  </a:ext>
                </a:extLst>
              </p:cNvPr>
              <p:cNvSpPr>
                <a:spLocks/>
              </p:cNvSpPr>
              <p:nvPr/>
            </p:nvSpPr>
            <p:spPr bwMode="gray">
              <a:xfrm>
                <a:off x="6532563" y="3557588"/>
                <a:ext cx="53975" cy="76200"/>
              </a:xfrm>
              <a:custGeom>
                <a:avLst/>
                <a:gdLst>
                  <a:gd name="T0" fmla="*/ 0 w 34"/>
                  <a:gd name="T1" fmla="*/ 7 h 48"/>
                  <a:gd name="T2" fmla="*/ 0 w 34"/>
                  <a:gd name="T3" fmla="*/ 0 h 48"/>
                  <a:gd name="T4" fmla="*/ 6 w 34"/>
                  <a:gd name="T5" fmla="*/ 0 h 48"/>
                  <a:gd name="T6" fmla="*/ 13 w 34"/>
                  <a:gd name="T7" fmla="*/ 0 h 48"/>
                  <a:gd name="T8" fmla="*/ 13 w 34"/>
                  <a:gd name="T9" fmla="*/ 7 h 48"/>
                  <a:gd name="T10" fmla="*/ 20 w 34"/>
                  <a:gd name="T11" fmla="*/ 0 h 48"/>
                  <a:gd name="T12" fmla="*/ 27 w 34"/>
                  <a:gd name="T13" fmla="*/ 0 h 48"/>
                  <a:gd name="T14" fmla="*/ 34 w 34"/>
                  <a:gd name="T15" fmla="*/ 7 h 48"/>
                  <a:gd name="T16" fmla="*/ 27 w 34"/>
                  <a:gd name="T17" fmla="*/ 7 h 48"/>
                  <a:gd name="T18" fmla="*/ 34 w 34"/>
                  <a:gd name="T19" fmla="*/ 14 h 48"/>
                  <a:gd name="T20" fmla="*/ 27 w 34"/>
                  <a:gd name="T21" fmla="*/ 14 h 48"/>
                  <a:gd name="T22" fmla="*/ 27 w 34"/>
                  <a:gd name="T23" fmla="*/ 21 h 48"/>
                  <a:gd name="T24" fmla="*/ 20 w 34"/>
                  <a:gd name="T25" fmla="*/ 21 h 48"/>
                  <a:gd name="T26" fmla="*/ 20 w 34"/>
                  <a:gd name="T27" fmla="*/ 28 h 48"/>
                  <a:gd name="T28" fmla="*/ 13 w 34"/>
                  <a:gd name="T29" fmla="*/ 34 h 48"/>
                  <a:gd name="T30" fmla="*/ 20 w 34"/>
                  <a:gd name="T31" fmla="*/ 34 h 48"/>
                  <a:gd name="T32" fmla="*/ 20 w 34"/>
                  <a:gd name="T33" fmla="*/ 41 h 48"/>
                  <a:gd name="T34" fmla="*/ 13 w 34"/>
                  <a:gd name="T35" fmla="*/ 48 h 48"/>
                  <a:gd name="T36" fmla="*/ 6 w 34"/>
                  <a:gd name="T37" fmla="*/ 48 h 48"/>
                  <a:gd name="T38" fmla="*/ 6 w 34"/>
                  <a:gd name="T39" fmla="*/ 41 h 48"/>
                  <a:gd name="T40" fmla="*/ 6 w 34"/>
                  <a:gd name="T41" fmla="*/ 34 h 48"/>
                  <a:gd name="T42" fmla="*/ 0 w 34"/>
                  <a:gd name="T43" fmla="*/ 34 h 48"/>
                  <a:gd name="T44" fmla="*/ 6 w 34"/>
                  <a:gd name="T45" fmla="*/ 34 h 48"/>
                  <a:gd name="T46" fmla="*/ 6 w 34"/>
                  <a:gd name="T47" fmla="*/ 21 h 48"/>
                  <a:gd name="T48" fmla="*/ 6 w 34"/>
                  <a:gd name="T49" fmla="*/ 14 h 48"/>
                  <a:gd name="T50" fmla="*/ 0 w 34"/>
                  <a:gd name="T51" fmla="*/ 14 h 48"/>
                  <a:gd name="T52" fmla="*/ 0 w 34"/>
                  <a:gd name="T53" fmla="*/ 7 h 48"/>
                  <a:gd name="T54" fmla="*/ 6 w 34"/>
                  <a:gd name="T55" fmla="*/ 14 h 48"/>
                  <a:gd name="T56" fmla="*/ 13 w 34"/>
                  <a:gd name="T57" fmla="*/ 7 h 48"/>
                  <a:gd name="T58" fmla="*/ 6 w 34"/>
                  <a:gd name="T59" fmla="*/ 7 h 48"/>
                  <a:gd name="T60" fmla="*/ 6 w 34"/>
                  <a:gd name="T61" fmla="*/ 0 h 48"/>
                  <a:gd name="T62" fmla="*/ 0 w 34"/>
                  <a:gd name="T63" fmla="*/ 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 h="48">
                    <a:moveTo>
                      <a:pt x="0" y="7"/>
                    </a:moveTo>
                    <a:lnTo>
                      <a:pt x="0" y="0"/>
                    </a:lnTo>
                    <a:lnTo>
                      <a:pt x="6" y="0"/>
                    </a:lnTo>
                    <a:lnTo>
                      <a:pt x="13" y="0"/>
                    </a:lnTo>
                    <a:lnTo>
                      <a:pt x="13" y="7"/>
                    </a:lnTo>
                    <a:lnTo>
                      <a:pt x="20" y="0"/>
                    </a:lnTo>
                    <a:lnTo>
                      <a:pt x="27" y="0"/>
                    </a:lnTo>
                    <a:lnTo>
                      <a:pt x="34" y="7"/>
                    </a:lnTo>
                    <a:lnTo>
                      <a:pt x="27" y="7"/>
                    </a:lnTo>
                    <a:lnTo>
                      <a:pt x="34" y="14"/>
                    </a:lnTo>
                    <a:lnTo>
                      <a:pt x="27" y="14"/>
                    </a:lnTo>
                    <a:lnTo>
                      <a:pt x="27" y="21"/>
                    </a:lnTo>
                    <a:lnTo>
                      <a:pt x="20" y="21"/>
                    </a:lnTo>
                    <a:lnTo>
                      <a:pt x="20" y="28"/>
                    </a:lnTo>
                    <a:lnTo>
                      <a:pt x="13" y="34"/>
                    </a:lnTo>
                    <a:lnTo>
                      <a:pt x="20" y="34"/>
                    </a:lnTo>
                    <a:lnTo>
                      <a:pt x="20" y="41"/>
                    </a:lnTo>
                    <a:lnTo>
                      <a:pt x="13" y="48"/>
                    </a:lnTo>
                    <a:lnTo>
                      <a:pt x="6" y="48"/>
                    </a:lnTo>
                    <a:lnTo>
                      <a:pt x="6" y="41"/>
                    </a:lnTo>
                    <a:lnTo>
                      <a:pt x="6" y="34"/>
                    </a:lnTo>
                    <a:lnTo>
                      <a:pt x="0" y="34"/>
                    </a:lnTo>
                    <a:lnTo>
                      <a:pt x="6" y="34"/>
                    </a:lnTo>
                    <a:lnTo>
                      <a:pt x="6" y="21"/>
                    </a:lnTo>
                    <a:lnTo>
                      <a:pt x="6" y="14"/>
                    </a:lnTo>
                    <a:lnTo>
                      <a:pt x="0" y="14"/>
                    </a:lnTo>
                    <a:lnTo>
                      <a:pt x="0" y="7"/>
                    </a:lnTo>
                    <a:lnTo>
                      <a:pt x="6" y="14"/>
                    </a:lnTo>
                    <a:lnTo>
                      <a:pt x="13" y="7"/>
                    </a:lnTo>
                    <a:lnTo>
                      <a:pt x="6" y="7"/>
                    </a:lnTo>
                    <a:lnTo>
                      <a:pt x="6" y="0"/>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32" name="Freeform 12">
                <a:extLst>
                  <a:ext uri="{FF2B5EF4-FFF2-40B4-BE49-F238E27FC236}">
                    <a16:creationId xmlns:a16="http://schemas.microsoft.com/office/drawing/2014/main" id="{39A80FF0-115B-B2F6-6869-545CC4D62B88}"/>
                  </a:ext>
                </a:extLst>
              </p:cNvPr>
              <p:cNvSpPr>
                <a:spLocks/>
              </p:cNvSpPr>
              <p:nvPr/>
            </p:nvSpPr>
            <p:spPr bwMode="gray">
              <a:xfrm>
                <a:off x="6542088" y="3308350"/>
                <a:ext cx="66675" cy="53975"/>
              </a:xfrm>
              <a:custGeom>
                <a:avLst/>
                <a:gdLst>
                  <a:gd name="T0" fmla="*/ 7 w 42"/>
                  <a:gd name="T1" fmla="*/ 20 h 34"/>
                  <a:gd name="T2" fmla="*/ 0 w 42"/>
                  <a:gd name="T3" fmla="*/ 14 h 34"/>
                  <a:gd name="T4" fmla="*/ 7 w 42"/>
                  <a:gd name="T5" fmla="*/ 14 h 34"/>
                  <a:gd name="T6" fmla="*/ 7 w 42"/>
                  <a:gd name="T7" fmla="*/ 7 h 34"/>
                  <a:gd name="T8" fmla="*/ 14 w 42"/>
                  <a:gd name="T9" fmla="*/ 0 h 34"/>
                  <a:gd name="T10" fmla="*/ 14 w 42"/>
                  <a:gd name="T11" fmla="*/ 7 h 34"/>
                  <a:gd name="T12" fmla="*/ 21 w 42"/>
                  <a:gd name="T13" fmla="*/ 0 h 34"/>
                  <a:gd name="T14" fmla="*/ 21 w 42"/>
                  <a:gd name="T15" fmla="*/ 7 h 34"/>
                  <a:gd name="T16" fmla="*/ 14 w 42"/>
                  <a:gd name="T17" fmla="*/ 7 h 34"/>
                  <a:gd name="T18" fmla="*/ 21 w 42"/>
                  <a:gd name="T19" fmla="*/ 14 h 34"/>
                  <a:gd name="T20" fmla="*/ 28 w 42"/>
                  <a:gd name="T21" fmla="*/ 14 h 34"/>
                  <a:gd name="T22" fmla="*/ 34 w 42"/>
                  <a:gd name="T23" fmla="*/ 14 h 34"/>
                  <a:gd name="T24" fmla="*/ 34 w 42"/>
                  <a:gd name="T25" fmla="*/ 7 h 34"/>
                  <a:gd name="T26" fmla="*/ 34 w 42"/>
                  <a:gd name="T27" fmla="*/ 14 h 34"/>
                  <a:gd name="T28" fmla="*/ 42 w 42"/>
                  <a:gd name="T29" fmla="*/ 14 h 34"/>
                  <a:gd name="T30" fmla="*/ 34 w 42"/>
                  <a:gd name="T31" fmla="*/ 14 h 34"/>
                  <a:gd name="T32" fmla="*/ 34 w 42"/>
                  <a:gd name="T33" fmla="*/ 20 h 34"/>
                  <a:gd name="T34" fmla="*/ 28 w 42"/>
                  <a:gd name="T35" fmla="*/ 20 h 34"/>
                  <a:gd name="T36" fmla="*/ 34 w 42"/>
                  <a:gd name="T37" fmla="*/ 27 h 34"/>
                  <a:gd name="T38" fmla="*/ 34 w 42"/>
                  <a:gd name="T39" fmla="*/ 34 h 34"/>
                  <a:gd name="T40" fmla="*/ 28 w 42"/>
                  <a:gd name="T41" fmla="*/ 34 h 34"/>
                  <a:gd name="T42" fmla="*/ 21 w 42"/>
                  <a:gd name="T43" fmla="*/ 34 h 34"/>
                  <a:gd name="T44" fmla="*/ 14 w 42"/>
                  <a:gd name="T45" fmla="*/ 34 h 34"/>
                  <a:gd name="T46" fmla="*/ 14 w 42"/>
                  <a:gd name="T47" fmla="*/ 27 h 34"/>
                  <a:gd name="T48" fmla="*/ 7 w 42"/>
                  <a:gd name="T49" fmla="*/ 27 h 34"/>
                  <a:gd name="T50" fmla="*/ 7 w 42"/>
                  <a:gd name="T51"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34">
                    <a:moveTo>
                      <a:pt x="7" y="20"/>
                    </a:moveTo>
                    <a:lnTo>
                      <a:pt x="0" y="14"/>
                    </a:lnTo>
                    <a:lnTo>
                      <a:pt x="7" y="14"/>
                    </a:lnTo>
                    <a:lnTo>
                      <a:pt x="7" y="7"/>
                    </a:lnTo>
                    <a:lnTo>
                      <a:pt x="14" y="0"/>
                    </a:lnTo>
                    <a:lnTo>
                      <a:pt x="14" y="7"/>
                    </a:lnTo>
                    <a:lnTo>
                      <a:pt x="21" y="0"/>
                    </a:lnTo>
                    <a:lnTo>
                      <a:pt x="21" y="7"/>
                    </a:lnTo>
                    <a:lnTo>
                      <a:pt x="14" y="7"/>
                    </a:lnTo>
                    <a:lnTo>
                      <a:pt x="21" y="14"/>
                    </a:lnTo>
                    <a:lnTo>
                      <a:pt x="28" y="14"/>
                    </a:lnTo>
                    <a:lnTo>
                      <a:pt x="34" y="14"/>
                    </a:lnTo>
                    <a:lnTo>
                      <a:pt x="34" y="7"/>
                    </a:lnTo>
                    <a:lnTo>
                      <a:pt x="34" y="14"/>
                    </a:lnTo>
                    <a:lnTo>
                      <a:pt x="42" y="14"/>
                    </a:lnTo>
                    <a:lnTo>
                      <a:pt x="34" y="14"/>
                    </a:lnTo>
                    <a:lnTo>
                      <a:pt x="34" y="20"/>
                    </a:lnTo>
                    <a:lnTo>
                      <a:pt x="28" y="20"/>
                    </a:lnTo>
                    <a:lnTo>
                      <a:pt x="34" y="27"/>
                    </a:lnTo>
                    <a:lnTo>
                      <a:pt x="34" y="34"/>
                    </a:lnTo>
                    <a:lnTo>
                      <a:pt x="28" y="34"/>
                    </a:lnTo>
                    <a:lnTo>
                      <a:pt x="21" y="34"/>
                    </a:lnTo>
                    <a:lnTo>
                      <a:pt x="14" y="34"/>
                    </a:lnTo>
                    <a:lnTo>
                      <a:pt x="14" y="27"/>
                    </a:lnTo>
                    <a:lnTo>
                      <a:pt x="7" y="27"/>
                    </a:lnTo>
                    <a:lnTo>
                      <a:pt x="7" y="20"/>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33" name="Freeform 13">
                <a:extLst>
                  <a:ext uri="{FF2B5EF4-FFF2-40B4-BE49-F238E27FC236}">
                    <a16:creationId xmlns:a16="http://schemas.microsoft.com/office/drawing/2014/main" id="{2E469504-6ADD-D0DB-9375-29EBD68F94D1}"/>
                  </a:ext>
                </a:extLst>
              </p:cNvPr>
              <p:cNvSpPr>
                <a:spLocks/>
              </p:cNvSpPr>
              <p:nvPr/>
            </p:nvSpPr>
            <p:spPr bwMode="gray">
              <a:xfrm>
                <a:off x="6553200" y="3535363"/>
                <a:ext cx="42863" cy="22225"/>
              </a:xfrm>
              <a:custGeom>
                <a:avLst/>
                <a:gdLst>
                  <a:gd name="T0" fmla="*/ 7 w 27"/>
                  <a:gd name="T1" fmla="*/ 14 h 14"/>
                  <a:gd name="T2" fmla="*/ 0 w 27"/>
                  <a:gd name="T3" fmla="*/ 7 h 14"/>
                  <a:gd name="T4" fmla="*/ 7 w 27"/>
                  <a:gd name="T5" fmla="*/ 7 h 14"/>
                  <a:gd name="T6" fmla="*/ 14 w 27"/>
                  <a:gd name="T7" fmla="*/ 7 h 14"/>
                  <a:gd name="T8" fmla="*/ 14 w 27"/>
                  <a:gd name="T9" fmla="*/ 0 h 14"/>
                  <a:gd name="T10" fmla="*/ 21 w 27"/>
                  <a:gd name="T11" fmla="*/ 0 h 14"/>
                  <a:gd name="T12" fmla="*/ 21 w 27"/>
                  <a:gd name="T13" fmla="*/ 7 h 14"/>
                  <a:gd name="T14" fmla="*/ 21 w 27"/>
                  <a:gd name="T15" fmla="*/ 14 h 14"/>
                  <a:gd name="T16" fmla="*/ 27 w 27"/>
                  <a:gd name="T17" fmla="*/ 14 h 14"/>
                  <a:gd name="T18" fmla="*/ 21 w 27"/>
                  <a:gd name="T19" fmla="*/ 14 h 14"/>
                  <a:gd name="T20" fmla="*/ 14 w 27"/>
                  <a:gd name="T21" fmla="*/ 14 h 14"/>
                  <a:gd name="T22" fmla="*/ 7 w 27"/>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4">
                    <a:moveTo>
                      <a:pt x="7" y="14"/>
                    </a:moveTo>
                    <a:lnTo>
                      <a:pt x="0" y="7"/>
                    </a:lnTo>
                    <a:lnTo>
                      <a:pt x="7" y="7"/>
                    </a:lnTo>
                    <a:lnTo>
                      <a:pt x="14" y="7"/>
                    </a:lnTo>
                    <a:lnTo>
                      <a:pt x="14" y="0"/>
                    </a:lnTo>
                    <a:lnTo>
                      <a:pt x="21" y="0"/>
                    </a:lnTo>
                    <a:lnTo>
                      <a:pt x="21" y="7"/>
                    </a:lnTo>
                    <a:lnTo>
                      <a:pt x="21" y="14"/>
                    </a:lnTo>
                    <a:lnTo>
                      <a:pt x="27" y="14"/>
                    </a:lnTo>
                    <a:lnTo>
                      <a:pt x="21" y="14"/>
                    </a:lnTo>
                    <a:lnTo>
                      <a:pt x="14" y="14"/>
                    </a:lnTo>
                    <a:lnTo>
                      <a:pt x="7" y="1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37" name="Freeform 14">
                <a:extLst>
                  <a:ext uri="{FF2B5EF4-FFF2-40B4-BE49-F238E27FC236}">
                    <a16:creationId xmlns:a16="http://schemas.microsoft.com/office/drawing/2014/main" id="{BA106FEB-D3C9-2F69-254F-708FFB33693E}"/>
                  </a:ext>
                </a:extLst>
              </p:cNvPr>
              <p:cNvSpPr>
                <a:spLocks/>
              </p:cNvSpPr>
              <p:nvPr/>
            </p:nvSpPr>
            <p:spPr bwMode="gray">
              <a:xfrm>
                <a:off x="6575425" y="3384550"/>
                <a:ext cx="20638" cy="20638"/>
              </a:xfrm>
              <a:custGeom>
                <a:avLst/>
                <a:gdLst>
                  <a:gd name="T0" fmla="*/ 7 w 13"/>
                  <a:gd name="T1" fmla="*/ 6 h 13"/>
                  <a:gd name="T2" fmla="*/ 0 w 13"/>
                  <a:gd name="T3" fmla="*/ 6 h 13"/>
                  <a:gd name="T4" fmla="*/ 0 w 13"/>
                  <a:gd name="T5" fmla="*/ 0 h 13"/>
                  <a:gd name="T6" fmla="*/ 7 w 13"/>
                  <a:gd name="T7" fmla="*/ 0 h 13"/>
                  <a:gd name="T8" fmla="*/ 7 w 13"/>
                  <a:gd name="T9" fmla="*/ 6 h 13"/>
                  <a:gd name="T10" fmla="*/ 13 w 13"/>
                  <a:gd name="T11" fmla="*/ 6 h 13"/>
                  <a:gd name="T12" fmla="*/ 13 w 13"/>
                  <a:gd name="T13" fmla="*/ 13 h 13"/>
                  <a:gd name="T14" fmla="*/ 7 w 1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7" y="6"/>
                    </a:moveTo>
                    <a:lnTo>
                      <a:pt x="0" y="6"/>
                    </a:lnTo>
                    <a:lnTo>
                      <a:pt x="0" y="0"/>
                    </a:lnTo>
                    <a:lnTo>
                      <a:pt x="7" y="0"/>
                    </a:lnTo>
                    <a:lnTo>
                      <a:pt x="7" y="6"/>
                    </a:lnTo>
                    <a:lnTo>
                      <a:pt x="13" y="6"/>
                    </a:lnTo>
                    <a:lnTo>
                      <a:pt x="13" y="13"/>
                    </a:lnTo>
                    <a:lnTo>
                      <a:pt x="7" y="6"/>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39" name="Freeform 15">
                <a:extLst>
                  <a:ext uri="{FF2B5EF4-FFF2-40B4-BE49-F238E27FC236}">
                    <a16:creationId xmlns:a16="http://schemas.microsoft.com/office/drawing/2014/main" id="{FF40523F-88D4-C5F5-1625-F9896F328DC5}"/>
                  </a:ext>
                </a:extLst>
              </p:cNvPr>
              <p:cNvSpPr>
                <a:spLocks/>
              </p:cNvSpPr>
              <p:nvPr/>
            </p:nvSpPr>
            <p:spPr bwMode="gray">
              <a:xfrm>
                <a:off x="6575425" y="3362325"/>
                <a:ext cx="20638" cy="11113"/>
              </a:xfrm>
              <a:custGeom>
                <a:avLst/>
                <a:gdLst>
                  <a:gd name="T0" fmla="*/ 7 w 13"/>
                  <a:gd name="T1" fmla="*/ 7 h 7"/>
                  <a:gd name="T2" fmla="*/ 0 w 13"/>
                  <a:gd name="T3" fmla="*/ 7 h 7"/>
                  <a:gd name="T4" fmla="*/ 7 w 13"/>
                  <a:gd name="T5" fmla="*/ 0 h 7"/>
                  <a:gd name="T6" fmla="*/ 13 w 13"/>
                  <a:gd name="T7" fmla="*/ 0 h 7"/>
                  <a:gd name="T8" fmla="*/ 13 w 13"/>
                  <a:gd name="T9" fmla="*/ 7 h 7"/>
                  <a:gd name="T10" fmla="*/ 7 w 13"/>
                  <a:gd name="T11" fmla="*/ 7 h 7"/>
                </a:gdLst>
                <a:ahLst/>
                <a:cxnLst>
                  <a:cxn ang="0">
                    <a:pos x="T0" y="T1"/>
                  </a:cxn>
                  <a:cxn ang="0">
                    <a:pos x="T2" y="T3"/>
                  </a:cxn>
                  <a:cxn ang="0">
                    <a:pos x="T4" y="T5"/>
                  </a:cxn>
                  <a:cxn ang="0">
                    <a:pos x="T6" y="T7"/>
                  </a:cxn>
                  <a:cxn ang="0">
                    <a:pos x="T8" y="T9"/>
                  </a:cxn>
                  <a:cxn ang="0">
                    <a:pos x="T10" y="T11"/>
                  </a:cxn>
                </a:cxnLst>
                <a:rect l="0" t="0" r="r" b="b"/>
                <a:pathLst>
                  <a:path w="13" h="7">
                    <a:moveTo>
                      <a:pt x="7" y="7"/>
                    </a:moveTo>
                    <a:lnTo>
                      <a:pt x="0" y="7"/>
                    </a:lnTo>
                    <a:lnTo>
                      <a:pt x="7" y="0"/>
                    </a:lnTo>
                    <a:lnTo>
                      <a:pt x="13" y="0"/>
                    </a:lnTo>
                    <a:lnTo>
                      <a:pt x="13" y="7"/>
                    </a:lnTo>
                    <a:lnTo>
                      <a:pt x="7"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40" name="Freeform 16">
                <a:extLst>
                  <a:ext uri="{FF2B5EF4-FFF2-40B4-BE49-F238E27FC236}">
                    <a16:creationId xmlns:a16="http://schemas.microsoft.com/office/drawing/2014/main" id="{303CF067-32BA-0F66-E8E8-5ACFC6008352}"/>
                  </a:ext>
                </a:extLst>
              </p:cNvPr>
              <p:cNvSpPr>
                <a:spLocks/>
              </p:cNvSpPr>
              <p:nvPr/>
            </p:nvSpPr>
            <p:spPr bwMode="gray">
              <a:xfrm>
                <a:off x="6608763" y="3340100"/>
                <a:ext cx="9525" cy="33338"/>
              </a:xfrm>
              <a:custGeom>
                <a:avLst/>
                <a:gdLst>
                  <a:gd name="T0" fmla="*/ 0 w 6"/>
                  <a:gd name="T1" fmla="*/ 14 h 21"/>
                  <a:gd name="T2" fmla="*/ 0 w 6"/>
                  <a:gd name="T3" fmla="*/ 7 h 21"/>
                  <a:gd name="T4" fmla="*/ 0 w 6"/>
                  <a:gd name="T5" fmla="*/ 0 h 21"/>
                  <a:gd name="T6" fmla="*/ 6 w 6"/>
                  <a:gd name="T7" fmla="*/ 0 h 21"/>
                  <a:gd name="T8" fmla="*/ 6 w 6"/>
                  <a:gd name="T9" fmla="*/ 7 h 21"/>
                  <a:gd name="T10" fmla="*/ 0 w 6"/>
                  <a:gd name="T11" fmla="*/ 14 h 21"/>
                  <a:gd name="T12" fmla="*/ 0 w 6"/>
                  <a:gd name="T13" fmla="*/ 21 h 21"/>
                  <a:gd name="T14" fmla="*/ 0 w 6"/>
                  <a:gd name="T15" fmla="*/ 14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1">
                    <a:moveTo>
                      <a:pt x="0" y="14"/>
                    </a:moveTo>
                    <a:lnTo>
                      <a:pt x="0" y="7"/>
                    </a:lnTo>
                    <a:lnTo>
                      <a:pt x="0" y="0"/>
                    </a:lnTo>
                    <a:lnTo>
                      <a:pt x="6" y="0"/>
                    </a:lnTo>
                    <a:lnTo>
                      <a:pt x="6" y="7"/>
                    </a:lnTo>
                    <a:lnTo>
                      <a:pt x="0" y="14"/>
                    </a:lnTo>
                    <a:lnTo>
                      <a:pt x="0" y="21"/>
                    </a:lnTo>
                    <a:lnTo>
                      <a:pt x="0" y="1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41" name="Freeform 17">
                <a:extLst>
                  <a:ext uri="{FF2B5EF4-FFF2-40B4-BE49-F238E27FC236}">
                    <a16:creationId xmlns:a16="http://schemas.microsoft.com/office/drawing/2014/main" id="{B436E6B4-DD72-A8AB-05E7-C2686BC2AB3C}"/>
                  </a:ext>
                </a:extLst>
              </p:cNvPr>
              <p:cNvSpPr>
                <a:spLocks/>
              </p:cNvSpPr>
              <p:nvPr/>
            </p:nvSpPr>
            <p:spPr bwMode="gray">
              <a:xfrm>
                <a:off x="6586538" y="3209925"/>
                <a:ext cx="65088" cy="98425"/>
              </a:xfrm>
              <a:custGeom>
                <a:avLst/>
                <a:gdLst>
                  <a:gd name="T0" fmla="*/ 0 w 41"/>
                  <a:gd name="T1" fmla="*/ 14 h 62"/>
                  <a:gd name="T2" fmla="*/ 0 w 41"/>
                  <a:gd name="T3" fmla="*/ 7 h 62"/>
                  <a:gd name="T4" fmla="*/ 6 w 41"/>
                  <a:gd name="T5" fmla="*/ 7 h 62"/>
                  <a:gd name="T6" fmla="*/ 6 w 41"/>
                  <a:gd name="T7" fmla="*/ 14 h 62"/>
                  <a:gd name="T8" fmla="*/ 6 w 41"/>
                  <a:gd name="T9" fmla="*/ 7 h 62"/>
                  <a:gd name="T10" fmla="*/ 14 w 41"/>
                  <a:gd name="T11" fmla="*/ 14 h 62"/>
                  <a:gd name="T12" fmla="*/ 20 w 41"/>
                  <a:gd name="T13" fmla="*/ 7 h 62"/>
                  <a:gd name="T14" fmla="*/ 20 w 41"/>
                  <a:gd name="T15" fmla="*/ 0 h 62"/>
                  <a:gd name="T16" fmla="*/ 27 w 41"/>
                  <a:gd name="T17" fmla="*/ 0 h 62"/>
                  <a:gd name="T18" fmla="*/ 27 w 41"/>
                  <a:gd name="T19" fmla="*/ 7 h 62"/>
                  <a:gd name="T20" fmla="*/ 20 w 41"/>
                  <a:gd name="T21" fmla="*/ 7 h 62"/>
                  <a:gd name="T22" fmla="*/ 27 w 41"/>
                  <a:gd name="T23" fmla="*/ 7 h 62"/>
                  <a:gd name="T24" fmla="*/ 20 w 41"/>
                  <a:gd name="T25" fmla="*/ 14 h 62"/>
                  <a:gd name="T26" fmla="*/ 14 w 41"/>
                  <a:gd name="T27" fmla="*/ 14 h 62"/>
                  <a:gd name="T28" fmla="*/ 14 w 41"/>
                  <a:gd name="T29" fmla="*/ 21 h 62"/>
                  <a:gd name="T30" fmla="*/ 20 w 41"/>
                  <a:gd name="T31" fmla="*/ 14 h 62"/>
                  <a:gd name="T32" fmla="*/ 20 w 41"/>
                  <a:gd name="T33" fmla="*/ 21 h 62"/>
                  <a:gd name="T34" fmla="*/ 27 w 41"/>
                  <a:gd name="T35" fmla="*/ 27 h 62"/>
                  <a:gd name="T36" fmla="*/ 34 w 41"/>
                  <a:gd name="T37" fmla="*/ 27 h 62"/>
                  <a:gd name="T38" fmla="*/ 34 w 41"/>
                  <a:gd name="T39" fmla="*/ 34 h 62"/>
                  <a:gd name="T40" fmla="*/ 34 w 41"/>
                  <a:gd name="T41" fmla="*/ 41 h 62"/>
                  <a:gd name="T42" fmla="*/ 41 w 41"/>
                  <a:gd name="T43" fmla="*/ 41 h 62"/>
                  <a:gd name="T44" fmla="*/ 41 w 41"/>
                  <a:gd name="T45" fmla="*/ 48 h 62"/>
                  <a:gd name="T46" fmla="*/ 34 w 41"/>
                  <a:gd name="T47" fmla="*/ 48 h 62"/>
                  <a:gd name="T48" fmla="*/ 34 w 41"/>
                  <a:gd name="T49" fmla="*/ 55 h 62"/>
                  <a:gd name="T50" fmla="*/ 27 w 41"/>
                  <a:gd name="T51" fmla="*/ 62 h 62"/>
                  <a:gd name="T52" fmla="*/ 27 w 41"/>
                  <a:gd name="T53" fmla="*/ 55 h 62"/>
                  <a:gd name="T54" fmla="*/ 34 w 41"/>
                  <a:gd name="T55" fmla="*/ 55 h 62"/>
                  <a:gd name="T56" fmla="*/ 34 w 41"/>
                  <a:gd name="T57" fmla="*/ 48 h 62"/>
                  <a:gd name="T58" fmla="*/ 27 w 41"/>
                  <a:gd name="T59" fmla="*/ 48 h 62"/>
                  <a:gd name="T60" fmla="*/ 27 w 41"/>
                  <a:gd name="T61" fmla="*/ 41 h 62"/>
                  <a:gd name="T62" fmla="*/ 27 w 41"/>
                  <a:gd name="T63" fmla="*/ 34 h 62"/>
                  <a:gd name="T64" fmla="*/ 20 w 41"/>
                  <a:gd name="T65" fmla="*/ 34 h 62"/>
                  <a:gd name="T66" fmla="*/ 20 w 41"/>
                  <a:gd name="T67" fmla="*/ 27 h 62"/>
                  <a:gd name="T68" fmla="*/ 20 w 41"/>
                  <a:gd name="T69" fmla="*/ 34 h 62"/>
                  <a:gd name="T70" fmla="*/ 14 w 41"/>
                  <a:gd name="T71" fmla="*/ 34 h 62"/>
                  <a:gd name="T72" fmla="*/ 14 w 41"/>
                  <a:gd name="T73" fmla="*/ 41 h 62"/>
                  <a:gd name="T74" fmla="*/ 6 w 41"/>
                  <a:gd name="T75" fmla="*/ 34 h 62"/>
                  <a:gd name="T76" fmla="*/ 6 w 41"/>
                  <a:gd name="T77" fmla="*/ 27 h 62"/>
                  <a:gd name="T78" fmla="*/ 6 w 41"/>
                  <a:gd name="T79" fmla="*/ 21 h 62"/>
                  <a:gd name="T80" fmla="*/ 6 w 41"/>
                  <a:gd name="T81" fmla="*/ 14 h 62"/>
                  <a:gd name="T82" fmla="*/ 0 w 41"/>
                  <a:gd name="T83" fmla="*/ 1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 h="62">
                    <a:moveTo>
                      <a:pt x="0" y="14"/>
                    </a:moveTo>
                    <a:lnTo>
                      <a:pt x="0" y="7"/>
                    </a:lnTo>
                    <a:lnTo>
                      <a:pt x="6" y="7"/>
                    </a:lnTo>
                    <a:lnTo>
                      <a:pt x="6" y="14"/>
                    </a:lnTo>
                    <a:lnTo>
                      <a:pt x="6" y="7"/>
                    </a:lnTo>
                    <a:lnTo>
                      <a:pt x="14" y="14"/>
                    </a:lnTo>
                    <a:lnTo>
                      <a:pt x="20" y="7"/>
                    </a:lnTo>
                    <a:lnTo>
                      <a:pt x="20" y="0"/>
                    </a:lnTo>
                    <a:lnTo>
                      <a:pt x="27" y="0"/>
                    </a:lnTo>
                    <a:lnTo>
                      <a:pt x="27" y="7"/>
                    </a:lnTo>
                    <a:lnTo>
                      <a:pt x="20" y="7"/>
                    </a:lnTo>
                    <a:lnTo>
                      <a:pt x="27" y="7"/>
                    </a:lnTo>
                    <a:lnTo>
                      <a:pt x="20" y="14"/>
                    </a:lnTo>
                    <a:lnTo>
                      <a:pt x="14" y="14"/>
                    </a:lnTo>
                    <a:lnTo>
                      <a:pt x="14" y="21"/>
                    </a:lnTo>
                    <a:lnTo>
                      <a:pt x="20" y="14"/>
                    </a:lnTo>
                    <a:lnTo>
                      <a:pt x="20" y="21"/>
                    </a:lnTo>
                    <a:lnTo>
                      <a:pt x="27" y="27"/>
                    </a:lnTo>
                    <a:lnTo>
                      <a:pt x="34" y="27"/>
                    </a:lnTo>
                    <a:lnTo>
                      <a:pt x="34" y="34"/>
                    </a:lnTo>
                    <a:lnTo>
                      <a:pt x="34" y="41"/>
                    </a:lnTo>
                    <a:lnTo>
                      <a:pt x="41" y="41"/>
                    </a:lnTo>
                    <a:lnTo>
                      <a:pt x="41" y="48"/>
                    </a:lnTo>
                    <a:lnTo>
                      <a:pt x="34" y="48"/>
                    </a:lnTo>
                    <a:lnTo>
                      <a:pt x="34" y="55"/>
                    </a:lnTo>
                    <a:lnTo>
                      <a:pt x="27" y="62"/>
                    </a:lnTo>
                    <a:lnTo>
                      <a:pt x="27" y="55"/>
                    </a:lnTo>
                    <a:lnTo>
                      <a:pt x="34" y="55"/>
                    </a:lnTo>
                    <a:lnTo>
                      <a:pt x="34" y="48"/>
                    </a:lnTo>
                    <a:lnTo>
                      <a:pt x="27" y="48"/>
                    </a:lnTo>
                    <a:lnTo>
                      <a:pt x="27" y="41"/>
                    </a:lnTo>
                    <a:lnTo>
                      <a:pt x="27" y="34"/>
                    </a:lnTo>
                    <a:lnTo>
                      <a:pt x="20" y="34"/>
                    </a:lnTo>
                    <a:lnTo>
                      <a:pt x="20" y="27"/>
                    </a:lnTo>
                    <a:lnTo>
                      <a:pt x="20" y="34"/>
                    </a:lnTo>
                    <a:lnTo>
                      <a:pt x="14" y="34"/>
                    </a:lnTo>
                    <a:lnTo>
                      <a:pt x="14" y="41"/>
                    </a:lnTo>
                    <a:lnTo>
                      <a:pt x="6" y="34"/>
                    </a:lnTo>
                    <a:lnTo>
                      <a:pt x="6" y="27"/>
                    </a:lnTo>
                    <a:lnTo>
                      <a:pt x="6" y="21"/>
                    </a:lnTo>
                    <a:lnTo>
                      <a:pt x="6" y="14"/>
                    </a:lnTo>
                    <a:lnTo>
                      <a:pt x="0" y="14"/>
                    </a:lnTo>
                    <a:close/>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42" name="Freeform 18">
                <a:extLst>
                  <a:ext uri="{FF2B5EF4-FFF2-40B4-BE49-F238E27FC236}">
                    <a16:creationId xmlns:a16="http://schemas.microsoft.com/office/drawing/2014/main" id="{AEE0265A-BA89-15AF-9EE5-92179B9A0D69}"/>
                  </a:ext>
                </a:extLst>
              </p:cNvPr>
              <p:cNvSpPr>
                <a:spLocks/>
              </p:cNvSpPr>
              <p:nvPr/>
            </p:nvSpPr>
            <p:spPr bwMode="gray">
              <a:xfrm>
                <a:off x="6596063" y="3405188"/>
                <a:ext cx="44450" cy="44450"/>
              </a:xfrm>
              <a:custGeom>
                <a:avLst/>
                <a:gdLst>
                  <a:gd name="T0" fmla="*/ 0 w 28"/>
                  <a:gd name="T1" fmla="*/ 21 h 28"/>
                  <a:gd name="T2" fmla="*/ 0 w 28"/>
                  <a:gd name="T3" fmla="*/ 14 h 28"/>
                  <a:gd name="T4" fmla="*/ 0 w 28"/>
                  <a:gd name="T5" fmla="*/ 7 h 28"/>
                  <a:gd name="T6" fmla="*/ 0 w 28"/>
                  <a:gd name="T7" fmla="*/ 0 h 28"/>
                  <a:gd name="T8" fmla="*/ 8 w 28"/>
                  <a:gd name="T9" fmla="*/ 0 h 28"/>
                  <a:gd name="T10" fmla="*/ 8 w 28"/>
                  <a:gd name="T11" fmla="*/ 7 h 28"/>
                  <a:gd name="T12" fmla="*/ 14 w 28"/>
                  <a:gd name="T13" fmla="*/ 7 h 28"/>
                  <a:gd name="T14" fmla="*/ 21 w 28"/>
                  <a:gd name="T15" fmla="*/ 7 h 28"/>
                  <a:gd name="T16" fmla="*/ 21 w 28"/>
                  <a:gd name="T17" fmla="*/ 0 h 28"/>
                  <a:gd name="T18" fmla="*/ 28 w 28"/>
                  <a:gd name="T19" fmla="*/ 0 h 28"/>
                  <a:gd name="T20" fmla="*/ 28 w 28"/>
                  <a:gd name="T21" fmla="*/ 7 h 28"/>
                  <a:gd name="T22" fmla="*/ 21 w 28"/>
                  <a:gd name="T23" fmla="*/ 14 h 28"/>
                  <a:gd name="T24" fmla="*/ 28 w 28"/>
                  <a:gd name="T25" fmla="*/ 21 h 28"/>
                  <a:gd name="T26" fmla="*/ 21 w 28"/>
                  <a:gd name="T27" fmla="*/ 21 h 28"/>
                  <a:gd name="T28" fmla="*/ 14 w 28"/>
                  <a:gd name="T29" fmla="*/ 28 h 28"/>
                  <a:gd name="T30" fmla="*/ 21 w 28"/>
                  <a:gd name="T31" fmla="*/ 21 h 28"/>
                  <a:gd name="T32" fmla="*/ 14 w 28"/>
                  <a:gd name="T33" fmla="*/ 21 h 28"/>
                  <a:gd name="T34" fmla="*/ 8 w 28"/>
                  <a:gd name="T35" fmla="*/ 21 h 28"/>
                  <a:gd name="T36" fmla="*/ 0 w 28"/>
                  <a:gd name="T37" fmla="*/ 14 h 28"/>
                  <a:gd name="T38" fmla="*/ 0 w 28"/>
                  <a:gd name="T39" fmla="*/ 2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8">
                    <a:moveTo>
                      <a:pt x="0" y="21"/>
                    </a:moveTo>
                    <a:lnTo>
                      <a:pt x="0" y="14"/>
                    </a:lnTo>
                    <a:lnTo>
                      <a:pt x="0" y="7"/>
                    </a:lnTo>
                    <a:lnTo>
                      <a:pt x="0" y="0"/>
                    </a:lnTo>
                    <a:lnTo>
                      <a:pt x="8" y="0"/>
                    </a:lnTo>
                    <a:lnTo>
                      <a:pt x="8" y="7"/>
                    </a:lnTo>
                    <a:lnTo>
                      <a:pt x="14" y="7"/>
                    </a:lnTo>
                    <a:lnTo>
                      <a:pt x="21" y="7"/>
                    </a:lnTo>
                    <a:lnTo>
                      <a:pt x="21" y="0"/>
                    </a:lnTo>
                    <a:lnTo>
                      <a:pt x="28" y="0"/>
                    </a:lnTo>
                    <a:lnTo>
                      <a:pt x="28" y="7"/>
                    </a:lnTo>
                    <a:lnTo>
                      <a:pt x="21" y="14"/>
                    </a:lnTo>
                    <a:lnTo>
                      <a:pt x="28" y="21"/>
                    </a:lnTo>
                    <a:lnTo>
                      <a:pt x="21" y="21"/>
                    </a:lnTo>
                    <a:lnTo>
                      <a:pt x="14" y="28"/>
                    </a:lnTo>
                    <a:lnTo>
                      <a:pt x="21" y="21"/>
                    </a:lnTo>
                    <a:lnTo>
                      <a:pt x="14" y="21"/>
                    </a:lnTo>
                    <a:lnTo>
                      <a:pt x="8" y="21"/>
                    </a:lnTo>
                    <a:lnTo>
                      <a:pt x="0" y="14"/>
                    </a:lnTo>
                    <a:lnTo>
                      <a:pt x="0" y="21"/>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43" name="Freeform 19">
                <a:extLst>
                  <a:ext uri="{FF2B5EF4-FFF2-40B4-BE49-F238E27FC236}">
                    <a16:creationId xmlns:a16="http://schemas.microsoft.com/office/drawing/2014/main" id="{FCB78A46-5E53-759B-E877-1A49182A5C66}"/>
                  </a:ext>
                </a:extLst>
              </p:cNvPr>
              <p:cNvSpPr>
                <a:spLocks/>
              </p:cNvSpPr>
              <p:nvPr/>
            </p:nvSpPr>
            <p:spPr bwMode="gray">
              <a:xfrm>
                <a:off x="6640513" y="3198813"/>
                <a:ext cx="20638" cy="33338"/>
              </a:xfrm>
              <a:custGeom>
                <a:avLst/>
                <a:gdLst>
                  <a:gd name="T0" fmla="*/ 0 w 13"/>
                  <a:gd name="T1" fmla="*/ 21 h 21"/>
                  <a:gd name="T2" fmla="*/ 0 w 13"/>
                  <a:gd name="T3" fmla="*/ 14 h 21"/>
                  <a:gd name="T4" fmla="*/ 0 w 13"/>
                  <a:gd name="T5" fmla="*/ 7 h 21"/>
                  <a:gd name="T6" fmla="*/ 7 w 13"/>
                  <a:gd name="T7" fmla="*/ 0 h 21"/>
                  <a:gd name="T8" fmla="*/ 13 w 13"/>
                  <a:gd name="T9" fmla="*/ 7 h 21"/>
                  <a:gd name="T10" fmla="*/ 7 w 13"/>
                  <a:gd name="T11" fmla="*/ 7 h 21"/>
                  <a:gd name="T12" fmla="*/ 7 w 13"/>
                  <a:gd name="T13" fmla="*/ 14 h 21"/>
                  <a:gd name="T14" fmla="*/ 7 w 13"/>
                  <a:gd name="T15" fmla="*/ 21 h 21"/>
                  <a:gd name="T16" fmla="*/ 0 w 13"/>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1">
                    <a:moveTo>
                      <a:pt x="0" y="21"/>
                    </a:moveTo>
                    <a:lnTo>
                      <a:pt x="0" y="14"/>
                    </a:lnTo>
                    <a:lnTo>
                      <a:pt x="0" y="7"/>
                    </a:lnTo>
                    <a:lnTo>
                      <a:pt x="7" y="0"/>
                    </a:lnTo>
                    <a:lnTo>
                      <a:pt x="13" y="7"/>
                    </a:lnTo>
                    <a:lnTo>
                      <a:pt x="7" y="7"/>
                    </a:lnTo>
                    <a:lnTo>
                      <a:pt x="7" y="14"/>
                    </a:lnTo>
                    <a:lnTo>
                      <a:pt x="7" y="21"/>
                    </a:lnTo>
                    <a:lnTo>
                      <a:pt x="0" y="21"/>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45" name="Freeform 20">
                <a:extLst>
                  <a:ext uri="{FF2B5EF4-FFF2-40B4-BE49-F238E27FC236}">
                    <a16:creationId xmlns:a16="http://schemas.microsoft.com/office/drawing/2014/main" id="{99C33C23-86B5-E528-3B75-7641B2B374A8}"/>
                  </a:ext>
                </a:extLst>
              </p:cNvPr>
              <p:cNvSpPr>
                <a:spLocks/>
              </p:cNvSpPr>
              <p:nvPr/>
            </p:nvSpPr>
            <p:spPr bwMode="gray">
              <a:xfrm>
                <a:off x="6640513" y="3297238"/>
                <a:ext cx="42863" cy="76200"/>
              </a:xfrm>
              <a:custGeom>
                <a:avLst/>
                <a:gdLst>
                  <a:gd name="T0" fmla="*/ 7 w 27"/>
                  <a:gd name="T1" fmla="*/ 27 h 48"/>
                  <a:gd name="T2" fmla="*/ 0 w 27"/>
                  <a:gd name="T3" fmla="*/ 27 h 48"/>
                  <a:gd name="T4" fmla="*/ 0 w 27"/>
                  <a:gd name="T5" fmla="*/ 21 h 48"/>
                  <a:gd name="T6" fmla="*/ 7 w 27"/>
                  <a:gd name="T7" fmla="*/ 21 h 48"/>
                  <a:gd name="T8" fmla="*/ 7 w 27"/>
                  <a:gd name="T9" fmla="*/ 27 h 48"/>
                  <a:gd name="T10" fmla="*/ 13 w 27"/>
                  <a:gd name="T11" fmla="*/ 21 h 48"/>
                  <a:gd name="T12" fmla="*/ 13 w 27"/>
                  <a:gd name="T13" fmla="*/ 14 h 48"/>
                  <a:gd name="T14" fmla="*/ 13 w 27"/>
                  <a:gd name="T15" fmla="*/ 7 h 48"/>
                  <a:gd name="T16" fmla="*/ 13 w 27"/>
                  <a:gd name="T17" fmla="*/ 0 h 48"/>
                  <a:gd name="T18" fmla="*/ 20 w 27"/>
                  <a:gd name="T19" fmla="*/ 0 h 48"/>
                  <a:gd name="T20" fmla="*/ 27 w 27"/>
                  <a:gd name="T21" fmla="*/ 0 h 48"/>
                  <a:gd name="T22" fmla="*/ 20 w 27"/>
                  <a:gd name="T23" fmla="*/ 7 h 48"/>
                  <a:gd name="T24" fmla="*/ 27 w 27"/>
                  <a:gd name="T25" fmla="*/ 7 h 48"/>
                  <a:gd name="T26" fmla="*/ 27 w 27"/>
                  <a:gd name="T27" fmla="*/ 14 h 48"/>
                  <a:gd name="T28" fmla="*/ 20 w 27"/>
                  <a:gd name="T29" fmla="*/ 14 h 48"/>
                  <a:gd name="T30" fmla="*/ 20 w 27"/>
                  <a:gd name="T31" fmla="*/ 21 h 48"/>
                  <a:gd name="T32" fmla="*/ 20 w 27"/>
                  <a:gd name="T33" fmla="*/ 27 h 48"/>
                  <a:gd name="T34" fmla="*/ 13 w 27"/>
                  <a:gd name="T35" fmla="*/ 34 h 48"/>
                  <a:gd name="T36" fmla="*/ 20 w 27"/>
                  <a:gd name="T37" fmla="*/ 41 h 48"/>
                  <a:gd name="T38" fmla="*/ 20 w 27"/>
                  <a:gd name="T39" fmla="*/ 48 h 48"/>
                  <a:gd name="T40" fmla="*/ 13 w 27"/>
                  <a:gd name="T41" fmla="*/ 41 h 48"/>
                  <a:gd name="T42" fmla="*/ 7 w 27"/>
                  <a:gd name="T43" fmla="*/ 48 h 48"/>
                  <a:gd name="T44" fmla="*/ 7 w 27"/>
                  <a:gd name="T45" fmla="*/ 41 h 48"/>
                  <a:gd name="T46" fmla="*/ 7 w 27"/>
                  <a:gd name="T47" fmla="*/ 34 h 48"/>
                  <a:gd name="T48" fmla="*/ 7 w 27"/>
                  <a:gd name="T49"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48">
                    <a:moveTo>
                      <a:pt x="7" y="27"/>
                    </a:moveTo>
                    <a:lnTo>
                      <a:pt x="0" y="27"/>
                    </a:lnTo>
                    <a:lnTo>
                      <a:pt x="0" y="21"/>
                    </a:lnTo>
                    <a:lnTo>
                      <a:pt x="7" y="21"/>
                    </a:lnTo>
                    <a:lnTo>
                      <a:pt x="7" y="27"/>
                    </a:lnTo>
                    <a:lnTo>
                      <a:pt x="13" y="21"/>
                    </a:lnTo>
                    <a:lnTo>
                      <a:pt x="13" y="14"/>
                    </a:lnTo>
                    <a:lnTo>
                      <a:pt x="13" y="7"/>
                    </a:lnTo>
                    <a:lnTo>
                      <a:pt x="13" y="0"/>
                    </a:lnTo>
                    <a:lnTo>
                      <a:pt x="20" y="0"/>
                    </a:lnTo>
                    <a:lnTo>
                      <a:pt x="27" y="0"/>
                    </a:lnTo>
                    <a:lnTo>
                      <a:pt x="20" y="7"/>
                    </a:lnTo>
                    <a:lnTo>
                      <a:pt x="27" y="7"/>
                    </a:lnTo>
                    <a:lnTo>
                      <a:pt x="27" y="14"/>
                    </a:lnTo>
                    <a:lnTo>
                      <a:pt x="20" y="14"/>
                    </a:lnTo>
                    <a:lnTo>
                      <a:pt x="20" y="21"/>
                    </a:lnTo>
                    <a:lnTo>
                      <a:pt x="20" y="27"/>
                    </a:lnTo>
                    <a:lnTo>
                      <a:pt x="13" y="34"/>
                    </a:lnTo>
                    <a:lnTo>
                      <a:pt x="20" y="41"/>
                    </a:lnTo>
                    <a:lnTo>
                      <a:pt x="20" y="48"/>
                    </a:lnTo>
                    <a:lnTo>
                      <a:pt x="13" y="41"/>
                    </a:lnTo>
                    <a:lnTo>
                      <a:pt x="7" y="48"/>
                    </a:lnTo>
                    <a:lnTo>
                      <a:pt x="7" y="41"/>
                    </a:lnTo>
                    <a:lnTo>
                      <a:pt x="7" y="34"/>
                    </a:lnTo>
                    <a:lnTo>
                      <a:pt x="7" y="27"/>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47" name="Freeform 21">
                <a:extLst>
                  <a:ext uri="{FF2B5EF4-FFF2-40B4-BE49-F238E27FC236}">
                    <a16:creationId xmlns:a16="http://schemas.microsoft.com/office/drawing/2014/main" id="{39A4A5CF-7269-E51F-F614-0B8FD2817D12}"/>
                  </a:ext>
                </a:extLst>
              </p:cNvPr>
              <p:cNvSpPr>
                <a:spLocks/>
              </p:cNvSpPr>
              <p:nvPr/>
            </p:nvSpPr>
            <p:spPr bwMode="gray">
              <a:xfrm>
                <a:off x="6683375" y="3297238"/>
                <a:ext cx="0" cy="11113"/>
              </a:xfrm>
              <a:custGeom>
                <a:avLst/>
                <a:gdLst>
                  <a:gd name="T0" fmla="*/ 7 h 7"/>
                  <a:gd name="T1" fmla="*/ 0 h 7"/>
                  <a:gd name="T2" fmla="*/ 7 h 7"/>
                </a:gdLst>
                <a:ahLst/>
                <a:cxnLst>
                  <a:cxn ang="0">
                    <a:pos x="0" y="T0"/>
                  </a:cxn>
                  <a:cxn ang="0">
                    <a:pos x="0" y="T1"/>
                  </a:cxn>
                  <a:cxn ang="0">
                    <a:pos x="0" y="T2"/>
                  </a:cxn>
                </a:cxnLst>
                <a:rect l="0" t="0" r="r" b="b"/>
                <a:pathLst>
                  <a:path h="7">
                    <a:moveTo>
                      <a:pt x="0" y="7"/>
                    </a:moveTo>
                    <a:lnTo>
                      <a:pt x="0" y="0"/>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48" name="Freeform 22">
                <a:extLst>
                  <a:ext uri="{FF2B5EF4-FFF2-40B4-BE49-F238E27FC236}">
                    <a16:creationId xmlns:a16="http://schemas.microsoft.com/office/drawing/2014/main" id="{053024B3-357B-9E95-47FE-75005B474F57}"/>
                  </a:ext>
                </a:extLst>
              </p:cNvPr>
              <p:cNvSpPr>
                <a:spLocks/>
              </p:cNvSpPr>
              <p:nvPr/>
            </p:nvSpPr>
            <p:spPr bwMode="gray">
              <a:xfrm>
                <a:off x="6683375" y="3362325"/>
                <a:ext cx="53975" cy="65088"/>
              </a:xfrm>
              <a:custGeom>
                <a:avLst/>
                <a:gdLst>
                  <a:gd name="T0" fmla="*/ 0 w 34"/>
                  <a:gd name="T1" fmla="*/ 34 h 41"/>
                  <a:gd name="T2" fmla="*/ 0 w 34"/>
                  <a:gd name="T3" fmla="*/ 27 h 41"/>
                  <a:gd name="T4" fmla="*/ 7 w 34"/>
                  <a:gd name="T5" fmla="*/ 27 h 41"/>
                  <a:gd name="T6" fmla="*/ 7 w 34"/>
                  <a:gd name="T7" fmla="*/ 20 h 41"/>
                  <a:gd name="T8" fmla="*/ 14 w 34"/>
                  <a:gd name="T9" fmla="*/ 20 h 41"/>
                  <a:gd name="T10" fmla="*/ 14 w 34"/>
                  <a:gd name="T11" fmla="*/ 14 h 41"/>
                  <a:gd name="T12" fmla="*/ 14 w 34"/>
                  <a:gd name="T13" fmla="*/ 7 h 41"/>
                  <a:gd name="T14" fmla="*/ 7 w 34"/>
                  <a:gd name="T15" fmla="*/ 0 h 41"/>
                  <a:gd name="T16" fmla="*/ 14 w 34"/>
                  <a:gd name="T17" fmla="*/ 0 h 41"/>
                  <a:gd name="T18" fmla="*/ 20 w 34"/>
                  <a:gd name="T19" fmla="*/ 0 h 41"/>
                  <a:gd name="T20" fmla="*/ 20 w 34"/>
                  <a:gd name="T21" fmla="*/ 7 h 41"/>
                  <a:gd name="T22" fmla="*/ 14 w 34"/>
                  <a:gd name="T23" fmla="*/ 0 h 41"/>
                  <a:gd name="T24" fmla="*/ 20 w 34"/>
                  <a:gd name="T25" fmla="*/ 7 h 41"/>
                  <a:gd name="T26" fmla="*/ 27 w 34"/>
                  <a:gd name="T27" fmla="*/ 14 h 41"/>
                  <a:gd name="T28" fmla="*/ 27 w 34"/>
                  <a:gd name="T29" fmla="*/ 7 h 41"/>
                  <a:gd name="T30" fmla="*/ 27 w 34"/>
                  <a:gd name="T31" fmla="*/ 14 h 41"/>
                  <a:gd name="T32" fmla="*/ 20 w 34"/>
                  <a:gd name="T33" fmla="*/ 14 h 41"/>
                  <a:gd name="T34" fmla="*/ 20 w 34"/>
                  <a:gd name="T35" fmla="*/ 20 h 41"/>
                  <a:gd name="T36" fmla="*/ 27 w 34"/>
                  <a:gd name="T37" fmla="*/ 20 h 41"/>
                  <a:gd name="T38" fmla="*/ 34 w 34"/>
                  <a:gd name="T39" fmla="*/ 20 h 41"/>
                  <a:gd name="T40" fmla="*/ 27 w 34"/>
                  <a:gd name="T41" fmla="*/ 27 h 41"/>
                  <a:gd name="T42" fmla="*/ 34 w 34"/>
                  <a:gd name="T43" fmla="*/ 27 h 41"/>
                  <a:gd name="T44" fmla="*/ 34 w 34"/>
                  <a:gd name="T45" fmla="*/ 34 h 41"/>
                  <a:gd name="T46" fmla="*/ 27 w 34"/>
                  <a:gd name="T47" fmla="*/ 34 h 41"/>
                  <a:gd name="T48" fmla="*/ 20 w 34"/>
                  <a:gd name="T49" fmla="*/ 41 h 41"/>
                  <a:gd name="T50" fmla="*/ 20 w 34"/>
                  <a:gd name="T51" fmla="*/ 34 h 41"/>
                  <a:gd name="T52" fmla="*/ 20 w 34"/>
                  <a:gd name="T53" fmla="*/ 41 h 41"/>
                  <a:gd name="T54" fmla="*/ 14 w 34"/>
                  <a:gd name="T55" fmla="*/ 34 h 41"/>
                  <a:gd name="T56" fmla="*/ 20 w 34"/>
                  <a:gd name="T57" fmla="*/ 27 h 41"/>
                  <a:gd name="T58" fmla="*/ 14 w 34"/>
                  <a:gd name="T59" fmla="*/ 20 h 41"/>
                  <a:gd name="T60" fmla="*/ 7 w 34"/>
                  <a:gd name="T61" fmla="*/ 20 h 41"/>
                  <a:gd name="T62" fmla="*/ 7 w 34"/>
                  <a:gd name="T63" fmla="*/ 27 h 41"/>
                  <a:gd name="T64" fmla="*/ 7 w 34"/>
                  <a:gd name="T65" fmla="*/ 34 h 41"/>
                  <a:gd name="T66" fmla="*/ 0 w 34"/>
                  <a:gd name="T67"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1">
                    <a:moveTo>
                      <a:pt x="0" y="34"/>
                    </a:moveTo>
                    <a:lnTo>
                      <a:pt x="0" y="27"/>
                    </a:lnTo>
                    <a:lnTo>
                      <a:pt x="7" y="27"/>
                    </a:lnTo>
                    <a:lnTo>
                      <a:pt x="7" y="20"/>
                    </a:lnTo>
                    <a:lnTo>
                      <a:pt x="14" y="20"/>
                    </a:lnTo>
                    <a:lnTo>
                      <a:pt x="14" y="14"/>
                    </a:lnTo>
                    <a:lnTo>
                      <a:pt x="14" y="7"/>
                    </a:lnTo>
                    <a:lnTo>
                      <a:pt x="7" y="0"/>
                    </a:lnTo>
                    <a:lnTo>
                      <a:pt x="14" y="0"/>
                    </a:lnTo>
                    <a:lnTo>
                      <a:pt x="20" y="0"/>
                    </a:lnTo>
                    <a:lnTo>
                      <a:pt x="20" y="7"/>
                    </a:lnTo>
                    <a:lnTo>
                      <a:pt x="14" y="0"/>
                    </a:lnTo>
                    <a:lnTo>
                      <a:pt x="20" y="7"/>
                    </a:lnTo>
                    <a:lnTo>
                      <a:pt x="27" y="14"/>
                    </a:lnTo>
                    <a:lnTo>
                      <a:pt x="27" y="7"/>
                    </a:lnTo>
                    <a:lnTo>
                      <a:pt x="27" y="14"/>
                    </a:lnTo>
                    <a:lnTo>
                      <a:pt x="20" y="14"/>
                    </a:lnTo>
                    <a:lnTo>
                      <a:pt x="20" y="20"/>
                    </a:lnTo>
                    <a:lnTo>
                      <a:pt x="27" y="20"/>
                    </a:lnTo>
                    <a:lnTo>
                      <a:pt x="34" y="20"/>
                    </a:lnTo>
                    <a:lnTo>
                      <a:pt x="27" y="27"/>
                    </a:lnTo>
                    <a:lnTo>
                      <a:pt x="34" y="27"/>
                    </a:lnTo>
                    <a:lnTo>
                      <a:pt x="34" y="34"/>
                    </a:lnTo>
                    <a:lnTo>
                      <a:pt x="27" y="34"/>
                    </a:lnTo>
                    <a:lnTo>
                      <a:pt x="20" y="41"/>
                    </a:lnTo>
                    <a:lnTo>
                      <a:pt x="20" y="34"/>
                    </a:lnTo>
                    <a:lnTo>
                      <a:pt x="20" y="41"/>
                    </a:lnTo>
                    <a:lnTo>
                      <a:pt x="14" y="34"/>
                    </a:lnTo>
                    <a:lnTo>
                      <a:pt x="20" y="27"/>
                    </a:lnTo>
                    <a:lnTo>
                      <a:pt x="14" y="20"/>
                    </a:lnTo>
                    <a:lnTo>
                      <a:pt x="7" y="20"/>
                    </a:lnTo>
                    <a:lnTo>
                      <a:pt x="7" y="27"/>
                    </a:lnTo>
                    <a:lnTo>
                      <a:pt x="7" y="34"/>
                    </a:lnTo>
                    <a:lnTo>
                      <a:pt x="0" y="3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49" name="Freeform 23">
                <a:extLst>
                  <a:ext uri="{FF2B5EF4-FFF2-40B4-BE49-F238E27FC236}">
                    <a16:creationId xmlns:a16="http://schemas.microsoft.com/office/drawing/2014/main" id="{85B3F978-BC1A-54A7-A506-899B8D9FE510}"/>
                  </a:ext>
                </a:extLst>
              </p:cNvPr>
              <p:cNvSpPr>
                <a:spLocks/>
              </p:cNvSpPr>
              <p:nvPr/>
            </p:nvSpPr>
            <p:spPr bwMode="gray">
              <a:xfrm>
                <a:off x="6694488" y="3275013"/>
                <a:ext cx="107950" cy="65088"/>
              </a:xfrm>
              <a:custGeom>
                <a:avLst/>
                <a:gdLst>
                  <a:gd name="T0" fmla="*/ 0 w 68"/>
                  <a:gd name="T1" fmla="*/ 41 h 41"/>
                  <a:gd name="T2" fmla="*/ 0 w 68"/>
                  <a:gd name="T3" fmla="*/ 35 h 41"/>
                  <a:gd name="T4" fmla="*/ 0 w 68"/>
                  <a:gd name="T5" fmla="*/ 28 h 41"/>
                  <a:gd name="T6" fmla="*/ 7 w 68"/>
                  <a:gd name="T7" fmla="*/ 28 h 41"/>
                  <a:gd name="T8" fmla="*/ 7 w 68"/>
                  <a:gd name="T9" fmla="*/ 21 h 41"/>
                  <a:gd name="T10" fmla="*/ 13 w 68"/>
                  <a:gd name="T11" fmla="*/ 21 h 41"/>
                  <a:gd name="T12" fmla="*/ 13 w 68"/>
                  <a:gd name="T13" fmla="*/ 14 h 41"/>
                  <a:gd name="T14" fmla="*/ 20 w 68"/>
                  <a:gd name="T15" fmla="*/ 14 h 41"/>
                  <a:gd name="T16" fmla="*/ 27 w 68"/>
                  <a:gd name="T17" fmla="*/ 14 h 41"/>
                  <a:gd name="T18" fmla="*/ 27 w 68"/>
                  <a:gd name="T19" fmla="*/ 7 h 41"/>
                  <a:gd name="T20" fmla="*/ 20 w 68"/>
                  <a:gd name="T21" fmla="*/ 7 h 41"/>
                  <a:gd name="T22" fmla="*/ 20 w 68"/>
                  <a:gd name="T23" fmla="*/ 0 h 41"/>
                  <a:gd name="T24" fmla="*/ 27 w 68"/>
                  <a:gd name="T25" fmla="*/ 0 h 41"/>
                  <a:gd name="T26" fmla="*/ 34 w 68"/>
                  <a:gd name="T27" fmla="*/ 0 h 41"/>
                  <a:gd name="T28" fmla="*/ 40 w 68"/>
                  <a:gd name="T29" fmla="*/ 0 h 41"/>
                  <a:gd name="T30" fmla="*/ 34 w 68"/>
                  <a:gd name="T31" fmla="*/ 7 h 41"/>
                  <a:gd name="T32" fmla="*/ 34 w 68"/>
                  <a:gd name="T33" fmla="*/ 14 h 41"/>
                  <a:gd name="T34" fmla="*/ 27 w 68"/>
                  <a:gd name="T35" fmla="*/ 14 h 41"/>
                  <a:gd name="T36" fmla="*/ 34 w 68"/>
                  <a:gd name="T37" fmla="*/ 14 h 41"/>
                  <a:gd name="T38" fmla="*/ 40 w 68"/>
                  <a:gd name="T39" fmla="*/ 14 h 41"/>
                  <a:gd name="T40" fmla="*/ 47 w 68"/>
                  <a:gd name="T41" fmla="*/ 7 h 41"/>
                  <a:gd name="T42" fmla="*/ 54 w 68"/>
                  <a:gd name="T43" fmla="*/ 7 h 41"/>
                  <a:gd name="T44" fmla="*/ 61 w 68"/>
                  <a:gd name="T45" fmla="*/ 7 h 41"/>
                  <a:gd name="T46" fmla="*/ 61 w 68"/>
                  <a:gd name="T47" fmla="*/ 0 h 41"/>
                  <a:gd name="T48" fmla="*/ 68 w 68"/>
                  <a:gd name="T49" fmla="*/ 0 h 41"/>
                  <a:gd name="T50" fmla="*/ 61 w 68"/>
                  <a:gd name="T51" fmla="*/ 7 h 41"/>
                  <a:gd name="T52" fmla="*/ 68 w 68"/>
                  <a:gd name="T53" fmla="*/ 7 h 41"/>
                  <a:gd name="T54" fmla="*/ 61 w 68"/>
                  <a:gd name="T55" fmla="*/ 7 h 41"/>
                  <a:gd name="T56" fmla="*/ 68 w 68"/>
                  <a:gd name="T57" fmla="*/ 14 h 41"/>
                  <a:gd name="T58" fmla="*/ 61 w 68"/>
                  <a:gd name="T59" fmla="*/ 14 h 41"/>
                  <a:gd name="T60" fmla="*/ 54 w 68"/>
                  <a:gd name="T61" fmla="*/ 14 h 41"/>
                  <a:gd name="T62" fmla="*/ 47 w 68"/>
                  <a:gd name="T63" fmla="*/ 14 h 41"/>
                  <a:gd name="T64" fmla="*/ 47 w 68"/>
                  <a:gd name="T65" fmla="*/ 21 h 41"/>
                  <a:gd name="T66" fmla="*/ 40 w 68"/>
                  <a:gd name="T67" fmla="*/ 21 h 41"/>
                  <a:gd name="T68" fmla="*/ 40 w 68"/>
                  <a:gd name="T69" fmla="*/ 28 h 41"/>
                  <a:gd name="T70" fmla="*/ 40 w 68"/>
                  <a:gd name="T71" fmla="*/ 35 h 41"/>
                  <a:gd name="T72" fmla="*/ 34 w 68"/>
                  <a:gd name="T73" fmla="*/ 28 h 41"/>
                  <a:gd name="T74" fmla="*/ 40 w 68"/>
                  <a:gd name="T75" fmla="*/ 28 h 41"/>
                  <a:gd name="T76" fmla="*/ 40 w 68"/>
                  <a:gd name="T77" fmla="*/ 21 h 41"/>
                  <a:gd name="T78" fmla="*/ 34 w 68"/>
                  <a:gd name="T79" fmla="*/ 21 h 41"/>
                  <a:gd name="T80" fmla="*/ 40 w 68"/>
                  <a:gd name="T81" fmla="*/ 21 h 41"/>
                  <a:gd name="T82" fmla="*/ 34 w 68"/>
                  <a:gd name="T83" fmla="*/ 28 h 41"/>
                  <a:gd name="T84" fmla="*/ 27 w 68"/>
                  <a:gd name="T85" fmla="*/ 28 h 41"/>
                  <a:gd name="T86" fmla="*/ 27 w 68"/>
                  <a:gd name="T87" fmla="*/ 35 h 41"/>
                  <a:gd name="T88" fmla="*/ 27 w 68"/>
                  <a:gd name="T89" fmla="*/ 28 h 41"/>
                  <a:gd name="T90" fmla="*/ 27 w 68"/>
                  <a:gd name="T91" fmla="*/ 21 h 41"/>
                  <a:gd name="T92" fmla="*/ 20 w 68"/>
                  <a:gd name="T93" fmla="*/ 28 h 41"/>
                  <a:gd name="T94" fmla="*/ 20 w 68"/>
                  <a:gd name="T95" fmla="*/ 21 h 41"/>
                  <a:gd name="T96" fmla="*/ 13 w 68"/>
                  <a:gd name="T97" fmla="*/ 21 h 41"/>
                  <a:gd name="T98" fmla="*/ 13 w 68"/>
                  <a:gd name="T99" fmla="*/ 28 h 41"/>
                  <a:gd name="T100" fmla="*/ 7 w 68"/>
                  <a:gd name="T101" fmla="*/ 35 h 41"/>
                  <a:gd name="T102" fmla="*/ 0 w 68"/>
                  <a:gd name="T103" fmla="*/ 41 h 41"/>
                  <a:gd name="T104" fmla="*/ 0 w 68"/>
                  <a:gd name="T105" fmla="*/ 35 h 41"/>
                  <a:gd name="T106" fmla="*/ 0 w 68"/>
                  <a:gd name="T10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41">
                    <a:moveTo>
                      <a:pt x="0" y="41"/>
                    </a:moveTo>
                    <a:lnTo>
                      <a:pt x="0" y="35"/>
                    </a:lnTo>
                    <a:lnTo>
                      <a:pt x="0" y="28"/>
                    </a:lnTo>
                    <a:lnTo>
                      <a:pt x="7" y="28"/>
                    </a:lnTo>
                    <a:lnTo>
                      <a:pt x="7" y="21"/>
                    </a:lnTo>
                    <a:lnTo>
                      <a:pt x="13" y="21"/>
                    </a:lnTo>
                    <a:lnTo>
                      <a:pt x="13" y="14"/>
                    </a:lnTo>
                    <a:lnTo>
                      <a:pt x="20" y="14"/>
                    </a:lnTo>
                    <a:lnTo>
                      <a:pt x="27" y="14"/>
                    </a:lnTo>
                    <a:lnTo>
                      <a:pt x="27" y="7"/>
                    </a:lnTo>
                    <a:lnTo>
                      <a:pt x="20" y="7"/>
                    </a:lnTo>
                    <a:lnTo>
                      <a:pt x="20" y="0"/>
                    </a:lnTo>
                    <a:lnTo>
                      <a:pt x="27" y="0"/>
                    </a:lnTo>
                    <a:lnTo>
                      <a:pt x="34" y="0"/>
                    </a:lnTo>
                    <a:lnTo>
                      <a:pt x="40" y="0"/>
                    </a:lnTo>
                    <a:lnTo>
                      <a:pt x="34" y="7"/>
                    </a:lnTo>
                    <a:lnTo>
                      <a:pt x="34" y="14"/>
                    </a:lnTo>
                    <a:lnTo>
                      <a:pt x="27" y="14"/>
                    </a:lnTo>
                    <a:lnTo>
                      <a:pt x="34" y="14"/>
                    </a:lnTo>
                    <a:lnTo>
                      <a:pt x="40" y="14"/>
                    </a:lnTo>
                    <a:lnTo>
                      <a:pt x="47" y="7"/>
                    </a:lnTo>
                    <a:lnTo>
                      <a:pt x="54" y="7"/>
                    </a:lnTo>
                    <a:lnTo>
                      <a:pt x="61" y="7"/>
                    </a:lnTo>
                    <a:lnTo>
                      <a:pt x="61" y="0"/>
                    </a:lnTo>
                    <a:lnTo>
                      <a:pt x="68" y="0"/>
                    </a:lnTo>
                    <a:lnTo>
                      <a:pt x="61" y="7"/>
                    </a:lnTo>
                    <a:lnTo>
                      <a:pt x="68" y="7"/>
                    </a:lnTo>
                    <a:lnTo>
                      <a:pt x="61" y="7"/>
                    </a:lnTo>
                    <a:lnTo>
                      <a:pt x="68" y="14"/>
                    </a:lnTo>
                    <a:lnTo>
                      <a:pt x="61" y="14"/>
                    </a:lnTo>
                    <a:lnTo>
                      <a:pt x="54" y="14"/>
                    </a:lnTo>
                    <a:lnTo>
                      <a:pt x="47" y="14"/>
                    </a:lnTo>
                    <a:lnTo>
                      <a:pt x="47" y="21"/>
                    </a:lnTo>
                    <a:lnTo>
                      <a:pt x="40" y="21"/>
                    </a:lnTo>
                    <a:lnTo>
                      <a:pt x="40" y="28"/>
                    </a:lnTo>
                    <a:lnTo>
                      <a:pt x="40" y="35"/>
                    </a:lnTo>
                    <a:lnTo>
                      <a:pt x="34" y="28"/>
                    </a:lnTo>
                    <a:lnTo>
                      <a:pt x="40" y="28"/>
                    </a:lnTo>
                    <a:lnTo>
                      <a:pt x="40" y="21"/>
                    </a:lnTo>
                    <a:lnTo>
                      <a:pt x="34" y="21"/>
                    </a:lnTo>
                    <a:lnTo>
                      <a:pt x="40" y="21"/>
                    </a:lnTo>
                    <a:lnTo>
                      <a:pt x="34" y="28"/>
                    </a:lnTo>
                    <a:lnTo>
                      <a:pt x="27" y="28"/>
                    </a:lnTo>
                    <a:lnTo>
                      <a:pt x="27" y="35"/>
                    </a:lnTo>
                    <a:lnTo>
                      <a:pt x="27" y="28"/>
                    </a:lnTo>
                    <a:lnTo>
                      <a:pt x="27" y="21"/>
                    </a:lnTo>
                    <a:lnTo>
                      <a:pt x="20" y="28"/>
                    </a:lnTo>
                    <a:lnTo>
                      <a:pt x="20" y="21"/>
                    </a:lnTo>
                    <a:lnTo>
                      <a:pt x="13" y="21"/>
                    </a:lnTo>
                    <a:lnTo>
                      <a:pt x="13" y="28"/>
                    </a:lnTo>
                    <a:lnTo>
                      <a:pt x="7" y="35"/>
                    </a:lnTo>
                    <a:lnTo>
                      <a:pt x="0" y="41"/>
                    </a:lnTo>
                    <a:lnTo>
                      <a:pt x="0" y="35"/>
                    </a:lnTo>
                    <a:lnTo>
                      <a:pt x="0" y="41"/>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0" name="Freeform 24">
                <a:extLst>
                  <a:ext uri="{FF2B5EF4-FFF2-40B4-BE49-F238E27FC236}">
                    <a16:creationId xmlns:a16="http://schemas.microsoft.com/office/drawing/2014/main" id="{D5611944-8E3F-621D-E9B3-456E455BF55A}"/>
                  </a:ext>
                </a:extLst>
              </p:cNvPr>
              <p:cNvSpPr>
                <a:spLocks/>
              </p:cNvSpPr>
              <p:nvPr/>
            </p:nvSpPr>
            <p:spPr bwMode="gray">
              <a:xfrm>
                <a:off x="6791325" y="3221038"/>
                <a:ext cx="31750" cy="31750"/>
              </a:xfrm>
              <a:custGeom>
                <a:avLst/>
                <a:gdLst>
                  <a:gd name="T0" fmla="*/ 7 w 20"/>
                  <a:gd name="T1" fmla="*/ 14 h 20"/>
                  <a:gd name="T2" fmla="*/ 0 w 20"/>
                  <a:gd name="T3" fmla="*/ 14 h 20"/>
                  <a:gd name="T4" fmla="*/ 7 w 20"/>
                  <a:gd name="T5" fmla="*/ 14 h 20"/>
                  <a:gd name="T6" fmla="*/ 7 w 20"/>
                  <a:gd name="T7" fmla="*/ 7 h 20"/>
                  <a:gd name="T8" fmla="*/ 7 w 20"/>
                  <a:gd name="T9" fmla="*/ 0 h 20"/>
                  <a:gd name="T10" fmla="*/ 14 w 20"/>
                  <a:gd name="T11" fmla="*/ 0 h 20"/>
                  <a:gd name="T12" fmla="*/ 14 w 20"/>
                  <a:gd name="T13" fmla="*/ 7 h 20"/>
                  <a:gd name="T14" fmla="*/ 14 w 20"/>
                  <a:gd name="T15" fmla="*/ 0 h 20"/>
                  <a:gd name="T16" fmla="*/ 20 w 20"/>
                  <a:gd name="T17" fmla="*/ 0 h 20"/>
                  <a:gd name="T18" fmla="*/ 20 w 20"/>
                  <a:gd name="T19" fmla="*/ 7 h 20"/>
                  <a:gd name="T20" fmla="*/ 14 w 20"/>
                  <a:gd name="T21" fmla="*/ 7 h 20"/>
                  <a:gd name="T22" fmla="*/ 14 w 20"/>
                  <a:gd name="T23" fmla="*/ 14 h 20"/>
                  <a:gd name="T24" fmla="*/ 7 w 20"/>
                  <a:gd name="T25" fmla="*/ 20 h 20"/>
                  <a:gd name="T26" fmla="*/ 7 w 20"/>
                  <a:gd name="T2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0">
                    <a:moveTo>
                      <a:pt x="7" y="14"/>
                    </a:moveTo>
                    <a:lnTo>
                      <a:pt x="0" y="14"/>
                    </a:lnTo>
                    <a:lnTo>
                      <a:pt x="7" y="14"/>
                    </a:lnTo>
                    <a:lnTo>
                      <a:pt x="7" y="7"/>
                    </a:lnTo>
                    <a:lnTo>
                      <a:pt x="7" y="0"/>
                    </a:lnTo>
                    <a:lnTo>
                      <a:pt x="14" y="0"/>
                    </a:lnTo>
                    <a:lnTo>
                      <a:pt x="14" y="7"/>
                    </a:lnTo>
                    <a:lnTo>
                      <a:pt x="14" y="0"/>
                    </a:lnTo>
                    <a:lnTo>
                      <a:pt x="20" y="0"/>
                    </a:lnTo>
                    <a:lnTo>
                      <a:pt x="20" y="7"/>
                    </a:lnTo>
                    <a:lnTo>
                      <a:pt x="14" y="7"/>
                    </a:lnTo>
                    <a:lnTo>
                      <a:pt x="14" y="14"/>
                    </a:lnTo>
                    <a:lnTo>
                      <a:pt x="7" y="20"/>
                    </a:lnTo>
                    <a:lnTo>
                      <a:pt x="7" y="14"/>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1" name="Freeform 25">
                <a:extLst>
                  <a:ext uri="{FF2B5EF4-FFF2-40B4-BE49-F238E27FC236}">
                    <a16:creationId xmlns:a16="http://schemas.microsoft.com/office/drawing/2014/main" id="{899C0F9E-9024-2497-8562-D418964EABC5}"/>
                  </a:ext>
                </a:extLst>
              </p:cNvPr>
              <p:cNvSpPr>
                <a:spLocks noEditPoints="1"/>
              </p:cNvSpPr>
              <p:nvPr/>
            </p:nvSpPr>
            <p:spPr bwMode="gray">
              <a:xfrm>
                <a:off x="6989763" y="2317750"/>
                <a:ext cx="509588" cy="868363"/>
              </a:xfrm>
              <a:custGeom>
                <a:avLst/>
                <a:gdLst>
                  <a:gd name="T0" fmla="*/ 53 w 321"/>
                  <a:gd name="T1" fmla="*/ 547 h 547"/>
                  <a:gd name="T2" fmla="*/ 53 w 321"/>
                  <a:gd name="T3" fmla="*/ 547 h 547"/>
                  <a:gd name="T4" fmla="*/ 134 w 321"/>
                  <a:gd name="T5" fmla="*/ 208 h 547"/>
                  <a:gd name="T6" fmla="*/ 187 w 321"/>
                  <a:gd name="T7" fmla="*/ 201 h 547"/>
                  <a:gd name="T8" fmla="*/ 160 w 321"/>
                  <a:gd name="T9" fmla="*/ 181 h 547"/>
                  <a:gd name="T10" fmla="*/ 154 w 321"/>
                  <a:gd name="T11" fmla="*/ 132 h 547"/>
                  <a:gd name="T12" fmla="*/ 134 w 321"/>
                  <a:gd name="T13" fmla="*/ 118 h 547"/>
                  <a:gd name="T14" fmla="*/ 174 w 321"/>
                  <a:gd name="T15" fmla="*/ 125 h 547"/>
                  <a:gd name="T16" fmla="*/ 167 w 321"/>
                  <a:gd name="T17" fmla="*/ 91 h 547"/>
                  <a:gd name="T18" fmla="*/ 194 w 321"/>
                  <a:gd name="T19" fmla="*/ 91 h 547"/>
                  <a:gd name="T20" fmla="*/ 180 w 321"/>
                  <a:gd name="T21" fmla="*/ 139 h 547"/>
                  <a:gd name="T22" fmla="*/ 167 w 321"/>
                  <a:gd name="T23" fmla="*/ 174 h 547"/>
                  <a:gd name="T24" fmla="*/ 187 w 321"/>
                  <a:gd name="T25" fmla="*/ 146 h 547"/>
                  <a:gd name="T26" fmla="*/ 214 w 321"/>
                  <a:gd name="T27" fmla="*/ 159 h 547"/>
                  <a:gd name="T28" fmla="*/ 208 w 321"/>
                  <a:gd name="T29" fmla="*/ 174 h 547"/>
                  <a:gd name="T30" fmla="*/ 221 w 321"/>
                  <a:gd name="T31" fmla="*/ 181 h 547"/>
                  <a:gd name="T32" fmla="*/ 221 w 321"/>
                  <a:gd name="T33" fmla="*/ 187 h 547"/>
                  <a:gd name="T34" fmla="*/ 221 w 321"/>
                  <a:gd name="T35" fmla="*/ 215 h 547"/>
                  <a:gd name="T36" fmla="*/ 208 w 321"/>
                  <a:gd name="T37" fmla="*/ 242 h 547"/>
                  <a:gd name="T38" fmla="*/ 194 w 321"/>
                  <a:gd name="T39" fmla="*/ 256 h 547"/>
                  <a:gd name="T40" fmla="*/ 201 w 321"/>
                  <a:gd name="T41" fmla="*/ 284 h 547"/>
                  <a:gd name="T42" fmla="*/ 180 w 321"/>
                  <a:gd name="T43" fmla="*/ 326 h 547"/>
                  <a:gd name="T44" fmla="*/ 174 w 321"/>
                  <a:gd name="T45" fmla="*/ 361 h 547"/>
                  <a:gd name="T46" fmla="*/ 160 w 321"/>
                  <a:gd name="T47" fmla="*/ 361 h 547"/>
                  <a:gd name="T48" fmla="*/ 154 w 321"/>
                  <a:gd name="T49" fmla="*/ 395 h 547"/>
                  <a:gd name="T50" fmla="*/ 140 w 321"/>
                  <a:gd name="T51" fmla="*/ 388 h 547"/>
                  <a:gd name="T52" fmla="*/ 147 w 321"/>
                  <a:gd name="T53" fmla="*/ 374 h 547"/>
                  <a:gd name="T54" fmla="*/ 154 w 321"/>
                  <a:gd name="T55" fmla="*/ 339 h 547"/>
                  <a:gd name="T56" fmla="*/ 174 w 321"/>
                  <a:gd name="T57" fmla="*/ 271 h 547"/>
                  <a:gd name="T58" fmla="*/ 160 w 321"/>
                  <a:gd name="T59" fmla="*/ 256 h 547"/>
                  <a:gd name="T60" fmla="*/ 160 w 321"/>
                  <a:gd name="T61" fmla="*/ 256 h 547"/>
                  <a:gd name="T62" fmla="*/ 134 w 321"/>
                  <a:gd name="T63" fmla="*/ 277 h 547"/>
                  <a:gd name="T64" fmla="*/ 127 w 321"/>
                  <a:gd name="T65" fmla="*/ 236 h 547"/>
                  <a:gd name="T66" fmla="*/ 100 w 321"/>
                  <a:gd name="T67" fmla="*/ 242 h 547"/>
                  <a:gd name="T68" fmla="*/ 214 w 321"/>
                  <a:gd name="T69" fmla="*/ 291 h 547"/>
                  <a:gd name="T70" fmla="*/ 208 w 321"/>
                  <a:gd name="T71" fmla="*/ 284 h 547"/>
                  <a:gd name="T72" fmla="*/ 221 w 321"/>
                  <a:gd name="T73" fmla="*/ 104 h 547"/>
                  <a:gd name="T74" fmla="*/ 234 w 321"/>
                  <a:gd name="T75" fmla="*/ 91 h 547"/>
                  <a:gd name="T76" fmla="*/ 248 w 321"/>
                  <a:gd name="T77" fmla="*/ 49 h 547"/>
                  <a:gd name="T78" fmla="*/ 268 w 321"/>
                  <a:gd name="T79" fmla="*/ 56 h 547"/>
                  <a:gd name="T80" fmla="*/ 268 w 321"/>
                  <a:gd name="T81" fmla="*/ 83 h 547"/>
                  <a:gd name="T82" fmla="*/ 254 w 321"/>
                  <a:gd name="T83" fmla="*/ 91 h 547"/>
                  <a:gd name="T84" fmla="*/ 248 w 321"/>
                  <a:gd name="T85" fmla="*/ 118 h 547"/>
                  <a:gd name="T86" fmla="*/ 228 w 321"/>
                  <a:gd name="T87" fmla="*/ 139 h 547"/>
                  <a:gd name="T88" fmla="*/ 221 w 321"/>
                  <a:gd name="T89" fmla="*/ 118 h 547"/>
                  <a:gd name="T90" fmla="*/ 234 w 321"/>
                  <a:gd name="T91" fmla="*/ 215 h 547"/>
                  <a:gd name="T92" fmla="*/ 261 w 321"/>
                  <a:gd name="T93" fmla="*/ 201 h 547"/>
                  <a:gd name="T94" fmla="*/ 261 w 321"/>
                  <a:gd name="T95" fmla="*/ 104 h 547"/>
                  <a:gd name="T96" fmla="*/ 268 w 321"/>
                  <a:gd name="T97" fmla="*/ 97 h 547"/>
                  <a:gd name="T98" fmla="*/ 294 w 321"/>
                  <a:gd name="T99" fmla="*/ 111 h 547"/>
                  <a:gd name="T100" fmla="*/ 288 w 321"/>
                  <a:gd name="T101" fmla="*/ 111 h 547"/>
                  <a:gd name="T102" fmla="*/ 268 w 321"/>
                  <a:gd name="T103" fmla="*/ 49 h 547"/>
                  <a:gd name="T104" fmla="*/ 281 w 321"/>
                  <a:gd name="T105" fmla="*/ 14 h 547"/>
                  <a:gd name="T106" fmla="*/ 301 w 321"/>
                  <a:gd name="T107" fmla="*/ 7 h 547"/>
                  <a:gd name="T108" fmla="*/ 315 w 321"/>
                  <a:gd name="T109" fmla="*/ 35 h 547"/>
                  <a:gd name="T110" fmla="*/ 308 w 321"/>
                  <a:gd name="T111" fmla="*/ 49 h 547"/>
                  <a:gd name="T112" fmla="*/ 288 w 321"/>
                  <a:gd name="T113" fmla="*/ 69 h 547"/>
                  <a:gd name="T114" fmla="*/ 301 w 321"/>
                  <a:gd name="T115" fmla="*/ 18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547">
                    <a:moveTo>
                      <a:pt x="7" y="271"/>
                    </a:moveTo>
                    <a:lnTo>
                      <a:pt x="0" y="264"/>
                    </a:lnTo>
                    <a:lnTo>
                      <a:pt x="0" y="256"/>
                    </a:lnTo>
                    <a:lnTo>
                      <a:pt x="7" y="256"/>
                    </a:lnTo>
                    <a:lnTo>
                      <a:pt x="13" y="256"/>
                    </a:lnTo>
                    <a:lnTo>
                      <a:pt x="13" y="264"/>
                    </a:lnTo>
                    <a:lnTo>
                      <a:pt x="13" y="271"/>
                    </a:lnTo>
                    <a:lnTo>
                      <a:pt x="7" y="277"/>
                    </a:lnTo>
                    <a:lnTo>
                      <a:pt x="7" y="271"/>
                    </a:lnTo>
                    <a:close/>
                    <a:moveTo>
                      <a:pt x="53" y="547"/>
                    </a:moveTo>
                    <a:lnTo>
                      <a:pt x="53" y="541"/>
                    </a:lnTo>
                    <a:lnTo>
                      <a:pt x="53" y="534"/>
                    </a:lnTo>
                    <a:lnTo>
                      <a:pt x="60" y="534"/>
                    </a:lnTo>
                    <a:lnTo>
                      <a:pt x="60" y="527"/>
                    </a:lnTo>
                    <a:lnTo>
                      <a:pt x="67" y="527"/>
                    </a:lnTo>
                    <a:lnTo>
                      <a:pt x="60" y="534"/>
                    </a:lnTo>
                    <a:lnTo>
                      <a:pt x="67" y="534"/>
                    </a:lnTo>
                    <a:lnTo>
                      <a:pt x="60" y="534"/>
                    </a:lnTo>
                    <a:lnTo>
                      <a:pt x="60" y="541"/>
                    </a:lnTo>
                    <a:lnTo>
                      <a:pt x="53" y="547"/>
                    </a:lnTo>
                    <a:close/>
                    <a:moveTo>
                      <a:pt x="94" y="236"/>
                    </a:moveTo>
                    <a:lnTo>
                      <a:pt x="94" y="229"/>
                    </a:lnTo>
                    <a:lnTo>
                      <a:pt x="94" y="222"/>
                    </a:lnTo>
                    <a:lnTo>
                      <a:pt x="100" y="215"/>
                    </a:lnTo>
                    <a:lnTo>
                      <a:pt x="94" y="208"/>
                    </a:lnTo>
                    <a:lnTo>
                      <a:pt x="100" y="208"/>
                    </a:lnTo>
                    <a:lnTo>
                      <a:pt x="114" y="208"/>
                    </a:lnTo>
                    <a:lnTo>
                      <a:pt x="120" y="215"/>
                    </a:lnTo>
                    <a:lnTo>
                      <a:pt x="127" y="208"/>
                    </a:lnTo>
                    <a:lnTo>
                      <a:pt x="134" y="208"/>
                    </a:lnTo>
                    <a:lnTo>
                      <a:pt x="140" y="215"/>
                    </a:lnTo>
                    <a:lnTo>
                      <a:pt x="147" y="215"/>
                    </a:lnTo>
                    <a:lnTo>
                      <a:pt x="154" y="208"/>
                    </a:lnTo>
                    <a:lnTo>
                      <a:pt x="160" y="222"/>
                    </a:lnTo>
                    <a:lnTo>
                      <a:pt x="167" y="222"/>
                    </a:lnTo>
                    <a:lnTo>
                      <a:pt x="167" y="215"/>
                    </a:lnTo>
                    <a:lnTo>
                      <a:pt x="167" y="201"/>
                    </a:lnTo>
                    <a:lnTo>
                      <a:pt x="174" y="201"/>
                    </a:lnTo>
                    <a:lnTo>
                      <a:pt x="174" y="194"/>
                    </a:lnTo>
                    <a:lnTo>
                      <a:pt x="187" y="201"/>
                    </a:lnTo>
                    <a:lnTo>
                      <a:pt x="187" y="194"/>
                    </a:lnTo>
                    <a:lnTo>
                      <a:pt x="180" y="187"/>
                    </a:lnTo>
                    <a:lnTo>
                      <a:pt x="174" y="194"/>
                    </a:lnTo>
                    <a:lnTo>
                      <a:pt x="167" y="187"/>
                    </a:lnTo>
                    <a:lnTo>
                      <a:pt x="174" y="187"/>
                    </a:lnTo>
                    <a:lnTo>
                      <a:pt x="174" y="181"/>
                    </a:lnTo>
                    <a:lnTo>
                      <a:pt x="167" y="181"/>
                    </a:lnTo>
                    <a:lnTo>
                      <a:pt x="167" y="187"/>
                    </a:lnTo>
                    <a:lnTo>
                      <a:pt x="160" y="187"/>
                    </a:lnTo>
                    <a:lnTo>
                      <a:pt x="160" y="181"/>
                    </a:lnTo>
                    <a:lnTo>
                      <a:pt x="160" y="174"/>
                    </a:lnTo>
                    <a:lnTo>
                      <a:pt x="160" y="166"/>
                    </a:lnTo>
                    <a:lnTo>
                      <a:pt x="167" y="166"/>
                    </a:lnTo>
                    <a:lnTo>
                      <a:pt x="160" y="166"/>
                    </a:lnTo>
                    <a:lnTo>
                      <a:pt x="154" y="166"/>
                    </a:lnTo>
                    <a:lnTo>
                      <a:pt x="154" y="159"/>
                    </a:lnTo>
                    <a:lnTo>
                      <a:pt x="160" y="152"/>
                    </a:lnTo>
                    <a:lnTo>
                      <a:pt x="154" y="152"/>
                    </a:lnTo>
                    <a:lnTo>
                      <a:pt x="154" y="146"/>
                    </a:lnTo>
                    <a:lnTo>
                      <a:pt x="154" y="132"/>
                    </a:lnTo>
                    <a:lnTo>
                      <a:pt x="154" y="139"/>
                    </a:lnTo>
                    <a:lnTo>
                      <a:pt x="147" y="146"/>
                    </a:lnTo>
                    <a:lnTo>
                      <a:pt x="147" y="139"/>
                    </a:lnTo>
                    <a:lnTo>
                      <a:pt x="147" y="132"/>
                    </a:lnTo>
                    <a:lnTo>
                      <a:pt x="140" y="132"/>
                    </a:lnTo>
                    <a:lnTo>
                      <a:pt x="134" y="139"/>
                    </a:lnTo>
                    <a:lnTo>
                      <a:pt x="120" y="132"/>
                    </a:lnTo>
                    <a:lnTo>
                      <a:pt x="127" y="118"/>
                    </a:lnTo>
                    <a:lnTo>
                      <a:pt x="127" y="125"/>
                    </a:lnTo>
                    <a:lnTo>
                      <a:pt x="134" y="118"/>
                    </a:lnTo>
                    <a:lnTo>
                      <a:pt x="134" y="111"/>
                    </a:lnTo>
                    <a:lnTo>
                      <a:pt x="140" y="104"/>
                    </a:lnTo>
                    <a:lnTo>
                      <a:pt x="147" y="104"/>
                    </a:lnTo>
                    <a:lnTo>
                      <a:pt x="147" y="111"/>
                    </a:lnTo>
                    <a:lnTo>
                      <a:pt x="147" y="118"/>
                    </a:lnTo>
                    <a:lnTo>
                      <a:pt x="154" y="118"/>
                    </a:lnTo>
                    <a:lnTo>
                      <a:pt x="154" y="125"/>
                    </a:lnTo>
                    <a:lnTo>
                      <a:pt x="160" y="125"/>
                    </a:lnTo>
                    <a:lnTo>
                      <a:pt x="167" y="125"/>
                    </a:lnTo>
                    <a:lnTo>
                      <a:pt x="174" y="125"/>
                    </a:lnTo>
                    <a:lnTo>
                      <a:pt x="167" y="125"/>
                    </a:lnTo>
                    <a:lnTo>
                      <a:pt x="160" y="125"/>
                    </a:lnTo>
                    <a:lnTo>
                      <a:pt x="154" y="125"/>
                    </a:lnTo>
                    <a:lnTo>
                      <a:pt x="154" y="118"/>
                    </a:lnTo>
                    <a:lnTo>
                      <a:pt x="147" y="111"/>
                    </a:lnTo>
                    <a:lnTo>
                      <a:pt x="154" y="111"/>
                    </a:lnTo>
                    <a:lnTo>
                      <a:pt x="154" y="104"/>
                    </a:lnTo>
                    <a:lnTo>
                      <a:pt x="160" y="104"/>
                    </a:lnTo>
                    <a:lnTo>
                      <a:pt x="167" y="97"/>
                    </a:lnTo>
                    <a:lnTo>
                      <a:pt x="167" y="91"/>
                    </a:lnTo>
                    <a:lnTo>
                      <a:pt x="167" y="83"/>
                    </a:lnTo>
                    <a:lnTo>
                      <a:pt x="174" y="83"/>
                    </a:lnTo>
                    <a:lnTo>
                      <a:pt x="180" y="83"/>
                    </a:lnTo>
                    <a:lnTo>
                      <a:pt x="187" y="83"/>
                    </a:lnTo>
                    <a:lnTo>
                      <a:pt x="187" y="91"/>
                    </a:lnTo>
                    <a:lnTo>
                      <a:pt x="187" y="83"/>
                    </a:lnTo>
                    <a:lnTo>
                      <a:pt x="187" y="76"/>
                    </a:lnTo>
                    <a:lnTo>
                      <a:pt x="194" y="76"/>
                    </a:lnTo>
                    <a:lnTo>
                      <a:pt x="194" y="83"/>
                    </a:lnTo>
                    <a:lnTo>
                      <a:pt x="194" y="91"/>
                    </a:lnTo>
                    <a:lnTo>
                      <a:pt x="194" y="97"/>
                    </a:lnTo>
                    <a:lnTo>
                      <a:pt x="187" y="97"/>
                    </a:lnTo>
                    <a:lnTo>
                      <a:pt x="194" y="104"/>
                    </a:lnTo>
                    <a:lnTo>
                      <a:pt x="187" y="118"/>
                    </a:lnTo>
                    <a:lnTo>
                      <a:pt x="180" y="118"/>
                    </a:lnTo>
                    <a:lnTo>
                      <a:pt x="187" y="125"/>
                    </a:lnTo>
                    <a:lnTo>
                      <a:pt x="180" y="125"/>
                    </a:lnTo>
                    <a:lnTo>
                      <a:pt x="187" y="132"/>
                    </a:lnTo>
                    <a:lnTo>
                      <a:pt x="180" y="132"/>
                    </a:lnTo>
                    <a:lnTo>
                      <a:pt x="180" y="139"/>
                    </a:lnTo>
                    <a:lnTo>
                      <a:pt x="174" y="146"/>
                    </a:lnTo>
                    <a:lnTo>
                      <a:pt x="180" y="146"/>
                    </a:lnTo>
                    <a:lnTo>
                      <a:pt x="180" y="152"/>
                    </a:lnTo>
                    <a:lnTo>
                      <a:pt x="174" y="152"/>
                    </a:lnTo>
                    <a:lnTo>
                      <a:pt x="180" y="152"/>
                    </a:lnTo>
                    <a:lnTo>
                      <a:pt x="180" y="159"/>
                    </a:lnTo>
                    <a:lnTo>
                      <a:pt x="174" y="159"/>
                    </a:lnTo>
                    <a:lnTo>
                      <a:pt x="174" y="166"/>
                    </a:lnTo>
                    <a:lnTo>
                      <a:pt x="174" y="174"/>
                    </a:lnTo>
                    <a:lnTo>
                      <a:pt x="167" y="174"/>
                    </a:lnTo>
                    <a:lnTo>
                      <a:pt x="167" y="181"/>
                    </a:lnTo>
                    <a:lnTo>
                      <a:pt x="174" y="174"/>
                    </a:lnTo>
                    <a:lnTo>
                      <a:pt x="174" y="166"/>
                    </a:lnTo>
                    <a:lnTo>
                      <a:pt x="180" y="166"/>
                    </a:lnTo>
                    <a:lnTo>
                      <a:pt x="180" y="159"/>
                    </a:lnTo>
                    <a:lnTo>
                      <a:pt x="187" y="159"/>
                    </a:lnTo>
                    <a:lnTo>
                      <a:pt x="194" y="159"/>
                    </a:lnTo>
                    <a:lnTo>
                      <a:pt x="194" y="152"/>
                    </a:lnTo>
                    <a:lnTo>
                      <a:pt x="187" y="152"/>
                    </a:lnTo>
                    <a:lnTo>
                      <a:pt x="187" y="146"/>
                    </a:lnTo>
                    <a:lnTo>
                      <a:pt x="194" y="146"/>
                    </a:lnTo>
                    <a:lnTo>
                      <a:pt x="201" y="146"/>
                    </a:lnTo>
                    <a:lnTo>
                      <a:pt x="201" y="139"/>
                    </a:lnTo>
                    <a:lnTo>
                      <a:pt x="208" y="139"/>
                    </a:lnTo>
                    <a:lnTo>
                      <a:pt x="208" y="146"/>
                    </a:lnTo>
                    <a:lnTo>
                      <a:pt x="208" y="152"/>
                    </a:lnTo>
                    <a:lnTo>
                      <a:pt x="214" y="152"/>
                    </a:lnTo>
                    <a:lnTo>
                      <a:pt x="214" y="159"/>
                    </a:lnTo>
                    <a:lnTo>
                      <a:pt x="208" y="159"/>
                    </a:lnTo>
                    <a:lnTo>
                      <a:pt x="214" y="159"/>
                    </a:lnTo>
                    <a:lnTo>
                      <a:pt x="214" y="166"/>
                    </a:lnTo>
                    <a:lnTo>
                      <a:pt x="208" y="166"/>
                    </a:lnTo>
                    <a:lnTo>
                      <a:pt x="214" y="166"/>
                    </a:lnTo>
                    <a:lnTo>
                      <a:pt x="214" y="174"/>
                    </a:lnTo>
                    <a:lnTo>
                      <a:pt x="208" y="174"/>
                    </a:lnTo>
                    <a:lnTo>
                      <a:pt x="208" y="166"/>
                    </a:lnTo>
                    <a:lnTo>
                      <a:pt x="201" y="174"/>
                    </a:lnTo>
                    <a:lnTo>
                      <a:pt x="194" y="181"/>
                    </a:lnTo>
                    <a:lnTo>
                      <a:pt x="201" y="174"/>
                    </a:lnTo>
                    <a:lnTo>
                      <a:pt x="208" y="174"/>
                    </a:lnTo>
                    <a:lnTo>
                      <a:pt x="201" y="181"/>
                    </a:lnTo>
                    <a:lnTo>
                      <a:pt x="214" y="181"/>
                    </a:lnTo>
                    <a:lnTo>
                      <a:pt x="208" y="187"/>
                    </a:lnTo>
                    <a:lnTo>
                      <a:pt x="214" y="187"/>
                    </a:lnTo>
                    <a:lnTo>
                      <a:pt x="214" y="181"/>
                    </a:lnTo>
                    <a:lnTo>
                      <a:pt x="214" y="187"/>
                    </a:lnTo>
                    <a:lnTo>
                      <a:pt x="221" y="181"/>
                    </a:lnTo>
                    <a:lnTo>
                      <a:pt x="221" y="174"/>
                    </a:lnTo>
                    <a:lnTo>
                      <a:pt x="228" y="174"/>
                    </a:lnTo>
                    <a:lnTo>
                      <a:pt x="221" y="181"/>
                    </a:lnTo>
                    <a:lnTo>
                      <a:pt x="228" y="181"/>
                    </a:lnTo>
                    <a:lnTo>
                      <a:pt x="228" y="174"/>
                    </a:lnTo>
                    <a:lnTo>
                      <a:pt x="228" y="166"/>
                    </a:lnTo>
                    <a:lnTo>
                      <a:pt x="241" y="166"/>
                    </a:lnTo>
                    <a:lnTo>
                      <a:pt x="234" y="174"/>
                    </a:lnTo>
                    <a:lnTo>
                      <a:pt x="228" y="181"/>
                    </a:lnTo>
                    <a:lnTo>
                      <a:pt x="221" y="187"/>
                    </a:lnTo>
                    <a:lnTo>
                      <a:pt x="214" y="194"/>
                    </a:lnTo>
                    <a:lnTo>
                      <a:pt x="221" y="194"/>
                    </a:lnTo>
                    <a:lnTo>
                      <a:pt x="221" y="187"/>
                    </a:lnTo>
                    <a:lnTo>
                      <a:pt x="228" y="194"/>
                    </a:lnTo>
                    <a:lnTo>
                      <a:pt x="228" y="201"/>
                    </a:lnTo>
                    <a:lnTo>
                      <a:pt x="221" y="208"/>
                    </a:lnTo>
                    <a:lnTo>
                      <a:pt x="208" y="201"/>
                    </a:lnTo>
                    <a:lnTo>
                      <a:pt x="201" y="201"/>
                    </a:lnTo>
                    <a:lnTo>
                      <a:pt x="208" y="208"/>
                    </a:lnTo>
                    <a:lnTo>
                      <a:pt x="208" y="215"/>
                    </a:lnTo>
                    <a:lnTo>
                      <a:pt x="208" y="208"/>
                    </a:lnTo>
                    <a:lnTo>
                      <a:pt x="214" y="215"/>
                    </a:lnTo>
                    <a:lnTo>
                      <a:pt x="221" y="215"/>
                    </a:lnTo>
                    <a:lnTo>
                      <a:pt x="221" y="222"/>
                    </a:lnTo>
                    <a:lnTo>
                      <a:pt x="221" y="229"/>
                    </a:lnTo>
                    <a:lnTo>
                      <a:pt x="214" y="229"/>
                    </a:lnTo>
                    <a:lnTo>
                      <a:pt x="208" y="236"/>
                    </a:lnTo>
                    <a:lnTo>
                      <a:pt x="208" y="242"/>
                    </a:lnTo>
                    <a:lnTo>
                      <a:pt x="208" y="236"/>
                    </a:lnTo>
                    <a:lnTo>
                      <a:pt x="214" y="236"/>
                    </a:lnTo>
                    <a:lnTo>
                      <a:pt x="214" y="242"/>
                    </a:lnTo>
                    <a:lnTo>
                      <a:pt x="214" y="249"/>
                    </a:lnTo>
                    <a:lnTo>
                      <a:pt x="208" y="242"/>
                    </a:lnTo>
                    <a:lnTo>
                      <a:pt x="208" y="249"/>
                    </a:lnTo>
                    <a:lnTo>
                      <a:pt x="201" y="249"/>
                    </a:lnTo>
                    <a:lnTo>
                      <a:pt x="201" y="242"/>
                    </a:lnTo>
                    <a:lnTo>
                      <a:pt x="194" y="236"/>
                    </a:lnTo>
                    <a:lnTo>
                      <a:pt x="194" y="242"/>
                    </a:lnTo>
                    <a:lnTo>
                      <a:pt x="194" y="249"/>
                    </a:lnTo>
                    <a:lnTo>
                      <a:pt x="187" y="249"/>
                    </a:lnTo>
                    <a:lnTo>
                      <a:pt x="194" y="256"/>
                    </a:lnTo>
                    <a:lnTo>
                      <a:pt x="194" y="249"/>
                    </a:lnTo>
                    <a:lnTo>
                      <a:pt x="194" y="256"/>
                    </a:lnTo>
                    <a:lnTo>
                      <a:pt x="201" y="256"/>
                    </a:lnTo>
                    <a:lnTo>
                      <a:pt x="194" y="264"/>
                    </a:lnTo>
                    <a:lnTo>
                      <a:pt x="194" y="271"/>
                    </a:lnTo>
                    <a:lnTo>
                      <a:pt x="187" y="277"/>
                    </a:lnTo>
                    <a:lnTo>
                      <a:pt x="194" y="277"/>
                    </a:lnTo>
                    <a:lnTo>
                      <a:pt x="194" y="271"/>
                    </a:lnTo>
                    <a:lnTo>
                      <a:pt x="201" y="271"/>
                    </a:lnTo>
                    <a:lnTo>
                      <a:pt x="201" y="277"/>
                    </a:lnTo>
                    <a:lnTo>
                      <a:pt x="194" y="277"/>
                    </a:lnTo>
                    <a:lnTo>
                      <a:pt x="201" y="284"/>
                    </a:lnTo>
                    <a:lnTo>
                      <a:pt x="201" y="291"/>
                    </a:lnTo>
                    <a:lnTo>
                      <a:pt x="194" y="291"/>
                    </a:lnTo>
                    <a:lnTo>
                      <a:pt x="194" y="298"/>
                    </a:lnTo>
                    <a:lnTo>
                      <a:pt x="187" y="298"/>
                    </a:lnTo>
                    <a:lnTo>
                      <a:pt x="180" y="298"/>
                    </a:lnTo>
                    <a:lnTo>
                      <a:pt x="187" y="305"/>
                    </a:lnTo>
                    <a:lnTo>
                      <a:pt x="180" y="305"/>
                    </a:lnTo>
                    <a:lnTo>
                      <a:pt x="180" y="312"/>
                    </a:lnTo>
                    <a:lnTo>
                      <a:pt x="180" y="319"/>
                    </a:lnTo>
                    <a:lnTo>
                      <a:pt x="180" y="326"/>
                    </a:lnTo>
                    <a:lnTo>
                      <a:pt x="180" y="333"/>
                    </a:lnTo>
                    <a:lnTo>
                      <a:pt x="187" y="333"/>
                    </a:lnTo>
                    <a:lnTo>
                      <a:pt x="187" y="339"/>
                    </a:lnTo>
                    <a:lnTo>
                      <a:pt x="180" y="339"/>
                    </a:lnTo>
                    <a:lnTo>
                      <a:pt x="180" y="333"/>
                    </a:lnTo>
                    <a:lnTo>
                      <a:pt x="174" y="339"/>
                    </a:lnTo>
                    <a:lnTo>
                      <a:pt x="174" y="346"/>
                    </a:lnTo>
                    <a:lnTo>
                      <a:pt x="174" y="354"/>
                    </a:lnTo>
                    <a:lnTo>
                      <a:pt x="180" y="361"/>
                    </a:lnTo>
                    <a:lnTo>
                      <a:pt x="174" y="361"/>
                    </a:lnTo>
                    <a:lnTo>
                      <a:pt x="174" y="367"/>
                    </a:lnTo>
                    <a:lnTo>
                      <a:pt x="174" y="361"/>
                    </a:lnTo>
                    <a:lnTo>
                      <a:pt x="174" y="354"/>
                    </a:lnTo>
                    <a:lnTo>
                      <a:pt x="174" y="361"/>
                    </a:lnTo>
                    <a:lnTo>
                      <a:pt x="167" y="361"/>
                    </a:lnTo>
                    <a:lnTo>
                      <a:pt x="167" y="354"/>
                    </a:lnTo>
                    <a:lnTo>
                      <a:pt x="160" y="354"/>
                    </a:lnTo>
                    <a:lnTo>
                      <a:pt x="160" y="361"/>
                    </a:lnTo>
                    <a:lnTo>
                      <a:pt x="167" y="361"/>
                    </a:lnTo>
                    <a:lnTo>
                      <a:pt x="160" y="361"/>
                    </a:lnTo>
                    <a:lnTo>
                      <a:pt x="167" y="367"/>
                    </a:lnTo>
                    <a:lnTo>
                      <a:pt x="160" y="367"/>
                    </a:lnTo>
                    <a:lnTo>
                      <a:pt x="160" y="374"/>
                    </a:lnTo>
                    <a:lnTo>
                      <a:pt x="160" y="381"/>
                    </a:lnTo>
                    <a:lnTo>
                      <a:pt x="154" y="381"/>
                    </a:lnTo>
                    <a:lnTo>
                      <a:pt x="154" y="388"/>
                    </a:lnTo>
                    <a:lnTo>
                      <a:pt x="160" y="388"/>
                    </a:lnTo>
                    <a:lnTo>
                      <a:pt x="154" y="395"/>
                    </a:lnTo>
                    <a:lnTo>
                      <a:pt x="154" y="402"/>
                    </a:lnTo>
                    <a:lnTo>
                      <a:pt x="154" y="395"/>
                    </a:lnTo>
                    <a:lnTo>
                      <a:pt x="154" y="402"/>
                    </a:lnTo>
                    <a:lnTo>
                      <a:pt x="154" y="409"/>
                    </a:lnTo>
                    <a:lnTo>
                      <a:pt x="154" y="416"/>
                    </a:lnTo>
                    <a:lnTo>
                      <a:pt x="154" y="409"/>
                    </a:lnTo>
                    <a:lnTo>
                      <a:pt x="154" y="402"/>
                    </a:lnTo>
                    <a:lnTo>
                      <a:pt x="147" y="402"/>
                    </a:lnTo>
                    <a:lnTo>
                      <a:pt x="147" y="409"/>
                    </a:lnTo>
                    <a:lnTo>
                      <a:pt x="147" y="402"/>
                    </a:lnTo>
                    <a:lnTo>
                      <a:pt x="147" y="395"/>
                    </a:lnTo>
                    <a:lnTo>
                      <a:pt x="140" y="388"/>
                    </a:lnTo>
                    <a:lnTo>
                      <a:pt x="140" y="395"/>
                    </a:lnTo>
                    <a:lnTo>
                      <a:pt x="134" y="395"/>
                    </a:lnTo>
                    <a:lnTo>
                      <a:pt x="134" y="388"/>
                    </a:lnTo>
                    <a:lnTo>
                      <a:pt x="134" y="381"/>
                    </a:lnTo>
                    <a:lnTo>
                      <a:pt x="140" y="381"/>
                    </a:lnTo>
                    <a:lnTo>
                      <a:pt x="140" y="374"/>
                    </a:lnTo>
                    <a:lnTo>
                      <a:pt x="140" y="367"/>
                    </a:lnTo>
                    <a:lnTo>
                      <a:pt x="147" y="374"/>
                    </a:lnTo>
                    <a:lnTo>
                      <a:pt x="147" y="367"/>
                    </a:lnTo>
                    <a:lnTo>
                      <a:pt x="147" y="374"/>
                    </a:lnTo>
                    <a:lnTo>
                      <a:pt x="147" y="367"/>
                    </a:lnTo>
                    <a:lnTo>
                      <a:pt x="147" y="361"/>
                    </a:lnTo>
                    <a:lnTo>
                      <a:pt x="140" y="361"/>
                    </a:lnTo>
                    <a:lnTo>
                      <a:pt x="147" y="354"/>
                    </a:lnTo>
                    <a:lnTo>
                      <a:pt x="147" y="361"/>
                    </a:lnTo>
                    <a:lnTo>
                      <a:pt x="154" y="361"/>
                    </a:lnTo>
                    <a:lnTo>
                      <a:pt x="147" y="354"/>
                    </a:lnTo>
                    <a:lnTo>
                      <a:pt x="147" y="346"/>
                    </a:lnTo>
                    <a:lnTo>
                      <a:pt x="154" y="346"/>
                    </a:lnTo>
                    <a:lnTo>
                      <a:pt x="154" y="339"/>
                    </a:lnTo>
                    <a:lnTo>
                      <a:pt x="160" y="333"/>
                    </a:lnTo>
                    <a:lnTo>
                      <a:pt x="160" y="326"/>
                    </a:lnTo>
                    <a:lnTo>
                      <a:pt x="167" y="319"/>
                    </a:lnTo>
                    <a:lnTo>
                      <a:pt x="167" y="305"/>
                    </a:lnTo>
                    <a:lnTo>
                      <a:pt x="174" y="298"/>
                    </a:lnTo>
                    <a:lnTo>
                      <a:pt x="174" y="291"/>
                    </a:lnTo>
                    <a:lnTo>
                      <a:pt x="167" y="291"/>
                    </a:lnTo>
                    <a:lnTo>
                      <a:pt x="167" y="284"/>
                    </a:lnTo>
                    <a:lnTo>
                      <a:pt x="174" y="277"/>
                    </a:lnTo>
                    <a:lnTo>
                      <a:pt x="174" y="271"/>
                    </a:lnTo>
                    <a:lnTo>
                      <a:pt x="167" y="271"/>
                    </a:lnTo>
                    <a:lnTo>
                      <a:pt x="167" y="277"/>
                    </a:lnTo>
                    <a:lnTo>
                      <a:pt x="160" y="277"/>
                    </a:lnTo>
                    <a:lnTo>
                      <a:pt x="167" y="271"/>
                    </a:lnTo>
                    <a:lnTo>
                      <a:pt x="167" y="264"/>
                    </a:lnTo>
                    <a:lnTo>
                      <a:pt x="174" y="256"/>
                    </a:lnTo>
                    <a:lnTo>
                      <a:pt x="174" y="249"/>
                    </a:lnTo>
                    <a:lnTo>
                      <a:pt x="167" y="256"/>
                    </a:lnTo>
                    <a:lnTo>
                      <a:pt x="160" y="264"/>
                    </a:lnTo>
                    <a:lnTo>
                      <a:pt x="160" y="256"/>
                    </a:lnTo>
                    <a:lnTo>
                      <a:pt x="160" y="249"/>
                    </a:lnTo>
                    <a:lnTo>
                      <a:pt x="160" y="242"/>
                    </a:lnTo>
                    <a:lnTo>
                      <a:pt x="154" y="242"/>
                    </a:lnTo>
                    <a:lnTo>
                      <a:pt x="154" y="236"/>
                    </a:lnTo>
                    <a:lnTo>
                      <a:pt x="147" y="236"/>
                    </a:lnTo>
                    <a:lnTo>
                      <a:pt x="154" y="236"/>
                    </a:lnTo>
                    <a:lnTo>
                      <a:pt x="154" y="242"/>
                    </a:lnTo>
                    <a:lnTo>
                      <a:pt x="154" y="249"/>
                    </a:lnTo>
                    <a:lnTo>
                      <a:pt x="160" y="249"/>
                    </a:lnTo>
                    <a:lnTo>
                      <a:pt x="160" y="256"/>
                    </a:lnTo>
                    <a:lnTo>
                      <a:pt x="154" y="264"/>
                    </a:lnTo>
                    <a:lnTo>
                      <a:pt x="154" y="256"/>
                    </a:lnTo>
                    <a:lnTo>
                      <a:pt x="154" y="264"/>
                    </a:lnTo>
                    <a:lnTo>
                      <a:pt x="147" y="264"/>
                    </a:lnTo>
                    <a:lnTo>
                      <a:pt x="147" y="271"/>
                    </a:lnTo>
                    <a:lnTo>
                      <a:pt x="147" y="277"/>
                    </a:lnTo>
                    <a:lnTo>
                      <a:pt x="140" y="271"/>
                    </a:lnTo>
                    <a:lnTo>
                      <a:pt x="140" y="277"/>
                    </a:lnTo>
                    <a:lnTo>
                      <a:pt x="134" y="284"/>
                    </a:lnTo>
                    <a:lnTo>
                      <a:pt x="134" y="277"/>
                    </a:lnTo>
                    <a:lnTo>
                      <a:pt x="127" y="271"/>
                    </a:lnTo>
                    <a:lnTo>
                      <a:pt x="127" y="264"/>
                    </a:lnTo>
                    <a:lnTo>
                      <a:pt x="120" y="264"/>
                    </a:lnTo>
                    <a:lnTo>
                      <a:pt x="120" y="256"/>
                    </a:lnTo>
                    <a:lnTo>
                      <a:pt x="127" y="256"/>
                    </a:lnTo>
                    <a:lnTo>
                      <a:pt x="134" y="256"/>
                    </a:lnTo>
                    <a:lnTo>
                      <a:pt x="134" y="249"/>
                    </a:lnTo>
                    <a:lnTo>
                      <a:pt x="134" y="242"/>
                    </a:lnTo>
                    <a:lnTo>
                      <a:pt x="127" y="242"/>
                    </a:lnTo>
                    <a:lnTo>
                      <a:pt x="127" y="236"/>
                    </a:lnTo>
                    <a:lnTo>
                      <a:pt x="127" y="242"/>
                    </a:lnTo>
                    <a:lnTo>
                      <a:pt x="127" y="249"/>
                    </a:lnTo>
                    <a:lnTo>
                      <a:pt x="120" y="249"/>
                    </a:lnTo>
                    <a:lnTo>
                      <a:pt x="120" y="256"/>
                    </a:lnTo>
                    <a:lnTo>
                      <a:pt x="120" y="249"/>
                    </a:lnTo>
                    <a:lnTo>
                      <a:pt x="114" y="242"/>
                    </a:lnTo>
                    <a:lnTo>
                      <a:pt x="107" y="242"/>
                    </a:lnTo>
                    <a:lnTo>
                      <a:pt x="107" y="249"/>
                    </a:lnTo>
                    <a:lnTo>
                      <a:pt x="100" y="249"/>
                    </a:lnTo>
                    <a:lnTo>
                      <a:pt x="100" y="242"/>
                    </a:lnTo>
                    <a:lnTo>
                      <a:pt x="100" y="236"/>
                    </a:lnTo>
                    <a:lnTo>
                      <a:pt x="94" y="236"/>
                    </a:lnTo>
                    <a:close/>
                    <a:moveTo>
                      <a:pt x="201" y="284"/>
                    </a:moveTo>
                    <a:lnTo>
                      <a:pt x="201" y="277"/>
                    </a:lnTo>
                    <a:lnTo>
                      <a:pt x="208" y="277"/>
                    </a:lnTo>
                    <a:lnTo>
                      <a:pt x="214" y="277"/>
                    </a:lnTo>
                    <a:lnTo>
                      <a:pt x="214" y="284"/>
                    </a:lnTo>
                    <a:lnTo>
                      <a:pt x="214" y="277"/>
                    </a:lnTo>
                    <a:lnTo>
                      <a:pt x="214" y="284"/>
                    </a:lnTo>
                    <a:lnTo>
                      <a:pt x="214" y="291"/>
                    </a:lnTo>
                    <a:lnTo>
                      <a:pt x="221" y="284"/>
                    </a:lnTo>
                    <a:lnTo>
                      <a:pt x="221" y="291"/>
                    </a:lnTo>
                    <a:lnTo>
                      <a:pt x="214" y="298"/>
                    </a:lnTo>
                    <a:lnTo>
                      <a:pt x="214" y="305"/>
                    </a:lnTo>
                    <a:lnTo>
                      <a:pt x="214" y="312"/>
                    </a:lnTo>
                    <a:lnTo>
                      <a:pt x="208" y="312"/>
                    </a:lnTo>
                    <a:lnTo>
                      <a:pt x="201" y="305"/>
                    </a:lnTo>
                    <a:lnTo>
                      <a:pt x="201" y="298"/>
                    </a:lnTo>
                    <a:lnTo>
                      <a:pt x="208" y="291"/>
                    </a:lnTo>
                    <a:lnTo>
                      <a:pt x="208" y="284"/>
                    </a:lnTo>
                    <a:lnTo>
                      <a:pt x="201" y="284"/>
                    </a:lnTo>
                    <a:close/>
                    <a:moveTo>
                      <a:pt x="221" y="298"/>
                    </a:moveTo>
                    <a:lnTo>
                      <a:pt x="221" y="291"/>
                    </a:lnTo>
                    <a:lnTo>
                      <a:pt x="228" y="291"/>
                    </a:lnTo>
                    <a:lnTo>
                      <a:pt x="228" y="298"/>
                    </a:lnTo>
                    <a:lnTo>
                      <a:pt x="228" y="305"/>
                    </a:lnTo>
                    <a:lnTo>
                      <a:pt x="221" y="298"/>
                    </a:lnTo>
                    <a:close/>
                    <a:moveTo>
                      <a:pt x="214" y="111"/>
                    </a:moveTo>
                    <a:lnTo>
                      <a:pt x="214" y="104"/>
                    </a:lnTo>
                    <a:lnTo>
                      <a:pt x="221" y="104"/>
                    </a:lnTo>
                    <a:lnTo>
                      <a:pt x="214" y="97"/>
                    </a:lnTo>
                    <a:lnTo>
                      <a:pt x="214" y="91"/>
                    </a:lnTo>
                    <a:lnTo>
                      <a:pt x="221" y="91"/>
                    </a:lnTo>
                    <a:lnTo>
                      <a:pt x="221" y="83"/>
                    </a:lnTo>
                    <a:lnTo>
                      <a:pt x="228" y="76"/>
                    </a:lnTo>
                    <a:lnTo>
                      <a:pt x="228" y="83"/>
                    </a:lnTo>
                    <a:lnTo>
                      <a:pt x="228" y="91"/>
                    </a:lnTo>
                    <a:lnTo>
                      <a:pt x="234" y="91"/>
                    </a:lnTo>
                    <a:lnTo>
                      <a:pt x="234" y="97"/>
                    </a:lnTo>
                    <a:lnTo>
                      <a:pt x="234" y="91"/>
                    </a:lnTo>
                    <a:lnTo>
                      <a:pt x="234" y="83"/>
                    </a:lnTo>
                    <a:lnTo>
                      <a:pt x="234" y="76"/>
                    </a:lnTo>
                    <a:lnTo>
                      <a:pt x="234" y="69"/>
                    </a:lnTo>
                    <a:lnTo>
                      <a:pt x="234" y="62"/>
                    </a:lnTo>
                    <a:lnTo>
                      <a:pt x="241" y="56"/>
                    </a:lnTo>
                    <a:lnTo>
                      <a:pt x="234" y="56"/>
                    </a:lnTo>
                    <a:lnTo>
                      <a:pt x="241" y="49"/>
                    </a:lnTo>
                    <a:lnTo>
                      <a:pt x="241" y="42"/>
                    </a:lnTo>
                    <a:lnTo>
                      <a:pt x="248" y="42"/>
                    </a:lnTo>
                    <a:lnTo>
                      <a:pt x="248" y="49"/>
                    </a:lnTo>
                    <a:lnTo>
                      <a:pt x="248" y="56"/>
                    </a:lnTo>
                    <a:lnTo>
                      <a:pt x="254" y="49"/>
                    </a:lnTo>
                    <a:lnTo>
                      <a:pt x="248" y="49"/>
                    </a:lnTo>
                    <a:lnTo>
                      <a:pt x="248" y="42"/>
                    </a:lnTo>
                    <a:lnTo>
                      <a:pt x="254" y="49"/>
                    </a:lnTo>
                    <a:lnTo>
                      <a:pt x="261" y="49"/>
                    </a:lnTo>
                    <a:lnTo>
                      <a:pt x="254" y="42"/>
                    </a:lnTo>
                    <a:lnTo>
                      <a:pt x="261" y="49"/>
                    </a:lnTo>
                    <a:lnTo>
                      <a:pt x="268" y="49"/>
                    </a:lnTo>
                    <a:lnTo>
                      <a:pt x="268" y="56"/>
                    </a:lnTo>
                    <a:lnTo>
                      <a:pt x="261" y="56"/>
                    </a:lnTo>
                    <a:lnTo>
                      <a:pt x="268" y="56"/>
                    </a:lnTo>
                    <a:lnTo>
                      <a:pt x="268" y="62"/>
                    </a:lnTo>
                    <a:lnTo>
                      <a:pt x="261" y="56"/>
                    </a:lnTo>
                    <a:lnTo>
                      <a:pt x="261" y="62"/>
                    </a:lnTo>
                    <a:lnTo>
                      <a:pt x="268" y="69"/>
                    </a:lnTo>
                    <a:lnTo>
                      <a:pt x="261" y="69"/>
                    </a:lnTo>
                    <a:lnTo>
                      <a:pt x="261" y="76"/>
                    </a:lnTo>
                    <a:lnTo>
                      <a:pt x="261" y="83"/>
                    </a:lnTo>
                    <a:lnTo>
                      <a:pt x="268" y="83"/>
                    </a:lnTo>
                    <a:lnTo>
                      <a:pt x="268" y="91"/>
                    </a:lnTo>
                    <a:lnTo>
                      <a:pt x="261" y="91"/>
                    </a:lnTo>
                    <a:lnTo>
                      <a:pt x="261" y="83"/>
                    </a:lnTo>
                    <a:lnTo>
                      <a:pt x="254" y="83"/>
                    </a:lnTo>
                    <a:lnTo>
                      <a:pt x="254" y="76"/>
                    </a:lnTo>
                    <a:lnTo>
                      <a:pt x="248" y="76"/>
                    </a:lnTo>
                    <a:lnTo>
                      <a:pt x="248" y="69"/>
                    </a:lnTo>
                    <a:lnTo>
                      <a:pt x="248" y="76"/>
                    </a:lnTo>
                    <a:lnTo>
                      <a:pt x="248" y="83"/>
                    </a:lnTo>
                    <a:lnTo>
                      <a:pt x="254" y="91"/>
                    </a:lnTo>
                    <a:lnTo>
                      <a:pt x="254" y="97"/>
                    </a:lnTo>
                    <a:lnTo>
                      <a:pt x="248" y="104"/>
                    </a:lnTo>
                    <a:lnTo>
                      <a:pt x="248" y="97"/>
                    </a:lnTo>
                    <a:lnTo>
                      <a:pt x="241" y="97"/>
                    </a:lnTo>
                    <a:lnTo>
                      <a:pt x="248" y="97"/>
                    </a:lnTo>
                    <a:lnTo>
                      <a:pt x="248" y="104"/>
                    </a:lnTo>
                    <a:lnTo>
                      <a:pt x="254" y="104"/>
                    </a:lnTo>
                    <a:lnTo>
                      <a:pt x="254" y="111"/>
                    </a:lnTo>
                    <a:lnTo>
                      <a:pt x="254" y="118"/>
                    </a:lnTo>
                    <a:lnTo>
                      <a:pt x="248" y="118"/>
                    </a:lnTo>
                    <a:lnTo>
                      <a:pt x="254" y="118"/>
                    </a:lnTo>
                    <a:lnTo>
                      <a:pt x="254" y="125"/>
                    </a:lnTo>
                    <a:lnTo>
                      <a:pt x="248" y="125"/>
                    </a:lnTo>
                    <a:lnTo>
                      <a:pt x="248" y="132"/>
                    </a:lnTo>
                    <a:lnTo>
                      <a:pt x="248" y="139"/>
                    </a:lnTo>
                    <a:lnTo>
                      <a:pt x="248" y="146"/>
                    </a:lnTo>
                    <a:lnTo>
                      <a:pt x="241" y="146"/>
                    </a:lnTo>
                    <a:lnTo>
                      <a:pt x="234" y="146"/>
                    </a:lnTo>
                    <a:lnTo>
                      <a:pt x="228" y="146"/>
                    </a:lnTo>
                    <a:lnTo>
                      <a:pt x="228" y="139"/>
                    </a:lnTo>
                    <a:lnTo>
                      <a:pt x="228" y="146"/>
                    </a:lnTo>
                    <a:lnTo>
                      <a:pt x="234" y="146"/>
                    </a:lnTo>
                    <a:lnTo>
                      <a:pt x="228" y="152"/>
                    </a:lnTo>
                    <a:lnTo>
                      <a:pt x="228" y="146"/>
                    </a:lnTo>
                    <a:lnTo>
                      <a:pt x="221" y="146"/>
                    </a:lnTo>
                    <a:lnTo>
                      <a:pt x="214" y="139"/>
                    </a:lnTo>
                    <a:lnTo>
                      <a:pt x="214" y="132"/>
                    </a:lnTo>
                    <a:lnTo>
                      <a:pt x="214" y="125"/>
                    </a:lnTo>
                    <a:lnTo>
                      <a:pt x="214" y="118"/>
                    </a:lnTo>
                    <a:lnTo>
                      <a:pt x="221" y="118"/>
                    </a:lnTo>
                    <a:lnTo>
                      <a:pt x="221" y="111"/>
                    </a:lnTo>
                    <a:lnTo>
                      <a:pt x="214" y="111"/>
                    </a:lnTo>
                    <a:lnTo>
                      <a:pt x="221" y="111"/>
                    </a:lnTo>
                    <a:lnTo>
                      <a:pt x="214" y="111"/>
                    </a:lnTo>
                    <a:close/>
                    <a:moveTo>
                      <a:pt x="234" y="201"/>
                    </a:moveTo>
                    <a:lnTo>
                      <a:pt x="241" y="201"/>
                    </a:lnTo>
                    <a:lnTo>
                      <a:pt x="234" y="201"/>
                    </a:lnTo>
                    <a:lnTo>
                      <a:pt x="234" y="208"/>
                    </a:lnTo>
                    <a:lnTo>
                      <a:pt x="234" y="201"/>
                    </a:lnTo>
                    <a:close/>
                    <a:moveTo>
                      <a:pt x="234" y="215"/>
                    </a:moveTo>
                    <a:lnTo>
                      <a:pt x="234" y="208"/>
                    </a:lnTo>
                    <a:lnTo>
                      <a:pt x="241" y="208"/>
                    </a:lnTo>
                    <a:lnTo>
                      <a:pt x="234" y="208"/>
                    </a:lnTo>
                    <a:lnTo>
                      <a:pt x="241" y="201"/>
                    </a:lnTo>
                    <a:lnTo>
                      <a:pt x="248" y="201"/>
                    </a:lnTo>
                    <a:lnTo>
                      <a:pt x="254" y="194"/>
                    </a:lnTo>
                    <a:lnTo>
                      <a:pt x="254" y="201"/>
                    </a:lnTo>
                    <a:lnTo>
                      <a:pt x="261" y="201"/>
                    </a:lnTo>
                    <a:lnTo>
                      <a:pt x="268" y="201"/>
                    </a:lnTo>
                    <a:lnTo>
                      <a:pt x="261" y="201"/>
                    </a:lnTo>
                    <a:lnTo>
                      <a:pt x="254" y="208"/>
                    </a:lnTo>
                    <a:lnTo>
                      <a:pt x="248" y="215"/>
                    </a:lnTo>
                    <a:lnTo>
                      <a:pt x="241" y="215"/>
                    </a:lnTo>
                    <a:lnTo>
                      <a:pt x="241" y="222"/>
                    </a:lnTo>
                    <a:lnTo>
                      <a:pt x="234" y="215"/>
                    </a:lnTo>
                    <a:close/>
                    <a:moveTo>
                      <a:pt x="254" y="104"/>
                    </a:moveTo>
                    <a:lnTo>
                      <a:pt x="254" y="97"/>
                    </a:lnTo>
                    <a:lnTo>
                      <a:pt x="261" y="97"/>
                    </a:lnTo>
                    <a:lnTo>
                      <a:pt x="268" y="97"/>
                    </a:lnTo>
                    <a:lnTo>
                      <a:pt x="261" y="104"/>
                    </a:lnTo>
                    <a:lnTo>
                      <a:pt x="261" y="97"/>
                    </a:lnTo>
                    <a:lnTo>
                      <a:pt x="261" y="104"/>
                    </a:lnTo>
                    <a:lnTo>
                      <a:pt x="254" y="104"/>
                    </a:lnTo>
                    <a:close/>
                    <a:moveTo>
                      <a:pt x="281" y="76"/>
                    </a:moveTo>
                    <a:lnTo>
                      <a:pt x="281" y="69"/>
                    </a:lnTo>
                    <a:lnTo>
                      <a:pt x="288" y="76"/>
                    </a:lnTo>
                    <a:lnTo>
                      <a:pt x="288" y="83"/>
                    </a:lnTo>
                    <a:lnTo>
                      <a:pt x="281" y="76"/>
                    </a:lnTo>
                    <a:close/>
                    <a:moveTo>
                      <a:pt x="274" y="104"/>
                    </a:moveTo>
                    <a:lnTo>
                      <a:pt x="268" y="97"/>
                    </a:lnTo>
                    <a:lnTo>
                      <a:pt x="274" y="91"/>
                    </a:lnTo>
                    <a:lnTo>
                      <a:pt x="274" y="97"/>
                    </a:lnTo>
                    <a:lnTo>
                      <a:pt x="274" y="91"/>
                    </a:lnTo>
                    <a:lnTo>
                      <a:pt x="281" y="97"/>
                    </a:lnTo>
                    <a:lnTo>
                      <a:pt x="281" y="91"/>
                    </a:lnTo>
                    <a:lnTo>
                      <a:pt x="288" y="91"/>
                    </a:lnTo>
                    <a:lnTo>
                      <a:pt x="288" y="97"/>
                    </a:lnTo>
                    <a:lnTo>
                      <a:pt x="294" y="97"/>
                    </a:lnTo>
                    <a:lnTo>
                      <a:pt x="294" y="104"/>
                    </a:lnTo>
                    <a:lnTo>
                      <a:pt x="294" y="111"/>
                    </a:lnTo>
                    <a:lnTo>
                      <a:pt x="301" y="111"/>
                    </a:lnTo>
                    <a:lnTo>
                      <a:pt x="301" y="104"/>
                    </a:lnTo>
                    <a:lnTo>
                      <a:pt x="308" y="104"/>
                    </a:lnTo>
                    <a:lnTo>
                      <a:pt x="308" y="111"/>
                    </a:lnTo>
                    <a:lnTo>
                      <a:pt x="301" y="111"/>
                    </a:lnTo>
                    <a:lnTo>
                      <a:pt x="301" y="118"/>
                    </a:lnTo>
                    <a:lnTo>
                      <a:pt x="294" y="125"/>
                    </a:lnTo>
                    <a:lnTo>
                      <a:pt x="294" y="118"/>
                    </a:lnTo>
                    <a:lnTo>
                      <a:pt x="294" y="111"/>
                    </a:lnTo>
                    <a:lnTo>
                      <a:pt x="288" y="111"/>
                    </a:lnTo>
                    <a:lnTo>
                      <a:pt x="281" y="111"/>
                    </a:lnTo>
                    <a:lnTo>
                      <a:pt x="281" y="118"/>
                    </a:lnTo>
                    <a:lnTo>
                      <a:pt x="281" y="125"/>
                    </a:lnTo>
                    <a:lnTo>
                      <a:pt x="274" y="118"/>
                    </a:lnTo>
                    <a:lnTo>
                      <a:pt x="274" y="111"/>
                    </a:lnTo>
                    <a:lnTo>
                      <a:pt x="274" y="104"/>
                    </a:lnTo>
                    <a:close/>
                    <a:moveTo>
                      <a:pt x="268" y="69"/>
                    </a:moveTo>
                    <a:lnTo>
                      <a:pt x="268" y="62"/>
                    </a:lnTo>
                    <a:lnTo>
                      <a:pt x="268" y="56"/>
                    </a:lnTo>
                    <a:lnTo>
                      <a:pt x="268" y="49"/>
                    </a:lnTo>
                    <a:lnTo>
                      <a:pt x="274" y="56"/>
                    </a:lnTo>
                    <a:lnTo>
                      <a:pt x="274" y="49"/>
                    </a:lnTo>
                    <a:lnTo>
                      <a:pt x="274" y="42"/>
                    </a:lnTo>
                    <a:lnTo>
                      <a:pt x="281" y="42"/>
                    </a:lnTo>
                    <a:lnTo>
                      <a:pt x="281" y="35"/>
                    </a:lnTo>
                    <a:lnTo>
                      <a:pt x="281" y="28"/>
                    </a:lnTo>
                    <a:lnTo>
                      <a:pt x="281" y="21"/>
                    </a:lnTo>
                    <a:lnTo>
                      <a:pt x="288" y="21"/>
                    </a:lnTo>
                    <a:lnTo>
                      <a:pt x="288" y="14"/>
                    </a:lnTo>
                    <a:lnTo>
                      <a:pt x="281" y="14"/>
                    </a:lnTo>
                    <a:lnTo>
                      <a:pt x="288" y="14"/>
                    </a:lnTo>
                    <a:lnTo>
                      <a:pt x="294" y="7"/>
                    </a:lnTo>
                    <a:lnTo>
                      <a:pt x="294" y="0"/>
                    </a:lnTo>
                    <a:lnTo>
                      <a:pt x="301" y="0"/>
                    </a:lnTo>
                    <a:lnTo>
                      <a:pt x="301" y="7"/>
                    </a:lnTo>
                    <a:lnTo>
                      <a:pt x="301" y="14"/>
                    </a:lnTo>
                    <a:lnTo>
                      <a:pt x="294" y="21"/>
                    </a:lnTo>
                    <a:lnTo>
                      <a:pt x="301" y="21"/>
                    </a:lnTo>
                    <a:lnTo>
                      <a:pt x="301" y="14"/>
                    </a:lnTo>
                    <a:lnTo>
                      <a:pt x="301" y="7"/>
                    </a:lnTo>
                    <a:lnTo>
                      <a:pt x="308" y="7"/>
                    </a:lnTo>
                    <a:lnTo>
                      <a:pt x="315" y="7"/>
                    </a:lnTo>
                    <a:lnTo>
                      <a:pt x="315" y="14"/>
                    </a:lnTo>
                    <a:lnTo>
                      <a:pt x="315" y="7"/>
                    </a:lnTo>
                    <a:lnTo>
                      <a:pt x="315" y="14"/>
                    </a:lnTo>
                    <a:lnTo>
                      <a:pt x="321" y="14"/>
                    </a:lnTo>
                    <a:lnTo>
                      <a:pt x="321" y="21"/>
                    </a:lnTo>
                    <a:lnTo>
                      <a:pt x="315" y="21"/>
                    </a:lnTo>
                    <a:lnTo>
                      <a:pt x="315" y="28"/>
                    </a:lnTo>
                    <a:lnTo>
                      <a:pt x="315" y="35"/>
                    </a:lnTo>
                    <a:lnTo>
                      <a:pt x="315" y="28"/>
                    </a:lnTo>
                    <a:lnTo>
                      <a:pt x="308" y="28"/>
                    </a:lnTo>
                    <a:lnTo>
                      <a:pt x="301" y="28"/>
                    </a:lnTo>
                    <a:lnTo>
                      <a:pt x="308" y="28"/>
                    </a:lnTo>
                    <a:lnTo>
                      <a:pt x="308" y="35"/>
                    </a:lnTo>
                    <a:lnTo>
                      <a:pt x="308" y="42"/>
                    </a:lnTo>
                    <a:lnTo>
                      <a:pt x="301" y="42"/>
                    </a:lnTo>
                    <a:lnTo>
                      <a:pt x="294" y="42"/>
                    </a:lnTo>
                    <a:lnTo>
                      <a:pt x="301" y="42"/>
                    </a:lnTo>
                    <a:lnTo>
                      <a:pt x="308" y="49"/>
                    </a:lnTo>
                    <a:lnTo>
                      <a:pt x="301" y="49"/>
                    </a:lnTo>
                    <a:lnTo>
                      <a:pt x="301" y="56"/>
                    </a:lnTo>
                    <a:lnTo>
                      <a:pt x="294" y="56"/>
                    </a:lnTo>
                    <a:lnTo>
                      <a:pt x="294" y="62"/>
                    </a:lnTo>
                    <a:lnTo>
                      <a:pt x="288" y="62"/>
                    </a:lnTo>
                    <a:lnTo>
                      <a:pt x="294" y="62"/>
                    </a:lnTo>
                    <a:lnTo>
                      <a:pt x="294" y="69"/>
                    </a:lnTo>
                    <a:lnTo>
                      <a:pt x="301" y="69"/>
                    </a:lnTo>
                    <a:lnTo>
                      <a:pt x="294" y="76"/>
                    </a:lnTo>
                    <a:lnTo>
                      <a:pt x="288" y="69"/>
                    </a:lnTo>
                    <a:lnTo>
                      <a:pt x="281" y="69"/>
                    </a:lnTo>
                    <a:lnTo>
                      <a:pt x="274" y="69"/>
                    </a:lnTo>
                    <a:lnTo>
                      <a:pt x="268" y="69"/>
                    </a:lnTo>
                    <a:close/>
                    <a:moveTo>
                      <a:pt x="288" y="194"/>
                    </a:moveTo>
                    <a:lnTo>
                      <a:pt x="288" y="187"/>
                    </a:lnTo>
                    <a:lnTo>
                      <a:pt x="294" y="187"/>
                    </a:lnTo>
                    <a:lnTo>
                      <a:pt x="294" y="181"/>
                    </a:lnTo>
                    <a:lnTo>
                      <a:pt x="301" y="181"/>
                    </a:lnTo>
                    <a:lnTo>
                      <a:pt x="294" y="187"/>
                    </a:lnTo>
                    <a:lnTo>
                      <a:pt x="301" y="187"/>
                    </a:lnTo>
                    <a:lnTo>
                      <a:pt x="294" y="187"/>
                    </a:lnTo>
                    <a:lnTo>
                      <a:pt x="288" y="187"/>
                    </a:lnTo>
                    <a:lnTo>
                      <a:pt x="288" y="19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2" name="Freeform 26">
                <a:extLst>
                  <a:ext uri="{FF2B5EF4-FFF2-40B4-BE49-F238E27FC236}">
                    <a16:creationId xmlns:a16="http://schemas.microsoft.com/office/drawing/2014/main" id="{1FD036F6-0B25-6CE0-96D5-3E78E8A3535C}"/>
                  </a:ext>
                </a:extLst>
              </p:cNvPr>
              <p:cNvSpPr>
                <a:spLocks/>
              </p:cNvSpPr>
              <p:nvPr/>
            </p:nvSpPr>
            <p:spPr bwMode="gray">
              <a:xfrm>
                <a:off x="6989763" y="2724150"/>
                <a:ext cx="20638" cy="33338"/>
              </a:xfrm>
              <a:custGeom>
                <a:avLst/>
                <a:gdLst>
                  <a:gd name="T0" fmla="*/ 7 w 13"/>
                  <a:gd name="T1" fmla="*/ 15 h 21"/>
                  <a:gd name="T2" fmla="*/ 0 w 13"/>
                  <a:gd name="T3" fmla="*/ 8 h 21"/>
                  <a:gd name="T4" fmla="*/ 0 w 13"/>
                  <a:gd name="T5" fmla="*/ 0 h 21"/>
                  <a:gd name="T6" fmla="*/ 7 w 13"/>
                  <a:gd name="T7" fmla="*/ 0 h 21"/>
                  <a:gd name="T8" fmla="*/ 13 w 13"/>
                  <a:gd name="T9" fmla="*/ 0 h 21"/>
                  <a:gd name="T10" fmla="*/ 13 w 13"/>
                  <a:gd name="T11" fmla="*/ 8 h 21"/>
                  <a:gd name="T12" fmla="*/ 13 w 13"/>
                  <a:gd name="T13" fmla="*/ 15 h 21"/>
                  <a:gd name="T14" fmla="*/ 7 w 13"/>
                  <a:gd name="T15" fmla="*/ 21 h 21"/>
                  <a:gd name="T16" fmla="*/ 7 w 13"/>
                  <a:gd name="T1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1">
                    <a:moveTo>
                      <a:pt x="7" y="15"/>
                    </a:moveTo>
                    <a:lnTo>
                      <a:pt x="0" y="8"/>
                    </a:lnTo>
                    <a:lnTo>
                      <a:pt x="0" y="0"/>
                    </a:lnTo>
                    <a:lnTo>
                      <a:pt x="7" y="0"/>
                    </a:lnTo>
                    <a:lnTo>
                      <a:pt x="13" y="0"/>
                    </a:lnTo>
                    <a:lnTo>
                      <a:pt x="13" y="8"/>
                    </a:lnTo>
                    <a:lnTo>
                      <a:pt x="13" y="15"/>
                    </a:lnTo>
                    <a:lnTo>
                      <a:pt x="7" y="21"/>
                    </a:lnTo>
                    <a:lnTo>
                      <a:pt x="7" y="15"/>
                    </a:lnTo>
                    <a:close/>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3" name="Freeform 27">
                <a:extLst>
                  <a:ext uri="{FF2B5EF4-FFF2-40B4-BE49-F238E27FC236}">
                    <a16:creationId xmlns:a16="http://schemas.microsoft.com/office/drawing/2014/main" id="{791F33B6-DBCA-31AF-2EF2-B338C1012710}"/>
                  </a:ext>
                </a:extLst>
              </p:cNvPr>
              <p:cNvSpPr>
                <a:spLocks/>
              </p:cNvSpPr>
              <p:nvPr/>
            </p:nvSpPr>
            <p:spPr bwMode="gray">
              <a:xfrm>
                <a:off x="7073900" y="3154363"/>
                <a:ext cx="22225" cy="31750"/>
              </a:xfrm>
              <a:custGeom>
                <a:avLst/>
                <a:gdLst>
                  <a:gd name="T0" fmla="*/ 0 w 14"/>
                  <a:gd name="T1" fmla="*/ 20 h 20"/>
                  <a:gd name="T2" fmla="*/ 0 w 14"/>
                  <a:gd name="T3" fmla="*/ 14 h 20"/>
                  <a:gd name="T4" fmla="*/ 0 w 14"/>
                  <a:gd name="T5" fmla="*/ 7 h 20"/>
                  <a:gd name="T6" fmla="*/ 7 w 14"/>
                  <a:gd name="T7" fmla="*/ 7 h 20"/>
                  <a:gd name="T8" fmla="*/ 7 w 14"/>
                  <a:gd name="T9" fmla="*/ 0 h 20"/>
                  <a:gd name="T10" fmla="*/ 14 w 14"/>
                  <a:gd name="T11" fmla="*/ 0 h 20"/>
                  <a:gd name="T12" fmla="*/ 7 w 14"/>
                  <a:gd name="T13" fmla="*/ 7 h 20"/>
                  <a:gd name="T14" fmla="*/ 14 w 14"/>
                  <a:gd name="T15" fmla="*/ 7 h 20"/>
                  <a:gd name="T16" fmla="*/ 7 w 14"/>
                  <a:gd name="T17" fmla="*/ 7 h 20"/>
                  <a:gd name="T18" fmla="*/ 7 w 14"/>
                  <a:gd name="T19" fmla="*/ 14 h 20"/>
                  <a:gd name="T20" fmla="*/ 0 w 14"/>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0" y="20"/>
                    </a:moveTo>
                    <a:lnTo>
                      <a:pt x="0" y="14"/>
                    </a:lnTo>
                    <a:lnTo>
                      <a:pt x="0" y="7"/>
                    </a:lnTo>
                    <a:lnTo>
                      <a:pt x="7" y="7"/>
                    </a:lnTo>
                    <a:lnTo>
                      <a:pt x="7" y="0"/>
                    </a:lnTo>
                    <a:lnTo>
                      <a:pt x="14" y="0"/>
                    </a:lnTo>
                    <a:lnTo>
                      <a:pt x="7" y="7"/>
                    </a:lnTo>
                    <a:lnTo>
                      <a:pt x="14" y="7"/>
                    </a:lnTo>
                    <a:lnTo>
                      <a:pt x="7" y="7"/>
                    </a:lnTo>
                    <a:lnTo>
                      <a:pt x="7" y="14"/>
                    </a:lnTo>
                    <a:lnTo>
                      <a:pt x="0" y="20"/>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4" name="Freeform 28">
                <a:extLst>
                  <a:ext uri="{FF2B5EF4-FFF2-40B4-BE49-F238E27FC236}">
                    <a16:creationId xmlns:a16="http://schemas.microsoft.com/office/drawing/2014/main" id="{8FD38C16-3E0C-15BB-05E9-C67A67C9F6A7}"/>
                  </a:ext>
                </a:extLst>
              </p:cNvPr>
              <p:cNvSpPr>
                <a:spLocks/>
              </p:cNvSpPr>
              <p:nvPr/>
            </p:nvSpPr>
            <p:spPr bwMode="gray">
              <a:xfrm>
                <a:off x="7138988" y="2438400"/>
                <a:ext cx="233363" cy="539750"/>
              </a:xfrm>
              <a:custGeom>
                <a:avLst/>
                <a:gdLst>
                  <a:gd name="T0" fmla="*/ 6 w 147"/>
                  <a:gd name="T1" fmla="*/ 132 h 340"/>
                  <a:gd name="T2" fmla="*/ 53 w 147"/>
                  <a:gd name="T3" fmla="*/ 139 h 340"/>
                  <a:gd name="T4" fmla="*/ 80 w 147"/>
                  <a:gd name="T5" fmla="*/ 125 h 340"/>
                  <a:gd name="T6" fmla="*/ 73 w 147"/>
                  <a:gd name="T7" fmla="*/ 111 h 340"/>
                  <a:gd name="T8" fmla="*/ 66 w 147"/>
                  <a:gd name="T9" fmla="*/ 105 h 340"/>
                  <a:gd name="T10" fmla="*/ 60 w 147"/>
                  <a:gd name="T11" fmla="*/ 83 h 340"/>
                  <a:gd name="T12" fmla="*/ 53 w 147"/>
                  <a:gd name="T13" fmla="*/ 70 h 340"/>
                  <a:gd name="T14" fmla="*/ 33 w 147"/>
                  <a:gd name="T15" fmla="*/ 42 h 340"/>
                  <a:gd name="T16" fmla="*/ 53 w 147"/>
                  <a:gd name="T17" fmla="*/ 35 h 340"/>
                  <a:gd name="T18" fmla="*/ 80 w 147"/>
                  <a:gd name="T19" fmla="*/ 49 h 340"/>
                  <a:gd name="T20" fmla="*/ 60 w 147"/>
                  <a:gd name="T21" fmla="*/ 35 h 340"/>
                  <a:gd name="T22" fmla="*/ 80 w 147"/>
                  <a:gd name="T23" fmla="*/ 7 h 340"/>
                  <a:gd name="T24" fmla="*/ 100 w 147"/>
                  <a:gd name="T25" fmla="*/ 0 h 340"/>
                  <a:gd name="T26" fmla="*/ 93 w 147"/>
                  <a:gd name="T27" fmla="*/ 42 h 340"/>
                  <a:gd name="T28" fmla="*/ 86 w 147"/>
                  <a:gd name="T29" fmla="*/ 63 h 340"/>
                  <a:gd name="T30" fmla="*/ 86 w 147"/>
                  <a:gd name="T31" fmla="*/ 83 h 340"/>
                  <a:gd name="T32" fmla="*/ 80 w 147"/>
                  <a:gd name="T33" fmla="*/ 98 h 340"/>
                  <a:gd name="T34" fmla="*/ 100 w 147"/>
                  <a:gd name="T35" fmla="*/ 76 h 340"/>
                  <a:gd name="T36" fmla="*/ 114 w 147"/>
                  <a:gd name="T37" fmla="*/ 63 h 340"/>
                  <a:gd name="T38" fmla="*/ 120 w 147"/>
                  <a:gd name="T39" fmla="*/ 83 h 340"/>
                  <a:gd name="T40" fmla="*/ 114 w 147"/>
                  <a:gd name="T41" fmla="*/ 90 h 340"/>
                  <a:gd name="T42" fmla="*/ 120 w 147"/>
                  <a:gd name="T43" fmla="*/ 105 h 340"/>
                  <a:gd name="T44" fmla="*/ 127 w 147"/>
                  <a:gd name="T45" fmla="*/ 98 h 340"/>
                  <a:gd name="T46" fmla="*/ 147 w 147"/>
                  <a:gd name="T47" fmla="*/ 90 h 340"/>
                  <a:gd name="T48" fmla="*/ 127 w 147"/>
                  <a:gd name="T49" fmla="*/ 111 h 340"/>
                  <a:gd name="T50" fmla="*/ 114 w 147"/>
                  <a:gd name="T51" fmla="*/ 132 h 340"/>
                  <a:gd name="T52" fmla="*/ 127 w 147"/>
                  <a:gd name="T53" fmla="*/ 153 h 340"/>
                  <a:gd name="T54" fmla="*/ 120 w 147"/>
                  <a:gd name="T55" fmla="*/ 166 h 340"/>
                  <a:gd name="T56" fmla="*/ 100 w 147"/>
                  <a:gd name="T57" fmla="*/ 160 h 340"/>
                  <a:gd name="T58" fmla="*/ 100 w 147"/>
                  <a:gd name="T59" fmla="*/ 180 h 340"/>
                  <a:gd name="T60" fmla="*/ 100 w 147"/>
                  <a:gd name="T61" fmla="*/ 195 h 340"/>
                  <a:gd name="T62" fmla="*/ 100 w 147"/>
                  <a:gd name="T63" fmla="*/ 215 h 340"/>
                  <a:gd name="T64" fmla="*/ 86 w 147"/>
                  <a:gd name="T65" fmla="*/ 236 h 340"/>
                  <a:gd name="T66" fmla="*/ 86 w 147"/>
                  <a:gd name="T67" fmla="*/ 263 h 340"/>
                  <a:gd name="T68" fmla="*/ 80 w 147"/>
                  <a:gd name="T69" fmla="*/ 285 h 340"/>
                  <a:gd name="T70" fmla="*/ 73 w 147"/>
                  <a:gd name="T71" fmla="*/ 278 h 340"/>
                  <a:gd name="T72" fmla="*/ 66 w 147"/>
                  <a:gd name="T73" fmla="*/ 291 h 340"/>
                  <a:gd name="T74" fmla="*/ 60 w 147"/>
                  <a:gd name="T75" fmla="*/ 319 h 340"/>
                  <a:gd name="T76" fmla="*/ 60 w 147"/>
                  <a:gd name="T77" fmla="*/ 333 h 340"/>
                  <a:gd name="T78" fmla="*/ 46 w 147"/>
                  <a:gd name="T79" fmla="*/ 312 h 340"/>
                  <a:gd name="T80" fmla="*/ 46 w 147"/>
                  <a:gd name="T81" fmla="*/ 298 h 340"/>
                  <a:gd name="T82" fmla="*/ 53 w 147"/>
                  <a:gd name="T83" fmla="*/ 285 h 340"/>
                  <a:gd name="T84" fmla="*/ 53 w 147"/>
                  <a:gd name="T85" fmla="*/ 270 h 340"/>
                  <a:gd name="T86" fmla="*/ 73 w 147"/>
                  <a:gd name="T87" fmla="*/ 229 h 340"/>
                  <a:gd name="T88" fmla="*/ 80 w 147"/>
                  <a:gd name="T89" fmla="*/ 195 h 340"/>
                  <a:gd name="T90" fmla="*/ 80 w 147"/>
                  <a:gd name="T91" fmla="*/ 180 h 340"/>
                  <a:gd name="T92" fmla="*/ 66 w 147"/>
                  <a:gd name="T93" fmla="*/ 166 h 340"/>
                  <a:gd name="T94" fmla="*/ 60 w 147"/>
                  <a:gd name="T95" fmla="*/ 173 h 340"/>
                  <a:gd name="T96" fmla="*/ 53 w 147"/>
                  <a:gd name="T97" fmla="*/ 188 h 340"/>
                  <a:gd name="T98" fmla="*/ 40 w 147"/>
                  <a:gd name="T99" fmla="*/ 201 h 340"/>
                  <a:gd name="T100" fmla="*/ 40 w 147"/>
                  <a:gd name="T101" fmla="*/ 180 h 340"/>
                  <a:gd name="T102" fmla="*/ 33 w 147"/>
                  <a:gd name="T103" fmla="*/ 173 h 340"/>
                  <a:gd name="T104" fmla="*/ 13 w 147"/>
                  <a:gd name="T105" fmla="*/ 17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 h="340">
                    <a:moveTo>
                      <a:pt x="0" y="160"/>
                    </a:moveTo>
                    <a:lnTo>
                      <a:pt x="0" y="153"/>
                    </a:lnTo>
                    <a:lnTo>
                      <a:pt x="0" y="146"/>
                    </a:lnTo>
                    <a:lnTo>
                      <a:pt x="6" y="139"/>
                    </a:lnTo>
                    <a:lnTo>
                      <a:pt x="0" y="132"/>
                    </a:lnTo>
                    <a:lnTo>
                      <a:pt x="6" y="132"/>
                    </a:lnTo>
                    <a:lnTo>
                      <a:pt x="20" y="132"/>
                    </a:lnTo>
                    <a:lnTo>
                      <a:pt x="26" y="139"/>
                    </a:lnTo>
                    <a:lnTo>
                      <a:pt x="33" y="132"/>
                    </a:lnTo>
                    <a:lnTo>
                      <a:pt x="40" y="132"/>
                    </a:lnTo>
                    <a:lnTo>
                      <a:pt x="46" y="139"/>
                    </a:lnTo>
                    <a:lnTo>
                      <a:pt x="53" y="139"/>
                    </a:lnTo>
                    <a:lnTo>
                      <a:pt x="60" y="132"/>
                    </a:lnTo>
                    <a:lnTo>
                      <a:pt x="66" y="146"/>
                    </a:lnTo>
                    <a:lnTo>
                      <a:pt x="73" y="146"/>
                    </a:lnTo>
                    <a:lnTo>
                      <a:pt x="73" y="139"/>
                    </a:lnTo>
                    <a:lnTo>
                      <a:pt x="73" y="125"/>
                    </a:lnTo>
                    <a:lnTo>
                      <a:pt x="80" y="125"/>
                    </a:lnTo>
                    <a:lnTo>
                      <a:pt x="80" y="118"/>
                    </a:lnTo>
                    <a:lnTo>
                      <a:pt x="93" y="125"/>
                    </a:lnTo>
                    <a:lnTo>
                      <a:pt x="93" y="118"/>
                    </a:lnTo>
                    <a:lnTo>
                      <a:pt x="86" y="111"/>
                    </a:lnTo>
                    <a:lnTo>
                      <a:pt x="80" y="118"/>
                    </a:lnTo>
                    <a:lnTo>
                      <a:pt x="73" y="111"/>
                    </a:lnTo>
                    <a:lnTo>
                      <a:pt x="80" y="111"/>
                    </a:lnTo>
                    <a:lnTo>
                      <a:pt x="80" y="105"/>
                    </a:lnTo>
                    <a:lnTo>
                      <a:pt x="73" y="105"/>
                    </a:lnTo>
                    <a:lnTo>
                      <a:pt x="73" y="111"/>
                    </a:lnTo>
                    <a:lnTo>
                      <a:pt x="66" y="111"/>
                    </a:lnTo>
                    <a:lnTo>
                      <a:pt x="66" y="105"/>
                    </a:lnTo>
                    <a:lnTo>
                      <a:pt x="66" y="98"/>
                    </a:lnTo>
                    <a:lnTo>
                      <a:pt x="66" y="90"/>
                    </a:lnTo>
                    <a:lnTo>
                      <a:pt x="73" y="90"/>
                    </a:lnTo>
                    <a:lnTo>
                      <a:pt x="66" y="90"/>
                    </a:lnTo>
                    <a:lnTo>
                      <a:pt x="60" y="90"/>
                    </a:lnTo>
                    <a:lnTo>
                      <a:pt x="60" y="83"/>
                    </a:lnTo>
                    <a:lnTo>
                      <a:pt x="66" y="76"/>
                    </a:lnTo>
                    <a:lnTo>
                      <a:pt x="60" y="76"/>
                    </a:lnTo>
                    <a:lnTo>
                      <a:pt x="60" y="70"/>
                    </a:lnTo>
                    <a:lnTo>
                      <a:pt x="60" y="56"/>
                    </a:lnTo>
                    <a:lnTo>
                      <a:pt x="60" y="63"/>
                    </a:lnTo>
                    <a:lnTo>
                      <a:pt x="53" y="70"/>
                    </a:lnTo>
                    <a:lnTo>
                      <a:pt x="53" y="63"/>
                    </a:lnTo>
                    <a:lnTo>
                      <a:pt x="53" y="56"/>
                    </a:lnTo>
                    <a:lnTo>
                      <a:pt x="46" y="56"/>
                    </a:lnTo>
                    <a:lnTo>
                      <a:pt x="40" y="63"/>
                    </a:lnTo>
                    <a:lnTo>
                      <a:pt x="26" y="56"/>
                    </a:lnTo>
                    <a:lnTo>
                      <a:pt x="33" y="42"/>
                    </a:lnTo>
                    <a:lnTo>
                      <a:pt x="33" y="49"/>
                    </a:lnTo>
                    <a:lnTo>
                      <a:pt x="40" y="42"/>
                    </a:lnTo>
                    <a:lnTo>
                      <a:pt x="40" y="35"/>
                    </a:lnTo>
                    <a:lnTo>
                      <a:pt x="46" y="28"/>
                    </a:lnTo>
                    <a:lnTo>
                      <a:pt x="53" y="28"/>
                    </a:lnTo>
                    <a:lnTo>
                      <a:pt x="53" y="35"/>
                    </a:lnTo>
                    <a:lnTo>
                      <a:pt x="53" y="42"/>
                    </a:lnTo>
                    <a:lnTo>
                      <a:pt x="60" y="42"/>
                    </a:lnTo>
                    <a:lnTo>
                      <a:pt x="60" y="49"/>
                    </a:lnTo>
                    <a:lnTo>
                      <a:pt x="66" y="49"/>
                    </a:lnTo>
                    <a:lnTo>
                      <a:pt x="73" y="49"/>
                    </a:lnTo>
                    <a:lnTo>
                      <a:pt x="80" y="49"/>
                    </a:lnTo>
                    <a:lnTo>
                      <a:pt x="73" y="49"/>
                    </a:lnTo>
                    <a:lnTo>
                      <a:pt x="66" y="49"/>
                    </a:lnTo>
                    <a:lnTo>
                      <a:pt x="60" y="49"/>
                    </a:lnTo>
                    <a:lnTo>
                      <a:pt x="60" y="42"/>
                    </a:lnTo>
                    <a:lnTo>
                      <a:pt x="53" y="35"/>
                    </a:lnTo>
                    <a:lnTo>
                      <a:pt x="60" y="35"/>
                    </a:lnTo>
                    <a:lnTo>
                      <a:pt x="60" y="28"/>
                    </a:lnTo>
                    <a:lnTo>
                      <a:pt x="66" y="28"/>
                    </a:lnTo>
                    <a:lnTo>
                      <a:pt x="73" y="21"/>
                    </a:lnTo>
                    <a:lnTo>
                      <a:pt x="73" y="15"/>
                    </a:lnTo>
                    <a:lnTo>
                      <a:pt x="73" y="7"/>
                    </a:lnTo>
                    <a:lnTo>
                      <a:pt x="80" y="7"/>
                    </a:lnTo>
                    <a:lnTo>
                      <a:pt x="86" y="7"/>
                    </a:lnTo>
                    <a:lnTo>
                      <a:pt x="93" y="7"/>
                    </a:lnTo>
                    <a:lnTo>
                      <a:pt x="93" y="15"/>
                    </a:lnTo>
                    <a:lnTo>
                      <a:pt x="93" y="7"/>
                    </a:lnTo>
                    <a:lnTo>
                      <a:pt x="93" y="0"/>
                    </a:lnTo>
                    <a:lnTo>
                      <a:pt x="100" y="0"/>
                    </a:lnTo>
                    <a:lnTo>
                      <a:pt x="100" y="7"/>
                    </a:lnTo>
                    <a:lnTo>
                      <a:pt x="100" y="15"/>
                    </a:lnTo>
                    <a:lnTo>
                      <a:pt x="100" y="21"/>
                    </a:lnTo>
                    <a:lnTo>
                      <a:pt x="93" y="21"/>
                    </a:lnTo>
                    <a:lnTo>
                      <a:pt x="100" y="28"/>
                    </a:lnTo>
                    <a:lnTo>
                      <a:pt x="93" y="42"/>
                    </a:lnTo>
                    <a:lnTo>
                      <a:pt x="86" y="42"/>
                    </a:lnTo>
                    <a:lnTo>
                      <a:pt x="93" y="49"/>
                    </a:lnTo>
                    <a:lnTo>
                      <a:pt x="86" y="49"/>
                    </a:lnTo>
                    <a:lnTo>
                      <a:pt x="93" y="56"/>
                    </a:lnTo>
                    <a:lnTo>
                      <a:pt x="86" y="56"/>
                    </a:lnTo>
                    <a:lnTo>
                      <a:pt x="86" y="63"/>
                    </a:lnTo>
                    <a:lnTo>
                      <a:pt x="80" y="70"/>
                    </a:lnTo>
                    <a:lnTo>
                      <a:pt x="86" y="70"/>
                    </a:lnTo>
                    <a:lnTo>
                      <a:pt x="86" y="76"/>
                    </a:lnTo>
                    <a:lnTo>
                      <a:pt x="80" y="76"/>
                    </a:lnTo>
                    <a:lnTo>
                      <a:pt x="86" y="76"/>
                    </a:lnTo>
                    <a:lnTo>
                      <a:pt x="86" y="83"/>
                    </a:lnTo>
                    <a:lnTo>
                      <a:pt x="80" y="83"/>
                    </a:lnTo>
                    <a:lnTo>
                      <a:pt x="80" y="90"/>
                    </a:lnTo>
                    <a:lnTo>
                      <a:pt x="80" y="98"/>
                    </a:lnTo>
                    <a:lnTo>
                      <a:pt x="73" y="98"/>
                    </a:lnTo>
                    <a:lnTo>
                      <a:pt x="73" y="105"/>
                    </a:lnTo>
                    <a:lnTo>
                      <a:pt x="80" y="98"/>
                    </a:lnTo>
                    <a:lnTo>
                      <a:pt x="80" y="90"/>
                    </a:lnTo>
                    <a:lnTo>
                      <a:pt x="86" y="90"/>
                    </a:lnTo>
                    <a:lnTo>
                      <a:pt x="86" y="83"/>
                    </a:lnTo>
                    <a:lnTo>
                      <a:pt x="93" y="83"/>
                    </a:lnTo>
                    <a:lnTo>
                      <a:pt x="100" y="83"/>
                    </a:lnTo>
                    <a:lnTo>
                      <a:pt x="100" y="76"/>
                    </a:lnTo>
                    <a:lnTo>
                      <a:pt x="93" y="76"/>
                    </a:lnTo>
                    <a:lnTo>
                      <a:pt x="93" y="70"/>
                    </a:lnTo>
                    <a:lnTo>
                      <a:pt x="100" y="70"/>
                    </a:lnTo>
                    <a:lnTo>
                      <a:pt x="107" y="70"/>
                    </a:lnTo>
                    <a:lnTo>
                      <a:pt x="107" y="63"/>
                    </a:lnTo>
                    <a:lnTo>
                      <a:pt x="114" y="63"/>
                    </a:lnTo>
                    <a:lnTo>
                      <a:pt x="114" y="70"/>
                    </a:lnTo>
                    <a:lnTo>
                      <a:pt x="114" y="76"/>
                    </a:lnTo>
                    <a:lnTo>
                      <a:pt x="120" y="76"/>
                    </a:lnTo>
                    <a:lnTo>
                      <a:pt x="120" y="83"/>
                    </a:lnTo>
                    <a:lnTo>
                      <a:pt x="114" y="83"/>
                    </a:lnTo>
                    <a:lnTo>
                      <a:pt x="120" y="83"/>
                    </a:lnTo>
                    <a:lnTo>
                      <a:pt x="120" y="90"/>
                    </a:lnTo>
                    <a:lnTo>
                      <a:pt x="114" y="90"/>
                    </a:lnTo>
                    <a:lnTo>
                      <a:pt x="120" y="90"/>
                    </a:lnTo>
                    <a:lnTo>
                      <a:pt x="120" y="98"/>
                    </a:lnTo>
                    <a:lnTo>
                      <a:pt x="114" y="98"/>
                    </a:lnTo>
                    <a:lnTo>
                      <a:pt x="114" y="90"/>
                    </a:lnTo>
                    <a:lnTo>
                      <a:pt x="107" y="98"/>
                    </a:lnTo>
                    <a:lnTo>
                      <a:pt x="100" y="105"/>
                    </a:lnTo>
                    <a:lnTo>
                      <a:pt x="107" y="98"/>
                    </a:lnTo>
                    <a:lnTo>
                      <a:pt x="114" y="98"/>
                    </a:lnTo>
                    <a:lnTo>
                      <a:pt x="107" y="105"/>
                    </a:lnTo>
                    <a:lnTo>
                      <a:pt x="120" y="105"/>
                    </a:lnTo>
                    <a:lnTo>
                      <a:pt x="114" y="111"/>
                    </a:lnTo>
                    <a:lnTo>
                      <a:pt x="120" y="111"/>
                    </a:lnTo>
                    <a:lnTo>
                      <a:pt x="120" y="105"/>
                    </a:lnTo>
                    <a:lnTo>
                      <a:pt x="120" y="111"/>
                    </a:lnTo>
                    <a:lnTo>
                      <a:pt x="127" y="105"/>
                    </a:lnTo>
                    <a:lnTo>
                      <a:pt x="127" y="98"/>
                    </a:lnTo>
                    <a:lnTo>
                      <a:pt x="134" y="98"/>
                    </a:lnTo>
                    <a:lnTo>
                      <a:pt x="127" y="105"/>
                    </a:lnTo>
                    <a:lnTo>
                      <a:pt x="134" y="105"/>
                    </a:lnTo>
                    <a:lnTo>
                      <a:pt x="134" y="98"/>
                    </a:lnTo>
                    <a:lnTo>
                      <a:pt x="134" y="90"/>
                    </a:lnTo>
                    <a:lnTo>
                      <a:pt x="147" y="90"/>
                    </a:lnTo>
                    <a:lnTo>
                      <a:pt x="140" y="98"/>
                    </a:lnTo>
                    <a:lnTo>
                      <a:pt x="134" y="105"/>
                    </a:lnTo>
                    <a:lnTo>
                      <a:pt x="127" y="111"/>
                    </a:lnTo>
                    <a:lnTo>
                      <a:pt x="120" y="118"/>
                    </a:lnTo>
                    <a:lnTo>
                      <a:pt x="127" y="118"/>
                    </a:lnTo>
                    <a:lnTo>
                      <a:pt x="127" y="111"/>
                    </a:lnTo>
                    <a:lnTo>
                      <a:pt x="134" y="118"/>
                    </a:lnTo>
                    <a:lnTo>
                      <a:pt x="134" y="125"/>
                    </a:lnTo>
                    <a:lnTo>
                      <a:pt x="127" y="132"/>
                    </a:lnTo>
                    <a:lnTo>
                      <a:pt x="114" y="125"/>
                    </a:lnTo>
                    <a:lnTo>
                      <a:pt x="107" y="125"/>
                    </a:lnTo>
                    <a:lnTo>
                      <a:pt x="114" y="132"/>
                    </a:lnTo>
                    <a:lnTo>
                      <a:pt x="114" y="139"/>
                    </a:lnTo>
                    <a:lnTo>
                      <a:pt x="114" y="132"/>
                    </a:lnTo>
                    <a:lnTo>
                      <a:pt x="120" y="139"/>
                    </a:lnTo>
                    <a:lnTo>
                      <a:pt x="127" y="139"/>
                    </a:lnTo>
                    <a:lnTo>
                      <a:pt x="127" y="146"/>
                    </a:lnTo>
                    <a:lnTo>
                      <a:pt x="127" y="153"/>
                    </a:lnTo>
                    <a:lnTo>
                      <a:pt x="120" y="153"/>
                    </a:lnTo>
                    <a:lnTo>
                      <a:pt x="114" y="160"/>
                    </a:lnTo>
                    <a:lnTo>
                      <a:pt x="114" y="166"/>
                    </a:lnTo>
                    <a:lnTo>
                      <a:pt x="114" y="160"/>
                    </a:lnTo>
                    <a:lnTo>
                      <a:pt x="120" y="160"/>
                    </a:lnTo>
                    <a:lnTo>
                      <a:pt x="120" y="166"/>
                    </a:lnTo>
                    <a:lnTo>
                      <a:pt x="120" y="173"/>
                    </a:lnTo>
                    <a:lnTo>
                      <a:pt x="114" y="166"/>
                    </a:lnTo>
                    <a:lnTo>
                      <a:pt x="114" y="173"/>
                    </a:lnTo>
                    <a:lnTo>
                      <a:pt x="107" y="173"/>
                    </a:lnTo>
                    <a:lnTo>
                      <a:pt x="107" y="166"/>
                    </a:lnTo>
                    <a:lnTo>
                      <a:pt x="100" y="160"/>
                    </a:lnTo>
                    <a:lnTo>
                      <a:pt x="100" y="166"/>
                    </a:lnTo>
                    <a:lnTo>
                      <a:pt x="100" y="173"/>
                    </a:lnTo>
                    <a:lnTo>
                      <a:pt x="93" y="173"/>
                    </a:lnTo>
                    <a:lnTo>
                      <a:pt x="100" y="180"/>
                    </a:lnTo>
                    <a:lnTo>
                      <a:pt x="100" y="173"/>
                    </a:lnTo>
                    <a:lnTo>
                      <a:pt x="100" y="180"/>
                    </a:lnTo>
                    <a:lnTo>
                      <a:pt x="107" y="180"/>
                    </a:lnTo>
                    <a:lnTo>
                      <a:pt x="100" y="188"/>
                    </a:lnTo>
                    <a:lnTo>
                      <a:pt x="100" y="195"/>
                    </a:lnTo>
                    <a:lnTo>
                      <a:pt x="93" y="201"/>
                    </a:lnTo>
                    <a:lnTo>
                      <a:pt x="100" y="201"/>
                    </a:lnTo>
                    <a:lnTo>
                      <a:pt x="100" y="195"/>
                    </a:lnTo>
                    <a:lnTo>
                      <a:pt x="107" y="195"/>
                    </a:lnTo>
                    <a:lnTo>
                      <a:pt x="107" y="201"/>
                    </a:lnTo>
                    <a:lnTo>
                      <a:pt x="100" y="201"/>
                    </a:lnTo>
                    <a:lnTo>
                      <a:pt x="107" y="208"/>
                    </a:lnTo>
                    <a:lnTo>
                      <a:pt x="107" y="215"/>
                    </a:lnTo>
                    <a:lnTo>
                      <a:pt x="100" y="215"/>
                    </a:lnTo>
                    <a:lnTo>
                      <a:pt x="100" y="222"/>
                    </a:lnTo>
                    <a:lnTo>
                      <a:pt x="93" y="222"/>
                    </a:lnTo>
                    <a:lnTo>
                      <a:pt x="86" y="222"/>
                    </a:lnTo>
                    <a:lnTo>
                      <a:pt x="93" y="229"/>
                    </a:lnTo>
                    <a:lnTo>
                      <a:pt x="86" y="229"/>
                    </a:lnTo>
                    <a:lnTo>
                      <a:pt x="86" y="236"/>
                    </a:lnTo>
                    <a:lnTo>
                      <a:pt x="86" y="243"/>
                    </a:lnTo>
                    <a:lnTo>
                      <a:pt x="86" y="250"/>
                    </a:lnTo>
                    <a:lnTo>
                      <a:pt x="86" y="257"/>
                    </a:lnTo>
                    <a:lnTo>
                      <a:pt x="93" y="257"/>
                    </a:lnTo>
                    <a:lnTo>
                      <a:pt x="93" y="263"/>
                    </a:lnTo>
                    <a:lnTo>
                      <a:pt x="86" y="263"/>
                    </a:lnTo>
                    <a:lnTo>
                      <a:pt x="86" y="257"/>
                    </a:lnTo>
                    <a:lnTo>
                      <a:pt x="80" y="263"/>
                    </a:lnTo>
                    <a:lnTo>
                      <a:pt x="80" y="270"/>
                    </a:lnTo>
                    <a:lnTo>
                      <a:pt x="80" y="278"/>
                    </a:lnTo>
                    <a:lnTo>
                      <a:pt x="86" y="285"/>
                    </a:lnTo>
                    <a:lnTo>
                      <a:pt x="80" y="285"/>
                    </a:lnTo>
                    <a:lnTo>
                      <a:pt x="80" y="291"/>
                    </a:lnTo>
                    <a:lnTo>
                      <a:pt x="80" y="285"/>
                    </a:lnTo>
                    <a:lnTo>
                      <a:pt x="80" y="278"/>
                    </a:lnTo>
                    <a:lnTo>
                      <a:pt x="80" y="285"/>
                    </a:lnTo>
                    <a:lnTo>
                      <a:pt x="73" y="285"/>
                    </a:lnTo>
                    <a:lnTo>
                      <a:pt x="73" y="278"/>
                    </a:lnTo>
                    <a:lnTo>
                      <a:pt x="66" y="278"/>
                    </a:lnTo>
                    <a:lnTo>
                      <a:pt x="66" y="285"/>
                    </a:lnTo>
                    <a:lnTo>
                      <a:pt x="73" y="285"/>
                    </a:lnTo>
                    <a:lnTo>
                      <a:pt x="66" y="285"/>
                    </a:lnTo>
                    <a:lnTo>
                      <a:pt x="73" y="291"/>
                    </a:lnTo>
                    <a:lnTo>
                      <a:pt x="66" y="291"/>
                    </a:lnTo>
                    <a:lnTo>
                      <a:pt x="66" y="298"/>
                    </a:lnTo>
                    <a:lnTo>
                      <a:pt x="66" y="305"/>
                    </a:lnTo>
                    <a:lnTo>
                      <a:pt x="60" y="305"/>
                    </a:lnTo>
                    <a:lnTo>
                      <a:pt x="60" y="312"/>
                    </a:lnTo>
                    <a:lnTo>
                      <a:pt x="66" y="312"/>
                    </a:lnTo>
                    <a:lnTo>
                      <a:pt x="60" y="319"/>
                    </a:lnTo>
                    <a:lnTo>
                      <a:pt x="60" y="326"/>
                    </a:lnTo>
                    <a:lnTo>
                      <a:pt x="60" y="319"/>
                    </a:lnTo>
                    <a:lnTo>
                      <a:pt x="60" y="326"/>
                    </a:lnTo>
                    <a:lnTo>
                      <a:pt x="60" y="333"/>
                    </a:lnTo>
                    <a:lnTo>
                      <a:pt x="60" y="340"/>
                    </a:lnTo>
                    <a:lnTo>
                      <a:pt x="60" y="333"/>
                    </a:lnTo>
                    <a:lnTo>
                      <a:pt x="60" y="326"/>
                    </a:lnTo>
                    <a:lnTo>
                      <a:pt x="53" y="326"/>
                    </a:lnTo>
                    <a:lnTo>
                      <a:pt x="53" y="333"/>
                    </a:lnTo>
                    <a:lnTo>
                      <a:pt x="53" y="326"/>
                    </a:lnTo>
                    <a:lnTo>
                      <a:pt x="53" y="319"/>
                    </a:lnTo>
                    <a:lnTo>
                      <a:pt x="46" y="312"/>
                    </a:lnTo>
                    <a:lnTo>
                      <a:pt x="46" y="319"/>
                    </a:lnTo>
                    <a:lnTo>
                      <a:pt x="40" y="319"/>
                    </a:lnTo>
                    <a:lnTo>
                      <a:pt x="40" y="312"/>
                    </a:lnTo>
                    <a:lnTo>
                      <a:pt x="40" y="305"/>
                    </a:lnTo>
                    <a:lnTo>
                      <a:pt x="46" y="305"/>
                    </a:lnTo>
                    <a:lnTo>
                      <a:pt x="46" y="298"/>
                    </a:lnTo>
                    <a:lnTo>
                      <a:pt x="46" y="291"/>
                    </a:lnTo>
                    <a:lnTo>
                      <a:pt x="53" y="298"/>
                    </a:lnTo>
                    <a:lnTo>
                      <a:pt x="53" y="291"/>
                    </a:lnTo>
                    <a:lnTo>
                      <a:pt x="53" y="298"/>
                    </a:lnTo>
                    <a:lnTo>
                      <a:pt x="53" y="291"/>
                    </a:lnTo>
                    <a:lnTo>
                      <a:pt x="53" y="285"/>
                    </a:lnTo>
                    <a:lnTo>
                      <a:pt x="46" y="285"/>
                    </a:lnTo>
                    <a:lnTo>
                      <a:pt x="53" y="278"/>
                    </a:lnTo>
                    <a:lnTo>
                      <a:pt x="53" y="285"/>
                    </a:lnTo>
                    <a:lnTo>
                      <a:pt x="60" y="285"/>
                    </a:lnTo>
                    <a:lnTo>
                      <a:pt x="53" y="278"/>
                    </a:lnTo>
                    <a:lnTo>
                      <a:pt x="53" y="270"/>
                    </a:lnTo>
                    <a:lnTo>
                      <a:pt x="60" y="270"/>
                    </a:lnTo>
                    <a:lnTo>
                      <a:pt x="60" y="263"/>
                    </a:lnTo>
                    <a:lnTo>
                      <a:pt x="66" y="257"/>
                    </a:lnTo>
                    <a:lnTo>
                      <a:pt x="66" y="250"/>
                    </a:lnTo>
                    <a:lnTo>
                      <a:pt x="73" y="243"/>
                    </a:lnTo>
                    <a:lnTo>
                      <a:pt x="73" y="229"/>
                    </a:lnTo>
                    <a:lnTo>
                      <a:pt x="80" y="222"/>
                    </a:lnTo>
                    <a:lnTo>
                      <a:pt x="80" y="215"/>
                    </a:lnTo>
                    <a:lnTo>
                      <a:pt x="73" y="215"/>
                    </a:lnTo>
                    <a:lnTo>
                      <a:pt x="73" y="208"/>
                    </a:lnTo>
                    <a:lnTo>
                      <a:pt x="80" y="201"/>
                    </a:lnTo>
                    <a:lnTo>
                      <a:pt x="80" y="195"/>
                    </a:lnTo>
                    <a:lnTo>
                      <a:pt x="73" y="195"/>
                    </a:lnTo>
                    <a:lnTo>
                      <a:pt x="73" y="201"/>
                    </a:lnTo>
                    <a:lnTo>
                      <a:pt x="66" y="201"/>
                    </a:lnTo>
                    <a:lnTo>
                      <a:pt x="73" y="195"/>
                    </a:lnTo>
                    <a:lnTo>
                      <a:pt x="73" y="188"/>
                    </a:lnTo>
                    <a:lnTo>
                      <a:pt x="80" y="180"/>
                    </a:lnTo>
                    <a:lnTo>
                      <a:pt x="80" y="173"/>
                    </a:lnTo>
                    <a:lnTo>
                      <a:pt x="73" y="180"/>
                    </a:lnTo>
                    <a:lnTo>
                      <a:pt x="66" y="188"/>
                    </a:lnTo>
                    <a:lnTo>
                      <a:pt x="66" y="180"/>
                    </a:lnTo>
                    <a:lnTo>
                      <a:pt x="66" y="173"/>
                    </a:lnTo>
                    <a:lnTo>
                      <a:pt x="66" y="166"/>
                    </a:lnTo>
                    <a:lnTo>
                      <a:pt x="60" y="166"/>
                    </a:lnTo>
                    <a:lnTo>
                      <a:pt x="60" y="160"/>
                    </a:lnTo>
                    <a:lnTo>
                      <a:pt x="53" y="160"/>
                    </a:lnTo>
                    <a:lnTo>
                      <a:pt x="60" y="160"/>
                    </a:lnTo>
                    <a:lnTo>
                      <a:pt x="60" y="166"/>
                    </a:lnTo>
                    <a:lnTo>
                      <a:pt x="60" y="173"/>
                    </a:lnTo>
                    <a:lnTo>
                      <a:pt x="66" y="173"/>
                    </a:lnTo>
                    <a:lnTo>
                      <a:pt x="66" y="180"/>
                    </a:lnTo>
                    <a:lnTo>
                      <a:pt x="60" y="188"/>
                    </a:lnTo>
                    <a:lnTo>
                      <a:pt x="60" y="180"/>
                    </a:lnTo>
                    <a:lnTo>
                      <a:pt x="60" y="188"/>
                    </a:lnTo>
                    <a:lnTo>
                      <a:pt x="53" y="188"/>
                    </a:lnTo>
                    <a:lnTo>
                      <a:pt x="53" y="195"/>
                    </a:lnTo>
                    <a:lnTo>
                      <a:pt x="53" y="201"/>
                    </a:lnTo>
                    <a:lnTo>
                      <a:pt x="46" y="195"/>
                    </a:lnTo>
                    <a:lnTo>
                      <a:pt x="46" y="201"/>
                    </a:lnTo>
                    <a:lnTo>
                      <a:pt x="40" y="208"/>
                    </a:lnTo>
                    <a:lnTo>
                      <a:pt x="40" y="201"/>
                    </a:lnTo>
                    <a:lnTo>
                      <a:pt x="33" y="195"/>
                    </a:lnTo>
                    <a:lnTo>
                      <a:pt x="33" y="188"/>
                    </a:lnTo>
                    <a:lnTo>
                      <a:pt x="26" y="188"/>
                    </a:lnTo>
                    <a:lnTo>
                      <a:pt x="26" y="180"/>
                    </a:lnTo>
                    <a:lnTo>
                      <a:pt x="33" y="180"/>
                    </a:lnTo>
                    <a:lnTo>
                      <a:pt x="40" y="180"/>
                    </a:lnTo>
                    <a:lnTo>
                      <a:pt x="40" y="173"/>
                    </a:lnTo>
                    <a:lnTo>
                      <a:pt x="40" y="166"/>
                    </a:lnTo>
                    <a:lnTo>
                      <a:pt x="33" y="166"/>
                    </a:lnTo>
                    <a:lnTo>
                      <a:pt x="33" y="160"/>
                    </a:lnTo>
                    <a:lnTo>
                      <a:pt x="33" y="166"/>
                    </a:lnTo>
                    <a:lnTo>
                      <a:pt x="33" y="173"/>
                    </a:lnTo>
                    <a:lnTo>
                      <a:pt x="26" y="173"/>
                    </a:lnTo>
                    <a:lnTo>
                      <a:pt x="26" y="180"/>
                    </a:lnTo>
                    <a:lnTo>
                      <a:pt x="26" y="173"/>
                    </a:lnTo>
                    <a:lnTo>
                      <a:pt x="20" y="166"/>
                    </a:lnTo>
                    <a:lnTo>
                      <a:pt x="13" y="166"/>
                    </a:lnTo>
                    <a:lnTo>
                      <a:pt x="13" y="173"/>
                    </a:lnTo>
                    <a:lnTo>
                      <a:pt x="6" y="173"/>
                    </a:lnTo>
                    <a:lnTo>
                      <a:pt x="6" y="166"/>
                    </a:lnTo>
                    <a:lnTo>
                      <a:pt x="6" y="160"/>
                    </a:lnTo>
                    <a:lnTo>
                      <a:pt x="0" y="160"/>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5" name="Freeform 29">
                <a:extLst>
                  <a:ext uri="{FF2B5EF4-FFF2-40B4-BE49-F238E27FC236}">
                    <a16:creationId xmlns:a16="http://schemas.microsoft.com/office/drawing/2014/main" id="{ED82EA52-F458-33C5-0249-B336AFB26388}"/>
                  </a:ext>
                </a:extLst>
              </p:cNvPr>
              <p:cNvSpPr>
                <a:spLocks/>
              </p:cNvSpPr>
              <p:nvPr/>
            </p:nvSpPr>
            <p:spPr bwMode="gray">
              <a:xfrm>
                <a:off x="7308850" y="2757488"/>
                <a:ext cx="31750" cy="55563"/>
              </a:xfrm>
              <a:custGeom>
                <a:avLst/>
                <a:gdLst>
                  <a:gd name="T0" fmla="*/ 0 w 20"/>
                  <a:gd name="T1" fmla="*/ 7 h 35"/>
                  <a:gd name="T2" fmla="*/ 0 w 20"/>
                  <a:gd name="T3" fmla="*/ 0 h 35"/>
                  <a:gd name="T4" fmla="*/ 7 w 20"/>
                  <a:gd name="T5" fmla="*/ 0 h 35"/>
                  <a:gd name="T6" fmla="*/ 13 w 20"/>
                  <a:gd name="T7" fmla="*/ 0 h 35"/>
                  <a:gd name="T8" fmla="*/ 13 w 20"/>
                  <a:gd name="T9" fmla="*/ 7 h 35"/>
                  <a:gd name="T10" fmla="*/ 13 w 20"/>
                  <a:gd name="T11" fmla="*/ 0 h 35"/>
                  <a:gd name="T12" fmla="*/ 13 w 20"/>
                  <a:gd name="T13" fmla="*/ 7 h 35"/>
                  <a:gd name="T14" fmla="*/ 13 w 20"/>
                  <a:gd name="T15" fmla="*/ 14 h 35"/>
                  <a:gd name="T16" fmla="*/ 20 w 20"/>
                  <a:gd name="T17" fmla="*/ 7 h 35"/>
                  <a:gd name="T18" fmla="*/ 20 w 20"/>
                  <a:gd name="T19" fmla="*/ 14 h 35"/>
                  <a:gd name="T20" fmla="*/ 13 w 20"/>
                  <a:gd name="T21" fmla="*/ 21 h 35"/>
                  <a:gd name="T22" fmla="*/ 13 w 20"/>
                  <a:gd name="T23" fmla="*/ 28 h 35"/>
                  <a:gd name="T24" fmla="*/ 13 w 20"/>
                  <a:gd name="T25" fmla="*/ 35 h 35"/>
                  <a:gd name="T26" fmla="*/ 7 w 20"/>
                  <a:gd name="T27" fmla="*/ 35 h 35"/>
                  <a:gd name="T28" fmla="*/ 0 w 20"/>
                  <a:gd name="T29" fmla="*/ 28 h 35"/>
                  <a:gd name="T30" fmla="*/ 0 w 20"/>
                  <a:gd name="T31" fmla="*/ 21 h 35"/>
                  <a:gd name="T32" fmla="*/ 7 w 20"/>
                  <a:gd name="T33" fmla="*/ 14 h 35"/>
                  <a:gd name="T34" fmla="*/ 7 w 20"/>
                  <a:gd name="T35" fmla="*/ 7 h 35"/>
                  <a:gd name="T36" fmla="*/ 0 w 20"/>
                  <a:gd name="T37"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5">
                    <a:moveTo>
                      <a:pt x="0" y="7"/>
                    </a:moveTo>
                    <a:lnTo>
                      <a:pt x="0" y="0"/>
                    </a:lnTo>
                    <a:lnTo>
                      <a:pt x="7" y="0"/>
                    </a:lnTo>
                    <a:lnTo>
                      <a:pt x="13" y="0"/>
                    </a:lnTo>
                    <a:lnTo>
                      <a:pt x="13" y="7"/>
                    </a:lnTo>
                    <a:lnTo>
                      <a:pt x="13" y="0"/>
                    </a:lnTo>
                    <a:lnTo>
                      <a:pt x="13" y="7"/>
                    </a:lnTo>
                    <a:lnTo>
                      <a:pt x="13" y="14"/>
                    </a:lnTo>
                    <a:lnTo>
                      <a:pt x="20" y="7"/>
                    </a:lnTo>
                    <a:lnTo>
                      <a:pt x="20" y="14"/>
                    </a:lnTo>
                    <a:lnTo>
                      <a:pt x="13" y="21"/>
                    </a:lnTo>
                    <a:lnTo>
                      <a:pt x="13" y="28"/>
                    </a:lnTo>
                    <a:lnTo>
                      <a:pt x="13" y="35"/>
                    </a:lnTo>
                    <a:lnTo>
                      <a:pt x="7" y="35"/>
                    </a:lnTo>
                    <a:lnTo>
                      <a:pt x="0" y="28"/>
                    </a:lnTo>
                    <a:lnTo>
                      <a:pt x="0" y="21"/>
                    </a:lnTo>
                    <a:lnTo>
                      <a:pt x="7" y="14"/>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6" name="Freeform 30">
                <a:extLst>
                  <a:ext uri="{FF2B5EF4-FFF2-40B4-BE49-F238E27FC236}">
                    <a16:creationId xmlns:a16="http://schemas.microsoft.com/office/drawing/2014/main" id="{5B075E55-97A2-5A32-7623-E6418FE68A4B}"/>
                  </a:ext>
                </a:extLst>
              </p:cNvPr>
              <p:cNvSpPr>
                <a:spLocks/>
              </p:cNvSpPr>
              <p:nvPr/>
            </p:nvSpPr>
            <p:spPr bwMode="gray">
              <a:xfrm>
                <a:off x="7340600" y="2779713"/>
                <a:ext cx="11113" cy="22225"/>
              </a:xfrm>
              <a:custGeom>
                <a:avLst/>
                <a:gdLst>
                  <a:gd name="T0" fmla="*/ 0 w 7"/>
                  <a:gd name="T1" fmla="*/ 7 h 14"/>
                  <a:gd name="T2" fmla="*/ 0 w 7"/>
                  <a:gd name="T3" fmla="*/ 0 h 14"/>
                  <a:gd name="T4" fmla="*/ 7 w 7"/>
                  <a:gd name="T5" fmla="*/ 0 h 14"/>
                  <a:gd name="T6" fmla="*/ 7 w 7"/>
                  <a:gd name="T7" fmla="*/ 7 h 14"/>
                  <a:gd name="T8" fmla="*/ 7 w 7"/>
                  <a:gd name="T9" fmla="*/ 14 h 14"/>
                  <a:gd name="T10" fmla="*/ 0 w 7"/>
                  <a:gd name="T11" fmla="*/ 7 h 14"/>
                </a:gdLst>
                <a:ahLst/>
                <a:cxnLst>
                  <a:cxn ang="0">
                    <a:pos x="T0" y="T1"/>
                  </a:cxn>
                  <a:cxn ang="0">
                    <a:pos x="T2" y="T3"/>
                  </a:cxn>
                  <a:cxn ang="0">
                    <a:pos x="T4" y="T5"/>
                  </a:cxn>
                  <a:cxn ang="0">
                    <a:pos x="T6" y="T7"/>
                  </a:cxn>
                  <a:cxn ang="0">
                    <a:pos x="T8" y="T9"/>
                  </a:cxn>
                  <a:cxn ang="0">
                    <a:pos x="T10" y="T11"/>
                  </a:cxn>
                </a:cxnLst>
                <a:rect l="0" t="0" r="r" b="b"/>
                <a:pathLst>
                  <a:path w="7" h="14">
                    <a:moveTo>
                      <a:pt x="0" y="7"/>
                    </a:moveTo>
                    <a:lnTo>
                      <a:pt x="0" y="0"/>
                    </a:lnTo>
                    <a:lnTo>
                      <a:pt x="7" y="0"/>
                    </a:lnTo>
                    <a:lnTo>
                      <a:pt x="7" y="7"/>
                    </a:lnTo>
                    <a:lnTo>
                      <a:pt x="7" y="14"/>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7" name="Freeform 31">
                <a:extLst>
                  <a:ext uri="{FF2B5EF4-FFF2-40B4-BE49-F238E27FC236}">
                    <a16:creationId xmlns:a16="http://schemas.microsoft.com/office/drawing/2014/main" id="{DB24D9F4-C74D-75B7-DB2F-478A530AC606}"/>
                  </a:ext>
                </a:extLst>
              </p:cNvPr>
              <p:cNvSpPr>
                <a:spLocks/>
              </p:cNvSpPr>
              <p:nvPr/>
            </p:nvSpPr>
            <p:spPr bwMode="gray">
              <a:xfrm>
                <a:off x="7329488" y="2384425"/>
                <a:ext cx="85725" cy="174625"/>
              </a:xfrm>
              <a:custGeom>
                <a:avLst/>
                <a:gdLst>
                  <a:gd name="T0" fmla="*/ 0 w 54"/>
                  <a:gd name="T1" fmla="*/ 62 h 110"/>
                  <a:gd name="T2" fmla="*/ 0 w 54"/>
                  <a:gd name="T3" fmla="*/ 55 h 110"/>
                  <a:gd name="T4" fmla="*/ 7 w 54"/>
                  <a:gd name="T5" fmla="*/ 49 h 110"/>
                  <a:gd name="T6" fmla="*/ 14 w 54"/>
                  <a:gd name="T7" fmla="*/ 34 h 110"/>
                  <a:gd name="T8" fmla="*/ 14 w 54"/>
                  <a:gd name="T9" fmla="*/ 49 h 110"/>
                  <a:gd name="T10" fmla="*/ 20 w 54"/>
                  <a:gd name="T11" fmla="*/ 55 h 110"/>
                  <a:gd name="T12" fmla="*/ 20 w 54"/>
                  <a:gd name="T13" fmla="*/ 41 h 110"/>
                  <a:gd name="T14" fmla="*/ 20 w 54"/>
                  <a:gd name="T15" fmla="*/ 27 h 110"/>
                  <a:gd name="T16" fmla="*/ 27 w 54"/>
                  <a:gd name="T17" fmla="*/ 14 h 110"/>
                  <a:gd name="T18" fmla="*/ 27 w 54"/>
                  <a:gd name="T19" fmla="*/ 7 h 110"/>
                  <a:gd name="T20" fmla="*/ 34 w 54"/>
                  <a:gd name="T21" fmla="*/ 0 h 110"/>
                  <a:gd name="T22" fmla="*/ 34 w 54"/>
                  <a:gd name="T23" fmla="*/ 14 h 110"/>
                  <a:gd name="T24" fmla="*/ 34 w 54"/>
                  <a:gd name="T25" fmla="*/ 7 h 110"/>
                  <a:gd name="T26" fmla="*/ 40 w 54"/>
                  <a:gd name="T27" fmla="*/ 7 h 110"/>
                  <a:gd name="T28" fmla="*/ 40 w 54"/>
                  <a:gd name="T29" fmla="*/ 0 h 110"/>
                  <a:gd name="T30" fmla="*/ 54 w 54"/>
                  <a:gd name="T31" fmla="*/ 7 h 110"/>
                  <a:gd name="T32" fmla="*/ 47 w 54"/>
                  <a:gd name="T33" fmla="*/ 14 h 110"/>
                  <a:gd name="T34" fmla="*/ 54 w 54"/>
                  <a:gd name="T35" fmla="*/ 20 h 110"/>
                  <a:gd name="T36" fmla="*/ 47 w 54"/>
                  <a:gd name="T37" fmla="*/ 20 h 110"/>
                  <a:gd name="T38" fmla="*/ 47 w 54"/>
                  <a:gd name="T39" fmla="*/ 27 h 110"/>
                  <a:gd name="T40" fmla="*/ 47 w 54"/>
                  <a:gd name="T41" fmla="*/ 41 h 110"/>
                  <a:gd name="T42" fmla="*/ 54 w 54"/>
                  <a:gd name="T43" fmla="*/ 49 h 110"/>
                  <a:gd name="T44" fmla="*/ 47 w 54"/>
                  <a:gd name="T45" fmla="*/ 41 h 110"/>
                  <a:gd name="T46" fmla="*/ 40 w 54"/>
                  <a:gd name="T47" fmla="*/ 34 h 110"/>
                  <a:gd name="T48" fmla="*/ 34 w 54"/>
                  <a:gd name="T49" fmla="*/ 27 h 110"/>
                  <a:gd name="T50" fmla="*/ 34 w 54"/>
                  <a:gd name="T51" fmla="*/ 41 h 110"/>
                  <a:gd name="T52" fmla="*/ 40 w 54"/>
                  <a:gd name="T53" fmla="*/ 55 h 110"/>
                  <a:gd name="T54" fmla="*/ 34 w 54"/>
                  <a:gd name="T55" fmla="*/ 55 h 110"/>
                  <a:gd name="T56" fmla="*/ 34 w 54"/>
                  <a:gd name="T57" fmla="*/ 55 h 110"/>
                  <a:gd name="T58" fmla="*/ 40 w 54"/>
                  <a:gd name="T59" fmla="*/ 62 h 110"/>
                  <a:gd name="T60" fmla="*/ 40 w 54"/>
                  <a:gd name="T61" fmla="*/ 76 h 110"/>
                  <a:gd name="T62" fmla="*/ 40 w 54"/>
                  <a:gd name="T63" fmla="*/ 76 h 110"/>
                  <a:gd name="T64" fmla="*/ 34 w 54"/>
                  <a:gd name="T65" fmla="*/ 83 h 110"/>
                  <a:gd name="T66" fmla="*/ 34 w 54"/>
                  <a:gd name="T67" fmla="*/ 97 h 110"/>
                  <a:gd name="T68" fmla="*/ 27 w 54"/>
                  <a:gd name="T69" fmla="*/ 104 h 110"/>
                  <a:gd name="T70" fmla="*/ 14 w 54"/>
                  <a:gd name="T71" fmla="*/ 104 h 110"/>
                  <a:gd name="T72" fmla="*/ 14 w 54"/>
                  <a:gd name="T73" fmla="*/ 104 h 110"/>
                  <a:gd name="T74" fmla="*/ 14 w 54"/>
                  <a:gd name="T75" fmla="*/ 110 h 110"/>
                  <a:gd name="T76" fmla="*/ 7 w 54"/>
                  <a:gd name="T77" fmla="*/ 104 h 110"/>
                  <a:gd name="T78" fmla="*/ 0 w 54"/>
                  <a:gd name="T79" fmla="*/ 90 h 110"/>
                  <a:gd name="T80" fmla="*/ 0 w 54"/>
                  <a:gd name="T81" fmla="*/ 76 h 110"/>
                  <a:gd name="T82" fmla="*/ 7 w 54"/>
                  <a:gd name="T83" fmla="*/ 69 h 110"/>
                  <a:gd name="T84" fmla="*/ 7 w 54"/>
                  <a:gd name="T85" fmla="*/ 6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110">
                    <a:moveTo>
                      <a:pt x="0" y="69"/>
                    </a:moveTo>
                    <a:lnTo>
                      <a:pt x="0" y="62"/>
                    </a:lnTo>
                    <a:lnTo>
                      <a:pt x="7" y="62"/>
                    </a:lnTo>
                    <a:lnTo>
                      <a:pt x="0" y="55"/>
                    </a:lnTo>
                    <a:lnTo>
                      <a:pt x="0" y="49"/>
                    </a:lnTo>
                    <a:lnTo>
                      <a:pt x="7" y="49"/>
                    </a:lnTo>
                    <a:lnTo>
                      <a:pt x="7" y="41"/>
                    </a:lnTo>
                    <a:lnTo>
                      <a:pt x="14" y="34"/>
                    </a:lnTo>
                    <a:lnTo>
                      <a:pt x="14" y="41"/>
                    </a:lnTo>
                    <a:lnTo>
                      <a:pt x="14" y="49"/>
                    </a:lnTo>
                    <a:lnTo>
                      <a:pt x="20" y="49"/>
                    </a:lnTo>
                    <a:lnTo>
                      <a:pt x="20" y="55"/>
                    </a:lnTo>
                    <a:lnTo>
                      <a:pt x="20" y="49"/>
                    </a:lnTo>
                    <a:lnTo>
                      <a:pt x="20" y="41"/>
                    </a:lnTo>
                    <a:lnTo>
                      <a:pt x="20" y="34"/>
                    </a:lnTo>
                    <a:lnTo>
                      <a:pt x="20" y="27"/>
                    </a:lnTo>
                    <a:lnTo>
                      <a:pt x="20" y="20"/>
                    </a:lnTo>
                    <a:lnTo>
                      <a:pt x="27" y="14"/>
                    </a:lnTo>
                    <a:lnTo>
                      <a:pt x="20" y="14"/>
                    </a:lnTo>
                    <a:lnTo>
                      <a:pt x="27" y="7"/>
                    </a:lnTo>
                    <a:lnTo>
                      <a:pt x="27" y="0"/>
                    </a:lnTo>
                    <a:lnTo>
                      <a:pt x="34" y="0"/>
                    </a:lnTo>
                    <a:lnTo>
                      <a:pt x="34" y="7"/>
                    </a:lnTo>
                    <a:lnTo>
                      <a:pt x="34" y="14"/>
                    </a:lnTo>
                    <a:lnTo>
                      <a:pt x="40" y="7"/>
                    </a:lnTo>
                    <a:lnTo>
                      <a:pt x="34" y="7"/>
                    </a:lnTo>
                    <a:lnTo>
                      <a:pt x="34" y="0"/>
                    </a:lnTo>
                    <a:lnTo>
                      <a:pt x="40" y="7"/>
                    </a:lnTo>
                    <a:lnTo>
                      <a:pt x="47" y="7"/>
                    </a:lnTo>
                    <a:lnTo>
                      <a:pt x="40" y="0"/>
                    </a:lnTo>
                    <a:lnTo>
                      <a:pt x="47" y="7"/>
                    </a:lnTo>
                    <a:lnTo>
                      <a:pt x="54" y="7"/>
                    </a:lnTo>
                    <a:lnTo>
                      <a:pt x="54" y="14"/>
                    </a:lnTo>
                    <a:lnTo>
                      <a:pt x="47" y="14"/>
                    </a:lnTo>
                    <a:lnTo>
                      <a:pt x="54" y="14"/>
                    </a:lnTo>
                    <a:lnTo>
                      <a:pt x="54" y="20"/>
                    </a:lnTo>
                    <a:lnTo>
                      <a:pt x="47" y="14"/>
                    </a:lnTo>
                    <a:lnTo>
                      <a:pt x="47" y="20"/>
                    </a:lnTo>
                    <a:lnTo>
                      <a:pt x="54" y="27"/>
                    </a:lnTo>
                    <a:lnTo>
                      <a:pt x="47" y="27"/>
                    </a:lnTo>
                    <a:lnTo>
                      <a:pt x="47" y="34"/>
                    </a:lnTo>
                    <a:lnTo>
                      <a:pt x="47" y="41"/>
                    </a:lnTo>
                    <a:lnTo>
                      <a:pt x="54" y="41"/>
                    </a:lnTo>
                    <a:lnTo>
                      <a:pt x="54" y="49"/>
                    </a:lnTo>
                    <a:lnTo>
                      <a:pt x="47" y="49"/>
                    </a:lnTo>
                    <a:lnTo>
                      <a:pt x="47" y="41"/>
                    </a:lnTo>
                    <a:lnTo>
                      <a:pt x="40" y="41"/>
                    </a:lnTo>
                    <a:lnTo>
                      <a:pt x="40" y="34"/>
                    </a:lnTo>
                    <a:lnTo>
                      <a:pt x="34" y="34"/>
                    </a:lnTo>
                    <a:lnTo>
                      <a:pt x="34" y="27"/>
                    </a:lnTo>
                    <a:lnTo>
                      <a:pt x="34" y="34"/>
                    </a:lnTo>
                    <a:lnTo>
                      <a:pt x="34" y="41"/>
                    </a:lnTo>
                    <a:lnTo>
                      <a:pt x="40" y="49"/>
                    </a:lnTo>
                    <a:lnTo>
                      <a:pt x="40" y="55"/>
                    </a:lnTo>
                    <a:lnTo>
                      <a:pt x="34" y="62"/>
                    </a:lnTo>
                    <a:lnTo>
                      <a:pt x="34" y="55"/>
                    </a:lnTo>
                    <a:lnTo>
                      <a:pt x="27" y="55"/>
                    </a:lnTo>
                    <a:lnTo>
                      <a:pt x="34" y="55"/>
                    </a:lnTo>
                    <a:lnTo>
                      <a:pt x="34" y="62"/>
                    </a:lnTo>
                    <a:lnTo>
                      <a:pt x="40" y="62"/>
                    </a:lnTo>
                    <a:lnTo>
                      <a:pt x="40" y="69"/>
                    </a:lnTo>
                    <a:lnTo>
                      <a:pt x="40" y="76"/>
                    </a:lnTo>
                    <a:lnTo>
                      <a:pt x="34" y="76"/>
                    </a:lnTo>
                    <a:lnTo>
                      <a:pt x="40" y="76"/>
                    </a:lnTo>
                    <a:lnTo>
                      <a:pt x="40" y="83"/>
                    </a:lnTo>
                    <a:lnTo>
                      <a:pt x="34" y="83"/>
                    </a:lnTo>
                    <a:lnTo>
                      <a:pt x="34" y="90"/>
                    </a:lnTo>
                    <a:lnTo>
                      <a:pt x="34" y="97"/>
                    </a:lnTo>
                    <a:lnTo>
                      <a:pt x="34" y="104"/>
                    </a:lnTo>
                    <a:lnTo>
                      <a:pt x="27" y="104"/>
                    </a:lnTo>
                    <a:lnTo>
                      <a:pt x="20" y="104"/>
                    </a:lnTo>
                    <a:lnTo>
                      <a:pt x="14" y="104"/>
                    </a:lnTo>
                    <a:lnTo>
                      <a:pt x="14" y="97"/>
                    </a:lnTo>
                    <a:lnTo>
                      <a:pt x="14" y="104"/>
                    </a:lnTo>
                    <a:lnTo>
                      <a:pt x="20" y="104"/>
                    </a:lnTo>
                    <a:lnTo>
                      <a:pt x="14" y="110"/>
                    </a:lnTo>
                    <a:lnTo>
                      <a:pt x="14" y="104"/>
                    </a:lnTo>
                    <a:lnTo>
                      <a:pt x="7" y="104"/>
                    </a:lnTo>
                    <a:lnTo>
                      <a:pt x="0" y="97"/>
                    </a:lnTo>
                    <a:lnTo>
                      <a:pt x="0" y="90"/>
                    </a:lnTo>
                    <a:lnTo>
                      <a:pt x="0" y="83"/>
                    </a:lnTo>
                    <a:lnTo>
                      <a:pt x="0" y="76"/>
                    </a:lnTo>
                    <a:lnTo>
                      <a:pt x="7" y="76"/>
                    </a:lnTo>
                    <a:lnTo>
                      <a:pt x="7" y="69"/>
                    </a:lnTo>
                    <a:lnTo>
                      <a:pt x="0" y="69"/>
                    </a:lnTo>
                    <a:lnTo>
                      <a:pt x="7" y="69"/>
                    </a:lnTo>
                    <a:lnTo>
                      <a:pt x="0" y="69"/>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8" name="Freeform 32">
                <a:extLst>
                  <a:ext uri="{FF2B5EF4-FFF2-40B4-BE49-F238E27FC236}">
                    <a16:creationId xmlns:a16="http://schemas.microsoft.com/office/drawing/2014/main" id="{30562201-77F3-FFC8-E012-E84D86C6F917}"/>
                  </a:ext>
                </a:extLst>
              </p:cNvPr>
              <p:cNvSpPr>
                <a:spLocks/>
              </p:cNvSpPr>
              <p:nvPr/>
            </p:nvSpPr>
            <p:spPr bwMode="gray">
              <a:xfrm>
                <a:off x="7361238" y="2636838"/>
                <a:ext cx="11113" cy="11113"/>
              </a:xfrm>
              <a:custGeom>
                <a:avLst/>
                <a:gdLst>
                  <a:gd name="T0" fmla="*/ 0 w 7"/>
                  <a:gd name="T1" fmla="*/ 0 h 7"/>
                  <a:gd name="T2" fmla="*/ 7 w 7"/>
                  <a:gd name="T3" fmla="*/ 0 h 7"/>
                  <a:gd name="T4" fmla="*/ 0 w 7"/>
                  <a:gd name="T5" fmla="*/ 0 h 7"/>
                  <a:gd name="T6" fmla="*/ 0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7" y="0"/>
                    </a:lnTo>
                    <a:lnTo>
                      <a:pt x="0" y="0"/>
                    </a:lnTo>
                    <a:lnTo>
                      <a:pt x="0" y="7"/>
                    </a:lnTo>
                    <a:lnTo>
                      <a:pt x="0" y="0"/>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59" name="Freeform 33">
                <a:extLst>
                  <a:ext uri="{FF2B5EF4-FFF2-40B4-BE49-F238E27FC236}">
                    <a16:creationId xmlns:a16="http://schemas.microsoft.com/office/drawing/2014/main" id="{F021B036-668C-85E9-1A3D-0C6A2CD62D47}"/>
                  </a:ext>
                </a:extLst>
              </p:cNvPr>
              <p:cNvSpPr>
                <a:spLocks/>
              </p:cNvSpPr>
              <p:nvPr/>
            </p:nvSpPr>
            <p:spPr bwMode="gray">
              <a:xfrm>
                <a:off x="7361238" y="2625725"/>
                <a:ext cx="53975" cy="44450"/>
              </a:xfrm>
              <a:custGeom>
                <a:avLst/>
                <a:gdLst>
                  <a:gd name="T0" fmla="*/ 0 w 34"/>
                  <a:gd name="T1" fmla="*/ 21 h 28"/>
                  <a:gd name="T2" fmla="*/ 0 w 34"/>
                  <a:gd name="T3" fmla="*/ 14 h 28"/>
                  <a:gd name="T4" fmla="*/ 7 w 34"/>
                  <a:gd name="T5" fmla="*/ 14 h 28"/>
                  <a:gd name="T6" fmla="*/ 0 w 34"/>
                  <a:gd name="T7" fmla="*/ 14 h 28"/>
                  <a:gd name="T8" fmla="*/ 7 w 34"/>
                  <a:gd name="T9" fmla="*/ 7 h 28"/>
                  <a:gd name="T10" fmla="*/ 14 w 34"/>
                  <a:gd name="T11" fmla="*/ 7 h 28"/>
                  <a:gd name="T12" fmla="*/ 20 w 34"/>
                  <a:gd name="T13" fmla="*/ 0 h 28"/>
                  <a:gd name="T14" fmla="*/ 20 w 34"/>
                  <a:gd name="T15" fmla="*/ 7 h 28"/>
                  <a:gd name="T16" fmla="*/ 27 w 34"/>
                  <a:gd name="T17" fmla="*/ 7 h 28"/>
                  <a:gd name="T18" fmla="*/ 34 w 34"/>
                  <a:gd name="T19" fmla="*/ 7 h 28"/>
                  <a:gd name="T20" fmla="*/ 27 w 34"/>
                  <a:gd name="T21" fmla="*/ 7 h 28"/>
                  <a:gd name="T22" fmla="*/ 20 w 34"/>
                  <a:gd name="T23" fmla="*/ 14 h 28"/>
                  <a:gd name="T24" fmla="*/ 14 w 34"/>
                  <a:gd name="T25" fmla="*/ 21 h 28"/>
                  <a:gd name="T26" fmla="*/ 7 w 34"/>
                  <a:gd name="T27" fmla="*/ 21 h 28"/>
                  <a:gd name="T28" fmla="*/ 7 w 34"/>
                  <a:gd name="T29" fmla="*/ 28 h 28"/>
                  <a:gd name="T30" fmla="*/ 0 w 34"/>
                  <a:gd name="T31" fmla="*/ 2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28">
                    <a:moveTo>
                      <a:pt x="0" y="21"/>
                    </a:moveTo>
                    <a:lnTo>
                      <a:pt x="0" y="14"/>
                    </a:lnTo>
                    <a:lnTo>
                      <a:pt x="7" y="14"/>
                    </a:lnTo>
                    <a:lnTo>
                      <a:pt x="0" y="14"/>
                    </a:lnTo>
                    <a:lnTo>
                      <a:pt x="7" y="7"/>
                    </a:lnTo>
                    <a:lnTo>
                      <a:pt x="14" y="7"/>
                    </a:lnTo>
                    <a:lnTo>
                      <a:pt x="20" y="0"/>
                    </a:lnTo>
                    <a:lnTo>
                      <a:pt x="20" y="7"/>
                    </a:lnTo>
                    <a:lnTo>
                      <a:pt x="27" y="7"/>
                    </a:lnTo>
                    <a:lnTo>
                      <a:pt x="34" y="7"/>
                    </a:lnTo>
                    <a:lnTo>
                      <a:pt x="27" y="7"/>
                    </a:lnTo>
                    <a:lnTo>
                      <a:pt x="20" y="14"/>
                    </a:lnTo>
                    <a:lnTo>
                      <a:pt x="14" y="21"/>
                    </a:lnTo>
                    <a:lnTo>
                      <a:pt x="7" y="21"/>
                    </a:lnTo>
                    <a:lnTo>
                      <a:pt x="7" y="28"/>
                    </a:lnTo>
                    <a:lnTo>
                      <a:pt x="0" y="21"/>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60" name="Freeform 34">
                <a:extLst>
                  <a:ext uri="{FF2B5EF4-FFF2-40B4-BE49-F238E27FC236}">
                    <a16:creationId xmlns:a16="http://schemas.microsoft.com/office/drawing/2014/main" id="{3FA22098-7758-DBD7-A23E-52017F419DEB}"/>
                  </a:ext>
                </a:extLst>
              </p:cNvPr>
              <p:cNvSpPr>
                <a:spLocks/>
              </p:cNvSpPr>
              <p:nvPr/>
            </p:nvSpPr>
            <p:spPr bwMode="gray">
              <a:xfrm>
                <a:off x="7392988" y="2471738"/>
                <a:ext cx="22225" cy="11113"/>
              </a:xfrm>
              <a:custGeom>
                <a:avLst/>
                <a:gdLst>
                  <a:gd name="T0" fmla="*/ 0 w 14"/>
                  <a:gd name="T1" fmla="*/ 7 h 7"/>
                  <a:gd name="T2" fmla="*/ 0 w 14"/>
                  <a:gd name="T3" fmla="*/ 0 h 7"/>
                  <a:gd name="T4" fmla="*/ 7 w 14"/>
                  <a:gd name="T5" fmla="*/ 0 h 7"/>
                  <a:gd name="T6" fmla="*/ 14 w 14"/>
                  <a:gd name="T7" fmla="*/ 0 h 7"/>
                  <a:gd name="T8" fmla="*/ 7 w 14"/>
                  <a:gd name="T9" fmla="*/ 7 h 7"/>
                  <a:gd name="T10" fmla="*/ 7 w 14"/>
                  <a:gd name="T11" fmla="*/ 0 h 7"/>
                  <a:gd name="T12" fmla="*/ 7 w 14"/>
                  <a:gd name="T13" fmla="*/ 7 h 7"/>
                  <a:gd name="T14" fmla="*/ 0 w 1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0" y="7"/>
                    </a:moveTo>
                    <a:lnTo>
                      <a:pt x="0" y="0"/>
                    </a:lnTo>
                    <a:lnTo>
                      <a:pt x="7" y="0"/>
                    </a:lnTo>
                    <a:lnTo>
                      <a:pt x="14" y="0"/>
                    </a:lnTo>
                    <a:lnTo>
                      <a:pt x="7" y="7"/>
                    </a:lnTo>
                    <a:lnTo>
                      <a:pt x="7" y="0"/>
                    </a:lnTo>
                    <a:lnTo>
                      <a:pt x="7" y="7"/>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61" name="Freeform 35">
                <a:extLst>
                  <a:ext uri="{FF2B5EF4-FFF2-40B4-BE49-F238E27FC236}">
                    <a16:creationId xmlns:a16="http://schemas.microsoft.com/office/drawing/2014/main" id="{AA231E34-F1B9-BB2B-5E51-E5BF8B3B7532}"/>
                  </a:ext>
                </a:extLst>
              </p:cNvPr>
              <p:cNvSpPr>
                <a:spLocks/>
              </p:cNvSpPr>
              <p:nvPr/>
            </p:nvSpPr>
            <p:spPr bwMode="gray">
              <a:xfrm>
                <a:off x="7435850" y="2427288"/>
                <a:ext cx="11113" cy="22225"/>
              </a:xfrm>
              <a:custGeom>
                <a:avLst/>
                <a:gdLst>
                  <a:gd name="T0" fmla="*/ 0 w 7"/>
                  <a:gd name="T1" fmla="*/ 7 h 14"/>
                  <a:gd name="T2" fmla="*/ 0 w 7"/>
                  <a:gd name="T3" fmla="*/ 0 h 14"/>
                  <a:gd name="T4" fmla="*/ 7 w 7"/>
                  <a:gd name="T5" fmla="*/ 7 h 14"/>
                  <a:gd name="T6" fmla="*/ 7 w 7"/>
                  <a:gd name="T7" fmla="*/ 14 h 14"/>
                  <a:gd name="T8" fmla="*/ 0 w 7"/>
                  <a:gd name="T9" fmla="*/ 7 h 14"/>
                </a:gdLst>
                <a:ahLst/>
                <a:cxnLst>
                  <a:cxn ang="0">
                    <a:pos x="T0" y="T1"/>
                  </a:cxn>
                  <a:cxn ang="0">
                    <a:pos x="T2" y="T3"/>
                  </a:cxn>
                  <a:cxn ang="0">
                    <a:pos x="T4" y="T5"/>
                  </a:cxn>
                  <a:cxn ang="0">
                    <a:pos x="T6" y="T7"/>
                  </a:cxn>
                  <a:cxn ang="0">
                    <a:pos x="T8" y="T9"/>
                  </a:cxn>
                </a:cxnLst>
                <a:rect l="0" t="0" r="r" b="b"/>
                <a:pathLst>
                  <a:path w="7" h="14">
                    <a:moveTo>
                      <a:pt x="0" y="7"/>
                    </a:moveTo>
                    <a:lnTo>
                      <a:pt x="0" y="0"/>
                    </a:lnTo>
                    <a:lnTo>
                      <a:pt x="7" y="7"/>
                    </a:lnTo>
                    <a:lnTo>
                      <a:pt x="7" y="14"/>
                    </a:lnTo>
                    <a:lnTo>
                      <a:pt x="0" y="7"/>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62" name="Freeform 36">
                <a:extLst>
                  <a:ext uri="{FF2B5EF4-FFF2-40B4-BE49-F238E27FC236}">
                    <a16:creationId xmlns:a16="http://schemas.microsoft.com/office/drawing/2014/main" id="{96389F85-18E9-5224-F9EB-42C0A825A035}"/>
                  </a:ext>
                </a:extLst>
              </p:cNvPr>
              <p:cNvSpPr>
                <a:spLocks/>
              </p:cNvSpPr>
              <p:nvPr/>
            </p:nvSpPr>
            <p:spPr bwMode="gray">
              <a:xfrm>
                <a:off x="7415213" y="2462213"/>
                <a:ext cx="63500" cy="53975"/>
              </a:xfrm>
              <a:custGeom>
                <a:avLst/>
                <a:gdLst>
                  <a:gd name="T0" fmla="*/ 6 w 40"/>
                  <a:gd name="T1" fmla="*/ 13 h 34"/>
                  <a:gd name="T2" fmla="*/ 0 w 40"/>
                  <a:gd name="T3" fmla="*/ 6 h 34"/>
                  <a:gd name="T4" fmla="*/ 6 w 40"/>
                  <a:gd name="T5" fmla="*/ 0 h 34"/>
                  <a:gd name="T6" fmla="*/ 6 w 40"/>
                  <a:gd name="T7" fmla="*/ 6 h 34"/>
                  <a:gd name="T8" fmla="*/ 6 w 40"/>
                  <a:gd name="T9" fmla="*/ 0 h 34"/>
                  <a:gd name="T10" fmla="*/ 13 w 40"/>
                  <a:gd name="T11" fmla="*/ 6 h 34"/>
                  <a:gd name="T12" fmla="*/ 13 w 40"/>
                  <a:gd name="T13" fmla="*/ 0 h 34"/>
                  <a:gd name="T14" fmla="*/ 20 w 40"/>
                  <a:gd name="T15" fmla="*/ 0 h 34"/>
                  <a:gd name="T16" fmla="*/ 20 w 40"/>
                  <a:gd name="T17" fmla="*/ 6 h 34"/>
                  <a:gd name="T18" fmla="*/ 26 w 40"/>
                  <a:gd name="T19" fmla="*/ 6 h 34"/>
                  <a:gd name="T20" fmla="*/ 26 w 40"/>
                  <a:gd name="T21" fmla="*/ 13 h 34"/>
                  <a:gd name="T22" fmla="*/ 26 w 40"/>
                  <a:gd name="T23" fmla="*/ 20 h 34"/>
                  <a:gd name="T24" fmla="*/ 33 w 40"/>
                  <a:gd name="T25" fmla="*/ 20 h 34"/>
                  <a:gd name="T26" fmla="*/ 33 w 40"/>
                  <a:gd name="T27" fmla="*/ 13 h 34"/>
                  <a:gd name="T28" fmla="*/ 40 w 40"/>
                  <a:gd name="T29" fmla="*/ 13 h 34"/>
                  <a:gd name="T30" fmla="*/ 40 w 40"/>
                  <a:gd name="T31" fmla="*/ 20 h 34"/>
                  <a:gd name="T32" fmla="*/ 33 w 40"/>
                  <a:gd name="T33" fmla="*/ 20 h 34"/>
                  <a:gd name="T34" fmla="*/ 33 w 40"/>
                  <a:gd name="T35" fmla="*/ 27 h 34"/>
                  <a:gd name="T36" fmla="*/ 26 w 40"/>
                  <a:gd name="T37" fmla="*/ 34 h 34"/>
                  <a:gd name="T38" fmla="*/ 26 w 40"/>
                  <a:gd name="T39" fmla="*/ 27 h 34"/>
                  <a:gd name="T40" fmla="*/ 26 w 40"/>
                  <a:gd name="T41" fmla="*/ 20 h 34"/>
                  <a:gd name="T42" fmla="*/ 20 w 40"/>
                  <a:gd name="T43" fmla="*/ 20 h 34"/>
                  <a:gd name="T44" fmla="*/ 13 w 40"/>
                  <a:gd name="T45" fmla="*/ 20 h 34"/>
                  <a:gd name="T46" fmla="*/ 13 w 40"/>
                  <a:gd name="T47" fmla="*/ 27 h 34"/>
                  <a:gd name="T48" fmla="*/ 13 w 40"/>
                  <a:gd name="T49" fmla="*/ 34 h 34"/>
                  <a:gd name="T50" fmla="*/ 6 w 40"/>
                  <a:gd name="T51" fmla="*/ 27 h 34"/>
                  <a:gd name="T52" fmla="*/ 6 w 40"/>
                  <a:gd name="T53" fmla="*/ 20 h 34"/>
                  <a:gd name="T54" fmla="*/ 6 w 40"/>
                  <a:gd name="T55"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34">
                    <a:moveTo>
                      <a:pt x="6" y="13"/>
                    </a:moveTo>
                    <a:lnTo>
                      <a:pt x="0" y="6"/>
                    </a:lnTo>
                    <a:lnTo>
                      <a:pt x="6" y="0"/>
                    </a:lnTo>
                    <a:lnTo>
                      <a:pt x="6" y="6"/>
                    </a:lnTo>
                    <a:lnTo>
                      <a:pt x="6" y="0"/>
                    </a:lnTo>
                    <a:lnTo>
                      <a:pt x="13" y="6"/>
                    </a:lnTo>
                    <a:lnTo>
                      <a:pt x="13" y="0"/>
                    </a:lnTo>
                    <a:lnTo>
                      <a:pt x="20" y="0"/>
                    </a:lnTo>
                    <a:lnTo>
                      <a:pt x="20" y="6"/>
                    </a:lnTo>
                    <a:lnTo>
                      <a:pt x="26" y="6"/>
                    </a:lnTo>
                    <a:lnTo>
                      <a:pt x="26" y="13"/>
                    </a:lnTo>
                    <a:lnTo>
                      <a:pt x="26" y="20"/>
                    </a:lnTo>
                    <a:lnTo>
                      <a:pt x="33" y="20"/>
                    </a:lnTo>
                    <a:lnTo>
                      <a:pt x="33" y="13"/>
                    </a:lnTo>
                    <a:lnTo>
                      <a:pt x="40" y="13"/>
                    </a:lnTo>
                    <a:lnTo>
                      <a:pt x="40" y="20"/>
                    </a:lnTo>
                    <a:lnTo>
                      <a:pt x="33" y="20"/>
                    </a:lnTo>
                    <a:lnTo>
                      <a:pt x="33" y="27"/>
                    </a:lnTo>
                    <a:lnTo>
                      <a:pt x="26" y="34"/>
                    </a:lnTo>
                    <a:lnTo>
                      <a:pt x="26" y="27"/>
                    </a:lnTo>
                    <a:lnTo>
                      <a:pt x="26" y="20"/>
                    </a:lnTo>
                    <a:lnTo>
                      <a:pt x="20" y="20"/>
                    </a:lnTo>
                    <a:lnTo>
                      <a:pt x="13" y="20"/>
                    </a:lnTo>
                    <a:lnTo>
                      <a:pt x="13" y="27"/>
                    </a:lnTo>
                    <a:lnTo>
                      <a:pt x="13" y="34"/>
                    </a:lnTo>
                    <a:lnTo>
                      <a:pt x="6" y="27"/>
                    </a:lnTo>
                    <a:lnTo>
                      <a:pt x="6" y="20"/>
                    </a:lnTo>
                    <a:lnTo>
                      <a:pt x="6" y="13"/>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63" name="Freeform 37">
                <a:extLst>
                  <a:ext uri="{FF2B5EF4-FFF2-40B4-BE49-F238E27FC236}">
                    <a16:creationId xmlns:a16="http://schemas.microsoft.com/office/drawing/2014/main" id="{76E38AFC-D110-213A-C97D-58F185089D42}"/>
                  </a:ext>
                </a:extLst>
              </p:cNvPr>
              <p:cNvSpPr>
                <a:spLocks/>
              </p:cNvSpPr>
              <p:nvPr/>
            </p:nvSpPr>
            <p:spPr bwMode="gray">
              <a:xfrm>
                <a:off x="7415213" y="2317750"/>
                <a:ext cx="84138" cy="120650"/>
              </a:xfrm>
              <a:custGeom>
                <a:avLst/>
                <a:gdLst>
                  <a:gd name="T0" fmla="*/ 0 w 53"/>
                  <a:gd name="T1" fmla="*/ 69 h 76"/>
                  <a:gd name="T2" fmla="*/ 0 w 53"/>
                  <a:gd name="T3" fmla="*/ 62 h 76"/>
                  <a:gd name="T4" fmla="*/ 0 w 53"/>
                  <a:gd name="T5" fmla="*/ 56 h 76"/>
                  <a:gd name="T6" fmla="*/ 0 w 53"/>
                  <a:gd name="T7" fmla="*/ 49 h 76"/>
                  <a:gd name="T8" fmla="*/ 6 w 53"/>
                  <a:gd name="T9" fmla="*/ 56 h 76"/>
                  <a:gd name="T10" fmla="*/ 6 w 53"/>
                  <a:gd name="T11" fmla="*/ 49 h 76"/>
                  <a:gd name="T12" fmla="*/ 6 w 53"/>
                  <a:gd name="T13" fmla="*/ 42 h 76"/>
                  <a:gd name="T14" fmla="*/ 13 w 53"/>
                  <a:gd name="T15" fmla="*/ 42 h 76"/>
                  <a:gd name="T16" fmla="*/ 13 w 53"/>
                  <a:gd name="T17" fmla="*/ 35 h 76"/>
                  <a:gd name="T18" fmla="*/ 13 w 53"/>
                  <a:gd name="T19" fmla="*/ 28 h 76"/>
                  <a:gd name="T20" fmla="*/ 13 w 53"/>
                  <a:gd name="T21" fmla="*/ 21 h 76"/>
                  <a:gd name="T22" fmla="*/ 20 w 53"/>
                  <a:gd name="T23" fmla="*/ 21 h 76"/>
                  <a:gd name="T24" fmla="*/ 20 w 53"/>
                  <a:gd name="T25" fmla="*/ 14 h 76"/>
                  <a:gd name="T26" fmla="*/ 13 w 53"/>
                  <a:gd name="T27" fmla="*/ 14 h 76"/>
                  <a:gd name="T28" fmla="*/ 20 w 53"/>
                  <a:gd name="T29" fmla="*/ 14 h 76"/>
                  <a:gd name="T30" fmla="*/ 26 w 53"/>
                  <a:gd name="T31" fmla="*/ 7 h 76"/>
                  <a:gd name="T32" fmla="*/ 26 w 53"/>
                  <a:gd name="T33" fmla="*/ 0 h 76"/>
                  <a:gd name="T34" fmla="*/ 33 w 53"/>
                  <a:gd name="T35" fmla="*/ 0 h 76"/>
                  <a:gd name="T36" fmla="*/ 33 w 53"/>
                  <a:gd name="T37" fmla="*/ 7 h 76"/>
                  <a:gd name="T38" fmla="*/ 33 w 53"/>
                  <a:gd name="T39" fmla="*/ 14 h 76"/>
                  <a:gd name="T40" fmla="*/ 26 w 53"/>
                  <a:gd name="T41" fmla="*/ 21 h 76"/>
                  <a:gd name="T42" fmla="*/ 33 w 53"/>
                  <a:gd name="T43" fmla="*/ 21 h 76"/>
                  <a:gd name="T44" fmla="*/ 33 w 53"/>
                  <a:gd name="T45" fmla="*/ 14 h 76"/>
                  <a:gd name="T46" fmla="*/ 33 w 53"/>
                  <a:gd name="T47" fmla="*/ 7 h 76"/>
                  <a:gd name="T48" fmla="*/ 40 w 53"/>
                  <a:gd name="T49" fmla="*/ 7 h 76"/>
                  <a:gd name="T50" fmla="*/ 47 w 53"/>
                  <a:gd name="T51" fmla="*/ 7 h 76"/>
                  <a:gd name="T52" fmla="*/ 47 w 53"/>
                  <a:gd name="T53" fmla="*/ 14 h 76"/>
                  <a:gd name="T54" fmla="*/ 47 w 53"/>
                  <a:gd name="T55" fmla="*/ 7 h 76"/>
                  <a:gd name="T56" fmla="*/ 47 w 53"/>
                  <a:gd name="T57" fmla="*/ 14 h 76"/>
                  <a:gd name="T58" fmla="*/ 53 w 53"/>
                  <a:gd name="T59" fmla="*/ 14 h 76"/>
                  <a:gd name="T60" fmla="*/ 53 w 53"/>
                  <a:gd name="T61" fmla="*/ 21 h 76"/>
                  <a:gd name="T62" fmla="*/ 47 w 53"/>
                  <a:gd name="T63" fmla="*/ 21 h 76"/>
                  <a:gd name="T64" fmla="*/ 47 w 53"/>
                  <a:gd name="T65" fmla="*/ 28 h 76"/>
                  <a:gd name="T66" fmla="*/ 47 w 53"/>
                  <a:gd name="T67" fmla="*/ 35 h 76"/>
                  <a:gd name="T68" fmla="*/ 47 w 53"/>
                  <a:gd name="T69" fmla="*/ 28 h 76"/>
                  <a:gd name="T70" fmla="*/ 40 w 53"/>
                  <a:gd name="T71" fmla="*/ 28 h 76"/>
                  <a:gd name="T72" fmla="*/ 33 w 53"/>
                  <a:gd name="T73" fmla="*/ 28 h 76"/>
                  <a:gd name="T74" fmla="*/ 40 w 53"/>
                  <a:gd name="T75" fmla="*/ 28 h 76"/>
                  <a:gd name="T76" fmla="*/ 40 w 53"/>
                  <a:gd name="T77" fmla="*/ 35 h 76"/>
                  <a:gd name="T78" fmla="*/ 40 w 53"/>
                  <a:gd name="T79" fmla="*/ 42 h 76"/>
                  <a:gd name="T80" fmla="*/ 33 w 53"/>
                  <a:gd name="T81" fmla="*/ 42 h 76"/>
                  <a:gd name="T82" fmla="*/ 26 w 53"/>
                  <a:gd name="T83" fmla="*/ 42 h 76"/>
                  <a:gd name="T84" fmla="*/ 33 w 53"/>
                  <a:gd name="T85" fmla="*/ 42 h 76"/>
                  <a:gd name="T86" fmla="*/ 40 w 53"/>
                  <a:gd name="T87" fmla="*/ 49 h 76"/>
                  <a:gd name="T88" fmla="*/ 33 w 53"/>
                  <a:gd name="T89" fmla="*/ 49 h 76"/>
                  <a:gd name="T90" fmla="*/ 33 w 53"/>
                  <a:gd name="T91" fmla="*/ 56 h 76"/>
                  <a:gd name="T92" fmla="*/ 26 w 53"/>
                  <a:gd name="T93" fmla="*/ 56 h 76"/>
                  <a:gd name="T94" fmla="*/ 26 w 53"/>
                  <a:gd name="T95" fmla="*/ 62 h 76"/>
                  <a:gd name="T96" fmla="*/ 20 w 53"/>
                  <a:gd name="T97" fmla="*/ 62 h 76"/>
                  <a:gd name="T98" fmla="*/ 26 w 53"/>
                  <a:gd name="T99" fmla="*/ 62 h 76"/>
                  <a:gd name="T100" fmla="*/ 26 w 53"/>
                  <a:gd name="T101" fmla="*/ 69 h 76"/>
                  <a:gd name="T102" fmla="*/ 33 w 53"/>
                  <a:gd name="T103" fmla="*/ 69 h 76"/>
                  <a:gd name="T104" fmla="*/ 26 w 53"/>
                  <a:gd name="T105" fmla="*/ 76 h 76"/>
                  <a:gd name="T106" fmla="*/ 20 w 53"/>
                  <a:gd name="T107" fmla="*/ 69 h 76"/>
                  <a:gd name="T108" fmla="*/ 13 w 53"/>
                  <a:gd name="T109" fmla="*/ 69 h 76"/>
                  <a:gd name="T110" fmla="*/ 6 w 53"/>
                  <a:gd name="T111" fmla="*/ 69 h 76"/>
                  <a:gd name="T112" fmla="*/ 0 w 53"/>
                  <a:gd name="T113"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 h="76">
                    <a:moveTo>
                      <a:pt x="0" y="69"/>
                    </a:moveTo>
                    <a:lnTo>
                      <a:pt x="0" y="62"/>
                    </a:lnTo>
                    <a:lnTo>
                      <a:pt x="0" y="56"/>
                    </a:lnTo>
                    <a:lnTo>
                      <a:pt x="0" y="49"/>
                    </a:lnTo>
                    <a:lnTo>
                      <a:pt x="6" y="56"/>
                    </a:lnTo>
                    <a:lnTo>
                      <a:pt x="6" y="49"/>
                    </a:lnTo>
                    <a:lnTo>
                      <a:pt x="6" y="42"/>
                    </a:lnTo>
                    <a:lnTo>
                      <a:pt x="13" y="42"/>
                    </a:lnTo>
                    <a:lnTo>
                      <a:pt x="13" y="35"/>
                    </a:lnTo>
                    <a:lnTo>
                      <a:pt x="13" y="28"/>
                    </a:lnTo>
                    <a:lnTo>
                      <a:pt x="13" y="21"/>
                    </a:lnTo>
                    <a:lnTo>
                      <a:pt x="20" y="21"/>
                    </a:lnTo>
                    <a:lnTo>
                      <a:pt x="20" y="14"/>
                    </a:lnTo>
                    <a:lnTo>
                      <a:pt x="13" y="14"/>
                    </a:lnTo>
                    <a:lnTo>
                      <a:pt x="20" y="14"/>
                    </a:lnTo>
                    <a:lnTo>
                      <a:pt x="26" y="7"/>
                    </a:lnTo>
                    <a:lnTo>
                      <a:pt x="26" y="0"/>
                    </a:lnTo>
                    <a:lnTo>
                      <a:pt x="33" y="0"/>
                    </a:lnTo>
                    <a:lnTo>
                      <a:pt x="33" y="7"/>
                    </a:lnTo>
                    <a:lnTo>
                      <a:pt x="33" y="14"/>
                    </a:lnTo>
                    <a:lnTo>
                      <a:pt x="26" y="21"/>
                    </a:lnTo>
                    <a:lnTo>
                      <a:pt x="33" y="21"/>
                    </a:lnTo>
                    <a:lnTo>
                      <a:pt x="33" y="14"/>
                    </a:lnTo>
                    <a:lnTo>
                      <a:pt x="33" y="7"/>
                    </a:lnTo>
                    <a:lnTo>
                      <a:pt x="40" y="7"/>
                    </a:lnTo>
                    <a:lnTo>
                      <a:pt x="47" y="7"/>
                    </a:lnTo>
                    <a:lnTo>
                      <a:pt x="47" y="14"/>
                    </a:lnTo>
                    <a:lnTo>
                      <a:pt x="47" y="7"/>
                    </a:lnTo>
                    <a:lnTo>
                      <a:pt x="47" y="14"/>
                    </a:lnTo>
                    <a:lnTo>
                      <a:pt x="53" y="14"/>
                    </a:lnTo>
                    <a:lnTo>
                      <a:pt x="53" y="21"/>
                    </a:lnTo>
                    <a:lnTo>
                      <a:pt x="47" y="21"/>
                    </a:lnTo>
                    <a:lnTo>
                      <a:pt x="47" y="28"/>
                    </a:lnTo>
                    <a:lnTo>
                      <a:pt x="47" y="35"/>
                    </a:lnTo>
                    <a:lnTo>
                      <a:pt x="47" y="28"/>
                    </a:lnTo>
                    <a:lnTo>
                      <a:pt x="40" y="28"/>
                    </a:lnTo>
                    <a:lnTo>
                      <a:pt x="33" y="28"/>
                    </a:lnTo>
                    <a:lnTo>
                      <a:pt x="40" y="28"/>
                    </a:lnTo>
                    <a:lnTo>
                      <a:pt x="40" y="35"/>
                    </a:lnTo>
                    <a:lnTo>
                      <a:pt x="40" y="42"/>
                    </a:lnTo>
                    <a:lnTo>
                      <a:pt x="33" y="42"/>
                    </a:lnTo>
                    <a:lnTo>
                      <a:pt x="26" y="42"/>
                    </a:lnTo>
                    <a:lnTo>
                      <a:pt x="33" y="42"/>
                    </a:lnTo>
                    <a:lnTo>
                      <a:pt x="40" y="49"/>
                    </a:lnTo>
                    <a:lnTo>
                      <a:pt x="33" y="49"/>
                    </a:lnTo>
                    <a:lnTo>
                      <a:pt x="33" y="56"/>
                    </a:lnTo>
                    <a:lnTo>
                      <a:pt x="26" y="56"/>
                    </a:lnTo>
                    <a:lnTo>
                      <a:pt x="26" y="62"/>
                    </a:lnTo>
                    <a:lnTo>
                      <a:pt x="20" y="62"/>
                    </a:lnTo>
                    <a:lnTo>
                      <a:pt x="26" y="62"/>
                    </a:lnTo>
                    <a:lnTo>
                      <a:pt x="26" y="69"/>
                    </a:lnTo>
                    <a:lnTo>
                      <a:pt x="33" y="69"/>
                    </a:lnTo>
                    <a:lnTo>
                      <a:pt x="26" y="76"/>
                    </a:lnTo>
                    <a:lnTo>
                      <a:pt x="20" y="69"/>
                    </a:lnTo>
                    <a:lnTo>
                      <a:pt x="13" y="69"/>
                    </a:lnTo>
                    <a:lnTo>
                      <a:pt x="6" y="69"/>
                    </a:lnTo>
                    <a:lnTo>
                      <a:pt x="0" y="69"/>
                    </a:lnTo>
                  </a:path>
                </a:pathLst>
              </a:custGeom>
              <a:solidFill>
                <a:schemeClr val="accent3"/>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sp>
            <p:nvSpPr>
              <p:cNvPr id="164" name="Freeform 38">
                <a:extLst>
                  <a:ext uri="{FF2B5EF4-FFF2-40B4-BE49-F238E27FC236}">
                    <a16:creationId xmlns:a16="http://schemas.microsoft.com/office/drawing/2014/main" id="{18E6AF18-B4CF-F0F7-FB36-049FB13549C0}"/>
                  </a:ext>
                </a:extLst>
              </p:cNvPr>
              <p:cNvSpPr>
                <a:spLocks/>
              </p:cNvSpPr>
              <p:nvPr/>
            </p:nvSpPr>
            <p:spPr bwMode="gray">
              <a:xfrm>
                <a:off x="7446963" y="2605088"/>
                <a:ext cx="20638" cy="20638"/>
              </a:xfrm>
              <a:custGeom>
                <a:avLst/>
                <a:gdLst>
                  <a:gd name="T0" fmla="*/ 0 w 13"/>
                  <a:gd name="T1" fmla="*/ 13 h 13"/>
                  <a:gd name="T2" fmla="*/ 0 w 13"/>
                  <a:gd name="T3" fmla="*/ 6 h 13"/>
                  <a:gd name="T4" fmla="*/ 6 w 13"/>
                  <a:gd name="T5" fmla="*/ 6 h 13"/>
                  <a:gd name="T6" fmla="*/ 6 w 13"/>
                  <a:gd name="T7" fmla="*/ 0 h 13"/>
                  <a:gd name="T8" fmla="*/ 13 w 13"/>
                  <a:gd name="T9" fmla="*/ 0 h 13"/>
                  <a:gd name="T10" fmla="*/ 6 w 13"/>
                  <a:gd name="T11" fmla="*/ 6 h 13"/>
                  <a:gd name="T12" fmla="*/ 13 w 13"/>
                  <a:gd name="T13" fmla="*/ 6 h 13"/>
                  <a:gd name="T14" fmla="*/ 6 w 13"/>
                  <a:gd name="T15" fmla="*/ 6 h 13"/>
                  <a:gd name="T16" fmla="*/ 0 w 13"/>
                  <a:gd name="T17" fmla="*/ 6 h 13"/>
                  <a:gd name="T18" fmla="*/ 0 w 13"/>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3"/>
                    </a:moveTo>
                    <a:lnTo>
                      <a:pt x="0" y="6"/>
                    </a:lnTo>
                    <a:lnTo>
                      <a:pt x="6" y="6"/>
                    </a:lnTo>
                    <a:lnTo>
                      <a:pt x="6" y="0"/>
                    </a:lnTo>
                    <a:lnTo>
                      <a:pt x="13" y="0"/>
                    </a:lnTo>
                    <a:lnTo>
                      <a:pt x="6" y="6"/>
                    </a:lnTo>
                    <a:lnTo>
                      <a:pt x="13" y="6"/>
                    </a:lnTo>
                    <a:lnTo>
                      <a:pt x="6" y="6"/>
                    </a:lnTo>
                    <a:lnTo>
                      <a:pt x="0" y="6"/>
                    </a:lnTo>
                    <a:lnTo>
                      <a:pt x="0" y="13"/>
                    </a:lnTo>
                  </a:path>
                </a:pathLst>
              </a:custGeom>
              <a:grp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Lato"/>
                  <a:ea typeface="+mn-ea"/>
                  <a:cs typeface="+mn-cs"/>
                </a:endParaRPr>
              </a:p>
            </p:txBody>
          </p:sp>
        </p:grpSp>
        <p:sp>
          <p:nvSpPr>
            <p:cNvPr id="165" name="Freeform 68">
              <a:extLst>
                <a:ext uri="{FF2B5EF4-FFF2-40B4-BE49-F238E27FC236}">
                  <a16:creationId xmlns:a16="http://schemas.microsoft.com/office/drawing/2014/main" id="{4DDA0C88-321F-4FF9-5608-5C8229442EEB}"/>
                </a:ext>
              </a:extLst>
            </p:cNvPr>
            <p:cNvSpPr>
              <a:spLocks/>
            </p:cNvSpPr>
            <p:nvPr/>
          </p:nvSpPr>
          <p:spPr bwMode="gray">
            <a:xfrm>
              <a:off x="2059472" y="4577439"/>
              <a:ext cx="804875" cy="753569"/>
            </a:xfrm>
            <a:custGeom>
              <a:avLst/>
              <a:gdLst>
                <a:gd name="T0" fmla="*/ 561 w 576"/>
                <a:gd name="T1" fmla="*/ 79 h 541"/>
                <a:gd name="T2" fmla="*/ 391 w 576"/>
                <a:gd name="T3" fmla="*/ 1 h 541"/>
                <a:gd name="T4" fmla="*/ 308 w 576"/>
                <a:gd name="T5" fmla="*/ 28 h 541"/>
                <a:gd name="T6" fmla="*/ 293 w 576"/>
                <a:gd name="T7" fmla="*/ 61 h 541"/>
                <a:gd name="T8" fmla="*/ 275 w 576"/>
                <a:gd name="T9" fmla="*/ 68 h 541"/>
                <a:gd name="T10" fmla="*/ 251 w 576"/>
                <a:gd name="T11" fmla="*/ 76 h 541"/>
                <a:gd name="T12" fmla="*/ 227 w 576"/>
                <a:gd name="T13" fmla="*/ 110 h 541"/>
                <a:gd name="T14" fmla="*/ 211 w 576"/>
                <a:gd name="T15" fmla="*/ 116 h 541"/>
                <a:gd name="T16" fmla="*/ 189 w 576"/>
                <a:gd name="T17" fmla="*/ 116 h 541"/>
                <a:gd name="T18" fmla="*/ 169 w 576"/>
                <a:gd name="T19" fmla="*/ 114 h 541"/>
                <a:gd name="T20" fmla="*/ 145 w 576"/>
                <a:gd name="T21" fmla="*/ 121 h 541"/>
                <a:gd name="T22" fmla="*/ 142 w 576"/>
                <a:gd name="T23" fmla="*/ 137 h 541"/>
                <a:gd name="T24" fmla="*/ 147 w 576"/>
                <a:gd name="T25" fmla="*/ 160 h 541"/>
                <a:gd name="T26" fmla="*/ 149 w 576"/>
                <a:gd name="T27" fmla="*/ 188 h 541"/>
                <a:gd name="T28" fmla="*/ 138 w 576"/>
                <a:gd name="T29" fmla="*/ 209 h 541"/>
                <a:gd name="T30" fmla="*/ 137 w 576"/>
                <a:gd name="T31" fmla="*/ 218 h 541"/>
                <a:gd name="T32" fmla="*/ 137 w 576"/>
                <a:gd name="T33" fmla="*/ 246 h 541"/>
                <a:gd name="T34" fmla="*/ 132 w 576"/>
                <a:gd name="T35" fmla="*/ 262 h 541"/>
                <a:gd name="T36" fmla="*/ 114 w 576"/>
                <a:gd name="T37" fmla="*/ 315 h 541"/>
                <a:gd name="T38" fmla="*/ 112 w 576"/>
                <a:gd name="T39" fmla="*/ 327 h 541"/>
                <a:gd name="T40" fmla="*/ 98 w 576"/>
                <a:gd name="T41" fmla="*/ 347 h 541"/>
                <a:gd name="T42" fmla="*/ 94 w 576"/>
                <a:gd name="T43" fmla="*/ 352 h 541"/>
                <a:gd name="T44" fmla="*/ 93 w 576"/>
                <a:gd name="T45" fmla="*/ 373 h 541"/>
                <a:gd name="T46" fmla="*/ 76 w 576"/>
                <a:gd name="T47" fmla="*/ 384 h 541"/>
                <a:gd name="T48" fmla="*/ 61 w 576"/>
                <a:gd name="T49" fmla="*/ 385 h 541"/>
                <a:gd name="T50" fmla="*/ 44 w 576"/>
                <a:gd name="T51" fmla="*/ 389 h 541"/>
                <a:gd name="T52" fmla="*/ 25 w 576"/>
                <a:gd name="T53" fmla="*/ 391 h 541"/>
                <a:gd name="T54" fmla="*/ 4 w 576"/>
                <a:gd name="T55" fmla="*/ 424 h 541"/>
                <a:gd name="T56" fmla="*/ 29 w 576"/>
                <a:gd name="T57" fmla="*/ 445 h 541"/>
                <a:gd name="T58" fmla="*/ 36 w 576"/>
                <a:gd name="T59" fmla="*/ 452 h 541"/>
                <a:gd name="T60" fmla="*/ 52 w 576"/>
                <a:gd name="T61" fmla="*/ 455 h 541"/>
                <a:gd name="T62" fmla="*/ 87 w 576"/>
                <a:gd name="T63" fmla="*/ 466 h 541"/>
                <a:gd name="T64" fmla="*/ 98 w 576"/>
                <a:gd name="T65" fmla="*/ 478 h 541"/>
                <a:gd name="T66" fmla="*/ 133 w 576"/>
                <a:gd name="T67" fmla="*/ 500 h 541"/>
                <a:gd name="T68" fmla="*/ 172 w 576"/>
                <a:gd name="T69" fmla="*/ 486 h 541"/>
                <a:gd name="T70" fmla="*/ 213 w 576"/>
                <a:gd name="T71" fmla="*/ 453 h 541"/>
                <a:gd name="T72" fmla="*/ 228 w 576"/>
                <a:gd name="T73" fmla="*/ 494 h 541"/>
                <a:gd name="T74" fmla="*/ 276 w 576"/>
                <a:gd name="T75" fmla="*/ 519 h 541"/>
                <a:gd name="T76" fmla="*/ 293 w 576"/>
                <a:gd name="T77" fmla="*/ 509 h 541"/>
                <a:gd name="T78" fmla="*/ 335 w 576"/>
                <a:gd name="T79" fmla="*/ 494 h 541"/>
                <a:gd name="T80" fmla="*/ 426 w 576"/>
                <a:gd name="T81" fmla="*/ 458 h 541"/>
                <a:gd name="T82" fmla="*/ 421 w 576"/>
                <a:gd name="T83" fmla="*/ 413 h 541"/>
                <a:gd name="T84" fmla="*/ 451 w 576"/>
                <a:gd name="T85" fmla="*/ 399 h 541"/>
                <a:gd name="T86" fmla="*/ 495 w 576"/>
                <a:gd name="T87" fmla="*/ 345 h 541"/>
                <a:gd name="T88" fmla="*/ 529 w 576"/>
                <a:gd name="T89" fmla="*/ 308 h 541"/>
                <a:gd name="T90" fmla="*/ 544 w 576"/>
                <a:gd name="T91" fmla="*/ 285 h 541"/>
                <a:gd name="T92" fmla="*/ 573 w 576"/>
                <a:gd name="T93" fmla="*/ 125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6" h="541">
                  <a:moveTo>
                    <a:pt x="573" y="125"/>
                  </a:moveTo>
                  <a:cubicBezTo>
                    <a:pt x="572" y="109"/>
                    <a:pt x="568" y="93"/>
                    <a:pt x="561" y="79"/>
                  </a:cubicBezTo>
                  <a:cubicBezTo>
                    <a:pt x="537" y="36"/>
                    <a:pt x="484" y="20"/>
                    <a:pt x="436" y="9"/>
                  </a:cubicBezTo>
                  <a:cubicBezTo>
                    <a:pt x="421" y="5"/>
                    <a:pt x="406" y="2"/>
                    <a:pt x="391" y="1"/>
                  </a:cubicBezTo>
                  <a:cubicBezTo>
                    <a:pt x="373" y="0"/>
                    <a:pt x="356" y="3"/>
                    <a:pt x="339" y="6"/>
                  </a:cubicBezTo>
                  <a:cubicBezTo>
                    <a:pt x="326" y="9"/>
                    <a:pt x="309" y="15"/>
                    <a:pt x="308" y="28"/>
                  </a:cubicBezTo>
                  <a:cubicBezTo>
                    <a:pt x="308" y="34"/>
                    <a:pt x="311" y="41"/>
                    <a:pt x="309" y="47"/>
                  </a:cubicBezTo>
                  <a:cubicBezTo>
                    <a:pt x="307" y="55"/>
                    <a:pt x="299" y="56"/>
                    <a:pt x="293" y="61"/>
                  </a:cubicBezTo>
                  <a:cubicBezTo>
                    <a:pt x="290" y="64"/>
                    <a:pt x="289" y="70"/>
                    <a:pt x="284" y="71"/>
                  </a:cubicBezTo>
                  <a:cubicBezTo>
                    <a:pt x="281" y="72"/>
                    <a:pt x="278" y="69"/>
                    <a:pt x="275" y="68"/>
                  </a:cubicBezTo>
                  <a:cubicBezTo>
                    <a:pt x="272" y="67"/>
                    <a:pt x="267" y="68"/>
                    <a:pt x="262" y="70"/>
                  </a:cubicBezTo>
                  <a:cubicBezTo>
                    <a:pt x="257" y="72"/>
                    <a:pt x="252" y="74"/>
                    <a:pt x="251" y="76"/>
                  </a:cubicBezTo>
                  <a:cubicBezTo>
                    <a:pt x="246" y="81"/>
                    <a:pt x="245" y="87"/>
                    <a:pt x="242" y="93"/>
                  </a:cubicBezTo>
                  <a:cubicBezTo>
                    <a:pt x="239" y="100"/>
                    <a:pt x="233" y="106"/>
                    <a:pt x="227" y="110"/>
                  </a:cubicBezTo>
                  <a:cubicBezTo>
                    <a:pt x="223" y="112"/>
                    <a:pt x="220" y="114"/>
                    <a:pt x="216" y="115"/>
                  </a:cubicBezTo>
                  <a:cubicBezTo>
                    <a:pt x="214" y="115"/>
                    <a:pt x="212" y="116"/>
                    <a:pt x="211" y="116"/>
                  </a:cubicBezTo>
                  <a:cubicBezTo>
                    <a:pt x="208" y="116"/>
                    <a:pt x="207" y="117"/>
                    <a:pt x="205" y="118"/>
                  </a:cubicBezTo>
                  <a:cubicBezTo>
                    <a:pt x="199" y="120"/>
                    <a:pt x="194" y="119"/>
                    <a:pt x="189" y="116"/>
                  </a:cubicBezTo>
                  <a:cubicBezTo>
                    <a:pt x="186" y="115"/>
                    <a:pt x="182" y="115"/>
                    <a:pt x="179" y="114"/>
                  </a:cubicBezTo>
                  <a:cubicBezTo>
                    <a:pt x="176" y="114"/>
                    <a:pt x="173" y="114"/>
                    <a:pt x="169" y="114"/>
                  </a:cubicBezTo>
                  <a:cubicBezTo>
                    <a:pt x="162" y="114"/>
                    <a:pt x="155" y="115"/>
                    <a:pt x="150" y="119"/>
                  </a:cubicBezTo>
                  <a:cubicBezTo>
                    <a:pt x="148" y="119"/>
                    <a:pt x="147" y="120"/>
                    <a:pt x="145" y="121"/>
                  </a:cubicBezTo>
                  <a:cubicBezTo>
                    <a:pt x="144" y="123"/>
                    <a:pt x="144" y="124"/>
                    <a:pt x="143" y="126"/>
                  </a:cubicBezTo>
                  <a:cubicBezTo>
                    <a:pt x="142" y="129"/>
                    <a:pt x="142" y="133"/>
                    <a:pt x="142" y="137"/>
                  </a:cubicBezTo>
                  <a:cubicBezTo>
                    <a:pt x="142" y="143"/>
                    <a:pt x="144" y="147"/>
                    <a:pt x="145" y="152"/>
                  </a:cubicBezTo>
                  <a:cubicBezTo>
                    <a:pt x="146" y="155"/>
                    <a:pt x="147" y="157"/>
                    <a:pt x="147" y="160"/>
                  </a:cubicBezTo>
                  <a:cubicBezTo>
                    <a:pt x="148" y="162"/>
                    <a:pt x="149" y="163"/>
                    <a:pt x="150" y="165"/>
                  </a:cubicBezTo>
                  <a:cubicBezTo>
                    <a:pt x="153" y="172"/>
                    <a:pt x="155" y="182"/>
                    <a:pt x="149" y="188"/>
                  </a:cubicBezTo>
                  <a:cubicBezTo>
                    <a:pt x="147" y="190"/>
                    <a:pt x="145" y="192"/>
                    <a:pt x="143" y="194"/>
                  </a:cubicBezTo>
                  <a:cubicBezTo>
                    <a:pt x="138" y="198"/>
                    <a:pt x="137" y="203"/>
                    <a:pt x="138" y="209"/>
                  </a:cubicBezTo>
                  <a:cubicBezTo>
                    <a:pt x="138" y="210"/>
                    <a:pt x="138" y="212"/>
                    <a:pt x="138" y="213"/>
                  </a:cubicBezTo>
                  <a:cubicBezTo>
                    <a:pt x="138" y="215"/>
                    <a:pt x="137" y="216"/>
                    <a:pt x="137" y="218"/>
                  </a:cubicBezTo>
                  <a:cubicBezTo>
                    <a:pt x="137" y="221"/>
                    <a:pt x="136" y="225"/>
                    <a:pt x="137" y="228"/>
                  </a:cubicBezTo>
                  <a:cubicBezTo>
                    <a:pt x="137" y="234"/>
                    <a:pt x="137" y="240"/>
                    <a:pt x="137" y="246"/>
                  </a:cubicBezTo>
                  <a:cubicBezTo>
                    <a:pt x="137" y="249"/>
                    <a:pt x="137" y="253"/>
                    <a:pt x="136" y="255"/>
                  </a:cubicBezTo>
                  <a:cubicBezTo>
                    <a:pt x="136" y="258"/>
                    <a:pt x="134" y="260"/>
                    <a:pt x="132" y="262"/>
                  </a:cubicBezTo>
                  <a:cubicBezTo>
                    <a:pt x="125" y="270"/>
                    <a:pt x="117" y="278"/>
                    <a:pt x="115" y="288"/>
                  </a:cubicBezTo>
                  <a:cubicBezTo>
                    <a:pt x="113" y="297"/>
                    <a:pt x="115" y="306"/>
                    <a:pt x="114" y="315"/>
                  </a:cubicBezTo>
                  <a:cubicBezTo>
                    <a:pt x="114" y="318"/>
                    <a:pt x="113" y="320"/>
                    <a:pt x="113" y="322"/>
                  </a:cubicBezTo>
                  <a:cubicBezTo>
                    <a:pt x="112" y="323"/>
                    <a:pt x="112" y="325"/>
                    <a:pt x="112" y="327"/>
                  </a:cubicBezTo>
                  <a:cubicBezTo>
                    <a:pt x="112" y="331"/>
                    <a:pt x="111" y="335"/>
                    <a:pt x="109" y="338"/>
                  </a:cubicBezTo>
                  <a:cubicBezTo>
                    <a:pt x="106" y="343"/>
                    <a:pt x="102" y="346"/>
                    <a:pt x="98" y="347"/>
                  </a:cubicBezTo>
                  <a:cubicBezTo>
                    <a:pt x="97" y="347"/>
                    <a:pt x="95" y="347"/>
                    <a:pt x="95" y="348"/>
                  </a:cubicBezTo>
                  <a:cubicBezTo>
                    <a:pt x="94" y="348"/>
                    <a:pt x="94" y="351"/>
                    <a:pt x="94" y="352"/>
                  </a:cubicBezTo>
                  <a:cubicBezTo>
                    <a:pt x="93" y="354"/>
                    <a:pt x="93" y="357"/>
                    <a:pt x="93" y="360"/>
                  </a:cubicBezTo>
                  <a:cubicBezTo>
                    <a:pt x="93" y="364"/>
                    <a:pt x="94" y="369"/>
                    <a:pt x="93" y="373"/>
                  </a:cubicBezTo>
                  <a:cubicBezTo>
                    <a:pt x="93" y="377"/>
                    <a:pt x="92" y="381"/>
                    <a:pt x="88" y="383"/>
                  </a:cubicBezTo>
                  <a:cubicBezTo>
                    <a:pt x="85" y="386"/>
                    <a:pt x="80" y="384"/>
                    <a:pt x="76" y="384"/>
                  </a:cubicBezTo>
                  <a:cubicBezTo>
                    <a:pt x="74" y="383"/>
                    <a:pt x="73" y="383"/>
                    <a:pt x="71" y="383"/>
                  </a:cubicBezTo>
                  <a:cubicBezTo>
                    <a:pt x="68" y="383"/>
                    <a:pt x="64" y="384"/>
                    <a:pt x="61" y="385"/>
                  </a:cubicBezTo>
                  <a:cubicBezTo>
                    <a:pt x="60" y="385"/>
                    <a:pt x="58" y="386"/>
                    <a:pt x="56" y="387"/>
                  </a:cubicBezTo>
                  <a:cubicBezTo>
                    <a:pt x="52" y="388"/>
                    <a:pt x="48" y="388"/>
                    <a:pt x="44" y="389"/>
                  </a:cubicBezTo>
                  <a:cubicBezTo>
                    <a:pt x="40" y="389"/>
                    <a:pt x="36" y="390"/>
                    <a:pt x="31" y="390"/>
                  </a:cubicBezTo>
                  <a:cubicBezTo>
                    <a:pt x="29" y="391"/>
                    <a:pt x="27" y="391"/>
                    <a:pt x="25" y="391"/>
                  </a:cubicBezTo>
                  <a:cubicBezTo>
                    <a:pt x="16" y="393"/>
                    <a:pt x="4" y="399"/>
                    <a:pt x="2" y="409"/>
                  </a:cubicBezTo>
                  <a:cubicBezTo>
                    <a:pt x="0" y="414"/>
                    <a:pt x="1" y="420"/>
                    <a:pt x="4" y="424"/>
                  </a:cubicBezTo>
                  <a:cubicBezTo>
                    <a:pt x="7" y="431"/>
                    <a:pt x="13" y="436"/>
                    <a:pt x="19" y="440"/>
                  </a:cubicBezTo>
                  <a:cubicBezTo>
                    <a:pt x="22" y="442"/>
                    <a:pt x="26" y="444"/>
                    <a:pt x="29" y="445"/>
                  </a:cubicBezTo>
                  <a:cubicBezTo>
                    <a:pt x="31" y="446"/>
                    <a:pt x="32" y="446"/>
                    <a:pt x="33" y="448"/>
                  </a:cubicBezTo>
                  <a:cubicBezTo>
                    <a:pt x="34" y="449"/>
                    <a:pt x="35" y="451"/>
                    <a:pt x="36" y="452"/>
                  </a:cubicBezTo>
                  <a:cubicBezTo>
                    <a:pt x="37" y="453"/>
                    <a:pt x="39" y="453"/>
                    <a:pt x="40" y="453"/>
                  </a:cubicBezTo>
                  <a:cubicBezTo>
                    <a:pt x="44" y="454"/>
                    <a:pt x="48" y="455"/>
                    <a:pt x="52" y="455"/>
                  </a:cubicBezTo>
                  <a:cubicBezTo>
                    <a:pt x="58" y="456"/>
                    <a:pt x="65" y="455"/>
                    <a:pt x="71" y="457"/>
                  </a:cubicBezTo>
                  <a:cubicBezTo>
                    <a:pt x="76" y="459"/>
                    <a:pt x="82" y="463"/>
                    <a:pt x="87" y="466"/>
                  </a:cubicBezTo>
                  <a:cubicBezTo>
                    <a:pt x="89" y="468"/>
                    <a:pt x="91" y="470"/>
                    <a:pt x="94" y="471"/>
                  </a:cubicBezTo>
                  <a:cubicBezTo>
                    <a:pt x="96" y="473"/>
                    <a:pt x="97" y="475"/>
                    <a:pt x="98" y="478"/>
                  </a:cubicBezTo>
                  <a:cubicBezTo>
                    <a:pt x="101" y="485"/>
                    <a:pt x="108" y="489"/>
                    <a:pt x="114" y="493"/>
                  </a:cubicBezTo>
                  <a:cubicBezTo>
                    <a:pt x="120" y="497"/>
                    <a:pt x="127" y="498"/>
                    <a:pt x="133" y="500"/>
                  </a:cubicBezTo>
                  <a:cubicBezTo>
                    <a:pt x="141" y="497"/>
                    <a:pt x="141" y="497"/>
                    <a:pt x="141" y="497"/>
                  </a:cubicBezTo>
                  <a:cubicBezTo>
                    <a:pt x="141" y="497"/>
                    <a:pt x="164" y="498"/>
                    <a:pt x="172" y="486"/>
                  </a:cubicBezTo>
                  <a:cubicBezTo>
                    <a:pt x="181" y="473"/>
                    <a:pt x="196" y="466"/>
                    <a:pt x="198" y="468"/>
                  </a:cubicBezTo>
                  <a:cubicBezTo>
                    <a:pt x="201" y="469"/>
                    <a:pt x="209" y="453"/>
                    <a:pt x="213" y="453"/>
                  </a:cubicBezTo>
                  <a:cubicBezTo>
                    <a:pt x="217" y="453"/>
                    <a:pt x="221" y="449"/>
                    <a:pt x="225" y="469"/>
                  </a:cubicBezTo>
                  <a:cubicBezTo>
                    <a:pt x="225" y="469"/>
                    <a:pt x="224" y="490"/>
                    <a:pt x="228" y="494"/>
                  </a:cubicBezTo>
                  <a:cubicBezTo>
                    <a:pt x="233" y="497"/>
                    <a:pt x="246" y="521"/>
                    <a:pt x="246" y="525"/>
                  </a:cubicBezTo>
                  <a:cubicBezTo>
                    <a:pt x="246" y="525"/>
                    <a:pt x="256" y="541"/>
                    <a:pt x="276" y="519"/>
                  </a:cubicBezTo>
                  <a:cubicBezTo>
                    <a:pt x="276" y="519"/>
                    <a:pt x="281" y="501"/>
                    <a:pt x="293" y="509"/>
                  </a:cubicBezTo>
                  <a:cubicBezTo>
                    <a:pt x="293" y="509"/>
                    <a:pt x="293" y="509"/>
                    <a:pt x="293" y="509"/>
                  </a:cubicBezTo>
                  <a:cubicBezTo>
                    <a:pt x="293" y="508"/>
                    <a:pt x="294" y="508"/>
                    <a:pt x="294" y="507"/>
                  </a:cubicBezTo>
                  <a:cubicBezTo>
                    <a:pt x="308" y="512"/>
                    <a:pt x="322" y="500"/>
                    <a:pt x="335" y="494"/>
                  </a:cubicBezTo>
                  <a:cubicBezTo>
                    <a:pt x="350" y="486"/>
                    <a:pt x="367" y="485"/>
                    <a:pt x="384" y="482"/>
                  </a:cubicBezTo>
                  <a:cubicBezTo>
                    <a:pt x="400" y="479"/>
                    <a:pt x="417" y="472"/>
                    <a:pt x="426" y="458"/>
                  </a:cubicBezTo>
                  <a:cubicBezTo>
                    <a:pt x="432" y="446"/>
                    <a:pt x="432" y="431"/>
                    <a:pt x="425" y="420"/>
                  </a:cubicBezTo>
                  <a:cubicBezTo>
                    <a:pt x="424" y="418"/>
                    <a:pt x="422" y="416"/>
                    <a:pt x="421" y="413"/>
                  </a:cubicBezTo>
                  <a:cubicBezTo>
                    <a:pt x="420" y="406"/>
                    <a:pt x="426" y="401"/>
                    <a:pt x="432" y="400"/>
                  </a:cubicBezTo>
                  <a:cubicBezTo>
                    <a:pt x="438" y="398"/>
                    <a:pt x="445" y="399"/>
                    <a:pt x="451" y="399"/>
                  </a:cubicBezTo>
                  <a:cubicBezTo>
                    <a:pt x="469" y="398"/>
                    <a:pt x="485" y="384"/>
                    <a:pt x="488" y="366"/>
                  </a:cubicBezTo>
                  <a:cubicBezTo>
                    <a:pt x="489" y="359"/>
                    <a:pt x="489" y="349"/>
                    <a:pt x="495" y="345"/>
                  </a:cubicBezTo>
                  <a:cubicBezTo>
                    <a:pt x="498" y="342"/>
                    <a:pt x="502" y="342"/>
                    <a:pt x="506" y="340"/>
                  </a:cubicBezTo>
                  <a:cubicBezTo>
                    <a:pt x="518" y="334"/>
                    <a:pt x="519" y="317"/>
                    <a:pt x="529" y="308"/>
                  </a:cubicBezTo>
                  <a:cubicBezTo>
                    <a:pt x="532" y="305"/>
                    <a:pt x="535" y="303"/>
                    <a:pt x="538" y="301"/>
                  </a:cubicBezTo>
                  <a:cubicBezTo>
                    <a:pt x="541" y="296"/>
                    <a:pt x="543" y="291"/>
                    <a:pt x="544" y="285"/>
                  </a:cubicBezTo>
                  <a:cubicBezTo>
                    <a:pt x="549" y="267"/>
                    <a:pt x="554" y="249"/>
                    <a:pt x="558" y="231"/>
                  </a:cubicBezTo>
                  <a:cubicBezTo>
                    <a:pt x="567" y="197"/>
                    <a:pt x="576" y="161"/>
                    <a:pt x="573" y="125"/>
                  </a:cubicBezTo>
                  <a:close/>
                </a:path>
              </a:pathLst>
            </a:custGeom>
            <a:solidFill>
              <a:schemeClr val="accent5"/>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66" name="Freeform 69">
              <a:extLst>
                <a:ext uri="{FF2B5EF4-FFF2-40B4-BE49-F238E27FC236}">
                  <a16:creationId xmlns:a16="http://schemas.microsoft.com/office/drawing/2014/main" id="{31F8CEB7-F705-768A-466E-F530FC3B1B63}"/>
                </a:ext>
              </a:extLst>
            </p:cNvPr>
            <p:cNvSpPr>
              <a:spLocks/>
            </p:cNvSpPr>
            <p:nvPr/>
          </p:nvSpPr>
          <p:spPr bwMode="gray">
            <a:xfrm>
              <a:off x="2245277" y="5261792"/>
              <a:ext cx="557712" cy="359090"/>
            </a:xfrm>
            <a:custGeom>
              <a:avLst/>
              <a:gdLst>
                <a:gd name="T0" fmla="*/ 417 w 417"/>
                <a:gd name="T1" fmla="*/ 36 h 258"/>
                <a:gd name="T2" fmla="*/ 389 w 417"/>
                <a:gd name="T3" fmla="*/ 26 h 258"/>
                <a:gd name="T4" fmla="*/ 334 w 417"/>
                <a:gd name="T5" fmla="*/ 36 h 258"/>
                <a:gd name="T6" fmla="*/ 316 w 417"/>
                <a:gd name="T7" fmla="*/ 36 h 258"/>
                <a:gd name="T8" fmla="*/ 298 w 417"/>
                <a:gd name="T9" fmla="*/ 21 h 258"/>
                <a:gd name="T10" fmla="*/ 219 w 417"/>
                <a:gd name="T11" fmla="*/ 17 h 258"/>
                <a:gd name="T12" fmla="*/ 196 w 417"/>
                <a:gd name="T13" fmla="*/ 33 h 258"/>
                <a:gd name="T14" fmla="*/ 180 w 417"/>
                <a:gd name="T15" fmla="*/ 19 h 258"/>
                <a:gd name="T16" fmla="*/ 171 w 417"/>
                <a:gd name="T17" fmla="*/ 17 h 258"/>
                <a:gd name="T18" fmla="*/ 169 w 417"/>
                <a:gd name="T19" fmla="*/ 18 h 258"/>
                <a:gd name="T20" fmla="*/ 164 w 417"/>
                <a:gd name="T21" fmla="*/ 26 h 258"/>
                <a:gd name="T22" fmla="*/ 163 w 417"/>
                <a:gd name="T23" fmla="*/ 28 h 258"/>
                <a:gd name="T24" fmla="*/ 160 w 417"/>
                <a:gd name="T25" fmla="*/ 31 h 258"/>
                <a:gd name="T26" fmla="*/ 144 w 417"/>
                <a:gd name="T27" fmla="*/ 42 h 258"/>
                <a:gd name="T28" fmla="*/ 112 w 417"/>
                <a:gd name="T29" fmla="*/ 46 h 258"/>
                <a:gd name="T30" fmla="*/ 88 w 417"/>
                <a:gd name="T31" fmla="*/ 74 h 258"/>
                <a:gd name="T32" fmla="*/ 60 w 417"/>
                <a:gd name="T33" fmla="*/ 58 h 258"/>
                <a:gd name="T34" fmla="*/ 44 w 417"/>
                <a:gd name="T35" fmla="*/ 66 h 258"/>
                <a:gd name="T36" fmla="*/ 29 w 417"/>
                <a:gd name="T37" fmla="*/ 69 h 258"/>
                <a:gd name="T38" fmla="*/ 27 w 417"/>
                <a:gd name="T39" fmla="*/ 72 h 258"/>
                <a:gd name="T40" fmla="*/ 13 w 417"/>
                <a:gd name="T41" fmla="*/ 85 h 258"/>
                <a:gd name="T42" fmla="*/ 0 w 417"/>
                <a:gd name="T43" fmla="*/ 136 h 258"/>
                <a:gd name="T44" fmla="*/ 12 w 417"/>
                <a:gd name="T45" fmla="*/ 170 h 258"/>
                <a:gd name="T46" fmla="*/ 48 w 417"/>
                <a:gd name="T47" fmla="*/ 186 h 258"/>
                <a:gd name="T48" fmla="*/ 35 w 417"/>
                <a:gd name="T49" fmla="*/ 211 h 258"/>
                <a:gd name="T50" fmla="*/ 25 w 417"/>
                <a:gd name="T51" fmla="*/ 223 h 258"/>
                <a:gd name="T52" fmla="*/ 24 w 417"/>
                <a:gd name="T53" fmla="*/ 230 h 258"/>
                <a:gd name="T54" fmla="*/ 33 w 417"/>
                <a:gd name="T55" fmla="*/ 233 h 258"/>
                <a:gd name="T56" fmla="*/ 57 w 417"/>
                <a:gd name="T57" fmla="*/ 234 h 258"/>
                <a:gd name="T58" fmla="*/ 75 w 417"/>
                <a:gd name="T59" fmla="*/ 234 h 258"/>
                <a:gd name="T60" fmla="*/ 98 w 417"/>
                <a:gd name="T61" fmla="*/ 233 h 258"/>
                <a:gd name="T62" fmla="*/ 120 w 417"/>
                <a:gd name="T63" fmla="*/ 238 h 258"/>
                <a:gd name="T64" fmla="*/ 164 w 417"/>
                <a:gd name="T65" fmla="*/ 254 h 258"/>
                <a:gd name="T66" fmla="*/ 177 w 417"/>
                <a:gd name="T67" fmla="*/ 258 h 258"/>
                <a:gd name="T68" fmla="*/ 183 w 417"/>
                <a:gd name="T69" fmla="*/ 248 h 258"/>
                <a:gd name="T70" fmla="*/ 196 w 417"/>
                <a:gd name="T71" fmla="*/ 230 h 258"/>
                <a:gd name="T72" fmla="*/ 251 w 417"/>
                <a:gd name="T73" fmla="*/ 211 h 258"/>
                <a:gd name="T74" fmla="*/ 265 w 417"/>
                <a:gd name="T75" fmla="*/ 205 h 258"/>
                <a:gd name="T76" fmla="*/ 283 w 417"/>
                <a:gd name="T77" fmla="*/ 190 h 258"/>
                <a:gd name="T78" fmla="*/ 322 w 417"/>
                <a:gd name="T79" fmla="*/ 184 h 258"/>
                <a:gd name="T80" fmla="*/ 325 w 417"/>
                <a:gd name="T81" fmla="*/ 169 h 258"/>
                <a:gd name="T82" fmla="*/ 371 w 417"/>
                <a:gd name="T83" fmla="*/ 130 h 258"/>
                <a:gd name="T84" fmla="*/ 412 w 417"/>
                <a:gd name="T85" fmla="*/ 104 h 258"/>
                <a:gd name="T86" fmla="*/ 411 w 417"/>
                <a:gd name="T87" fmla="*/ 52 h 258"/>
                <a:gd name="T88" fmla="*/ 417 w 417"/>
                <a:gd name="T89" fmla="*/ 3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7" h="258">
                  <a:moveTo>
                    <a:pt x="417" y="36"/>
                  </a:moveTo>
                  <a:cubicBezTo>
                    <a:pt x="416" y="25"/>
                    <a:pt x="400" y="23"/>
                    <a:pt x="389" y="26"/>
                  </a:cubicBezTo>
                  <a:cubicBezTo>
                    <a:pt x="370" y="29"/>
                    <a:pt x="352" y="32"/>
                    <a:pt x="334" y="36"/>
                  </a:cubicBezTo>
                  <a:cubicBezTo>
                    <a:pt x="328" y="37"/>
                    <a:pt x="322" y="38"/>
                    <a:pt x="316" y="36"/>
                  </a:cubicBezTo>
                  <a:cubicBezTo>
                    <a:pt x="308" y="34"/>
                    <a:pt x="303" y="27"/>
                    <a:pt x="298" y="21"/>
                  </a:cubicBezTo>
                  <a:cubicBezTo>
                    <a:pt x="277" y="2"/>
                    <a:pt x="242" y="0"/>
                    <a:pt x="219" y="17"/>
                  </a:cubicBezTo>
                  <a:cubicBezTo>
                    <a:pt x="212" y="23"/>
                    <a:pt x="205" y="31"/>
                    <a:pt x="196" y="33"/>
                  </a:cubicBezTo>
                  <a:cubicBezTo>
                    <a:pt x="188" y="34"/>
                    <a:pt x="178" y="26"/>
                    <a:pt x="180" y="19"/>
                  </a:cubicBezTo>
                  <a:cubicBezTo>
                    <a:pt x="176" y="18"/>
                    <a:pt x="172" y="17"/>
                    <a:pt x="171" y="17"/>
                  </a:cubicBezTo>
                  <a:cubicBezTo>
                    <a:pt x="170" y="17"/>
                    <a:pt x="170" y="17"/>
                    <a:pt x="169" y="18"/>
                  </a:cubicBezTo>
                  <a:cubicBezTo>
                    <a:pt x="167" y="21"/>
                    <a:pt x="166" y="24"/>
                    <a:pt x="164" y="26"/>
                  </a:cubicBezTo>
                  <a:cubicBezTo>
                    <a:pt x="164" y="27"/>
                    <a:pt x="163" y="28"/>
                    <a:pt x="163" y="28"/>
                  </a:cubicBezTo>
                  <a:cubicBezTo>
                    <a:pt x="162" y="29"/>
                    <a:pt x="161" y="30"/>
                    <a:pt x="160" y="31"/>
                  </a:cubicBezTo>
                  <a:cubicBezTo>
                    <a:pt x="149" y="45"/>
                    <a:pt x="144" y="42"/>
                    <a:pt x="144" y="42"/>
                  </a:cubicBezTo>
                  <a:cubicBezTo>
                    <a:pt x="124" y="34"/>
                    <a:pt x="112" y="46"/>
                    <a:pt x="112" y="46"/>
                  </a:cubicBezTo>
                  <a:cubicBezTo>
                    <a:pt x="100" y="70"/>
                    <a:pt x="96" y="66"/>
                    <a:pt x="88" y="74"/>
                  </a:cubicBezTo>
                  <a:cubicBezTo>
                    <a:pt x="80" y="82"/>
                    <a:pt x="64" y="62"/>
                    <a:pt x="60" y="58"/>
                  </a:cubicBezTo>
                  <a:cubicBezTo>
                    <a:pt x="56" y="54"/>
                    <a:pt x="48" y="62"/>
                    <a:pt x="44" y="66"/>
                  </a:cubicBezTo>
                  <a:cubicBezTo>
                    <a:pt x="42" y="68"/>
                    <a:pt x="35" y="69"/>
                    <a:pt x="29" y="69"/>
                  </a:cubicBezTo>
                  <a:cubicBezTo>
                    <a:pt x="29" y="70"/>
                    <a:pt x="28" y="72"/>
                    <a:pt x="27" y="72"/>
                  </a:cubicBezTo>
                  <a:cubicBezTo>
                    <a:pt x="24" y="77"/>
                    <a:pt x="18" y="80"/>
                    <a:pt x="13" y="85"/>
                  </a:cubicBezTo>
                  <a:cubicBezTo>
                    <a:pt x="1" y="98"/>
                    <a:pt x="0" y="118"/>
                    <a:pt x="0" y="136"/>
                  </a:cubicBezTo>
                  <a:cubicBezTo>
                    <a:pt x="0" y="148"/>
                    <a:pt x="1" y="163"/>
                    <a:pt x="12" y="170"/>
                  </a:cubicBezTo>
                  <a:cubicBezTo>
                    <a:pt x="23" y="177"/>
                    <a:pt x="44" y="173"/>
                    <a:pt x="48" y="186"/>
                  </a:cubicBezTo>
                  <a:cubicBezTo>
                    <a:pt x="52" y="196"/>
                    <a:pt x="41" y="204"/>
                    <a:pt x="35" y="211"/>
                  </a:cubicBezTo>
                  <a:cubicBezTo>
                    <a:pt x="31" y="214"/>
                    <a:pt x="27" y="218"/>
                    <a:pt x="25" y="223"/>
                  </a:cubicBezTo>
                  <a:cubicBezTo>
                    <a:pt x="24" y="225"/>
                    <a:pt x="24" y="227"/>
                    <a:pt x="24" y="230"/>
                  </a:cubicBezTo>
                  <a:cubicBezTo>
                    <a:pt x="25" y="234"/>
                    <a:pt x="29" y="233"/>
                    <a:pt x="33" y="233"/>
                  </a:cubicBezTo>
                  <a:cubicBezTo>
                    <a:pt x="41" y="233"/>
                    <a:pt x="49" y="234"/>
                    <a:pt x="57" y="234"/>
                  </a:cubicBezTo>
                  <a:cubicBezTo>
                    <a:pt x="63" y="234"/>
                    <a:pt x="69" y="234"/>
                    <a:pt x="75" y="234"/>
                  </a:cubicBezTo>
                  <a:cubicBezTo>
                    <a:pt x="82" y="233"/>
                    <a:pt x="91" y="231"/>
                    <a:pt x="98" y="233"/>
                  </a:cubicBezTo>
                  <a:cubicBezTo>
                    <a:pt x="105" y="235"/>
                    <a:pt x="113" y="236"/>
                    <a:pt x="120" y="238"/>
                  </a:cubicBezTo>
                  <a:cubicBezTo>
                    <a:pt x="135" y="242"/>
                    <a:pt x="150" y="247"/>
                    <a:pt x="164" y="254"/>
                  </a:cubicBezTo>
                  <a:cubicBezTo>
                    <a:pt x="168" y="256"/>
                    <a:pt x="172" y="258"/>
                    <a:pt x="177" y="258"/>
                  </a:cubicBezTo>
                  <a:cubicBezTo>
                    <a:pt x="181" y="257"/>
                    <a:pt x="185" y="252"/>
                    <a:pt x="183" y="248"/>
                  </a:cubicBezTo>
                  <a:cubicBezTo>
                    <a:pt x="191" y="247"/>
                    <a:pt x="197" y="238"/>
                    <a:pt x="196" y="230"/>
                  </a:cubicBezTo>
                  <a:cubicBezTo>
                    <a:pt x="215" y="224"/>
                    <a:pt x="233" y="218"/>
                    <a:pt x="251" y="211"/>
                  </a:cubicBezTo>
                  <a:cubicBezTo>
                    <a:pt x="256" y="210"/>
                    <a:pt x="261" y="208"/>
                    <a:pt x="265" y="205"/>
                  </a:cubicBezTo>
                  <a:cubicBezTo>
                    <a:pt x="271" y="200"/>
                    <a:pt x="275" y="193"/>
                    <a:pt x="283" y="190"/>
                  </a:cubicBezTo>
                  <a:cubicBezTo>
                    <a:pt x="295" y="185"/>
                    <a:pt x="313" y="195"/>
                    <a:pt x="322" y="184"/>
                  </a:cubicBezTo>
                  <a:cubicBezTo>
                    <a:pt x="325" y="180"/>
                    <a:pt x="325" y="174"/>
                    <a:pt x="325" y="169"/>
                  </a:cubicBezTo>
                  <a:cubicBezTo>
                    <a:pt x="329" y="148"/>
                    <a:pt x="351" y="136"/>
                    <a:pt x="371" y="130"/>
                  </a:cubicBezTo>
                  <a:cubicBezTo>
                    <a:pt x="387" y="125"/>
                    <a:pt x="406" y="120"/>
                    <a:pt x="412" y="104"/>
                  </a:cubicBezTo>
                  <a:cubicBezTo>
                    <a:pt x="417" y="88"/>
                    <a:pt x="404" y="68"/>
                    <a:pt x="411" y="52"/>
                  </a:cubicBezTo>
                  <a:cubicBezTo>
                    <a:pt x="413" y="47"/>
                    <a:pt x="417" y="42"/>
                    <a:pt x="417" y="36"/>
                  </a:cubicBezTo>
                  <a:close/>
                </a:path>
              </a:pathLst>
            </a:custGeom>
            <a:solidFill>
              <a:schemeClr val="accent5"/>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67" name="Freeform 73">
              <a:extLst>
                <a:ext uri="{FF2B5EF4-FFF2-40B4-BE49-F238E27FC236}">
                  <a16:creationId xmlns:a16="http://schemas.microsoft.com/office/drawing/2014/main" id="{B5E4ABF3-B470-7A31-5769-C5319A76C847}"/>
                </a:ext>
              </a:extLst>
            </p:cNvPr>
            <p:cNvSpPr>
              <a:spLocks/>
            </p:cNvSpPr>
            <p:nvPr/>
          </p:nvSpPr>
          <p:spPr bwMode="gray">
            <a:xfrm>
              <a:off x="944854" y="4800179"/>
              <a:ext cx="777028" cy="538249"/>
            </a:xfrm>
            <a:custGeom>
              <a:avLst/>
              <a:gdLst>
                <a:gd name="T0" fmla="*/ 552 w 556"/>
                <a:gd name="T1" fmla="*/ 286 h 386"/>
                <a:gd name="T2" fmla="*/ 533 w 556"/>
                <a:gd name="T3" fmla="*/ 232 h 386"/>
                <a:gd name="T4" fmla="*/ 488 w 556"/>
                <a:gd name="T5" fmla="*/ 218 h 386"/>
                <a:gd name="T6" fmla="*/ 465 w 556"/>
                <a:gd name="T7" fmla="*/ 168 h 386"/>
                <a:gd name="T8" fmla="*/ 467 w 556"/>
                <a:gd name="T9" fmla="*/ 126 h 386"/>
                <a:gd name="T10" fmla="*/ 490 w 556"/>
                <a:gd name="T11" fmla="*/ 64 h 386"/>
                <a:gd name="T12" fmla="*/ 453 w 556"/>
                <a:gd name="T13" fmla="*/ 45 h 386"/>
                <a:gd name="T14" fmla="*/ 429 w 556"/>
                <a:gd name="T15" fmla="*/ 29 h 386"/>
                <a:gd name="T16" fmla="*/ 418 w 556"/>
                <a:gd name="T17" fmla="*/ 7 h 386"/>
                <a:gd name="T18" fmla="*/ 369 w 556"/>
                <a:gd name="T19" fmla="*/ 41 h 386"/>
                <a:gd name="T20" fmla="*/ 316 w 556"/>
                <a:gd name="T21" fmla="*/ 55 h 386"/>
                <a:gd name="T22" fmla="*/ 293 w 556"/>
                <a:gd name="T23" fmla="*/ 65 h 386"/>
                <a:gd name="T24" fmla="*/ 248 w 556"/>
                <a:gd name="T25" fmla="*/ 65 h 386"/>
                <a:gd name="T26" fmla="*/ 224 w 556"/>
                <a:gd name="T27" fmla="*/ 83 h 386"/>
                <a:gd name="T28" fmla="*/ 203 w 556"/>
                <a:gd name="T29" fmla="*/ 90 h 386"/>
                <a:gd name="T30" fmla="*/ 190 w 556"/>
                <a:gd name="T31" fmla="*/ 106 h 386"/>
                <a:gd name="T32" fmla="*/ 165 w 556"/>
                <a:gd name="T33" fmla="*/ 116 h 386"/>
                <a:gd name="T34" fmla="*/ 144 w 556"/>
                <a:gd name="T35" fmla="*/ 123 h 386"/>
                <a:gd name="T36" fmla="*/ 127 w 556"/>
                <a:gd name="T37" fmla="*/ 135 h 386"/>
                <a:gd name="T38" fmla="*/ 109 w 556"/>
                <a:gd name="T39" fmla="*/ 144 h 386"/>
                <a:gd name="T40" fmla="*/ 91 w 556"/>
                <a:gd name="T41" fmla="*/ 149 h 386"/>
                <a:gd name="T42" fmla="*/ 63 w 556"/>
                <a:gd name="T43" fmla="*/ 146 h 386"/>
                <a:gd name="T44" fmla="*/ 0 w 556"/>
                <a:gd name="T45" fmla="*/ 205 h 386"/>
                <a:gd name="T46" fmla="*/ 40 w 556"/>
                <a:gd name="T47" fmla="*/ 231 h 386"/>
                <a:gd name="T48" fmla="*/ 31 w 556"/>
                <a:gd name="T49" fmla="*/ 237 h 386"/>
                <a:gd name="T50" fmla="*/ 18 w 556"/>
                <a:gd name="T51" fmla="*/ 245 h 386"/>
                <a:gd name="T52" fmla="*/ 24 w 556"/>
                <a:gd name="T53" fmla="*/ 256 h 386"/>
                <a:gd name="T54" fmla="*/ 37 w 556"/>
                <a:gd name="T55" fmla="*/ 264 h 386"/>
                <a:gd name="T56" fmla="*/ 48 w 556"/>
                <a:gd name="T57" fmla="*/ 272 h 386"/>
                <a:gd name="T58" fmla="*/ 84 w 556"/>
                <a:gd name="T59" fmla="*/ 299 h 386"/>
                <a:gd name="T60" fmla="*/ 159 w 556"/>
                <a:gd name="T61" fmla="*/ 264 h 386"/>
                <a:gd name="T62" fmla="*/ 211 w 556"/>
                <a:gd name="T63" fmla="*/ 293 h 386"/>
                <a:gd name="T64" fmla="*/ 214 w 556"/>
                <a:gd name="T65" fmla="*/ 313 h 386"/>
                <a:gd name="T66" fmla="*/ 221 w 556"/>
                <a:gd name="T67" fmla="*/ 319 h 386"/>
                <a:gd name="T68" fmla="*/ 232 w 556"/>
                <a:gd name="T69" fmla="*/ 325 h 386"/>
                <a:gd name="T70" fmla="*/ 247 w 556"/>
                <a:gd name="T71" fmla="*/ 331 h 386"/>
                <a:gd name="T72" fmla="*/ 266 w 556"/>
                <a:gd name="T73" fmla="*/ 323 h 386"/>
                <a:gd name="T74" fmla="*/ 318 w 556"/>
                <a:gd name="T75" fmla="*/ 327 h 386"/>
                <a:gd name="T76" fmla="*/ 334 w 556"/>
                <a:gd name="T77" fmla="*/ 351 h 386"/>
                <a:gd name="T78" fmla="*/ 421 w 556"/>
                <a:gd name="T79" fmla="*/ 383 h 386"/>
                <a:gd name="T80" fmla="*/ 486 w 556"/>
                <a:gd name="T81" fmla="*/ 335 h 386"/>
                <a:gd name="T82" fmla="*/ 553 w 556"/>
                <a:gd name="T83" fmla="*/ 29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6" h="386">
                  <a:moveTo>
                    <a:pt x="556" y="294"/>
                  </a:moveTo>
                  <a:cubicBezTo>
                    <a:pt x="555" y="293"/>
                    <a:pt x="555" y="293"/>
                    <a:pt x="555" y="292"/>
                  </a:cubicBezTo>
                  <a:cubicBezTo>
                    <a:pt x="554" y="290"/>
                    <a:pt x="553" y="289"/>
                    <a:pt x="552" y="286"/>
                  </a:cubicBezTo>
                  <a:cubicBezTo>
                    <a:pt x="551" y="280"/>
                    <a:pt x="548" y="274"/>
                    <a:pt x="548" y="268"/>
                  </a:cubicBezTo>
                  <a:cubicBezTo>
                    <a:pt x="548" y="262"/>
                    <a:pt x="549" y="255"/>
                    <a:pt x="547" y="249"/>
                  </a:cubicBezTo>
                  <a:cubicBezTo>
                    <a:pt x="546" y="242"/>
                    <a:pt x="540" y="235"/>
                    <a:pt x="533" y="232"/>
                  </a:cubicBezTo>
                  <a:cubicBezTo>
                    <a:pt x="529" y="230"/>
                    <a:pt x="525" y="229"/>
                    <a:pt x="521" y="227"/>
                  </a:cubicBezTo>
                  <a:cubicBezTo>
                    <a:pt x="518" y="226"/>
                    <a:pt x="515" y="223"/>
                    <a:pt x="511" y="222"/>
                  </a:cubicBezTo>
                  <a:cubicBezTo>
                    <a:pt x="504" y="219"/>
                    <a:pt x="495" y="222"/>
                    <a:pt x="488" y="218"/>
                  </a:cubicBezTo>
                  <a:cubicBezTo>
                    <a:pt x="483" y="216"/>
                    <a:pt x="480" y="209"/>
                    <a:pt x="481" y="204"/>
                  </a:cubicBezTo>
                  <a:cubicBezTo>
                    <a:pt x="484" y="194"/>
                    <a:pt x="479" y="183"/>
                    <a:pt x="472" y="176"/>
                  </a:cubicBezTo>
                  <a:cubicBezTo>
                    <a:pt x="470" y="173"/>
                    <a:pt x="467" y="171"/>
                    <a:pt x="465" y="168"/>
                  </a:cubicBezTo>
                  <a:cubicBezTo>
                    <a:pt x="459" y="161"/>
                    <a:pt x="456" y="151"/>
                    <a:pt x="457" y="142"/>
                  </a:cubicBezTo>
                  <a:cubicBezTo>
                    <a:pt x="457" y="139"/>
                    <a:pt x="458" y="136"/>
                    <a:pt x="460" y="133"/>
                  </a:cubicBezTo>
                  <a:cubicBezTo>
                    <a:pt x="462" y="130"/>
                    <a:pt x="464" y="128"/>
                    <a:pt x="467" y="126"/>
                  </a:cubicBezTo>
                  <a:cubicBezTo>
                    <a:pt x="475" y="119"/>
                    <a:pt x="482" y="109"/>
                    <a:pt x="482" y="98"/>
                  </a:cubicBezTo>
                  <a:cubicBezTo>
                    <a:pt x="481" y="93"/>
                    <a:pt x="486" y="90"/>
                    <a:pt x="489" y="85"/>
                  </a:cubicBezTo>
                  <a:cubicBezTo>
                    <a:pt x="492" y="78"/>
                    <a:pt x="493" y="71"/>
                    <a:pt x="490" y="64"/>
                  </a:cubicBezTo>
                  <a:cubicBezTo>
                    <a:pt x="488" y="57"/>
                    <a:pt x="483" y="51"/>
                    <a:pt x="476" y="48"/>
                  </a:cubicBezTo>
                  <a:cubicBezTo>
                    <a:pt x="472" y="46"/>
                    <a:pt x="466" y="46"/>
                    <a:pt x="461" y="46"/>
                  </a:cubicBezTo>
                  <a:cubicBezTo>
                    <a:pt x="458" y="46"/>
                    <a:pt x="456" y="45"/>
                    <a:pt x="453" y="45"/>
                  </a:cubicBezTo>
                  <a:cubicBezTo>
                    <a:pt x="448" y="45"/>
                    <a:pt x="443" y="41"/>
                    <a:pt x="439" y="39"/>
                  </a:cubicBezTo>
                  <a:cubicBezTo>
                    <a:pt x="437" y="39"/>
                    <a:pt x="435" y="38"/>
                    <a:pt x="433" y="36"/>
                  </a:cubicBezTo>
                  <a:cubicBezTo>
                    <a:pt x="431" y="34"/>
                    <a:pt x="430" y="32"/>
                    <a:pt x="429" y="29"/>
                  </a:cubicBezTo>
                  <a:cubicBezTo>
                    <a:pt x="428" y="24"/>
                    <a:pt x="428" y="18"/>
                    <a:pt x="431" y="13"/>
                  </a:cubicBezTo>
                  <a:cubicBezTo>
                    <a:pt x="432" y="9"/>
                    <a:pt x="435" y="5"/>
                    <a:pt x="437" y="1"/>
                  </a:cubicBezTo>
                  <a:cubicBezTo>
                    <a:pt x="430" y="0"/>
                    <a:pt x="424" y="6"/>
                    <a:pt x="418" y="7"/>
                  </a:cubicBezTo>
                  <a:cubicBezTo>
                    <a:pt x="414" y="7"/>
                    <a:pt x="410" y="6"/>
                    <a:pt x="406" y="8"/>
                  </a:cubicBezTo>
                  <a:cubicBezTo>
                    <a:pt x="403" y="9"/>
                    <a:pt x="401" y="12"/>
                    <a:pt x="400" y="14"/>
                  </a:cubicBezTo>
                  <a:cubicBezTo>
                    <a:pt x="391" y="25"/>
                    <a:pt x="381" y="34"/>
                    <a:pt x="369" y="41"/>
                  </a:cubicBezTo>
                  <a:cubicBezTo>
                    <a:pt x="359" y="46"/>
                    <a:pt x="347" y="49"/>
                    <a:pt x="336" y="53"/>
                  </a:cubicBezTo>
                  <a:cubicBezTo>
                    <a:pt x="334" y="54"/>
                    <a:pt x="331" y="55"/>
                    <a:pt x="328" y="56"/>
                  </a:cubicBezTo>
                  <a:cubicBezTo>
                    <a:pt x="324" y="56"/>
                    <a:pt x="320" y="56"/>
                    <a:pt x="316" y="55"/>
                  </a:cubicBezTo>
                  <a:cubicBezTo>
                    <a:pt x="312" y="58"/>
                    <a:pt x="307" y="60"/>
                    <a:pt x="302" y="62"/>
                  </a:cubicBezTo>
                  <a:cubicBezTo>
                    <a:pt x="301" y="63"/>
                    <a:pt x="299" y="64"/>
                    <a:pt x="298" y="64"/>
                  </a:cubicBezTo>
                  <a:cubicBezTo>
                    <a:pt x="296" y="65"/>
                    <a:pt x="295" y="65"/>
                    <a:pt x="293" y="65"/>
                  </a:cubicBezTo>
                  <a:cubicBezTo>
                    <a:pt x="285" y="65"/>
                    <a:pt x="276" y="64"/>
                    <a:pt x="268" y="62"/>
                  </a:cubicBezTo>
                  <a:cubicBezTo>
                    <a:pt x="266" y="61"/>
                    <a:pt x="264" y="61"/>
                    <a:pt x="262" y="61"/>
                  </a:cubicBezTo>
                  <a:cubicBezTo>
                    <a:pt x="258" y="61"/>
                    <a:pt x="254" y="62"/>
                    <a:pt x="248" y="65"/>
                  </a:cubicBezTo>
                  <a:cubicBezTo>
                    <a:pt x="248" y="65"/>
                    <a:pt x="247" y="66"/>
                    <a:pt x="246" y="66"/>
                  </a:cubicBezTo>
                  <a:cubicBezTo>
                    <a:pt x="246" y="67"/>
                    <a:pt x="245" y="67"/>
                    <a:pt x="245" y="68"/>
                  </a:cubicBezTo>
                  <a:cubicBezTo>
                    <a:pt x="240" y="75"/>
                    <a:pt x="232" y="81"/>
                    <a:pt x="224" y="83"/>
                  </a:cubicBezTo>
                  <a:cubicBezTo>
                    <a:pt x="222" y="83"/>
                    <a:pt x="220" y="83"/>
                    <a:pt x="219" y="85"/>
                  </a:cubicBezTo>
                  <a:cubicBezTo>
                    <a:pt x="218" y="86"/>
                    <a:pt x="218" y="87"/>
                    <a:pt x="216" y="88"/>
                  </a:cubicBezTo>
                  <a:cubicBezTo>
                    <a:pt x="213" y="92"/>
                    <a:pt x="206" y="86"/>
                    <a:pt x="203" y="90"/>
                  </a:cubicBezTo>
                  <a:cubicBezTo>
                    <a:pt x="203" y="91"/>
                    <a:pt x="203" y="93"/>
                    <a:pt x="202" y="94"/>
                  </a:cubicBezTo>
                  <a:cubicBezTo>
                    <a:pt x="202" y="95"/>
                    <a:pt x="201" y="95"/>
                    <a:pt x="200" y="96"/>
                  </a:cubicBezTo>
                  <a:cubicBezTo>
                    <a:pt x="197" y="99"/>
                    <a:pt x="193" y="103"/>
                    <a:pt x="190" y="106"/>
                  </a:cubicBezTo>
                  <a:cubicBezTo>
                    <a:pt x="189" y="107"/>
                    <a:pt x="188" y="107"/>
                    <a:pt x="188" y="108"/>
                  </a:cubicBezTo>
                  <a:cubicBezTo>
                    <a:pt x="186" y="108"/>
                    <a:pt x="185" y="108"/>
                    <a:pt x="184" y="108"/>
                  </a:cubicBezTo>
                  <a:cubicBezTo>
                    <a:pt x="177" y="109"/>
                    <a:pt x="172" y="116"/>
                    <a:pt x="165" y="116"/>
                  </a:cubicBezTo>
                  <a:cubicBezTo>
                    <a:pt x="161" y="116"/>
                    <a:pt x="158" y="114"/>
                    <a:pt x="154" y="114"/>
                  </a:cubicBezTo>
                  <a:cubicBezTo>
                    <a:pt x="151" y="113"/>
                    <a:pt x="146" y="114"/>
                    <a:pt x="146" y="118"/>
                  </a:cubicBezTo>
                  <a:cubicBezTo>
                    <a:pt x="145" y="120"/>
                    <a:pt x="145" y="122"/>
                    <a:pt x="144" y="123"/>
                  </a:cubicBezTo>
                  <a:cubicBezTo>
                    <a:pt x="143" y="123"/>
                    <a:pt x="141" y="122"/>
                    <a:pt x="139" y="123"/>
                  </a:cubicBezTo>
                  <a:cubicBezTo>
                    <a:pt x="135" y="124"/>
                    <a:pt x="138" y="128"/>
                    <a:pt x="137" y="130"/>
                  </a:cubicBezTo>
                  <a:cubicBezTo>
                    <a:pt x="135" y="133"/>
                    <a:pt x="130" y="133"/>
                    <a:pt x="127" y="135"/>
                  </a:cubicBezTo>
                  <a:cubicBezTo>
                    <a:pt x="121" y="137"/>
                    <a:pt x="117" y="137"/>
                    <a:pt x="111" y="139"/>
                  </a:cubicBezTo>
                  <a:cubicBezTo>
                    <a:pt x="110" y="139"/>
                    <a:pt x="110" y="139"/>
                    <a:pt x="109" y="140"/>
                  </a:cubicBezTo>
                  <a:cubicBezTo>
                    <a:pt x="109" y="141"/>
                    <a:pt x="110" y="142"/>
                    <a:pt x="109" y="144"/>
                  </a:cubicBezTo>
                  <a:cubicBezTo>
                    <a:pt x="109" y="145"/>
                    <a:pt x="106" y="146"/>
                    <a:pt x="105" y="146"/>
                  </a:cubicBezTo>
                  <a:cubicBezTo>
                    <a:pt x="100" y="146"/>
                    <a:pt x="96" y="145"/>
                    <a:pt x="91" y="145"/>
                  </a:cubicBezTo>
                  <a:cubicBezTo>
                    <a:pt x="91" y="147"/>
                    <a:pt x="91" y="148"/>
                    <a:pt x="91" y="149"/>
                  </a:cubicBezTo>
                  <a:cubicBezTo>
                    <a:pt x="90" y="152"/>
                    <a:pt x="86" y="151"/>
                    <a:pt x="84" y="151"/>
                  </a:cubicBezTo>
                  <a:cubicBezTo>
                    <a:pt x="82" y="152"/>
                    <a:pt x="75" y="152"/>
                    <a:pt x="74" y="153"/>
                  </a:cubicBezTo>
                  <a:cubicBezTo>
                    <a:pt x="77" y="149"/>
                    <a:pt x="68" y="143"/>
                    <a:pt x="63" y="146"/>
                  </a:cubicBezTo>
                  <a:cubicBezTo>
                    <a:pt x="58" y="150"/>
                    <a:pt x="57" y="157"/>
                    <a:pt x="54" y="162"/>
                  </a:cubicBezTo>
                  <a:cubicBezTo>
                    <a:pt x="44" y="181"/>
                    <a:pt x="17" y="183"/>
                    <a:pt x="3" y="200"/>
                  </a:cubicBezTo>
                  <a:cubicBezTo>
                    <a:pt x="2" y="201"/>
                    <a:pt x="1" y="203"/>
                    <a:pt x="0" y="205"/>
                  </a:cubicBezTo>
                  <a:cubicBezTo>
                    <a:pt x="0" y="210"/>
                    <a:pt x="6" y="213"/>
                    <a:pt x="11" y="214"/>
                  </a:cubicBezTo>
                  <a:cubicBezTo>
                    <a:pt x="23" y="217"/>
                    <a:pt x="35" y="218"/>
                    <a:pt x="47" y="216"/>
                  </a:cubicBezTo>
                  <a:cubicBezTo>
                    <a:pt x="47" y="223"/>
                    <a:pt x="49" y="232"/>
                    <a:pt x="40" y="231"/>
                  </a:cubicBezTo>
                  <a:cubicBezTo>
                    <a:pt x="38" y="231"/>
                    <a:pt x="35" y="232"/>
                    <a:pt x="34" y="234"/>
                  </a:cubicBezTo>
                  <a:cubicBezTo>
                    <a:pt x="34" y="235"/>
                    <a:pt x="34" y="236"/>
                    <a:pt x="34" y="236"/>
                  </a:cubicBezTo>
                  <a:cubicBezTo>
                    <a:pt x="33" y="237"/>
                    <a:pt x="32" y="237"/>
                    <a:pt x="31" y="237"/>
                  </a:cubicBezTo>
                  <a:cubicBezTo>
                    <a:pt x="28" y="237"/>
                    <a:pt x="23" y="238"/>
                    <a:pt x="22" y="241"/>
                  </a:cubicBezTo>
                  <a:cubicBezTo>
                    <a:pt x="21" y="242"/>
                    <a:pt x="21" y="244"/>
                    <a:pt x="20" y="244"/>
                  </a:cubicBezTo>
                  <a:cubicBezTo>
                    <a:pt x="19" y="245"/>
                    <a:pt x="18" y="245"/>
                    <a:pt x="18" y="245"/>
                  </a:cubicBezTo>
                  <a:cubicBezTo>
                    <a:pt x="16" y="245"/>
                    <a:pt x="15" y="248"/>
                    <a:pt x="17" y="250"/>
                  </a:cubicBezTo>
                  <a:cubicBezTo>
                    <a:pt x="19" y="251"/>
                    <a:pt x="21" y="251"/>
                    <a:pt x="23" y="251"/>
                  </a:cubicBezTo>
                  <a:cubicBezTo>
                    <a:pt x="22" y="253"/>
                    <a:pt x="22" y="256"/>
                    <a:pt x="24" y="256"/>
                  </a:cubicBezTo>
                  <a:cubicBezTo>
                    <a:pt x="26" y="257"/>
                    <a:pt x="28" y="256"/>
                    <a:pt x="29" y="257"/>
                  </a:cubicBezTo>
                  <a:cubicBezTo>
                    <a:pt x="29" y="259"/>
                    <a:pt x="30" y="261"/>
                    <a:pt x="31" y="263"/>
                  </a:cubicBezTo>
                  <a:cubicBezTo>
                    <a:pt x="33" y="264"/>
                    <a:pt x="35" y="264"/>
                    <a:pt x="37" y="264"/>
                  </a:cubicBezTo>
                  <a:cubicBezTo>
                    <a:pt x="35" y="265"/>
                    <a:pt x="35" y="267"/>
                    <a:pt x="36" y="268"/>
                  </a:cubicBezTo>
                  <a:cubicBezTo>
                    <a:pt x="37" y="270"/>
                    <a:pt x="38" y="271"/>
                    <a:pt x="40" y="271"/>
                  </a:cubicBezTo>
                  <a:cubicBezTo>
                    <a:pt x="44" y="271"/>
                    <a:pt x="45" y="270"/>
                    <a:pt x="48" y="272"/>
                  </a:cubicBezTo>
                  <a:cubicBezTo>
                    <a:pt x="50" y="275"/>
                    <a:pt x="52" y="277"/>
                    <a:pt x="53" y="280"/>
                  </a:cubicBezTo>
                  <a:cubicBezTo>
                    <a:pt x="56" y="284"/>
                    <a:pt x="57" y="288"/>
                    <a:pt x="60" y="291"/>
                  </a:cubicBezTo>
                  <a:cubicBezTo>
                    <a:pt x="66" y="298"/>
                    <a:pt x="75" y="299"/>
                    <a:pt x="84" y="299"/>
                  </a:cubicBezTo>
                  <a:cubicBezTo>
                    <a:pt x="109" y="299"/>
                    <a:pt x="138" y="295"/>
                    <a:pt x="149" y="273"/>
                  </a:cubicBezTo>
                  <a:cubicBezTo>
                    <a:pt x="150" y="270"/>
                    <a:pt x="151" y="268"/>
                    <a:pt x="153" y="266"/>
                  </a:cubicBezTo>
                  <a:cubicBezTo>
                    <a:pt x="154" y="265"/>
                    <a:pt x="157" y="264"/>
                    <a:pt x="159" y="264"/>
                  </a:cubicBezTo>
                  <a:cubicBezTo>
                    <a:pt x="170" y="262"/>
                    <a:pt x="181" y="260"/>
                    <a:pt x="192" y="259"/>
                  </a:cubicBezTo>
                  <a:cubicBezTo>
                    <a:pt x="196" y="271"/>
                    <a:pt x="206" y="281"/>
                    <a:pt x="219" y="285"/>
                  </a:cubicBezTo>
                  <a:cubicBezTo>
                    <a:pt x="216" y="284"/>
                    <a:pt x="212" y="292"/>
                    <a:pt x="211" y="293"/>
                  </a:cubicBezTo>
                  <a:cubicBezTo>
                    <a:pt x="210" y="298"/>
                    <a:pt x="209" y="303"/>
                    <a:pt x="208" y="307"/>
                  </a:cubicBezTo>
                  <a:cubicBezTo>
                    <a:pt x="207" y="309"/>
                    <a:pt x="207" y="311"/>
                    <a:pt x="209" y="312"/>
                  </a:cubicBezTo>
                  <a:cubicBezTo>
                    <a:pt x="210" y="313"/>
                    <a:pt x="213" y="312"/>
                    <a:pt x="214" y="313"/>
                  </a:cubicBezTo>
                  <a:cubicBezTo>
                    <a:pt x="215" y="314"/>
                    <a:pt x="214" y="315"/>
                    <a:pt x="214" y="317"/>
                  </a:cubicBezTo>
                  <a:cubicBezTo>
                    <a:pt x="214" y="318"/>
                    <a:pt x="215" y="319"/>
                    <a:pt x="217" y="320"/>
                  </a:cubicBezTo>
                  <a:cubicBezTo>
                    <a:pt x="218" y="320"/>
                    <a:pt x="219" y="320"/>
                    <a:pt x="221" y="319"/>
                  </a:cubicBezTo>
                  <a:cubicBezTo>
                    <a:pt x="220" y="322"/>
                    <a:pt x="220" y="325"/>
                    <a:pt x="222" y="326"/>
                  </a:cubicBezTo>
                  <a:cubicBezTo>
                    <a:pt x="223" y="326"/>
                    <a:pt x="224" y="326"/>
                    <a:pt x="225" y="326"/>
                  </a:cubicBezTo>
                  <a:cubicBezTo>
                    <a:pt x="227" y="326"/>
                    <a:pt x="229" y="326"/>
                    <a:pt x="232" y="325"/>
                  </a:cubicBezTo>
                  <a:cubicBezTo>
                    <a:pt x="232" y="325"/>
                    <a:pt x="233" y="325"/>
                    <a:pt x="233" y="325"/>
                  </a:cubicBezTo>
                  <a:cubicBezTo>
                    <a:pt x="234" y="326"/>
                    <a:pt x="234" y="326"/>
                    <a:pt x="235" y="327"/>
                  </a:cubicBezTo>
                  <a:cubicBezTo>
                    <a:pt x="237" y="331"/>
                    <a:pt x="243" y="331"/>
                    <a:pt x="247" y="331"/>
                  </a:cubicBezTo>
                  <a:cubicBezTo>
                    <a:pt x="249" y="331"/>
                    <a:pt x="250" y="331"/>
                    <a:pt x="251" y="330"/>
                  </a:cubicBezTo>
                  <a:cubicBezTo>
                    <a:pt x="253" y="328"/>
                    <a:pt x="253" y="325"/>
                    <a:pt x="257" y="323"/>
                  </a:cubicBezTo>
                  <a:cubicBezTo>
                    <a:pt x="259" y="322"/>
                    <a:pt x="263" y="323"/>
                    <a:pt x="266" y="323"/>
                  </a:cubicBezTo>
                  <a:cubicBezTo>
                    <a:pt x="273" y="323"/>
                    <a:pt x="280" y="320"/>
                    <a:pt x="285" y="314"/>
                  </a:cubicBezTo>
                  <a:cubicBezTo>
                    <a:pt x="293" y="312"/>
                    <a:pt x="300" y="307"/>
                    <a:pt x="305" y="301"/>
                  </a:cubicBezTo>
                  <a:cubicBezTo>
                    <a:pt x="318" y="327"/>
                    <a:pt x="318" y="327"/>
                    <a:pt x="318" y="327"/>
                  </a:cubicBezTo>
                  <a:cubicBezTo>
                    <a:pt x="320" y="331"/>
                    <a:pt x="322" y="334"/>
                    <a:pt x="322" y="338"/>
                  </a:cubicBezTo>
                  <a:cubicBezTo>
                    <a:pt x="322" y="342"/>
                    <a:pt x="321" y="345"/>
                    <a:pt x="325" y="348"/>
                  </a:cubicBezTo>
                  <a:cubicBezTo>
                    <a:pt x="327" y="351"/>
                    <a:pt x="330" y="351"/>
                    <a:pt x="334" y="351"/>
                  </a:cubicBezTo>
                  <a:cubicBezTo>
                    <a:pt x="337" y="351"/>
                    <a:pt x="339" y="351"/>
                    <a:pt x="342" y="353"/>
                  </a:cubicBezTo>
                  <a:cubicBezTo>
                    <a:pt x="349" y="358"/>
                    <a:pt x="355" y="364"/>
                    <a:pt x="362" y="369"/>
                  </a:cubicBezTo>
                  <a:cubicBezTo>
                    <a:pt x="379" y="381"/>
                    <a:pt x="400" y="386"/>
                    <a:pt x="421" y="383"/>
                  </a:cubicBezTo>
                  <a:cubicBezTo>
                    <a:pt x="431" y="381"/>
                    <a:pt x="442" y="377"/>
                    <a:pt x="448" y="369"/>
                  </a:cubicBezTo>
                  <a:cubicBezTo>
                    <a:pt x="454" y="363"/>
                    <a:pt x="454" y="353"/>
                    <a:pt x="460" y="347"/>
                  </a:cubicBezTo>
                  <a:cubicBezTo>
                    <a:pt x="466" y="340"/>
                    <a:pt x="478" y="338"/>
                    <a:pt x="486" y="335"/>
                  </a:cubicBezTo>
                  <a:cubicBezTo>
                    <a:pt x="496" y="332"/>
                    <a:pt x="507" y="331"/>
                    <a:pt x="517" y="327"/>
                  </a:cubicBezTo>
                  <a:cubicBezTo>
                    <a:pt x="528" y="323"/>
                    <a:pt x="537" y="314"/>
                    <a:pt x="546" y="306"/>
                  </a:cubicBezTo>
                  <a:cubicBezTo>
                    <a:pt x="549" y="303"/>
                    <a:pt x="550" y="300"/>
                    <a:pt x="553" y="298"/>
                  </a:cubicBezTo>
                  <a:cubicBezTo>
                    <a:pt x="554" y="298"/>
                    <a:pt x="555" y="298"/>
                    <a:pt x="556" y="297"/>
                  </a:cubicBezTo>
                  <a:cubicBezTo>
                    <a:pt x="556" y="296"/>
                    <a:pt x="556" y="295"/>
                    <a:pt x="556" y="294"/>
                  </a:cubicBezTo>
                  <a:close/>
                </a:path>
              </a:pathLst>
            </a:custGeom>
            <a:solidFill>
              <a:schemeClr val="accent5"/>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68" name="Freeform 74">
              <a:extLst>
                <a:ext uri="{FF2B5EF4-FFF2-40B4-BE49-F238E27FC236}">
                  <a16:creationId xmlns:a16="http://schemas.microsoft.com/office/drawing/2014/main" id="{47E00C2E-369B-B0C2-3BFC-F3EF65B2A5FC}"/>
                </a:ext>
              </a:extLst>
            </p:cNvPr>
            <p:cNvSpPr>
              <a:spLocks/>
            </p:cNvSpPr>
            <p:nvPr/>
          </p:nvSpPr>
          <p:spPr bwMode="gray">
            <a:xfrm>
              <a:off x="807757" y="5225880"/>
              <a:ext cx="1024472" cy="720617"/>
            </a:xfrm>
            <a:custGeom>
              <a:avLst/>
              <a:gdLst>
                <a:gd name="T0" fmla="*/ 674 w 741"/>
                <a:gd name="T1" fmla="*/ 7 h 517"/>
                <a:gd name="T2" fmla="*/ 658 w 741"/>
                <a:gd name="T3" fmla="*/ 12 h 517"/>
                <a:gd name="T4" fmla="*/ 627 w 741"/>
                <a:gd name="T5" fmla="*/ 31 h 517"/>
                <a:gd name="T6" fmla="*/ 600 w 741"/>
                <a:gd name="T7" fmla="*/ 52 h 517"/>
                <a:gd name="T8" fmla="*/ 573 w 741"/>
                <a:gd name="T9" fmla="*/ 81 h 517"/>
                <a:gd name="T10" fmla="*/ 573 w 741"/>
                <a:gd name="T11" fmla="*/ 93 h 517"/>
                <a:gd name="T12" fmla="*/ 513 w 741"/>
                <a:gd name="T13" fmla="*/ 124 h 517"/>
                <a:gd name="T14" fmla="*/ 490 w 741"/>
                <a:gd name="T15" fmla="*/ 112 h 517"/>
                <a:gd name="T16" fmla="*/ 397 w 741"/>
                <a:gd name="T17" fmla="*/ 113 h 517"/>
                <a:gd name="T18" fmla="*/ 323 w 741"/>
                <a:gd name="T19" fmla="*/ 131 h 517"/>
                <a:gd name="T20" fmla="*/ 321 w 741"/>
                <a:gd name="T21" fmla="*/ 149 h 517"/>
                <a:gd name="T22" fmla="*/ 317 w 741"/>
                <a:gd name="T23" fmla="*/ 173 h 517"/>
                <a:gd name="T24" fmla="*/ 281 w 741"/>
                <a:gd name="T25" fmla="*/ 171 h 517"/>
                <a:gd name="T26" fmla="*/ 259 w 741"/>
                <a:gd name="T27" fmla="*/ 196 h 517"/>
                <a:gd name="T28" fmla="*/ 251 w 741"/>
                <a:gd name="T29" fmla="*/ 236 h 517"/>
                <a:gd name="T30" fmla="*/ 246 w 741"/>
                <a:gd name="T31" fmla="*/ 259 h 517"/>
                <a:gd name="T32" fmla="*/ 220 w 741"/>
                <a:gd name="T33" fmla="*/ 285 h 517"/>
                <a:gd name="T34" fmla="*/ 204 w 741"/>
                <a:gd name="T35" fmla="*/ 297 h 517"/>
                <a:gd name="T36" fmla="*/ 174 w 741"/>
                <a:gd name="T37" fmla="*/ 310 h 517"/>
                <a:gd name="T38" fmla="*/ 151 w 741"/>
                <a:gd name="T39" fmla="*/ 339 h 517"/>
                <a:gd name="T40" fmla="*/ 125 w 741"/>
                <a:gd name="T41" fmla="*/ 378 h 517"/>
                <a:gd name="T42" fmla="*/ 111 w 741"/>
                <a:gd name="T43" fmla="*/ 401 h 517"/>
                <a:gd name="T44" fmla="*/ 86 w 741"/>
                <a:gd name="T45" fmla="*/ 419 h 517"/>
                <a:gd name="T46" fmla="*/ 67 w 741"/>
                <a:gd name="T47" fmla="*/ 428 h 517"/>
                <a:gd name="T48" fmla="*/ 61 w 741"/>
                <a:gd name="T49" fmla="*/ 425 h 517"/>
                <a:gd name="T50" fmla="*/ 39 w 741"/>
                <a:gd name="T51" fmla="*/ 432 h 517"/>
                <a:gd name="T52" fmla="*/ 16 w 741"/>
                <a:gd name="T53" fmla="*/ 443 h 517"/>
                <a:gd name="T54" fmla="*/ 7 w 741"/>
                <a:gd name="T55" fmla="*/ 463 h 517"/>
                <a:gd name="T56" fmla="*/ 7 w 741"/>
                <a:gd name="T57" fmla="*/ 495 h 517"/>
                <a:gd name="T58" fmla="*/ 40 w 741"/>
                <a:gd name="T59" fmla="*/ 489 h 517"/>
                <a:gd name="T60" fmla="*/ 77 w 741"/>
                <a:gd name="T61" fmla="*/ 481 h 517"/>
                <a:gd name="T62" fmla="*/ 139 w 741"/>
                <a:gd name="T63" fmla="*/ 510 h 517"/>
                <a:gd name="T64" fmla="*/ 163 w 741"/>
                <a:gd name="T65" fmla="*/ 463 h 517"/>
                <a:gd name="T66" fmla="*/ 191 w 741"/>
                <a:gd name="T67" fmla="*/ 448 h 517"/>
                <a:gd name="T68" fmla="*/ 217 w 741"/>
                <a:gd name="T69" fmla="*/ 414 h 517"/>
                <a:gd name="T70" fmla="*/ 229 w 741"/>
                <a:gd name="T71" fmla="*/ 414 h 517"/>
                <a:gd name="T72" fmla="*/ 290 w 741"/>
                <a:gd name="T73" fmla="*/ 400 h 517"/>
                <a:gd name="T74" fmla="*/ 309 w 741"/>
                <a:gd name="T75" fmla="*/ 413 h 517"/>
                <a:gd name="T76" fmla="*/ 337 w 741"/>
                <a:gd name="T77" fmla="*/ 420 h 517"/>
                <a:gd name="T78" fmla="*/ 378 w 741"/>
                <a:gd name="T79" fmla="*/ 428 h 517"/>
                <a:gd name="T80" fmla="*/ 390 w 741"/>
                <a:gd name="T81" fmla="*/ 440 h 517"/>
                <a:gd name="T82" fmla="*/ 400 w 741"/>
                <a:gd name="T83" fmla="*/ 453 h 517"/>
                <a:gd name="T84" fmla="*/ 437 w 741"/>
                <a:gd name="T85" fmla="*/ 458 h 517"/>
                <a:gd name="T86" fmla="*/ 449 w 741"/>
                <a:gd name="T87" fmla="*/ 449 h 517"/>
                <a:gd name="T88" fmla="*/ 454 w 741"/>
                <a:gd name="T89" fmla="*/ 426 h 517"/>
                <a:gd name="T90" fmla="*/ 461 w 741"/>
                <a:gd name="T91" fmla="*/ 419 h 517"/>
                <a:gd name="T92" fmla="*/ 481 w 741"/>
                <a:gd name="T93" fmla="*/ 386 h 517"/>
                <a:gd name="T94" fmla="*/ 484 w 741"/>
                <a:gd name="T95" fmla="*/ 369 h 517"/>
                <a:gd name="T96" fmla="*/ 492 w 741"/>
                <a:gd name="T97" fmla="*/ 335 h 517"/>
                <a:gd name="T98" fmla="*/ 527 w 741"/>
                <a:gd name="T99" fmla="*/ 319 h 517"/>
                <a:gd name="T100" fmla="*/ 545 w 741"/>
                <a:gd name="T101" fmla="*/ 303 h 517"/>
                <a:gd name="T102" fmla="*/ 583 w 741"/>
                <a:gd name="T103" fmla="*/ 298 h 517"/>
                <a:gd name="T104" fmla="*/ 601 w 741"/>
                <a:gd name="T105" fmla="*/ 299 h 517"/>
                <a:gd name="T106" fmla="*/ 617 w 741"/>
                <a:gd name="T107" fmla="*/ 309 h 517"/>
                <a:gd name="T108" fmla="*/ 644 w 741"/>
                <a:gd name="T109" fmla="*/ 310 h 517"/>
                <a:gd name="T110" fmla="*/ 656 w 741"/>
                <a:gd name="T111" fmla="*/ 315 h 517"/>
                <a:gd name="T112" fmla="*/ 657 w 741"/>
                <a:gd name="T113" fmla="*/ 300 h 517"/>
                <a:gd name="T114" fmla="*/ 651 w 741"/>
                <a:gd name="T115" fmla="*/ 291 h 517"/>
                <a:gd name="T116" fmla="*/ 663 w 741"/>
                <a:gd name="T117" fmla="*/ 269 h 517"/>
                <a:gd name="T118" fmla="*/ 718 w 741"/>
                <a:gd name="T119" fmla="*/ 106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1" h="517">
                  <a:moveTo>
                    <a:pt x="732" y="49"/>
                  </a:moveTo>
                  <a:cubicBezTo>
                    <a:pt x="727" y="44"/>
                    <a:pt x="720" y="57"/>
                    <a:pt x="714" y="55"/>
                  </a:cubicBezTo>
                  <a:cubicBezTo>
                    <a:pt x="712" y="54"/>
                    <a:pt x="711" y="53"/>
                    <a:pt x="710" y="52"/>
                  </a:cubicBezTo>
                  <a:cubicBezTo>
                    <a:pt x="674" y="7"/>
                    <a:pt x="674" y="7"/>
                    <a:pt x="674" y="7"/>
                  </a:cubicBezTo>
                  <a:cubicBezTo>
                    <a:pt x="673" y="6"/>
                    <a:pt x="673" y="5"/>
                    <a:pt x="673" y="3"/>
                  </a:cubicBezTo>
                  <a:cubicBezTo>
                    <a:pt x="673" y="2"/>
                    <a:pt x="673" y="1"/>
                    <a:pt x="674" y="0"/>
                  </a:cubicBezTo>
                  <a:cubicBezTo>
                    <a:pt x="673" y="0"/>
                    <a:pt x="672" y="0"/>
                    <a:pt x="671" y="0"/>
                  </a:cubicBezTo>
                  <a:cubicBezTo>
                    <a:pt x="667" y="4"/>
                    <a:pt x="662" y="8"/>
                    <a:pt x="658" y="12"/>
                  </a:cubicBezTo>
                  <a:cubicBezTo>
                    <a:pt x="656" y="14"/>
                    <a:pt x="654" y="16"/>
                    <a:pt x="651" y="17"/>
                  </a:cubicBezTo>
                  <a:cubicBezTo>
                    <a:pt x="649" y="19"/>
                    <a:pt x="646" y="19"/>
                    <a:pt x="643" y="22"/>
                  </a:cubicBezTo>
                  <a:cubicBezTo>
                    <a:pt x="642" y="23"/>
                    <a:pt x="642" y="24"/>
                    <a:pt x="641" y="26"/>
                  </a:cubicBezTo>
                  <a:cubicBezTo>
                    <a:pt x="638" y="30"/>
                    <a:pt x="632" y="31"/>
                    <a:pt x="627" y="31"/>
                  </a:cubicBezTo>
                  <a:cubicBezTo>
                    <a:pt x="624" y="31"/>
                    <a:pt x="621" y="31"/>
                    <a:pt x="619" y="33"/>
                  </a:cubicBezTo>
                  <a:cubicBezTo>
                    <a:pt x="619" y="34"/>
                    <a:pt x="619" y="35"/>
                    <a:pt x="619" y="35"/>
                  </a:cubicBezTo>
                  <a:cubicBezTo>
                    <a:pt x="618" y="38"/>
                    <a:pt x="615" y="38"/>
                    <a:pt x="612" y="38"/>
                  </a:cubicBezTo>
                  <a:cubicBezTo>
                    <a:pt x="606" y="40"/>
                    <a:pt x="600" y="45"/>
                    <a:pt x="600" y="52"/>
                  </a:cubicBezTo>
                  <a:cubicBezTo>
                    <a:pt x="600" y="53"/>
                    <a:pt x="600" y="55"/>
                    <a:pt x="599" y="56"/>
                  </a:cubicBezTo>
                  <a:cubicBezTo>
                    <a:pt x="597" y="61"/>
                    <a:pt x="589" y="60"/>
                    <a:pt x="584" y="63"/>
                  </a:cubicBezTo>
                  <a:cubicBezTo>
                    <a:pt x="580" y="66"/>
                    <a:pt x="581" y="74"/>
                    <a:pt x="582" y="80"/>
                  </a:cubicBezTo>
                  <a:cubicBezTo>
                    <a:pt x="581" y="82"/>
                    <a:pt x="575" y="79"/>
                    <a:pt x="573" y="81"/>
                  </a:cubicBezTo>
                  <a:cubicBezTo>
                    <a:pt x="572" y="82"/>
                    <a:pt x="572" y="85"/>
                    <a:pt x="571" y="86"/>
                  </a:cubicBezTo>
                  <a:cubicBezTo>
                    <a:pt x="570" y="87"/>
                    <a:pt x="569" y="87"/>
                    <a:pt x="568" y="88"/>
                  </a:cubicBezTo>
                  <a:cubicBezTo>
                    <a:pt x="568" y="90"/>
                    <a:pt x="569" y="91"/>
                    <a:pt x="570" y="91"/>
                  </a:cubicBezTo>
                  <a:cubicBezTo>
                    <a:pt x="571" y="92"/>
                    <a:pt x="573" y="92"/>
                    <a:pt x="573" y="93"/>
                  </a:cubicBezTo>
                  <a:cubicBezTo>
                    <a:pt x="574" y="94"/>
                    <a:pt x="574" y="95"/>
                    <a:pt x="575" y="96"/>
                  </a:cubicBezTo>
                  <a:cubicBezTo>
                    <a:pt x="575" y="105"/>
                    <a:pt x="575" y="114"/>
                    <a:pt x="575" y="123"/>
                  </a:cubicBezTo>
                  <a:cubicBezTo>
                    <a:pt x="565" y="122"/>
                    <a:pt x="554" y="122"/>
                    <a:pt x="543" y="122"/>
                  </a:cubicBezTo>
                  <a:cubicBezTo>
                    <a:pt x="533" y="123"/>
                    <a:pt x="523" y="125"/>
                    <a:pt x="513" y="124"/>
                  </a:cubicBezTo>
                  <a:cubicBezTo>
                    <a:pt x="515" y="123"/>
                    <a:pt x="514" y="119"/>
                    <a:pt x="512" y="118"/>
                  </a:cubicBezTo>
                  <a:cubicBezTo>
                    <a:pt x="510" y="117"/>
                    <a:pt x="508" y="118"/>
                    <a:pt x="506" y="118"/>
                  </a:cubicBezTo>
                  <a:cubicBezTo>
                    <a:pt x="502" y="118"/>
                    <a:pt x="498" y="118"/>
                    <a:pt x="494" y="118"/>
                  </a:cubicBezTo>
                  <a:cubicBezTo>
                    <a:pt x="490" y="117"/>
                    <a:pt x="490" y="116"/>
                    <a:pt x="490" y="112"/>
                  </a:cubicBezTo>
                  <a:cubicBezTo>
                    <a:pt x="483" y="110"/>
                    <a:pt x="475" y="110"/>
                    <a:pt x="468" y="110"/>
                  </a:cubicBezTo>
                  <a:cubicBezTo>
                    <a:pt x="400" y="110"/>
                    <a:pt x="400" y="110"/>
                    <a:pt x="400" y="110"/>
                  </a:cubicBezTo>
                  <a:cubicBezTo>
                    <a:pt x="400" y="110"/>
                    <a:pt x="399" y="110"/>
                    <a:pt x="398" y="111"/>
                  </a:cubicBezTo>
                  <a:cubicBezTo>
                    <a:pt x="398" y="112"/>
                    <a:pt x="398" y="113"/>
                    <a:pt x="397" y="113"/>
                  </a:cubicBezTo>
                  <a:cubicBezTo>
                    <a:pt x="396" y="117"/>
                    <a:pt x="392" y="117"/>
                    <a:pt x="389" y="117"/>
                  </a:cubicBezTo>
                  <a:cubicBezTo>
                    <a:pt x="372" y="116"/>
                    <a:pt x="356" y="116"/>
                    <a:pt x="339" y="115"/>
                  </a:cubicBezTo>
                  <a:cubicBezTo>
                    <a:pt x="332" y="115"/>
                    <a:pt x="323" y="116"/>
                    <a:pt x="322" y="123"/>
                  </a:cubicBezTo>
                  <a:cubicBezTo>
                    <a:pt x="322" y="126"/>
                    <a:pt x="323" y="128"/>
                    <a:pt x="323" y="131"/>
                  </a:cubicBezTo>
                  <a:cubicBezTo>
                    <a:pt x="324" y="133"/>
                    <a:pt x="323" y="137"/>
                    <a:pt x="321" y="138"/>
                  </a:cubicBezTo>
                  <a:cubicBezTo>
                    <a:pt x="320" y="138"/>
                    <a:pt x="319" y="138"/>
                    <a:pt x="318" y="138"/>
                  </a:cubicBezTo>
                  <a:cubicBezTo>
                    <a:pt x="315" y="140"/>
                    <a:pt x="314" y="145"/>
                    <a:pt x="317" y="147"/>
                  </a:cubicBezTo>
                  <a:cubicBezTo>
                    <a:pt x="318" y="148"/>
                    <a:pt x="320" y="148"/>
                    <a:pt x="321" y="149"/>
                  </a:cubicBezTo>
                  <a:cubicBezTo>
                    <a:pt x="322" y="151"/>
                    <a:pt x="322" y="152"/>
                    <a:pt x="322" y="154"/>
                  </a:cubicBezTo>
                  <a:cubicBezTo>
                    <a:pt x="322" y="158"/>
                    <a:pt x="322" y="163"/>
                    <a:pt x="322" y="167"/>
                  </a:cubicBezTo>
                  <a:cubicBezTo>
                    <a:pt x="320" y="167"/>
                    <a:pt x="317" y="167"/>
                    <a:pt x="315" y="167"/>
                  </a:cubicBezTo>
                  <a:cubicBezTo>
                    <a:pt x="316" y="169"/>
                    <a:pt x="317" y="171"/>
                    <a:pt x="317" y="173"/>
                  </a:cubicBezTo>
                  <a:cubicBezTo>
                    <a:pt x="315" y="173"/>
                    <a:pt x="313" y="173"/>
                    <a:pt x="312" y="173"/>
                  </a:cubicBezTo>
                  <a:cubicBezTo>
                    <a:pt x="312" y="177"/>
                    <a:pt x="307" y="179"/>
                    <a:pt x="303" y="179"/>
                  </a:cubicBezTo>
                  <a:cubicBezTo>
                    <a:pt x="298" y="179"/>
                    <a:pt x="293" y="179"/>
                    <a:pt x="288" y="179"/>
                  </a:cubicBezTo>
                  <a:cubicBezTo>
                    <a:pt x="288" y="175"/>
                    <a:pt x="285" y="172"/>
                    <a:pt x="281" y="171"/>
                  </a:cubicBezTo>
                  <a:cubicBezTo>
                    <a:pt x="278" y="170"/>
                    <a:pt x="274" y="170"/>
                    <a:pt x="270" y="171"/>
                  </a:cubicBezTo>
                  <a:cubicBezTo>
                    <a:pt x="268" y="171"/>
                    <a:pt x="266" y="171"/>
                    <a:pt x="264" y="172"/>
                  </a:cubicBezTo>
                  <a:cubicBezTo>
                    <a:pt x="259" y="175"/>
                    <a:pt x="259" y="182"/>
                    <a:pt x="260" y="187"/>
                  </a:cubicBezTo>
                  <a:cubicBezTo>
                    <a:pt x="260" y="190"/>
                    <a:pt x="261" y="194"/>
                    <a:pt x="259" y="196"/>
                  </a:cubicBezTo>
                  <a:cubicBezTo>
                    <a:pt x="258" y="197"/>
                    <a:pt x="257" y="198"/>
                    <a:pt x="257" y="198"/>
                  </a:cubicBezTo>
                  <a:cubicBezTo>
                    <a:pt x="256" y="199"/>
                    <a:pt x="255" y="201"/>
                    <a:pt x="255" y="203"/>
                  </a:cubicBezTo>
                  <a:cubicBezTo>
                    <a:pt x="255" y="212"/>
                    <a:pt x="254" y="221"/>
                    <a:pt x="253" y="230"/>
                  </a:cubicBezTo>
                  <a:cubicBezTo>
                    <a:pt x="253" y="232"/>
                    <a:pt x="253" y="235"/>
                    <a:pt x="251" y="236"/>
                  </a:cubicBezTo>
                  <a:cubicBezTo>
                    <a:pt x="250" y="237"/>
                    <a:pt x="248" y="237"/>
                    <a:pt x="247" y="238"/>
                  </a:cubicBezTo>
                  <a:cubicBezTo>
                    <a:pt x="247" y="239"/>
                    <a:pt x="247" y="241"/>
                    <a:pt x="247" y="242"/>
                  </a:cubicBezTo>
                  <a:cubicBezTo>
                    <a:pt x="248" y="246"/>
                    <a:pt x="249" y="251"/>
                    <a:pt x="248" y="256"/>
                  </a:cubicBezTo>
                  <a:cubicBezTo>
                    <a:pt x="247" y="257"/>
                    <a:pt x="247" y="258"/>
                    <a:pt x="246" y="259"/>
                  </a:cubicBezTo>
                  <a:cubicBezTo>
                    <a:pt x="246" y="260"/>
                    <a:pt x="244" y="260"/>
                    <a:pt x="243" y="260"/>
                  </a:cubicBezTo>
                  <a:cubicBezTo>
                    <a:pt x="239" y="260"/>
                    <a:pt x="235" y="260"/>
                    <a:pt x="230" y="260"/>
                  </a:cubicBezTo>
                  <a:cubicBezTo>
                    <a:pt x="233" y="264"/>
                    <a:pt x="233" y="270"/>
                    <a:pt x="231" y="274"/>
                  </a:cubicBezTo>
                  <a:cubicBezTo>
                    <a:pt x="228" y="279"/>
                    <a:pt x="224" y="282"/>
                    <a:pt x="220" y="285"/>
                  </a:cubicBezTo>
                  <a:cubicBezTo>
                    <a:pt x="219" y="286"/>
                    <a:pt x="218" y="286"/>
                    <a:pt x="217" y="286"/>
                  </a:cubicBezTo>
                  <a:cubicBezTo>
                    <a:pt x="217" y="286"/>
                    <a:pt x="216" y="285"/>
                    <a:pt x="216" y="284"/>
                  </a:cubicBezTo>
                  <a:cubicBezTo>
                    <a:pt x="214" y="282"/>
                    <a:pt x="210" y="286"/>
                    <a:pt x="209" y="289"/>
                  </a:cubicBezTo>
                  <a:cubicBezTo>
                    <a:pt x="208" y="292"/>
                    <a:pt x="208" y="296"/>
                    <a:pt x="204" y="297"/>
                  </a:cubicBezTo>
                  <a:cubicBezTo>
                    <a:pt x="204" y="299"/>
                    <a:pt x="205" y="301"/>
                    <a:pt x="205" y="303"/>
                  </a:cubicBezTo>
                  <a:cubicBezTo>
                    <a:pt x="206" y="306"/>
                    <a:pt x="205" y="309"/>
                    <a:pt x="203" y="309"/>
                  </a:cubicBezTo>
                  <a:cubicBezTo>
                    <a:pt x="202" y="309"/>
                    <a:pt x="201" y="309"/>
                    <a:pt x="200" y="309"/>
                  </a:cubicBezTo>
                  <a:cubicBezTo>
                    <a:pt x="192" y="306"/>
                    <a:pt x="182" y="306"/>
                    <a:pt x="174" y="310"/>
                  </a:cubicBezTo>
                  <a:cubicBezTo>
                    <a:pt x="171" y="313"/>
                    <a:pt x="175" y="320"/>
                    <a:pt x="171" y="322"/>
                  </a:cubicBezTo>
                  <a:cubicBezTo>
                    <a:pt x="170" y="323"/>
                    <a:pt x="169" y="323"/>
                    <a:pt x="167" y="323"/>
                  </a:cubicBezTo>
                  <a:cubicBezTo>
                    <a:pt x="161" y="323"/>
                    <a:pt x="154" y="323"/>
                    <a:pt x="148" y="323"/>
                  </a:cubicBezTo>
                  <a:cubicBezTo>
                    <a:pt x="145" y="328"/>
                    <a:pt x="150" y="334"/>
                    <a:pt x="151" y="339"/>
                  </a:cubicBezTo>
                  <a:cubicBezTo>
                    <a:pt x="151" y="349"/>
                    <a:pt x="139" y="358"/>
                    <a:pt x="142" y="367"/>
                  </a:cubicBezTo>
                  <a:cubicBezTo>
                    <a:pt x="138" y="369"/>
                    <a:pt x="133" y="370"/>
                    <a:pt x="128" y="372"/>
                  </a:cubicBezTo>
                  <a:cubicBezTo>
                    <a:pt x="128" y="372"/>
                    <a:pt x="127" y="373"/>
                    <a:pt x="126" y="373"/>
                  </a:cubicBezTo>
                  <a:cubicBezTo>
                    <a:pt x="125" y="375"/>
                    <a:pt x="125" y="376"/>
                    <a:pt x="125" y="378"/>
                  </a:cubicBezTo>
                  <a:cubicBezTo>
                    <a:pt x="124" y="384"/>
                    <a:pt x="116" y="383"/>
                    <a:pt x="118" y="389"/>
                  </a:cubicBezTo>
                  <a:cubicBezTo>
                    <a:pt x="118" y="391"/>
                    <a:pt x="118" y="392"/>
                    <a:pt x="118" y="394"/>
                  </a:cubicBezTo>
                  <a:cubicBezTo>
                    <a:pt x="117" y="395"/>
                    <a:pt x="115" y="396"/>
                    <a:pt x="114" y="395"/>
                  </a:cubicBezTo>
                  <a:cubicBezTo>
                    <a:pt x="115" y="397"/>
                    <a:pt x="113" y="400"/>
                    <a:pt x="111" y="401"/>
                  </a:cubicBezTo>
                  <a:cubicBezTo>
                    <a:pt x="109" y="401"/>
                    <a:pt x="106" y="400"/>
                    <a:pt x="105" y="402"/>
                  </a:cubicBezTo>
                  <a:cubicBezTo>
                    <a:pt x="104" y="404"/>
                    <a:pt x="106" y="406"/>
                    <a:pt x="105" y="408"/>
                  </a:cubicBezTo>
                  <a:cubicBezTo>
                    <a:pt x="104" y="409"/>
                    <a:pt x="101" y="409"/>
                    <a:pt x="99" y="410"/>
                  </a:cubicBezTo>
                  <a:cubicBezTo>
                    <a:pt x="95" y="413"/>
                    <a:pt x="91" y="418"/>
                    <a:pt x="86" y="419"/>
                  </a:cubicBezTo>
                  <a:cubicBezTo>
                    <a:pt x="85" y="419"/>
                    <a:pt x="83" y="419"/>
                    <a:pt x="81" y="420"/>
                  </a:cubicBezTo>
                  <a:cubicBezTo>
                    <a:pt x="80" y="421"/>
                    <a:pt x="80" y="423"/>
                    <a:pt x="78" y="424"/>
                  </a:cubicBezTo>
                  <a:cubicBezTo>
                    <a:pt x="77" y="425"/>
                    <a:pt x="75" y="425"/>
                    <a:pt x="73" y="425"/>
                  </a:cubicBezTo>
                  <a:cubicBezTo>
                    <a:pt x="71" y="425"/>
                    <a:pt x="68" y="426"/>
                    <a:pt x="67" y="428"/>
                  </a:cubicBezTo>
                  <a:cubicBezTo>
                    <a:pt x="67" y="429"/>
                    <a:pt x="67" y="431"/>
                    <a:pt x="66" y="432"/>
                  </a:cubicBezTo>
                  <a:cubicBezTo>
                    <a:pt x="64" y="432"/>
                    <a:pt x="64" y="430"/>
                    <a:pt x="64" y="429"/>
                  </a:cubicBezTo>
                  <a:cubicBezTo>
                    <a:pt x="64" y="428"/>
                    <a:pt x="64" y="426"/>
                    <a:pt x="63" y="425"/>
                  </a:cubicBezTo>
                  <a:cubicBezTo>
                    <a:pt x="62" y="425"/>
                    <a:pt x="61" y="425"/>
                    <a:pt x="61" y="425"/>
                  </a:cubicBezTo>
                  <a:cubicBezTo>
                    <a:pt x="57" y="425"/>
                    <a:pt x="52" y="426"/>
                    <a:pt x="48" y="426"/>
                  </a:cubicBezTo>
                  <a:cubicBezTo>
                    <a:pt x="47" y="426"/>
                    <a:pt x="47" y="426"/>
                    <a:pt x="46" y="427"/>
                  </a:cubicBezTo>
                  <a:cubicBezTo>
                    <a:pt x="46" y="427"/>
                    <a:pt x="46" y="428"/>
                    <a:pt x="46" y="429"/>
                  </a:cubicBezTo>
                  <a:cubicBezTo>
                    <a:pt x="45" y="432"/>
                    <a:pt x="41" y="432"/>
                    <a:pt x="39" y="432"/>
                  </a:cubicBezTo>
                  <a:cubicBezTo>
                    <a:pt x="36" y="431"/>
                    <a:pt x="33" y="430"/>
                    <a:pt x="30" y="432"/>
                  </a:cubicBezTo>
                  <a:cubicBezTo>
                    <a:pt x="28" y="434"/>
                    <a:pt x="27" y="438"/>
                    <a:pt x="24" y="439"/>
                  </a:cubicBezTo>
                  <a:cubicBezTo>
                    <a:pt x="22" y="439"/>
                    <a:pt x="20" y="438"/>
                    <a:pt x="19" y="439"/>
                  </a:cubicBezTo>
                  <a:cubicBezTo>
                    <a:pt x="20" y="441"/>
                    <a:pt x="17" y="443"/>
                    <a:pt x="16" y="443"/>
                  </a:cubicBezTo>
                  <a:cubicBezTo>
                    <a:pt x="15" y="444"/>
                    <a:pt x="13" y="443"/>
                    <a:pt x="12" y="444"/>
                  </a:cubicBezTo>
                  <a:cubicBezTo>
                    <a:pt x="10" y="445"/>
                    <a:pt x="11" y="449"/>
                    <a:pt x="11" y="451"/>
                  </a:cubicBezTo>
                  <a:cubicBezTo>
                    <a:pt x="10" y="454"/>
                    <a:pt x="8" y="457"/>
                    <a:pt x="5" y="458"/>
                  </a:cubicBezTo>
                  <a:cubicBezTo>
                    <a:pt x="7" y="459"/>
                    <a:pt x="7" y="461"/>
                    <a:pt x="7" y="463"/>
                  </a:cubicBezTo>
                  <a:cubicBezTo>
                    <a:pt x="6" y="465"/>
                    <a:pt x="5" y="466"/>
                    <a:pt x="4" y="468"/>
                  </a:cubicBezTo>
                  <a:cubicBezTo>
                    <a:pt x="0" y="474"/>
                    <a:pt x="0" y="481"/>
                    <a:pt x="1" y="488"/>
                  </a:cubicBezTo>
                  <a:cubicBezTo>
                    <a:pt x="1" y="490"/>
                    <a:pt x="1" y="492"/>
                    <a:pt x="2" y="494"/>
                  </a:cubicBezTo>
                  <a:cubicBezTo>
                    <a:pt x="3" y="496"/>
                    <a:pt x="6" y="496"/>
                    <a:pt x="7" y="495"/>
                  </a:cubicBezTo>
                  <a:cubicBezTo>
                    <a:pt x="8" y="500"/>
                    <a:pt x="15" y="501"/>
                    <a:pt x="20" y="500"/>
                  </a:cubicBezTo>
                  <a:cubicBezTo>
                    <a:pt x="21" y="499"/>
                    <a:pt x="22" y="496"/>
                    <a:pt x="21" y="494"/>
                  </a:cubicBezTo>
                  <a:cubicBezTo>
                    <a:pt x="25" y="493"/>
                    <a:pt x="29" y="495"/>
                    <a:pt x="33" y="495"/>
                  </a:cubicBezTo>
                  <a:cubicBezTo>
                    <a:pt x="37" y="496"/>
                    <a:pt x="42" y="492"/>
                    <a:pt x="40" y="489"/>
                  </a:cubicBezTo>
                  <a:cubicBezTo>
                    <a:pt x="43" y="486"/>
                    <a:pt x="48" y="490"/>
                    <a:pt x="51" y="487"/>
                  </a:cubicBezTo>
                  <a:cubicBezTo>
                    <a:pt x="52" y="487"/>
                    <a:pt x="52" y="486"/>
                    <a:pt x="52" y="485"/>
                  </a:cubicBezTo>
                  <a:cubicBezTo>
                    <a:pt x="53" y="477"/>
                    <a:pt x="49" y="469"/>
                    <a:pt x="58" y="470"/>
                  </a:cubicBezTo>
                  <a:cubicBezTo>
                    <a:pt x="65" y="471"/>
                    <a:pt x="72" y="478"/>
                    <a:pt x="77" y="481"/>
                  </a:cubicBezTo>
                  <a:cubicBezTo>
                    <a:pt x="79" y="483"/>
                    <a:pt x="81" y="485"/>
                    <a:pt x="83" y="487"/>
                  </a:cubicBezTo>
                  <a:cubicBezTo>
                    <a:pt x="91" y="496"/>
                    <a:pt x="89" y="515"/>
                    <a:pt x="103" y="516"/>
                  </a:cubicBezTo>
                  <a:cubicBezTo>
                    <a:pt x="111" y="517"/>
                    <a:pt x="118" y="515"/>
                    <a:pt x="125" y="514"/>
                  </a:cubicBezTo>
                  <a:cubicBezTo>
                    <a:pt x="129" y="513"/>
                    <a:pt x="136" y="513"/>
                    <a:pt x="139" y="510"/>
                  </a:cubicBezTo>
                  <a:cubicBezTo>
                    <a:pt x="142" y="507"/>
                    <a:pt x="143" y="501"/>
                    <a:pt x="144" y="497"/>
                  </a:cubicBezTo>
                  <a:cubicBezTo>
                    <a:pt x="146" y="490"/>
                    <a:pt x="144" y="477"/>
                    <a:pt x="148" y="472"/>
                  </a:cubicBezTo>
                  <a:cubicBezTo>
                    <a:pt x="151" y="468"/>
                    <a:pt x="160" y="472"/>
                    <a:pt x="162" y="468"/>
                  </a:cubicBezTo>
                  <a:cubicBezTo>
                    <a:pt x="162" y="467"/>
                    <a:pt x="162" y="465"/>
                    <a:pt x="163" y="463"/>
                  </a:cubicBezTo>
                  <a:cubicBezTo>
                    <a:pt x="164" y="462"/>
                    <a:pt x="167" y="463"/>
                    <a:pt x="169" y="463"/>
                  </a:cubicBezTo>
                  <a:cubicBezTo>
                    <a:pt x="174" y="463"/>
                    <a:pt x="176" y="456"/>
                    <a:pt x="173" y="453"/>
                  </a:cubicBezTo>
                  <a:cubicBezTo>
                    <a:pt x="178" y="452"/>
                    <a:pt x="183" y="450"/>
                    <a:pt x="188" y="449"/>
                  </a:cubicBezTo>
                  <a:cubicBezTo>
                    <a:pt x="189" y="448"/>
                    <a:pt x="190" y="448"/>
                    <a:pt x="191" y="448"/>
                  </a:cubicBezTo>
                  <a:cubicBezTo>
                    <a:pt x="196" y="446"/>
                    <a:pt x="201" y="445"/>
                    <a:pt x="206" y="443"/>
                  </a:cubicBezTo>
                  <a:cubicBezTo>
                    <a:pt x="208" y="442"/>
                    <a:pt x="211" y="441"/>
                    <a:pt x="211" y="438"/>
                  </a:cubicBezTo>
                  <a:cubicBezTo>
                    <a:pt x="213" y="438"/>
                    <a:pt x="215" y="438"/>
                    <a:pt x="217" y="437"/>
                  </a:cubicBezTo>
                  <a:cubicBezTo>
                    <a:pt x="217" y="430"/>
                    <a:pt x="217" y="422"/>
                    <a:pt x="217" y="414"/>
                  </a:cubicBezTo>
                  <a:cubicBezTo>
                    <a:pt x="217" y="412"/>
                    <a:pt x="217" y="410"/>
                    <a:pt x="218" y="408"/>
                  </a:cubicBezTo>
                  <a:cubicBezTo>
                    <a:pt x="220" y="407"/>
                    <a:pt x="222" y="406"/>
                    <a:pt x="223" y="408"/>
                  </a:cubicBezTo>
                  <a:cubicBezTo>
                    <a:pt x="224" y="409"/>
                    <a:pt x="224" y="411"/>
                    <a:pt x="224" y="412"/>
                  </a:cubicBezTo>
                  <a:cubicBezTo>
                    <a:pt x="225" y="414"/>
                    <a:pt x="227" y="414"/>
                    <a:pt x="229" y="414"/>
                  </a:cubicBezTo>
                  <a:cubicBezTo>
                    <a:pt x="245" y="414"/>
                    <a:pt x="260" y="414"/>
                    <a:pt x="276" y="415"/>
                  </a:cubicBezTo>
                  <a:cubicBezTo>
                    <a:pt x="278" y="415"/>
                    <a:pt x="279" y="414"/>
                    <a:pt x="280" y="413"/>
                  </a:cubicBezTo>
                  <a:cubicBezTo>
                    <a:pt x="281" y="412"/>
                    <a:pt x="280" y="410"/>
                    <a:pt x="279" y="409"/>
                  </a:cubicBezTo>
                  <a:cubicBezTo>
                    <a:pt x="278" y="404"/>
                    <a:pt x="284" y="400"/>
                    <a:pt x="290" y="400"/>
                  </a:cubicBezTo>
                  <a:cubicBezTo>
                    <a:pt x="295" y="400"/>
                    <a:pt x="300" y="403"/>
                    <a:pt x="306" y="402"/>
                  </a:cubicBezTo>
                  <a:cubicBezTo>
                    <a:pt x="303" y="404"/>
                    <a:pt x="304" y="409"/>
                    <a:pt x="307" y="409"/>
                  </a:cubicBezTo>
                  <a:cubicBezTo>
                    <a:pt x="308" y="409"/>
                    <a:pt x="309" y="409"/>
                    <a:pt x="309" y="410"/>
                  </a:cubicBezTo>
                  <a:cubicBezTo>
                    <a:pt x="310" y="410"/>
                    <a:pt x="309" y="412"/>
                    <a:pt x="309" y="413"/>
                  </a:cubicBezTo>
                  <a:cubicBezTo>
                    <a:pt x="310" y="415"/>
                    <a:pt x="313" y="415"/>
                    <a:pt x="315" y="415"/>
                  </a:cubicBezTo>
                  <a:cubicBezTo>
                    <a:pt x="314" y="418"/>
                    <a:pt x="316" y="421"/>
                    <a:pt x="319" y="421"/>
                  </a:cubicBezTo>
                  <a:cubicBezTo>
                    <a:pt x="320" y="422"/>
                    <a:pt x="321" y="421"/>
                    <a:pt x="323" y="421"/>
                  </a:cubicBezTo>
                  <a:cubicBezTo>
                    <a:pt x="328" y="420"/>
                    <a:pt x="333" y="420"/>
                    <a:pt x="337" y="420"/>
                  </a:cubicBezTo>
                  <a:cubicBezTo>
                    <a:pt x="339" y="421"/>
                    <a:pt x="341" y="421"/>
                    <a:pt x="341" y="422"/>
                  </a:cubicBezTo>
                  <a:cubicBezTo>
                    <a:pt x="342" y="423"/>
                    <a:pt x="342" y="424"/>
                    <a:pt x="342" y="424"/>
                  </a:cubicBezTo>
                  <a:cubicBezTo>
                    <a:pt x="342" y="425"/>
                    <a:pt x="344" y="425"/>
                    <a:pt x="345" y="426"/>
                  </a:cubicBezTo>
                  <a:cubicBezTo>
                    <a:pt x="356" y="426"/>
                    <a:pt x="367" y="427"/>
                    <a:pt x="378" y="428"/>
                  </a:cubicBezTo>
                  <a:cubicBezTo>
                    <a:pt x="377" y="430"/>
                    <a:pt x="378" y="432"/>
                    <a:pt x="381" y="433"/>
                  </a:cubicBezTo>
                  <a:cubicBezTo>
                    <a:pt x="382" y="433"/>
                    <a:pt x="383" y="433"/>
                    <a:pt x="384" y="434"/>
                  </a:cubicBezTo>
                  <a:cubicBezTo>
                    <a:pt x="384" y="435"/>
                    <a:pt x="384" y="436"/>
                    <a:pt x="384" y="437"/>
                  </a:cubicBezTo>
                  <a:cubicBezTo>
                    <a:pt x="385" y="439"/>
                    <a:pt x="387" y="440"/>
                    <a:pt x="390" y="440"/>
                  </a:cubicBezTo>
                  <a:cubicBezTo>
                    <a:pt x="390" y="442"/>
                    <a:pt x="390" y="444"/>
                    <a:pt x="391" y="445"/>
                  </a:cubicBezTo>
                  <a:cubicBezTo>
                    <a:pt x="393" y="447"/>
                    <a:pt x="395" y="447"/>
                    <a:pt x="396" y="446"/>
                  </a:cubicBezTo>
                  <a:cubicBezTo>
                    <a:pt x="397" y="447"/>
                    <a:pt x="397" y="449"/>
                    <a:pt x="397" y="450"/>
                  </a:cubicBezTo>
                  <a:cubicBezTo>
                    <a:pt x="397" y="451"/>
                    <a:pt x="398" y="453"/>
                    <a:pt x="400" y="453"/>
                  </a:cubicBezTo>
                  <a:cubicBezTo>
                    <a:pt x="401" y="453"/>
                    <a:pt x="402" y="452"/>
                    <a:pt x="403" y="453"/>
                  </a:cubicBezTo>
                  <a:cubicBezTo>
                    <a:pt x="403" y="453"/>
                    <a:pt x="403" y="454"/>
                    <a:pt x="403" y="454"/>
                  </a:cubicBezTo>
                  <a:cubicBezTo>
                    <a:pt x="403" y="457"/>
                    <a:pt x="406" y="458"/>
                    <a:pt x="409" y="458"/>
                  </a:cubicBezTo>
                  <a:cubicBezTo>
                    <a:pt x="418" y="458"/>
                    <a:pt x="427" y="458"/>
                    <a:pt x="437" y="458"/>
                  </a:cubicBezTo>
                  <a:cubicBezTo>
                    <a:pt x="436" y="456"/>
                    <a:pt x="435" y="454"/>
                    <a:pt x="436" y="453"/>
                  </a:cubicBezTo>
                  <a:cubicBezTo>
                    <a:pt x="437" y="452"/>
                    <a:pt x="438" y="452"/>
                    <a:pt x="438" y="452"/>
                  </a:cubicBezTo>
                  <a:cubicBezTo>
                    <a:pt x="440" y="452"/>
                    <a:pt x="442" y="452"/>
                    <a:pt x="444" y="452"/>
                  </a:cubicBezTo>
                  <a:cubicBezTo>
                    <a:pt x="446" y="452"/>
                    <a:pt x="448" y="451"/>
                    <a:pt x="449" y="449"/>
                  </a:cubicBezTo>
                  <a:cubicBezTo>
                    <a:pt x="449" y="446"/>
                    <a:pt x="446" y="444"/>
                    <a:pt x="447" y="441"/>
                  </a:cubicBezTo>
                  <a:cubicBezTo>
                    <a:pt x="448" y="439"/>
                    <a:pt x="451" y="439"/>
                    <a:pt x="452" y="437"/>
                  </a:cubicBezTo>
                  <a:cubicBezTo>
                    <a:pt x="453" y="435"/>
                    <a:pt x="453" y="433"/>
                    <a:pt x="452" y="431"/>
                  </a:cubicBezTo>
                  <a:cubicBezTo>
                    <a:pt x="452" y="429"/>
                    <a:pt x="452" y="427"/>
                    <a:pt x="454" y="426"/>
                  </a:cubicBezTo>
                  <a:cubicBezTo>
                    <a:pt x="455" y="426"/>
                    <a:pt x="456" y="426"/>
                    <a:pt x="457" y="426"/>
                  </a:cubicBezTo>
                  <a:cubicBezTo>
                    <a:pt x="459" y="425"/>
                    <a:pt x="459" y="423"/>
                    <a:pt x="459" y="421"/>
                  </a:cubicBezTo>
                  <a:cubicBezTo>
                    <a:pt x="459" y="420"/>
                    <a:pt x="459" y="420"/>
                    <a:pt x="459" y="419"/>
                  </a:cubicBezTo>
                  <a:cubicBezTo>
                    <a:pt x="460" y="419"/>
                    <a:pt x="460" y="419"/>
                    <a:pt x="461" y="419"/>
                  </a:cubicBezTo>
                  <a:cubicBezTo>
                    <a:pt x="463" y="418"/>
                    <a:pt x="467" y="418"/>
                    <a:pt x="468" y="415"/>
                  </a:cubicBezTo>
                  <a:cubicBezTo>
                    <a:pt x="467" y="412"/>
                    <a:pt x="469" y="408"/>
                    <a:pt x="472" y="405"/>
                  </a:cubicBezTo>
                  <a:cubicBezTo>
                    <a:pt x="474" y="402"/>
                    <a:pt x="478" y="400"/>
                    <a:pt x="480" y="397"/>
                  </a:cubicBezTo>
                  <a:cubicBezTo>
                    <a:pt x="482" y="394"/>
                    <a:pt x="483" y="389"/>
                    <a:pt x="481" y="386"/>
                  </a:cubicBezTo>
                  <a:cubicBezTo>
                    <a:pt x="479" y="383"/>
                    <a:pt x="475" y="383"/>
                    <a:pt x="471" y="383"/>
                  </a:cubicBezTo>
                  <a:cubicBezTo>
                    <a:pt x="469" y="381"/>
                    <a:pt x="472" y="378"/>
                    <a:pt x="474" y="377"/>
                  </a:cubicBezTo>
                  <a:cubicBezTo>
                    <a:pt x="477" y="377"/>
                    <a:pt x="480" y="378"/>
                    <a:pt x="482" y="376"/>
                  </a:cubicBezTo>
                  <a:cubicBezTo>
                    <a:pt x="484" y="375"/>
                    <a:pt x="484" y="371"/>
                    <a:pt x="484" y="369"/>
                  </a:cubicBezTo>
                  <a:cubicBezTo>
                    <a:pt x="484" y="363"/>
                    <a:pt x="484" y="357"/>
                    <a:pt x="484" y="351"/>
                  </a:cubicBezTo>
                  <a:cubicBezTo>
                    <a:pt x="484" y="347"/>
                    <a:pt x="484" y="343"/>
                    <a:pt x="487" y="341"/>
                  </a:cubicBezTo>
                  <a:cubicBezTo>
                    <a:pt x="488" y="340"/>
                    <a:pt x="489" y="339"/>
                    <a:pt x="490" y="338"/>
                  </a:cubicBezTo>
                  <a:cubicBezTo>
                    <a:pt x="491" y="338"/>
                    <a:pt x="491" y="336"/>
                    <a:pt x="492" y="335"/>
                  </a:cubicBezTo>
                  <a:cubicBezTo>
                    <a:pt x="496" y="330"/>
                    <a:pt x="503" y="328"/>
                    <a:pt x="509" y="327"/>
                  </a:cubicBezTo>
                  <a:cubicBezTo>
                    <a:pt x="511" y="327"/>
                    <a:pt x="512" y="327"/>
                    <a:pt x="513" y="327"/>
                  </a:cubicBezTo>
                  <a:cubicBezTo>
                    <a:pt x="514" y="326"/>
                    <a:pt x="515" y="324"/>
                    <a:pt x="516" y="323"/>
                  </a:cubicBezTo>
                  <a:cubicBezTo>
                    <a:pt x="519" y="320"/>
                    <a:pt x="525" y="323"/>
                    <a:pt x="527" y="319"/>
                  </a:cubicBezTo>
                  <a:cubicBezTo>
                    <a:pt x="529" y="316"/>
                    <a:pt x="525" y="312"/>
                    <a:pt x="527" y="309"/>
                  </a:cubicBezTo>
                  <a:cubicBezTo>
                    <a:pt x="532" y="309"/>
                    <a:pt x="537" y="308"/>
                    <a:pt x="543" y="307"/>
                  </a:cubicBezTo>
                  <a:cubicBezTo>
                    <a:pt x="544" y="307"/>
                    <a:pt x="546" y="307"/>
                    <a:pt x="546" y="305"/>
                  </a:cubicBezTo>
                  <a:cubicBezTo>
                    <a:pt x="546" y="304"/>
                    <a:pt x="545" y="303"/>
                    <a:pt x="545" y="303"/>
                  </a:cubicBezTo>
                  <a:cubicBezTo>
                    <a:pt x="546" y="302"/>
                    <a:pt x="547" y="301"/>
                    <a:pt x="548" y="301"/>
                  </a:cubicBezTo>
                  <a:cubicBezTo>
                    <a:pt x="558" y="302"/>
                    <a:pt x="569" y="302"/>
                    <a:pt x="579" y="302"/>
                  </a:cubicBezTo>
                  <a:cubicBezTo>
                    <a:pt x="580" y="302"/>
                    <a:pt x="581" y="302"/>
                    <a:pt x="582" y="301"/>
                  </a:cubicBezTo>
                  <a:cubicBezTo>
                    <a:pt x="583" y="300"/>
                    <a:pt x="582" y="299"/>
                    <a:pt x="583" y="298"/>
                  </a:cubicBezTo>
                  <a:cubicBezTo>
                    <a:pt x="584" y="296"/>
                    <a:pt x="586" y="297"/>
                    <a:pt x="588" y="297"/>
                  </a:cubicBezTo>
                  <a:cubicBezTo>
                    <a:pt x="590" y="297"/>
                    <a:pt x="592" y="294"/>
                    <a:pt x="594" y="293"/>
                  </a:cubicBezTo>
                  <a:cubicBezTo>
                    <a:pt x="596" y="291"/>
                    <a:pt x="600" y="290"/>
                    <a:pt x="601" y="292"/>
                  </a:cubicBezTo>
                  <a:cubicBezTo>
                    <a:pt x="601" y="294"/>
                    <a:pt x="600" y="296"/>
                    <a:pt x="601" y="299"/>
                  </a:cubicBezTo>
                  <a:cubicBezTo>
                    <a:pt x="601" y="301"/>
                    <a:pt x="603" y="303"/>
                    <a:pt x="605" y="303"/>
                  </a:cubicBezTo>
                  <a:cubicBezTo>
                    <a:pt x="607" y="303"/>
                    <a:pt x="609" y="302"/>
                    <a:pt x="611" y="302"/>
                  </a:cubicBezTo>
                  <a:cubicBezTo>
                    <a:pt x="613" y="304"/>
                    <a:pt x="612" y="307"/>
                    <a:pt x="614" y="309"/>
                  </a:cubicBezTo>
                  <a:cubicBezTo>
                    <a:pt x="615" y="309"/>
                    <a:pt x="616" y="309"/>
                    <a:pt x="617" y="309"/>
                  </a:cubicBezTo>
                  <a:cubicBezTo>
                    <a:pt x="622" y="309"/>
                    <a:pt x="627" y="309"/>
                    <a:pt x="631" y="309"/>
                  </a:cubicBezTo>
                  <a:cubicBezTo>
                    <a:pt x="635" y="309"/>
                    <a:pt x="639" y="309"/>
                    <a:pt x="643" y="309"/>
                  </a:cubicBezTo>
                  <a:cubicBezTo>
                    <a:pt x="643" y="309"/>
                    <a:pt x="644" y="309"/>
                    <a:pt x="644" y="309"/>
                  </a:cubicBezTo>
                  <a:cubicBezTo>
                    <a:pt x="645" y="309"/>
                    <a:pt x="645" y="310"/>
                    <a:pt x="644" y="310"/>
                  </a:cubicBezTo>
                  <a:cubicBezTo>
                    <a:pt x="644" y="311"/>
                    <a:pt x="644" y="314"/>
                    <a:pt x="645" y="315"/>
                  </a:cubicBezTo>
                  <a:cubicBezTo>
                    <a:pt x="645" y="316"/>
                    <a:pt x="646" y="315"/>
                    <a:pt x="647" y="315"/>
                  </a:cubicBezTo>
                  <a:cubicBezTo>
                    <a:pt x="650" y="315"/>
                    <a:pt x="652" y="315"/>
                    <a:pt x="655" y="315"/>
                  </a:cubicBezTo>
                  <a:cubicBezTo>
                    <a:pt x="655" y="315"/>
                    <a:pt x="655" y="315"/>
                    <a:pt x="656" y="315"/>
                  </a:cubicBezTo>
                  <a:cubicBezTo>
                    <a:pt x="656" y="315"/>
                    <a:pt x="656" y="314"/>
                    <a:pt x="656" y="314"/>
                  </a:cubicBezTo>
                  <a:cubicBezTo>
                    <a:pt x="657" y="312"/>
                    <a:pt x="657" y="309"/>
                    <a:pt x="658" y="307"/>
                  </a:cubicBezTo>
                  <a:cubicBezTo>
                    <a:pt x="658" y="306"/>
                    <a:pt x="658" y="304"/>
                    <a:pt x="658" y="303"/>
                  </a:cubicBezTo>
                  <a:cubicBezTo>
                    <a:pt x="658" y="302"/>
                    <a:pt x="657" y="301"/>
                    <a:pt x="657" y="300"/>
                  </a:cubicBezTo>
                  <a:cubicBezTo>
                    <a:pt x="656" y="299"/>
                    <a:pt x="656" y="298"/>
                    <a:pt x="655" y="298"/>
                  </a:cubicBezTo>
                  <a:cubicBezTo>
                    <a:pt x="654" y="297"/>
                    <a:pt x="653" y="298"/>
                    <a:pt x="653" y="298"/>
                  </a:cubicBezTo>
                  <a:cubicBezTo>
                    <a:pt x="651" y="298"/>
                    <a:pt x="650" y="296"/>
                    <a:pt x="649" y="295"/>
                  </a:cubicBezTo>
                  <a:cubicBezTo>
                    <a:pt x="649" y="293"/>
                    <a:pt x="650" y="292"/>
                    <a:pt x="651" y="291"/>
                  </a:cubicBezTo>
                  <a:cubicBezTo>
                    <a:pt x="653" y="290"/>
                    <a:pt x="654" y="291"/>
                    <a:pt x="656" y="290"/>
                  </a:cubicBezTo>
                  <a:cubicBezTo>
                    <a:pt x="658" y="290"/>
                    <a:pt x="659" y="289"/>
                    <a:pt x="660" y="287"/>
                  </a:cubicBezTo>
                  <a:cubicBezTo>
                    <a:pt x="661" y="286"/>
                    <a:pt x="661" y="283"/>
                    <a:pt x="661" y="281"/>
                  </a:cubicBezTo>
                  <a:cubicBezTo>
                    <a:pt x="661" y="277"/>
                    <a:pt x="663" y="273"/>
                    <a:pt x="663" y="269"/>
                  </a:cubicBezTo>
                  <a:cubicBezTo>
                    <a:pt x="663" y="261"/>
                    <a:pt x="666" y="253"/>
                    <a:pt x="665" y="245"/>
                  </a:cubicBezTo>
                  <a:cubicBezTo>
                    <a:pt x="665" y="232"/>
                    <a:pt x="675" y="218"/>
                    <a:pt x="684" y="209"/>
                  </a:cubicBezTo>
                  <a:cubicBezTo>
                    <a:pt x="691" y="200"/>
                    <a:pt x="701" y="194"/>
                    <a:pt x="707" y="185"/>
                  </a:cubicBezTo>
                  <a:cubicBezTo>
                    <a:pt x="720" y="161"/>
                    <a:pt x="702" y="128"/>
                    <a:pt x="718" y="106"/>
                  </a:cubicBezTo>
                  <a:cubicBezTo>
                    <a:pt x="722" y="101"/>
                    <a:pt x="728" y="96"/>
                    <a:pt x="732" y="91"/>
                  </a:cubicBezTo>
                  <a:cubicBezTo>
                    <a:pt x="741" y="79"/>
                    <a:pt x="741" y="61"/>
                    <a:pt x="732" y="49"/>
                  </a:cubicBezTo>
                  <a:close/>
                </a:path>
              </a:pathLst>
            </a:custGeom>
            <a:solidFill>
              <a:schemeClr val="accent5"/>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69" name="Freeform 67">
              <a:extLst>
                <a:ext uri="{FF2B5EF4-FFF2-40B4-BE49-F238E27FC236}">
                  <a16:creationId xmlns:a16="http://schemas.microsoft.com/office/drawing/2014/main" id="{A7CC0AEE-FA7D-3833-132D-3A58CBD52642}"/>
                </a:ext>
              </a:extLst>
            </p:cNvPr>
            <p:cNvSpPr>
              <a:spLocks/>
            </p:cNvSpPr>
            <p:nvPr/>
          </p:nvSpPr>
          <p:spPr bwMode="gray">
            <a:xfrm>
              <a:off x="2272214" y="5155805"/>
              <a:ext cx="152148" cy="219960"/>
            </a:xfrm>
            <a:custGeom>
              <a:avLst/>
              <a:gdLst>
                <a:gd name="T0" fmla="*/ 114 w 114"/>
                <a:gd name="T1" fmla="*/ 77 h 124"/>
                <a:gd name="T2" fmla="*/ 113 w 114"/>
                <a:gd name="T3" fmla="*/ 76 h 124"/>
                <a:gd name="T4" fmla="*/ 95 w 114"/>
                <a:gd name="T5" fmla="*/ 45 h 124"/>
                <a:gd name="T6" fmla="*/ 92 w 114"/>
                <a:gd name="T7" fmla="*/ 20 h 124"/>
                <a:gd name="T8" fmla="*/ 80 w 114"/>
                <a:gd name="T9" fmla="*/ 4 h 124"/>
                <a:gd name="T10" fmla="*/ 65 w 114"/>
                <a:gd name="T11" fmla="*/ 19 h 124"/>
                <a:gd name="T12" fmla="*/ 39 w 114"/>
                <a:gd name="T13" fmla="*/ 37 h 124"/>
                <a:gd name="T14" fmla="*/ 8 w 114"/>
                <a:gd name="T15" fmla="*/ 48 h 124"/>
                <a:gd name="T16" fmla="*/ 0 w 114"/>
                <a:gd name="T17" fmla="*/ 51 h 124"/>
                <a:gd name="T18" fmla="*/ 4 w 114"/>
                <a:gd name="T19" fmla="*/ 53 h 124"/>
                <a:gd name="T20" fmla="*/ 12 w 114"/>
                <a:gd name="T21" fmla="*/ 76 h 124"/>
                <a:gd name="T22" fmla="*/ 9 w 114"/>
                <a:gd name="T23" fmla="*/ 79 h 124"/>
                <a:gd name="T24" fmla="*/ 6 w 114"/>
                <a:gd name="T25" fmla="*/ 82 h 124"/>
                <a:gd name="T26" fmla="*/ 4 w 114"/>
                <a:gd name="T27" fmla="*/ 86 h 124"/>
                <a:gd name="T28" fmla="*/ 1 w 114"/>
                <a:gd name="T29" fmla="*/ 97 h 124"/>
                <a:gd name="T30" fmla="*/ 3 w 114"/>
                <a:gd name="T31" fmla="*/ 102 h 124"/>
                <a:gd name="T32" fmla="*/ 7 w 114"/>
                <a:gd name="T33" fmla="*/ 107 h 124"/>
                <a:gd name="T34" fmla="*/ 9 w 114"/>
                <a:gd name="T35" fmla="*/ 111 h 124"/>
                <a:gd name="T36" fmla="*/ 9 w 114"/>
                <a:gd name="T37" fmla="*/ 111 h 124"/>
                <a:gd name="T38" fmla="*/ 24 w 114"/>
                <a:gd name="T39" fmla="*/ 108 h 124"/>
                <a:gd name="T40" fmla="*/ 40 w 114"/>
                <a:gd name="T41" fmla="*/ 100 h 124"/>
                <a:gd name="T42" fmla="*/ 68 w 114"/>
                <a:gd name="T43" fmla="*/ 116 h 124"/>
                <a:gd name="T44" fmla="*/ 92 w 114"/>
                <a:gd name="T45" fmla="*/ 88 h 124"/>
                <a:gd name="T46" fmla="*/ 109 w 114"/>
                <a:gd name="T47" fmla="*/ 81 h 124"/>
                <a:gd name="T48" fmla="*/ 114 w 114"/>
                <a:gd name="T49" fmla="*/ 7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 h="124">
                  <a:moveTo>
                    <a:pt x="114" y="77"/>
                  </a:moveTo>
                  <a:cubicBezTo>
                    <a:pt x="113" y="77"/>
                    <a:pt x="113" y="76"/>
                    <a:pt x="113" y="76"/>
                  </a:cubicBezTo>
                  <a:cubicBezTo>
                    <a:pt x="113" y="72"/>
                    <a:pt x="100" y="48"/>
                    <a:pt x="95" y="45"/>
                  </a:cubicBezTo>
                  <a:cubicBezTo>
                    <a:pt x="91" y="41"/>
                    <a:pt x="92" y="20"/>
                    <a:pt x="92" y="20"/>
                  </a:cubicBezTo>
                  <a:cubicBezTo>
                    <a:pt x="88" y="0"/>
                    <a:pt x="84" y="4"/>
                    <a:pt x="80" y="4"/>
                  </a:cubicBezTo>
                  <a:cubicBezTo>
                    <a:pt x="76" y="4"/>
                    <a:pt x="68" y="20"/>
                    <a:pt x="65" y="19"/>
                  </a:cubicBezTo>
                  <a:cubicBezTo>
                    <a:pt x="63" y="17"/>
                    <a:pt x="48" y="24"/>
                    <a:pt x="39" y="37"/>
                  </a:cubicBezTo>
                  <a:cubicBezTo>
                    <a:pt x="31" y="49"/>
                    <a:pt x="8" y="48"/>
                    <a:pt x="8" y="48"/>
                  </a:cubicBezTo>
                  <a:cubicBezTo>
                    <a:pt x="0" y="51"/>
                    <a:pt x="0" y="51"/>
                    <a:pt x="0" y="51"/>
                  </a:cubicBezTo>
                  <a:cubicBezTo>
                    <a:pt x="1" y="52"/>
                    <a:pt x="3" y="53"/>
                    <a:pt x="4" y="53"/>
                  </a:cubicBezTo>
                  <a:cubicBezTo>
                    <a:pt x="12" y="58"/>
                    <a:pt x="19" y="69"/>
                    <a:pt x="12" y="76"/>
                  </a:cubicBezTo>
                  <a:cubicBezTo>
                    <a:pt x="11" y="77"/>
                    <a:pt x="10" y="78"/>
                    <a:pt x="9" y="79"/>
                  </a:cubicBezTo>
                  <a:cubicBezTo>
                    <a:pt x="8" y="80"/>
                    <a:pt x="7" y="81"/>
                    <a:pt x="6" y="82"/>
                  </a:cubicBezTo>
                  <a:cubicBezTo>
                    <a:pt x="5" y="83"/>
                    <a:pt x="5" y="85"/>
                    <a:pt x="4" y="86"/>
                  </a:cubicBezTo>
                  <a:cubicBezTo>
                    <a:pt x="2" y="90"/>
                    <a:pt x="2" y="94"/>
                    <a:pt x="1" y="97"/>
                  </a:cubicBezTo>
                  <a:cubicBezTo>
                    <a:pt x="1" y="99"/>
                    <a:pt x="3" y="101"/>
                    <a:pt x="3" y="102"/>
                  </a:cubicBezTo>
                  <a:cubicBezTo>
                    <a:pt x="4" y="104"/>
                    <a:pt x="6" y="105"/>
                    <a:pt x="7" y="107"/>
                  </a:cubicBezTo>
                  <a:cubicBezTo>
                    <a:pt x="7" y="108"/>
                    <a:pt x="9" y="109"/>
                    <a:pt x="9" y="111"/>
                  </a:cubicBezTo>
                  <a:cubicBezTo>
                    <a:pt x="9" y="111"/>
                    <a:pt x="9" y="111"/>
                    <a:pt x="9" y="111"/>
                  </a:cubicBezTo>
                  <a:cubicBezTo>
                    <a:pt x="15" y="111"/>
                    <a:pt x="22" y="110"/>
                    <a:pt x="24" y="108"/>
                  </a:cubicBezTo>
                  <a:cubicBezTo>
                    <a:pt x="28" y="104"/>
                    <a:pt x="36" y="96"/>
                    <a:pt x="40" y="100"/>
                  </a:cubicBezTo>
                  <a:cubicBezTo>
                    <a:pt x="44" y="104"/>
                    <a:pt x="60" y="124"/>
                    <a:pt x="68" y="116"/>
                  </a:cubicBezTo>
                  <a:cubicBezTo>
                    <a:pt x="76" y="108"/>
                    <a:pt x="80" y="112"/>
                    <a:pt x="92" y="88"/>
                  </a:cubicBezTo>
                  <a:cubicBezTo>
                    <a:pt x="92" y="88"/>
                    <a:pt x="98" y="82"/>
                    <a:pt x="109" y="81"/>
                  </a:cubicBezTo>
                  <a:cubicBezTo>
                    <a:pt x="110" y="80"/>
                    <a:pt x="111" y="79"/>
                    <a:pt x="114" y="77"/>
                  </a:cubicBezTo>
                  <a:close/>
                </a:path>
              </a:pathLst>
            </a:custGeom>
            <a:solidFill>
              <a:schemeClr val="accent5"/>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70" name="Freeform 52">
              <a:extLst>
                <a:ext uri="{FF2B5EF4-FFF2-40B4-BE49-F238E27FC236}">
                  <a16:creationId xmlns:a16="http://schemas.microsoft.com/office/drawing/2014/main" id="{7CEBF839-A996-9168-05B9-9F597C8622F8}"/>
                </a:ext>
              </a:extLst>
            </p:cNvPr>
            <p:cNvSpPr>
              <a:spLocks/>
            </p:cNvSpPr>
            <p:nvPr/>
          </p:nvSpPr>
          <p:spPr bwMode="gray">
            <a:xfrm>
              <a:off x="1663856" y="3287563"/>
              <a:ext cx="658426" cy="916737"/>
            </a:xfrm>
            <a:custGeom>
              <a:avLst/>
              <a:gdLst>
                <a:gd name="T0" fmla="*/ 39 w 488"/>
                <a:gd name="T1" fmla="*/ 278 h 653"/>
                <a:gd name="T2" fmla="*/ 36 w 488"/>
                <a:gd name="T3" fmla="*/ 327 h 653"/>
                <a:gd name="T4" fmla="*/ 69 w 488"/>
                <a:gd name="T5" fmla="*/ 311 h 653"/>
                <a:gd name="T6" fmla="*/ 97 w 488"/>
                <a:gd name="T7" fmla="*/ 351 h 653"/>
                <a:gd name="T8" fmla="*/ 100 w 488"/>
                <a:gd name="T9" fmla="*/ 397 h 653"/>
                <a:gd name="T10" fmla="*/ 118 w 488"/>
                <a:gd name="T11" fmla="*/ 455 h 653"/>
                <a:gd name="T12" fmla="*/ 93 w 488"/>
                <a:gd name="T13" fmla="*/ 489 h 653"/>
                <a:gd name="T14" fmla="*/ 89 w 488"/>
                <a:gd name="T15" fmla="*/ 522 h 653"/>
                <a:gd name="T16" fmla="*/ 99 w 488"/>
                <a:gd name="T17" fmla="*/ 533 h 653"/>
                <a:gd name="T18" fmla="*/ 173 w 488"/>
                <a:gd name="T19" fmla="*/ 554 h 653"/>
                <a:gd name="T20" fmla="*/ 242 w 488"/>
                <a:gd name="T21" fmla="*/ 609 h 653"/>
                <a:gd name="T22" fmla="*/ 319 w 488"/>
                <a:gd name="T23" fmla="*/ 615 h 653"/>
                <a:gd name="T24" fmla="*/ 386 w 488"/>
                <a:gd name="T25" fmla="*/ 614 h 653"/>
                <a:gd name="T26" fmla="*/ 426 w 488"/>
                <a:gd name="T27" fmla="*/ 577 h 653"/>
                <a:gd name="T28" fmla="*/ 488 w 488"/>
                <a:gd name="T29" fmla="*/ 532 h 653"/>
                <a:gd name="T30" fmla="*/ 482 w 488"/>
                <a:gd name="T31" fmla="*/ 530 h 653"/>
                <a:gd name="T32" fmla="*/ 457 w 488"/>
                <a:gd name="T33" fmla="*/ 510 h 653"/>
                <a:gd name="T34" fmla="*/ 402 w 488"/>
                <a:gd name="T35" fmla="*/ 426 h 653"/>
                <a:gd name="T36" fmla="*/ 318 w 488"/>
                <a:gd name="T37" fmla="*/ 391 h 653"/>
                <a:gd name="T38" fmla="*/ 305 w 488"/>
                <a:gd name="T39" fmla="*/ 369 h 653"/>
                <a:gd name="T40" fmla="*/ 284 w 488"/>
                <a:gd name="T41" fmla="*/ 343 h 653"/>
                <a:gd name="T42" fmla="*/ 252 w 488"/>
                <a:gd name="T43" fmla="*/ 244 h 653"/>
                <a:gd name="T44" fmla="*/ 245 w 488"/>
                <a:gd name="T45" fmla="*/ 196 h 653"/>
                <a:gd name="T46" fmla="*/ 240 w 488"/>
                <a:gd name="T47" fmla="*/ 184 h 653"/>
                <a:gd name="T48" fmla="*/ 236 w 488"/>
                <a:gd name="T49" fmla="*/ 178 h 653"/>
                <a:gd name="T50" fmla="*/ 231 w 488"/>
                <a:gd name="T51" fmla="*/ 120 h 653"/>
                <a:gd name="T52" fmla="*/ 202 w 488"/>
                <a:gd name="T53" fmla="*/ 67 h 653"/>
                <a:gd name="T54" fmla="*/ 197 w 488"/>
                <a:gd name="T55" fmla="*/ 59 h 653"/>
                <a:gd name="T56" fmla="*/ 191 w 488"/>
                <a:gd name="T57" fmla="*/ 54 h 653"/>
                <a:gd name="T58" fmla="*/ 187 w 488"/>
                <a:gd name="T59" fmla="*/ 48 h 653"/>
                <a:gd name="T60" fmla="*/ 160 w 488"/>
                <a:gd name="T61" fmla="*/ 33 h 653"/>
                <a:gd name="T62" fmla="*/ 141 w 488"/>
                <a:gd name="T63" fmla="*/ 7 h 653"/>
                <a:gd name="T64" fmla="*/ 59 w 488"/>
                <a:gd name="T65" fmla="*/ 57 h 653"/>
                <a:gd name="T66" fmla="*/ 60 w 488"/>
                <a:gd name="T67" fmla="*/ 74 h 653"/>
                <a:gd name="T68" fmla="*/ 82 w 488"/>
                <a:gd name="T69" fmla="*/ 102 h 653"/>
                <a:gd name="T70" fmla="*/ 3 w 488"/>
                <a:gd name="T71" fmla="*/ 197 h 653"/>
                <a:gd name="T72" fmla="*/ 4 w 488"/>
                <a:gd name="T73" fmla="*/ 215 h 653"/>
                <a:gd name="T74" fmla="*/ 44 w 488"/>
                <a:gd name="T75" fmla="*/ 26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8" h="653">
                  <a:moveTo>
                    <a:pt x="44" y="266"/>
                  </a:moveTo>
                  <a:cubicBezTo>
                    <a:pt x="43" y="270"/>
                    <a:pt x="41" y="274"/>
                    <a:pt x="39" y="278"/>
                  </a:cubicBezTo>
                  <a:cubicBezTo>
                    <a:pt x="34" y="288"/>
                    <a:pt x="31" y="299"/>
                    <a:pt x="32" y="310"/>
                  </a:cubicBezTo>
                  <a:cubicBezTo>
                    <a:pt x="32" y="316"/>
                    <a:pt x="32" y="322"/>
                    <a:pt x="36" y="327"/>
                  </a:cubicBezTo>
                  <a:cubicBezTo>
                    <a:pt x="39" y="332"/>
                    <a:pt x="46" y="335"/>
                    <a:pt x="51" y="333"/>
                  </a:cubicBezTo>
                  <a:cubicBezTo>
                    <a:pt x="60" y="330"/>
                    <a:pt x="61" y="317"/>
                    <a:pt x="69" y="311"/>
                  </a:cubicBezTo>
                  <a:cubicBezTo>
                    <a:pt x="78" y="304"/>
                    <a:pt x="91" y="310"/>
                    <a:pt x="96" y="320"/>
                  </a:cubicBezTo>
                  <a:cubicBezTo>
                    <a:pt x="101" y="329"/>
                    <a:pt x="99" y="341"/>
                    <a:pt x="97" y="351"/>
                  </a:cubicBezTo>
                  <a:cubicBezTo>
                    <a:pt x="94" y="362"/>
                    <a:pt x="91" y="373"/>
                    <a:pt x="93" y="383"/>
                  </a:cubicBezTo>
                  <a:cubicBezTo>
                    <a:pt x="93" y="388"/>
                    <a:pt x="99" y="392"/>
                    <a:pt x="100" y="397"/>
                  </a:cubicBezTo>
                  <a:cubicBezTo>
                    <a:pt x="101" y="401"/>
                    <a:pt x="101" y="405"/>
                    <a:pt x="102" y="409"/>
                  </a:cubicBezTo>
                  <a:cubicBezTo>
                    <a:pt x="105" y="425"/>
                    <a:pt x="122" y="439"/>
                    <a:pt x="118" y="455"/>
                  </a:cubicBezTo>
                  <a:cubicBezTo>
                    <a:pt x="116" y="460"/>
                    <a:pt x="113" y="464"/>
                    <a:pt x="110" y="467"/>
                  </a:cubicBezTo>
                  <a:cubicBezTo>
                    <a:pt x="104" y="475"/>
                    <a:pt x="99" y="482"/>
                    <a:pt x="93" y="489"/>
                  </a:cubicBezTo>
                  <a:cubicBezTo>
                    <a:pt x="89" y="494"/>
                    <a:pt x="85" y="499"/>
                    <a:pt x="83" y="505"/>
                  </a:cubicBezTo>
                  <a:cubicBezTo>
                    <a:pt x="82" y="511"/>
                    <a:pt x="83" y="519"/>
                    <a:pt x="89" y="522"/>
                  </a:cubicBezTo>
                  <a:cubicBezTo>
                    <a:pt x="92" y="524"/>
                    <a:pt x="96" y="525"/>
                    <a:pt x="98" y="528"/>
                  </a:cubicBezTo>
                  <a:cubicBezTo>
                    <a:pt x="99" y="529"/>
                    <a:pt x="99" y="531"/>
                    <a:pt x="99" y="533"/>
                  </a:cubicBezTo>
                  <a:cubicBezTo>
                    <a:pt x="107" y="529"/>
                    <a:pt x="111" y="526"/>
                    <a:pt x="111" y="526"/>
                  </a:cubicBezTo>
                  <a:cubicBezTo>
                    <a:pt x="111" y="526"/>
                    <a:pt x="151" y="534"/>
                    <a:pt x="173" y="554"/>
                  </a:cubicBezTo>
                  <a:cubicBezTo>
                    <a:pt x="194" y="589"/>
                    <a:pt x="194" y="589"/>
                    <a:pt x="194" y="589"/>
                  </a:cubicBezTo>
                  <a:cubicBezTo>
                    <a:pt x="194" y="589"/>
                    <a:pt x="214" y="609"/>
                    <a:pt x="242" y="609"/>
                  </a:cubicBezTo>
                  <a:cubicBezTo>
                    <a:pt x="242" y="609"/>
                    <a:pt x="266" y="609"/>
                    <a:pt x="278" y="601"/>
                  </a:cubicBezTo>
                  <a:cubicBezTo>
                    <a:pt x="278" y="601"/>
                    <a:pt x="303" y="589"/>
                    <a:pt x="319" y="615"/>
                  </a:cubicBezTo>
                  <a:cubicBezTo>
                    <a:pt x="319" y="615"/>
                    <a:pt x="337" y="653"/>
                    <a:pt x="359" y="643"/>
                  </a:cubicBezTo>
                  <a:cubicBezTo>
                    <a:pt x="359" y="643"/>
                    <a:pt x="402" y="635"/>
                    <a:pt x="386" y="614"/>
                  </a:cubicBezTo>
                  <a:cubicBezTo>
                    <a:pt x="386" y="614"/>
                    <a:pt x="377" y="599"/>
                    <a:pt x="394" y="588"/>
                  </a:cubicBezTo>
                  <a:cubicBezTo>
                    <a:pt x="394" y="588"/>
                    <a:pt x="406" y="569"/>
                    <a:pt x="426" y="577"/>
                  </a:cubicBezTo>
                  <a:cubicBezTo>
                    <a:pt x="426" y="577"/>
                    <a:pt x="452" y="576"/>
                    <a:pt x="461" y="561"/>
                  </a:cubicBezTo>
                  <a:cubicBezTo>
                    <a:pt x="488" y="532"/>
                    <a:pt x="488" y="532"/>
                    <a:pt x="488" y="532"/>
                  </a:cubicBezTo>
                  <a:cubicBezTo>
                    <a:pt x="488" y="532"/>
                    <a:pt x="488" y="532"/>
                    <a:pt x="488" y="532"/>
                  </a:cubicBezTo>
                  <a:cubicBezTo>
                    <a:pt x="487" y="530"/>
                    <a:pt x="484" y="529"/>
                    <a:pt x="482" y="530"/>
                  </a:cubicBezTo>
                  <a:cubicBezTo>
                    <a:pt x="476" y="530"/>
                    <a:pt x="475" y="524"/>
                    <a:pt x="470" y="520"/>
                  </a:cubicBezTo>
                  <a:cubicBezTo>
                    <a:pt x="466" y="517"/>
                    <a:pt x="459" y="515"/>
                    <a:pt x="457" y="510"/>
                  </a:cubicBezTo>
                  <a:cubicBezTo>
                    <a:pt x="454" y="507"/>
                    <a:pt x="454" y="502"/>
                    <a:pt x="454" y="497"/>
                  </a:cubicBezTo>
                  <a:cubicBezTo>
                    <a:pt x="452" y="467"/>
                    <a:pt x="427" y="444"/>
                    <a:pt x="402" y="426"/>
                  </a:cubicBezTo>
                  <a:cubicBezTo>
                    <a:pt x="389" y="417"/>
                    <a:pt x="376" y="408"/>
                    <a:pt x="362" y="402"/>
                  </a:cubicBezTo>
                  <a:cubicBezTo>
                    <a:pt x="348" y="396"/>
                    <a:pt x="333" y="393"/>
                    <a:pt x="318" y="391"/>
                  </a:cubicBezTo>
                  <a:cubicBezTo>
                    <a:pt x="311" y="390"/>
                    <a:pt x="308" y="392"/>
                    <a:pt x="309" y="385"/>
                  </a:cubicBezTo>
                  <a:cubicBezTo>
                    <a:pt x="309" y="379"/>
                    <a:pt x="308" y="374"/>
                    <a:pt x="305" y="369"/>
                  </a:cubicBezTo>
                  <a:cubicBezTo>
                    <a:pt x="301" y="363"/>
                    <a:pt x="295" y="363"/>
                    <a:pt x="290" y="359"/>
                  </a:cubicBezTo>
                  <a:cubicBezTo>
                    <a:pt x="286" y="355"/>
                    <a:pt x="285" y="348"/>
                    <a:pt x="284" y="343"/>
                  </a:cubicBezTo>
                  <a:cubicBezTo>
                    <a:pt x="280" y="322"/>
                    <a:pt x="280" y="299"/>
                    <a:pt x="271" y="280"/>
                  </a:cubicBezTo>
                  <a:cubicBezTo>
                    <a:pt x="265" y="268"/>
                    <a:pt x="255" y="257"/>
                    <a:pt x="252" y="244"/>
                  </a:cubicBezTo>
                  <a:cubicBezTo>
                    <a:pt x="250" y="236"/>
                    <a:pt x="250" y="228"/>
                    <a:pt x="247" y="220"/>
                  </a:cubicBezTo>
                  <a:cubicBezTo>
                    <a:pt x="245" y="213"/>
                    <a:pt x="249" y="203"/>
                    <a:pt x="245" y="196"/>
                  </a:cubicBezTo>
                  <a:cubicBezTo>
                    <a:pt x="243" y="197"/>
                    <a:pt x="241" y="197"/>
                    <a:pt x="238" y="196"/>
                  </a:cubicBezTo>
                  <a:cubicBezTo>
                    <a:pt x="239" y="192"/>
                    <a:pt x="239" y="188"/>
                    <a:pt x="240" y="184"/>
                  </a:cubicBezTo>
                  <a:cubicBezTo>
                    <a:pt x="240" y="182"/>
                    <a:pt x="240" y="181"/>
                    <a:pt x="239" y="180"/>
                  </a:cubicBezTo>
                  <a:cubicBezTo>
                    <a:pt x="238" y="179"/>
                    <a:pt x="237" y="179"/>
                    <a:pt x="236" y="178"/>
                  </a:cubicBezTo>
                  <a:cubicBezTo>
                    <a:pt x="230" y="175"/>
                    <a:pt x="232" y="145"/>
                    <a:pt x="232" y="138"/>
                  </a:cubicBezTo>
                  <a:cubicBezTo>
                    <a:pt x="232" y="132"/>
                    <a:pt x="232" y="126"/>
                    <a:pt x="231" y="120"/>
                  </a:cubicBezTo>
                  <a:cubicBezTo>
                    <a:pt x="228" y="100"/>
                    <a:pt x="212" y="87"/>
                    <a:pt x="203" y="70"/>
                  </a:cubicBezTo>
                  <a:cubicBezTo>
                    <a:pt x="203" y="69"/>
                    <a:pt x="202" y="68"/>
                    <a:pt x="202" y="67"/>
                  </a:cubicBezTo>
                  <a:cubicBezTo>
                    <a:pt x="201" y="66"/>
                    <a:pt x="200" y="66"/>
                    <a:pt x="199" y="65"/>
                  </a:cubicBezTo>
                  <a:cubicBezTo>
                    <a:pt x="197" y="63"/>
                    <a:pt x="197" y="61"/>
                    <a:pt x="197" y="59"/>
                  </a:cubicBezTo>
                  <a:cubicBezTo>
                    <a:pt x="198" y="57"/>
                    <a:pt x="197" y="54"/>
                    <a:pt x="195" y="53"/>
                  </a:cubicBezTo>
                  <a:cubicBezTo>
                    <a:pt x="194" y="53"/>
                    <a:pt x="192" y="54"/>
                    <a:pt x="191" y="54"/>
                  </a:cubicBezTo>
                  <a:cubicBezTo>
                    <a:pt x="190" y="52"/>
                    <a:pt x="192" y="49"/>
                    <a:pt x="190" y="48"/>
                  </a:cubicBezTo>
                  <a:cubicBezTo>
                    <a:pt x="189" y="47"/>
                    <a:pt x="188" y="48"/>
                    <a:pt x="187" y="48"/>
                  </a:cubicBezTo>
                  <a:cubicBezTo>
                    <a:pt x="181" y="48"/>
                    <a:pt x="178" y="45"/>
                    <a:pt x="174" y="42"/>
                  </a:cubicBezTo>
                  <a:cubicBezTo>
                    <a:pt x="169" y="39"/>
                    <a:pt x="165" y="36"/>
                    <a:pt x="160" y="33"/>
                  </a:cubicBezTo>
                  <a:cubicBezTo>
                    <a:pt x="153" y="28"/>
                    <a:pt x="146" y="23"/>
                    <a:pt x="144" y="15"/>
                  </a:cubicBezTo>
                  <a:cubicBezTo>
                    <a:pt x="143" y="12"/>
                    <a:pt x="142" y="10"/>
                    <a:pt x="141" y="7"/>
                  </a:cubicBezTo>
                  <a:cubicBezTo>
                    <a:pt x="139" y="4"/>
                    <a:pt x="135" y="3"/>
                    <a:pt x="132" y="0"/>
                  </a:cubicBezTo>
                  <a:cubicBezTo>
                    <a:pt x="105" y="16"/>
                    <a:pt x="81" y="35"/>
                    <a:pt x="59" y="57"/>
                  </a:cubicBezTo>
                  <a:cubicBezTo>
                    <a:pt x="58" y="59"/>
                    <a:pt x="56" y="61"/>
                    <a:pt x="56" y="63"/>
                  </a:cubicBezTo>
                  <a:cubicBezTo>
                    <a:pt x="54" y="67"/>
                    <a:pt x="57" y="71"/>
                    <a:pt x="60" y="74"/>
                  </a:cubicBezTo>
                  <a:cubicBezTo>
                    <a:pt x="64" y="79"/>
                    <a:pt x="71" y="81"/>
                    <a:pt x="76" y="85"/>
                  </a:cubicBezTo>
                  <a:cubicBezTo>
                    <a:pt x="81" y="89"/>
                    <a:pt x="85" y="96"/>
                    <a:pt x="82" y="102"/>
                  </a:cubicBezTo>
                  <a:cubicBezTo>
                    <a:pt x="81" y="105"/>
                    <a:pt x="78" y="107"/>
                    <a:pt x="75" y="109"/>
                  </a:cubicBezTo>
                  <a:cubicBezTo>
                    <a:pt x="44" y="132"/>
                    <a:pt x="19" y="162"/>
                    <a:pt x="3" y="197"/>
                  </a:cubicBezTo>
                  <a:cubicBezTo>
                    <a:pt x="1" y="200"/>
                    <a:pt x="0" y="203"/>
                    <a:pt x="0" y="206"/>
                  </a:cubicBezTo>
                  <a:cubicBezTo>
                    <a:pt x="0" y="210"/>
                    <a:pt x="2" y="213"/>
                    <a:pt x="4" y="215"/>
                  </a:cubicBezTo>
                  <a:cubicBezTo>
                    <a:pt x="11" y="224"/>
                    <a:pt x="21" y="230"/>
                    <a:pt x="30" y="237"/>
                  </a:cubicBezTo>
                  <a:cubicBezTo>
                    <a:pt x="39" y="244"/>
                    <a:pt x="46" y="255"/>
                    <a:pt x="44" y="266"/>
                  </a:cubicBezTo>
                  <a:close/>
                </a:path>
              </a:pathLst>
            </a:custGeom>
            <a:solidFill>
              <a:schemeClr val="accent2"/>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71" name="Freeform 57">
              <a:extLst>
                <a:ext uri="{FF2B5EF4-FFF2-40B4-BE49-F238E27FC236}">
                  <a16:creationId xmlns:a16="http://schemas.microsoft.com/office/drawing/2014/main" id="{9080EE35-4B8C-81CF-4A20-AB1526BAA3AC}"/>
                </a:ext>
              </a:extLst>
            </p:cNvPr>
            <p:cNvSpPr>
              <a:spLocks/>
            </p:cNvSpPr>
            <p:nvPr/>
          </p:nvSpPr>
          <p:spPr bwMode="gray">
            <a:xfrm>
              <a:off x="1773234" y="4007567"/>
              <a:ext cx="689108" cy="477751"/>
            </a:xfrm>
            <a:custGeom>
              <a:avLst/>
              <a:gdLst>
                <a:gd name="T0" fmla="*/ 484 w 511"/>
                <a:gd name="T1" fmla="*/ 244 h 339"/>
                <a:gd name="T2" fmla="*/ 434 w 511"/>
                <a:gd name="T3" fmla="*/ 215 h 339"/>
                <a:gd name="T4" fmla="*/ 484 w 511"/>
                <a:gd name="T5" fmla="*/ 221 h 339"/>
                <a:gd name="T6" fmla="*/ 461 w 511"/>
                <a:gd name="T7" fmla="*/ 170 h 339"/>
                <a:gd name="T8" fmla="*/ 414 w 511"/>
                <a:gd name="T9" fmla="*/ 89 h 339"/>
                <a:gd name="T10" fmla="*/ 433 w 511"/>
                <a:gd name="T11" fmla="*/ 56 h 339"/>
                <a:gd name="T12" fmla="*/ 422 w 511"/>
                <a:gd name="T13" fmla="*/ 32 h 339"/>
                <a:gd name="T14" fmla="*/ 417 w 511"/>
                <a:gd name="T15" fmla="*/ 28 h 339"/>
                <a:gd name="T16" fmla="*/ 409 w 511"/>
                <a:gd name="T17" fmla="*/ 27 h 339"/>
                <a:gd name="T18" fmla="*/ 403 w 511"/>
                <a:gd name="T19" fmla="*/ 23 h 339"/>
                <a:gd name="T20" fmla="*/ 402 w 511"/>
                <a:gd name="T21" fmla="*/ 16 h 339"/>
                <a:gd name="T22" fmla="*/ 325 w 511"/>
                <a:gd name="T23" fmla="*/ 58 h 339"/>
                <a:gd name="T24" fmla="*/ 288 w 511"/>
                <a:gd name="T25" fmla="*/ 120 h 339"/>
                <a:gd name="T26" fmla="*/ 201 w 511"/>
                <a:gd name="T27" fmla="*/ 78 h 339"/>
                <a:gd name="T28" fmla="*/ 92 w 511"/>
                <a:gd name="T29" fmla="*/ 41 h 339"/>
                <a:gd name="T30" fmla="*/ 0 w 511"/>
                <a:gd name="T31" fmla="*/ 0 h 339"/>
                <a:gd name="T32" fmla="*/ 13 w 511"/>
                <a:gd name="T33" fmla="*/ 9 h 339"/>
                <a:gd name="T34" fmla="*/ 14 w 511"/>
                <a:gd name="T35" fmla="*/ 36 h 339"/>
                <a:gd name="T36" fmla="*/ 9 w 511"/>
                <a:gd name="T37" fmla="*/ 96 h 339"/>
                <a:gd name="T38" fmla="*/ 32 w 511"/>
                <a:gd name="T39" fmla="*/ 115 h 339"/>
                <a:gd name="T40" fmla="*/ 31 w 511"/>
                <a:gd name="T41" fmla="*/ 145 h 339"/>
                <a:gd name="T42" fmla="*/ 56 w 511"/>
                <a:gd name="T43" fmla="*/ 215 h 339"/>
                <a:gd name="T44" fmla="*/ 81 w 511"/>
                <a:gd name="T45" fmla="*/ 247 h 339"/>
                <a:gd name="T46" fmla="*/ 82 w 511"/>
                <a:gd name="T47" fmla="*/ 278 h 339"/>
                <a:gd name="T48" fmla="*/ 91 w 511"/>
                <a:gd name="T49" fmla="*/ 287 h 339"/>
                <a:gd name="T50" fmla="*/ 182 w 511"/>
                <a:gd name="T51" fmla="*/ 315 h 339"/>
                <a:gd name="T52" fmla="*/ 199 w 511"/>
                <a:gd name="T53" fmla="*/ 318 h 339"/>
                <a:gd name="T54" fmla="*/ 246 w 511"/>
                <a:gd name="T55" fmla="*/ 296 h 339"/>
                <a:gd name="T56" fmla="*/ 256 w 511"/>
                <a:gd name="T57" fmla="*/ 275 h 339"/>
                <a:gd name="T58" fmla="*/ 270 w 511"/>
                <a:gd name="T59" fmla="*/ 278 h 339"/>
                <a:gd name="T60" fmla="*/ 281 w 511"/>
                <a:gd name="T61" fmla="*/ 299 h 339"/>
                <a:gd name="T62" fmla="*/ 287 w 511"/>
                <a:gd name="T63" fmla="*/ 329 h 339"/>
                <a:gd name="T64" fmla="*/ 297 w 511"/>
                <a:gd name="T65" fmla="*/ 337 h 339"/>
                <a:gd name="T66" fmla="*/ 314 w 511"/>
                <a:gd name="T67" fmla="*/ 334 h 339"/>
                <a:gd name="T68" fmla="*/ 324 w 511"/>
                <a:gd name="T69" fmla="*/ 321 h 339"/>
                <a:gd name="T70" fmla="*/ 335 w 511"/>
                <a:gd name="T71" fmla="*/ 310 h 339"/>
                <a:gd name="T72" fmla="*/ 360 w 511"/>
                <a:gd name="T73" fmla="*/ 310 h 339"/>
                <a:gd name="T74" fmla="*/ 363 w 511"/>
                <a:gd name="T75" fmla="*/ 316 h 339"/>
                <a:gd name="T76" fmla="*/ 384 w 511"/>
                <a:gd name="T77" fmla="*/ 317 h 339"/>
                <a:gd name="T78" fmla="*/ 424 w 511"/>
                <a:gd name="T79" fmla="*/ 328 h 339"/>
                <a:gd name="T80" fmla="*/ 485 w 511"/>
                <a:gd name="T81" fmla="*/ 330 h 339"/>
                <a:gd name="T82" fmla="*/ 511 w 511"/>
                <a:gd name="T83" fmla="*/ 29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1" h="339">
                  <a:moveTo>
                    <a:pt x="508" y="284"/>
                  </a:moveTo>
                  <a:cubicBezTo>
                    <a:pt x="503" y="269"/>
                    <a:pt x="496" y="254"/>
                    <a:pt x="484" y="244"/>
                  </a:cubicBezTo>
                  <a:cubicBezTo>
                    <a:pt x="469" y="234"/>
                    <a:pt x="448" y="233"/>
                    <a:pt x="436" y="219"/>
                  </a:cubicBezTo>
                  <a:cubicBezTo>
                    <a:pt x="435" y="218"/>
                    <a:pt x="434" y="216"/>
                    <a:pt x="434" y="215"/>
                  </a:cubicBezTo>
                  <a:cubicBezTo>
                    <a:pt x="432" y="201"/>
                    <a:pt x="470" y="215"/>
                    <a:pt x="475" y="217"/>
                  </a:cubicBezTo>
                  <a:cubicBezTo>
                    <a:pt x="477" y="218"/>
                    <a:pt x="482" y="222"/>
                    <a:pt x="484" y="221"/>
                  </a:cubicBezTo>
                  <a:cubicBezTo>
                    <a:pt x="489" y="218"/>
                    <a:pt x="485" y="210"/>
                    <a:pt x="483" y="207"/>
                  </a:cubicBezTo>
                  <a:cubicBezTo>
                    <a:pt x="476" y="194"/>
                    <a:pt x="468" y="182"/>
                    <a:pt x="461" y="170"/>
                  </a:cubicBezTo>
                  <a:cubicBezTo>
                    <a:pt x="451" y="152"/>
                    <a:pt x="440" y="135"/>
                    <a:pt x="429" y="118"/>
                  </a:cubicBezTo>
                  <a:cubicBezTo>
                    <a:pt x="423" y="109"/>
                    <a:pt x="416" y="99"/>
                    <a:pt x="414" y="89"/>
                  </a:cubicBezTo>
                  <a:cubicBezTo>
                    <a:pt x="412" y="78"/>
                    <a:pt x="416" y="65"/>
                    <a:pt x="426" y="60"/>
                  </a:cubicBezTo>
                  <a:cubicBezTo>
                    <a:pt x="428" y="59"/>
                    <a:pt x="431" y="58"/>
                    <a:pt x="433" y="56"/>
                  </a:cubicBezTo>
                  <a:cubicBezTo>
                    <a:pt x="437" y="52"/>
                    <a:pt x="435" y="47"/>
                    <a:pt x="433" y="43"/>
                  </a:cubicBezTo>
                  <a:cubicBezTo>
                    <a:pt x="430" y="39"/>
                    <a:pt x="423" y="37"/>
                    <a:pt x="422" y="32"/>
                  </a:cubicBezTo>
                  <a:cubicBezTo>
                    <a:pt x="422" y="31"/>
                    <a:pt x="422" y="31"/>
                    <a:pt x="421" y="30"/>
                  </a:cubicBezTo>
                  <a:cubicBezTo>
                    <a:pt x="421" y="28"/>
                    <a:pt x="419" y="28"/>
                    <a:pt x="417" y="28"/>
                  </a:cubicBezTo>
                  <a:cubicBezTo>
                    <a:pt x="416" y="28"/>
                    <a:pt x="414" y="29"/>
                    <a:pt x="413" y="29"/>
                  </a:cubicBezTo>
                  <a:cubicBezTo>
                    <a:pt x="411" y="29"/>
                    <a:pt x="409" y="28"/>
                    <a:pt x="409" y="27"/>
                  </a:cubicBezTo>
                  <a:cubicBezTo>
                    <a:pt x="408" y="26"/>
                    <a:pt x="409" y="24"/>
                    <a:pt x="408" y="23"/>
                  </a:cubicBezTo>
                  <a:cubicBezTo>
                    <a:pt x="406" y="22"/>
                    <a:pt x="404" y="24"/>
                    <a:pt x="403" y="23"/>
                  </a:cubicBezTo>
                  <a:cubicBezTo>
                    <a:pt x="403" y="22"/>
                    <a:pt x="403" y="22"/>
                    <a:pt x="403" y="21"/>
                  </a:cubicBezTo>
                  <a:cubicBezTo>
                    <a:pt x="402" y="19"/>
                    <a:pt x="402" y="18"/>
                    <a:pt x="402" y="16"/>
                  </a:cubicBezTo>
                  <a:cubicBezTo>
                    <a:pt x="357" y="58"/>
                    <a:pt x="357" y="58"/>
                    <a:pt x="357" y="58"/>
                  </a:cubicBezTo>
                  <a:cubicBezTo>
                    <a:pt x="325" y="58"/>
                    <a:pt x="325" y="58"/>
                    <a:pt x="325" y="58"/>
                  </a:cubicBezTo>
                  <a:cubicBezTo>
                    <a:pt x="309" y="58"/>
                    <a:pt x="297" y="90"/>
                    <a:pt x="297" y="90"/>
                  </a:cubicBezTo>
                  <a:cubicBezTo>
                    <a:pt x="321" y="106"/>
                    <a:pt x="288" y="120"/>
                    <a:pt x="288" y="120"/>
                  </a:cubicBezTo>
                  <a:cubicBezTo>
                    <a:pt x="254" y="138"/>
                    <a:pt x="241" y="106"/>
                    <a:pt x="241" y="106"/>
                  </a:cubicBezTo>
                  <a:cubicBezTo>
                    <a:pt x="225" y="78"/>
                    <a:pt x="201" y="78"/>
                    <a:pt x="201" y="78"/>
                  </a:cubicBezTo>
                  <a:cubicBezTo>
                    <a:pt x="185" y="90"/>
                    <a:pt x="169" y="90"/>
                    <a:pt x="169" y="90"/>
                  </a:cubicBezTo>
                  <a:cubicBezTo>
                    <a:pt x="113" y="86"/>
                    <a:pt x="117" y="74"/>
                    <a:pt x="92" y="41"/>
                  </a:cubicBezTo>
                  <a:cubicBezTo>
                    <a:pt x="66" y="9"/>
                    <a:pt x="24" y="7"/>
                    <a:pt x="24" y="7"/>
                  </a:cubicBezTo>
                  <a:cubicBezTo>
                    <a:pt x="0" y="0"/>
                    <a:pt x="0" y="0"/>
                    <a:pt x="0" y="0"/>
                  </a:cubicBezTo>
                  <a:cubicBezTo>
                    <a:pt x="1" y="1"/>
                    <a:pt x="3" y="2"/>
                    <a:pt x="4" y="3"/>
                  </a:cubicBezTo>
                  <a:cubicBezTo>
                    <a:pt x="7" y="5"/>
                    <a:pt x="11" y="6"/>
                    <a:pt x="13" y="9"/>
                  </a:cubicBezTo>
                  <a:cubicBezTo>
                    <a:pt x="14" y="10"/>
                    <a:pt x="14" y="12"/>
                    <a:pt x="14" y="14"/>
                  </a:cubicBezTo>
                  <a:cubicBezTo>
                    <a:pt x="14" y="22"/>
                    <a:pt x="14" y="29"/>
                    <a:pt x="14" y="36"/>
                  </a:cubicBezTo>
                  <a:cubicBezTo>
                    <a:pt x="24" y="49"/>
                    <a:pt x="23" y="68"/>
                    <a:pt x="15" y="82"/>
                  </a:cubicBezTo>
                  <a:cubicBezTo>
                    <a:pt x="12" y="86"/>
                    <a:pt x="8" y="91"/>
                    <a:pt x="9" y="96"/>
                  </a:cubicBezTo>
                  <a:cubicBezTo>
                    <a:pt x="10" y="99"/>
                    <a:pt x="11" y="100"/>
                    <a:pt x="13" y="102"/>
                  </a:cubicBezTo>
                  <a:cubicBezTo>
                    <a:pt x="18" y="107"/>
                    <a:pt x="26" y="110"/>
                    <a:pt x="32" y="115"/>
                  </a:cubicBezTo>
                  <a:cubicBezTo>
                    <a:pt x="38" y="120"/>
                    <a:pt x="43" y="129"/>
                    <a:pt x="40" y="136"/>
                  </a:cubicBezTo>
                  <a:cubicBezTo>
                    <a:pt x="38" y="140"/>
                    <a:pt x="34" y="142"/>
                    <a:pt x="31" y="145"/>
                  </a:cubicBezTo>
                  <a:cubicBezTo>
                    <a:pt x="22" y="155"/>
                    <a:pt x="22" y="172"/>
                    <a:pt x="28" y="184"/>
                  </a:cubicBezTo>
                  <a:cubicBezTo>
                    <a:pt x="34" y="197"/>
                    <a:pt x="45" y="206"/>
                    <a:pt x="56" y="215"/>
                  </a:cubicBezTo>
                  <a:cubicBezTo>
                    <a:pt x="63" y="221"/>
                    <a:pt x="71" y="227"/>
                    <a:pt x="78" y="234"/>
                  </a:cubicBezTo>
                  <a:cubicBezTo>
                    <a:pt x="81" y="237"/>
                    <a:pt x="82" y="242"/>
                    <a:pt x="81" y="247"/>
                  </a:cubicBezTo>
                  <a:cubicBezTo>
                    <a:pt x="80" y="255"/>
                    <a:pt x="76" y="262"/>
                    <a:pt x="78" y="270"/>
                  </a:cubicBezTo>
                  <a:cubicBezTo>
                    <a:pt x="79" y="273"/>
                    <a:pt x="80" y="275"/>
                    <a:pt x="82" y="278"/>
                  </a:cubicBezTo>
                  <a:cubicBezTo>
                    <a:pt x="83" y="280"/>
                    <a:pt x="85" y="282"/>
                    <a:pt x="87" y="284"/>
                  </a:cubicBezTo>
                  <a:cubicBezTo>
                    <a:pt x="88" y="285"/>
                    <a:pt x="90" y="286"/>
                    <a:pt x="91" y="287"/>
                  </a:cubicBezTo>
                  <a:cubicBezTo>
                    <a:pt x="108" y="295"/>
                    <a:pt x="124" y="304"/>
                    <a:pt x="143" y="309"/>
                  </a:cubicBezTo>
                  <a:cubicBezTo>
                    <a:pt x="156" y="312"/>
                    <a:pt x="169" y="314"/>
                    <a:pt x="182" y="315"/>
                  </a:cubicBezTo>
                  <a:cubicBezTo>
                    <a:pt x="186" y="315"/>
                    <a:pt x="189" y="315"/>
                    <a:pt x="193" y="316"/>
                  </a:cubicBezTo>
                  <a:cubicBezTo>
                    <a:pt x="195" y="316"/>
                    <a:pt x="197" y="317"/>
                    <a:pt x="199" y="318"/>
                  </a:cubicBezTo>
                  <a:cubicBezTo>
                    <a:pt x="211" y="324"/>
                    <a:pt x="226" y="330"/>
                    <a:pt x="237" y="322"/>
                  </a:cubicBezTo>
                  <a:cubicBezTo>
                    <a:pt x="244" y="316"/>
                    <a:pt x="245" y="305"/>
                    <a:pt x="246" y="296"/>
                  </a:cubicBezTo>
                  <a:cubicBezTo>
                    <a:pt x="247" y="290"/>
                    <a:pt x="248" y="283"/>
                    <a:pt x="252" y="278"/>
                  </a:cubicBezTo>
                  <a:cubicBezTo>
                    <a:pt x="253" y="277"/>
                    <a:pt x="255" y="276"/>
                    <a:pt x="256" y="275"/>
                  </a:cubicBezTo>
                  <a:cubicBezTo>
                    <a:pt x="258" y="273"/>
                    <a:pt x="258" y="273"/>
                    <a:pt x="260" y="274"/>
                  </a:cubicBezTo>
                  <a:cubicBezTo>
                    <a:pt x="263" y="276"/>
                    <a:pt x="267" y="276"/>
                    <a:pt x="270" y="278"/>
                  </a:cubicBezTo>
                  <a:cubicBezTo>
                    <a:pt x="272" y="279"/>
                    <a:pt x="273" y="281"/>
                    <a:pt x="274" y="283"/>
                  </a:cubicBezTo>
                  <a:cubicBezTo>
                    <a:pt x="277" y="288"/>
                    <a:pt x="279" y="293"/>
                    <a:pt x="281" y="299"/>
                  </a:cubicBezTo>
                  <a:cubicBezTo>
                    <a:pt x="282" y="304"/>
                    <a:pt x="282" y="310"/>
                    <a:pt x="283" y="315"/>
                  </a:cubicBezTo>
                  <a:cubicBezTo>
                    <a:pt x="283" y="320"/>
                    <a:pt x="285" y="325"/>
                    <a:pt x="287" y="329"/>
                  </a:cubicBezTo>
                  <a:cubicBezTo>
                    <a:pt x="288" y="331"/>
                    <a:pt x="288" y="333"/>
                    <a:pt x="290" y="334"/>
                  </a:cubicBezTo>
                  <a:cubicBezTo>
                    <a:pt x="292" y="336"/>
                    <a:pt x="294" y="336"/>
                    <a:pt x="297" y="337"/>
                  </a:cubicBezTo>
                  <a:cubicBezTo>
                    <a:pt x="301" y="338"/>
                    <a:pt x="305" y="339"/>
                    <a:pt x="309" y="337"/>
                  </a:cubicBezTo>
                  <a:cubicBezTo>
                    <a:pt x="311" y="336"/>
                    <a:pt x="313" y="335"/>
                    <a:pt x="314" y="334"/>
                  </a:cubicBezTo>
                  <a:cubicBezTo>
                    <a:pt x="317" y="331"/>
                    <a:pt x="319" y="329"/>
                    <a:pt x="321" y="326"/>
                  </a:cubicBezTo>
                  <a:cubicBezTo>
                    <a:pt x="322" y="324"/>
                    <a:pt x="323" y="323"/>
                    <a:pt x="324" y="321"/>
                  </a:cubicBezTo>
                  <a:cubicBezTo>
                    <a:pt x="325" y="320"/>
                    <a:pt x="326" y="318"/>
                    <a:pt x="328" y="317"/>
                  </a:cubicBezTo>
                  <a:cubicBezTo>
                    <a:pt x="330" y="315"/>
                    <a:pt x="333" y="312"/>
                    <a:pt x="335" y="310"/>
                  </a:cubicBezTo>
                  <a:cubicBezTo>
                    <a:pt x="338" y="309"/>
                    <a:pt x="340" y="306"/>
                    <a:pt x="343" y="305"/>
                  </a:cubicBezTo>
                  <a:cubicBezTo>
                    <a:pt x="349" y="303"/>
                    <a:pt x="355" y="306"/>
                    <a:pt x="360" y="310"/>
                  </a:cubicBezTo>
                  <a:cubicBezTo>
                    <a:pt x="360" y="310"/>
                    <a:pt x="360" y="312"/>
                    <a:pt x="361" y="313"/>
                  </a:cubicBezTo>
                  <a:cubicBezTo>
                    <a:pt x="361" y="314"/>
                    <a:pt x="362" y="315"/>
                    <a:pt x="363" y="316"/>
                  </a:cubicBezTo>
                  <a:cubicBezTo>
                    <a:pt x="366" y="322"/>
                    <a:pt x="374" y="327"/>
                    <a:pt x="379" y="323"/>
                  </a:cubicBezTo>
                  <a:cubicBezTo>
                    <a:pt x="381" y="321"/>
                    <a:pt x="383" y="319"/>
                    <a:pt x="384" y="317"/>
                  </a:cubicBezTo>
                  <a:cubicBezTo>
                    <a:pt x="390" y="311"/>
                    <a:pt x="399" y="312"/>
                    <a:pt x="406" y="315"/>
                  </a:cubicBezTo>
                  <a:cubicBezTo>
                    <a:pt x="412" y="319"/>
                    <a:pt x="418" y="324"/>
                    <a:pt x="424" y="328"/>
                  </a:cubicBezTo>
                  <a:cubicBezTo>
                    <a:pt x="433" y="333"/>
                    <a:pt x="444" y="335"/>
                    <a:pt x="454" y="335"/>
                  </a:cubicBezTo>
                  <a:cubicBezTo>
                    <a:pt x="465" y="336"/>
                    <a:pt x="476" y="335"/>
                    <a:pt x="485" y="330"/>
                  </a:cubicBezTo>
                  <a:cubicBezTo>
                    <a:pt x="494" y="325"/>
                    <a:pt x="500" y="316"/>
                    <a:pt x="505" y="308"/>
                  </a:cubicBezTo>
                  <a:cubicBezTo>
                    <a:pt x="508" y="304"/>
                    <a:pt x="510" y="300"/>
                    <a:pt x="511" y="295"/>
                  </a:cubicBezTo>
                  <a:cubicBezTo>
                    <a:pt x="511" y="291"/>
                    <a:pt x="510" y="287"/>
                    <a:pt x="508" y="284"/>
                  </a:cubicBezTo>
                  <a:close/>
                </a:path>
              </a:pathLst>
            </a:custGeom>
            <a:solidFill>
              <a:schemeClr val="accent2"/>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grpSp>
          <p:nvGrpSpPr>
            <p:cNvPr id="172" name="Group 171">
              <a:extLst>
                <a:ext uri="{FF2B5EF4-FFF2-40B4-BE49-F238E27FC236}">
                  <a16:creationId xmlns:a16="http://schemas.microsoft.com/office/drawing/2014/main" id="{B49FE32F-8E5D-9434-CAF6-5D936C63394B}"/>
                </a:ext>
              </a:extLst>
            </p:cNvPr>
            <p:cNvGrpSpPr/>
            <p:nvPr/>
          </p:nvGrpSpPr>
          <p:grpSpPr bwMode="gray">
            <a:xfrm>
              <a:off x="653197" y="1995954"/>
              <a:ext cx="1266713" cy="1531837"/>
              <a:chOff x="464762" y="1507677"/>
              <a:chExt cx="1506735" cy="1752184"/>
            </a:xfrm>
            <a:solidFill>
              <a:schemeClr val="bg2"/>
            </a:solidFill>
          </p:grpSpPr>
          <p:sp>
            <p:nvSpPr>
              <p:cNvPr id="173" name="Freeform 11">
                <a:extLst>
                  <a:ext uri="{FF2B5EF4-FFF2-40B4-BE49-F238E27FC236}">
                    <a16:creationId xmlns:a16="http://schemas.microsoft.com/office/drawing/2014/main" id="{FE71F9B4-F78D-F2B9-02D3-7A001B916506}"/>
                  </a:ext>
                </a:extLst>
              </p:cNvPr>
              <p:cNvSpPr>
                <a:spLocks/>
              </p:cNvSpPr>
              <p:nvPr/>
            </p:nvSpPr>
            <p:spPr bwMode="gray">
              <a:xfrm>
                <a:off x="566884" y="1507677"/>
                <a:ext cx="1404613" cy="1752184"/>
              </a:xfrm>
              <a:custGeom>
                <a:avLst/>
                <a:gdLst>
                  <a:gd name="T0" fmla="*/ 632 w 881"/>
                  <a:gd name="T1" fmla="*/ 125 h 1099"/>
                  <a:gd name="T2" fmla="*/ 612 w 881"/>
                  <a:gd name="T3" fmla="*/ 9 h 1099"/>
                  <a:gd name="T4" fmla="*/ 484 w 881"/>
                  <a:gd name="T5" fmla="*/ 29 h 1099"/>
                  <a:gd name="T6" fmla="*/ 436 w 881"/>
                  <a:gd name="T7" fmla="*/ 31 h 1099"/>
                  <a:gd name="T8" fmla="*/ 395 w 881"/>
                  <a:gd name="T9" fmla="*/ 31 h 1099"/>
                  <a:gd name="T10" fmla="*/ 309 w 881"/>
                  <a:gd name="T11" fmla="*/ 60 h 1099"/>
                  <a:gd name="T12" fmla="*/ 263 w 881"/>
                  <a:gd name="T13" fmla="*/ 143 h 1099"/>
                  <a:gd name="T14" fmla="*/ 244 w 881"/>
                  <a:gd name="T15" fmla="*/ 183 h 1099"/>
                  <a:gd name="T16" fmla="*/ 266 w 881"/>
                  <a:gd name="T17" fmla="*/ 222 h 1099"/>
                  <a:gd name="T18" fmla="*/ 264 w 881"/>
                  <a:gd name="T19" fmla="*/ 237 h 1099"/>
                  <a:gd name="T20" fmla="*/ 210 w 881"/>
                  <a:gd name="T21" fmla="*/ 242 h 1099"/>
                  <a:gd name="T22" fmla="*/ 191 w 881"/>
                  <a:gd name="T23" fmla="*/ 305 h 1099"/>
                  <a:gd name="T24" fmla="*/ 180 w 881"/>
                  <a:gd name="T25" fmla="*/ 333 h 1099"/>
                  <a:gd name="T26" fmla="*/ 164 w 881"/>
                  <a:gd name="T27" fmla="*/ 401 h 1099"/>
                  <a:gd name="T28" fmla="*/ 147 w 881"/>
                  <a:gd name="T29" fmla="*/ 446 h 1099"/>
                  <a:gd name="T30" fmla="*/ 144 w 881"/>
                  <a:gd name="T31" fmla="*/ 373 h 1099"/>
                  <a:gd name="T32" fmla="*/ 152 w 881"/>
                  <a:gd name="T33" fmla="*/ 346 h 1099"/>
                  <a:gd name="T34" fmla="*/ 135 w 881"/>
                  <a:gd name="T35" fmla="*/ 358 h 1099"/>
                  <a:gd name="T36" fmla="*/ 133 w 881"/>
                  <a:gd name="T37" fmla="*/ 376 h 1099"/>
                  <a:gd name="T38" fmla="*/ 116 w 881"/>
                  <a:gd name="T39" fmla="*/ 409 h 1099"/>
                  <a:gd name="T40" fmla="*/ 121 w 881"/>
                  <a:gd name="T41" fmla="*/ 364 h 1099"/>
                  <a:gd name="T42" fmla="*/ 109 w 881"/>
                  <a:gd name="T43" fmla="*/ 315 h 1099"/>
                  <a:gd name="T44" fmla="*/ 89 w 881"/>
                  <a:gd name="T45" fmla="*/ 296 h 1099"/>
                  <a:gd name="T46" fmla="*/ 76 w 881"/>
                  <a:gd name="T47" fmla="*/ 315 h 1099"/>
                  <a:gd name="T48" fmla="*/ 65 w 881"/>
                  <a:gd name="T49" fmla="*/ 356 h 1099"/>
                  <a:gd name="T50" fmla="*/ 37 w 881"/>
                  <a:gd name="T51" fmla="*/ 328 h 1099"/>
                  <a:gd name="T52" fmla="*/ 20 w 881"/>
                  <a:gd name="T53" fmla="*/ 361 h 1099"/>
                  <a:gd name="T54" fmla="*/ 28 w 881"/>
                  <a:gd name="T55" fmla="*/ 421 h 1099"/>
                  <a:gd name="T56" fmla="*/ 53 w 881"/>
                  <a:gd name="T57" fmla="*/ 442 h 1099"/>
                  <a:gd name="T58" fmla="*/ 83 w 881"/>
                  <a:gd name="T59" fmla="*/ 479 h 1099"/>
                  <a:gd name="T60" fmla="*/ 100 w 881"/>
                  <a:gd name="T61" fmla="*/ 481 h 1099"/>
                  <a:gd name="T62" fmla="*/ 128 w 881"/>
                  <a:gd name="T63" fmla="*/ 477 h 1099"/>
                  <a:gd name="T64" fmla="*/ 120 w 881"/>
                  <a:gd name="T65" fmla="*/ 513 h 1099"/>
                  <a:gd name="T66" fmla="*/ 172 w 881"/>
                  <a:gd name="T67" fmla="*/ 485 h 1099"/>
                  <a:gd name="T68" fmla="*/ 169 w 881"/>
                  <a:gd name="T69" fmla="*/ 516 h 1099"/>
                  <a:gd name="T70" fmla="*/ 164 w 881"/>
                  <a:gd name="T71" fmla="*/ 573 h 1099"/>
                  <a:gd name="T72" fmla="*/ 131 w 881"/>
                  <a:gd name="T73" fmla="*/ 598 h 1099"/>
                  <a:gd name="T74" fmla="*/ 84 w 881"/>
                  <a:gd name="T75" fmla="*/ 613 h 1099"/>
                  <a:gd name="T76" fmla="*/ 128 w 881"/>
                  <a:gd name="T77" fmla="*/ 637 h 1099"/>
                  <a:gd name="T78" fmla="*/ 84 w 881"/>
                  <a:gd name="T79" fmla="*/ 642 h 1099"/>
                  <a:gd name="T80" fmla="*/ 60 w 881"/>
                  <a:gd name="T81" fmla="*/ 673 h 1099"/>
                  <a:gd name="T82" fmla="*/ 64 w 881"/>
                  <a:gd name="T83" fmla="*/ 697 h 1099"/>
                  <a:gd name="T84" fmla="*/ 36 w 881"/>
                  <a:gd name="T85" fmla="*/ 749 h 1099"/>
                  <a:gd name="T86" fmla="*/ 100 w 881"/>
                  <a:gd name="T87" fmla="*/ 765 h 1099"/>
                  <a:gd name="T88" fmla="*/ 135 w 881"/>
                  <a:gd name="T89" fmla="*/ 759 h 1099"/>
                  <a:gd name="T90" fmla="*/ 174 w 881"/>
                  <a:gd name="T91" fmla="*/ 740 h 1099"/>
                  <a:gd name="T92" fmla="*/ 251 w 881"/>
                  <a:gd name="T93" fmla="*/ 638 h 1099"/>
                  <a:gd name="T94" fmla="*/ 209 w 881"/>
                  <a:gd name="T95" fmla="*/ 705 h 1099"/>
                  <a:gd name="T96" fmla="*/ 184 w 881"/>
                  <a:gd name="T97" fmla="*/ 809 h 1099"/>
                  <a:gd name="T98" fmla="*/ 160 w 881"/>
                  <a:gd name="T99" fmla="*/ 962 h 1099"/>
                  <a:gd name="T100" fmla="*/ 135 w 881"/>
                  <a:gd name="T101" fmla="*/ 1097 h 1099"/>
                  <a:gd name="T102" fmla="*/ 211 w 881"/>
                  <a:gd name="T103" fmla="*/ 955 h 1099"/>
                  <a:gd name="T104" fmla="*/ 229 w 881"/>
                  <a:gd name="T105" fmla="*/ 875 h 1099"/>
                  <a:gd name="T106" fmla="*/ 290 w 881"/>
                  <a:gd name="T107" fmla="*/ 930 h 1099"/>
                  <a:gd name="T108" fmla="*/ 357 w 881"/>
                  <a:gd name="T109" fmla="*/ 873 h 1099"/>
                  <a:gd name="T110" fmla="*/ 543 w 881"/>
                  <a:gd name="T111" fmla="*/ 828 h 1099"/>
                  <a:gd name="T112" fmla="*/ 733 w 881"/>
                  <a:gd name="T113" fmla="*/ 698 h 1099"/>
                  <a:gd name="T114" fmla="*/ 819 w 881"/>
                  <a:gd name="T115" fmla="*/ 546 h 1099"/>
                  <a:gd name="T116" fmla="*/ 798 w 881"/>
                  <a:gd name="T117" fmla="*/ 335 h 1099"/>
                  <a:gd name="T118" fmla="*/ 520 w 881"/>
                  <a:gd name="T119" fmla="*/ 346 h 1099"/>
                  <a:gd name="T120" fmla="*/ 518 w 881"/>
                  <a:gd name="T121" fmla="*/ 306 h 1099"/>
                  <a:gd name="T122" fmla="*/ 495 w 881"/>
                  <a:gd name="T123" fmla="*/ 276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1" h="1099">
                    <a:moveTo>
                      <a:pt x="499" y="236"/>
                    </a:moveTo>
                    <a:cubicBezTo>
                      <a:pt x="499" y="236"/>
                      <a:pt x="500" y="235"/>
                      <a:pt x="500" y="235"/>
                    </a:cubicBezTo>
                    <a:cubicBezTo>
                      <a:pt x="502" y="235"/>
                      <a:pt x="504" y="236"/>
                      <a:pt x="506" y="236"/>
                    </a:cubicBezTo>
                    <a:cubicBezTo>
                      <a:pt x="510" y="236"/>
                      <a:pt x="511" y="230"/>
                      <a:pt x="515" y="229"/>
                    </a:cubicBezTo>
                    <a:cubicBezTo>
                      <a:pt x="516" y="228"/>
                      <a:pt x="518" y="229"/>
                      <a:pt x="520" y="228"/>
                    </a:cubicBezTo>
                    <a:cubicBezTo>
                      <a:pt x="522" y="227"/>
                      <a:pt x="522" y="224"/>
                      <a:pt x="523" y="222"/>
                    </a:cubicBezTo>
                    <a:cubicBezTo>
                      <a:pt x="524" y="218"/>
                      <a:pt x="528" y="216"/>
                      <a:pt x="531" y="214"/>
                    </a:cubicBezTo>
                    <a:cubicBezTo>
                      <a:pt x="534" y="211"/>
                      <a:pt x="537" y="208"/>
                      <a:pt x="540" y="205"/>
                    </a:cubicBezTo>
                    <a:cubicBezTo>
                      <a:pt x="540" y="205"/>
                      <a:pt x="592" y="161"/>
                      <a:pt x="600" y="141"/>
                    </a:cubicBezTo>
                    <a:cubicBezTo>
                      <a:pt x="600" y="141"/>
                      <a:pt x="616" y="149"/>
                      <a:pt x="632" y="125"/>
                    </a:cubicBezTo>
                    <a:cubicBezTo>
                      <a:pt x="643" y="115"/>
                      <a:pt x="659" y="100"/>
                      <a:pt x="660" y="84"/>
                    </a:cubicBezTo>
                    <a:cubicBezTo>
                      <a:pt x="660" y="82"/>
                      <a:pt x="662" y="75"/>
                      <a:pt x="661" y="73"/>
                    </a:cubicBezTo>
                    <a:cubicBezTo>
                      <a:pt x="660" y="69"/>
                      <a:pt x="655" y="70"/>
                      <a:pt x="653" y="67"/>
                    </a:cubicBezTo>
                    <a:cubicBezTo>
                      <a:pt x="649" y="61"/>
                      <a:pt x="659" y="50"/>
                      <a:pt x="661" y="46"/>
                    </a:cubicBezTo>
                    <a:cubicBezTo>
                      <a:pt x="663" y="41"/>
                      <a:pt x="665" y="35"/>
                      <a:pt x="665" y="30"/>
                    </a:cubicBezTo>
                    <a:cubicBezTo>
                      <a:pt x="666" y="25"/>
                      <a:pt x="665" y="20"/>
                      <a:pt x="665" y="15"/>
                    </a:cubicBezTo>
                    <a:cubicBezTo>
                      <a:pt x="665" y="14"/>
                      <a:pt x="665" y="13"/>
                      <a:pt x="665" y="12"/>
                    </a:cubicBezTo>
                    <a:cubicBezTo>
                      <a:pt x="664" y="11"/>
                      <a:pt x="663" y="11"/>
                      <a:pt x="661" y="11"/>
                    </a:cubicBezTo>
                    <a:cubicBezTo>
                      <a:pt x="648" y="12"/>
                      <a:pt x="635" y="12"/>
                      <a:pt x="623" y="10"/>
                    </a:cubicBezTo>
                    <a:cubicBezTo>
                      <a:pt x="619" y="9"/>
                      <a:pt x="615" y="9"/>
                      <a:pt x="612" y="9"/>
                    </a:cubicBezTo>
                    <a:cubicBezTo>
                      <a:pt x="608" y="10"/>
                      <a:pt x="604" y="12"/>
                      <a:pt x="602" y="15"/>
                    </a:cubicBezTo>
                    <a:cubicBezTo>
                      <a:pt x="601" y="17"/>
                      <a:pt x="601" y="19"/>
                      <a:pt x="600" y="20"/>
                    </a:cubicBezTo>
                    <a:cubicBezTo>
                      <a:pt x="598" y="22"/>
                      <a:pt x="595" y="23"/>
                      <a:pt x="593" y="23"/>
                    </a:cubicBezTo>
                    <a:cubicBezTo>
                      <a:pt x="581" y="25"/>
                      <a:pt x="567" y="23"/>
                      <a:pt x="556" y="29"/>
                    </a:cubicBezTo>
                    <a:cubicBezTo>
                      <a:pt x="552" y="31"/>
                      <a:pt x="544" y="29"/>
                      <a:pt x="540" y="29"/>
                    </a:cubicBezTo>
                    <a:cubicBezTo>
                      <a:pt x="537" y="29"/>
                      <a:pt x="534" y="28"/>
                      <a:pt x="531" y="29"/>
                    </a:cubicBezTo>
                    <a:cubicBezTo>
                      <a:pt x="528" y="31"/>
                      <a:pt x="528" y="36"/>
                      <a:pt x="524" y="37"/>
                    </a:cubicBezTo>
                    <a:cubicBezTo>
                      <a:pt x="524" y="37"/>
                      <a:pt x="523" y="37"/>
                      <a:pt x="522" y="37"/>
                    </a:cubicBezTo>
                    <a:cubicBezTo>
                      <a:pt x="515" y="37"/>
                      <a:pt x="504" y="39"/>
                      <a:pt x="499" y="35"/>
                    </a:cubicBezTo>
                    <a:cubicBezTo>
                      <a:pt x="495" y="32"/>
                      <a:pt x="491" y="22"/>
                      <a:pt x="484" y="29"/>
                    </a:cubicBezTo>
                    <a:cubicBezTo>
                      <a:pt x="481" y="32"/>
                      <a:pt x="479" y="36"/>
                      <a:pt x="474" y="36"/>
                    </a:cubicBezTo>
                    <a:cubicBezTo>
                      <a:pt x="471" y="36"/>
                      <a:pt x="469" y="36"/>
                      <a:pt x="467" y="37"/>
                    </a:cubicBezTo>
                    <a:cubicBezTo>
                      <a:pt x="464" y="40"/>
                      <a:pt x="466" y="43"/>
                      <a:pt x="461" y="41"/>
                    </a:cubicBezTo>
                    <a:cubicBezTo>
                      <a:pt x="457" y="40"/>
                      <a:pt x="454" y="39"/>
                      <a:pt x="450" y="38"/>
                    </a:cubicBezTo>
                    <a:cubicBezTo>
                      <a:pt x="450" y="38"/>
                      <a:pt x="449" y="37"/>
                      <a:pt x="449" y="37"/>
                    </a:cubicBezTo>
                    <a:cubicBezTo>
                      <a:pt x="448" y="36"/>
                      <a:pt x="448" y="34"/>
                      <a:pt x="448" y="32"/>
                    </a:cubicBezTo>
                    <a:cubicBezTo>
                      <a:pt x="448" y="31"/>
                      <a:pt x="446" y="30"/>
                      <a:pt x="445" y="30"/>
                    </a:cubicBezTo>
                    <a:cubicBezTo>
                      <a:pt x="444" y="29"/>
                      <a:pt x="443" y="29"/>
                      <a:pt x="441" y="29"/>
                    </a:cubicBezTo>
                    <a:cubicBezTo>
                      <a:pt x="440" y="29"/>
                      <a:pt x="438" y="30"/>
                      <a:pt x="436" y="31"/>
                    </a:cubicBezTo>
                    <a:cubicBezTo>
                      <a:pt x="436" y="31"/>
                      <a:pt x="436" y="31"/>
                      <a:pt x="436" y="31"/>
                    </a:cubicBezTo>
                    <a:cubicBezTo>
                      <a:pt x="436" y="31"/>
                      <a:pt x="436" y="32"/>
                      <a:pt x="436" y="32"/>
                    </a:cubicBezTo>
                    <a:cubicBezTo>
                      <a:pt x="436" y="34"/>
                      <a:pt x="437" y="40"/>
                      <a:pt x="436" y="42"/>
                    </a:cubicBezTo>
                    <a:cubicBezTo>
                      <a:pt x="435" y="43"/>
                      <a:pt x="434" y="43"/>
                      <a:pt x="432" y="43"/>
                    </a:cubicBezTo>
                    <a:cubicBezTo>
                      <a:pt x="432" y="43"/>
                      <a:pt x="431" y="43"/>
                      <a:pt x="431" y="42"/>
                    </a:cubicBezTo>
                    <a:cubicBezTo>
                      <a:pt x="430" y="42"/>
                      <a:pt x="430" y="42"/>
                      <a:pt x="430" y="41"/>
                    </a:cubicBezTo>
                    <a:cubicBezTo>
                      <a:pt x="430" y="38"/>
                      <a:pt x="430" y="38"/>
                      <a:pt x="428" y="36"/>
                    </a:cubicBezTo>
                    <a:cubicBezTo>
                      <a:pt x="427" y="35"/>
                      <a:pt x="425" y="33"/>
                      <a:pt x="424" y="33"/>
                    </a:cubicBezTo>
                    <a:cubicBezTo>
                      <a:pt x="421" y="32"/>
                      <a:pt x="418" y="30"/>
                      <a:pt x="416" y="30"/>
                    </a:cubicBezTo>
                    <a:cubicBezTo>
                      <a:pt x="413" y="29"/>
                      <a:pt x="411" y="31"/>
                      <a:pt x="409" y="30"/>
                    </a:cubicBezTo>
                    <a:cubicBezTo>
                      <a:pt x="404" y="30"/>
                      <a:pt x="400" y="30"/>
                      <a:pt x="395" y="31"/>
                    </a:cubicBezTo>
                    <a:cubicBezTo>
                      <a:pt x="394" y="31"/>
                      <a:pt x="394" y="31"/>
                      <a:pt x="393" y="31"/>
                    </a:cubicBezTo>
                    <a:cubicBezTo>
                      <a:pt x="392" y="32"/>
                      <a:pt x="392" y="33"/>
                      <a:pt x="393" y="35"/>
                    </a:cubicBezTo>
                    <a:cubicBezTo>
                      <a:pt x="393" y="35"/>
                      <a:pt x="393" y="36"/>
                      <a:pt x="393" y="37"/>
                    </a:cubicBezTo>
                    <a:cubicBezTo>
                      <a:pt x="394" y="37"/>
                      <a:pt x="394" y="37"/>
                      <a:pt x="395" y="37"/>
                    </a:cubicBezTo>
                    <a:cubicBezTo>
                      <a:pt x="398" y="37"/>
                      <a:pt x="400" y="37"/>
                      <a:pt x="398" y="41"/>
                    </a:cubicBezTo>
                    <a:cubicBezTo>
                      <a:pt x="397" y="43"/>
                      <a:pt x="395" y="44"/>
                      <a:pt x="393" y="44"/>
                    </a:cubicBezTo>
                    <a:cubicBezTo>
                      <a:pt x="392" y="44"/>
                      <a:pt x="391" y="43"/>
                      <a:pt x="390" y="42"/>
                    </a:cubicBezTo>
                    <a:cubicBezTo>
                      <a:pt x="380" y="33"/>
                      <a:pt x="353" y="0"/>
                      <a:pt x="337" y="14"/>
                    </a:cubicBezTo>
                    <a:cubicBezTo>
                      <a:pt x="327" y="24"/>
                      <a:pt x="318" y="37"/>
                      <a:pt x="312" y="51"/>
                    </a:cubicBezTo>
                    <a:cubicBezTo>
                      <a:pt x="311" y="54"/>
                      <a:pt x="310" y="57"/>
                      <a:pt x="309" y="60"/>
                    </a:cubicBezTo>
                    <a:cubicBezTo>
                      <a:pt x="309" y="64"/>
                      <a:pt x="310" y="68"/>
                      <a:pt x="310" y="71"/>
                    </a:cubicBezTo>
                    <a:cubicBezTo>
                      <a:pt x="310" y="72"/>
                      <a:pt x="310" y="73"/>
                      <a:pt x="310" y="74"/>
                    </a:cubicBezTo>
                    <a:cubicBezTo>
                      <a:pt x="309" y="76"/>
                      <a:pt x="308" y="77"/>
                      <a:pt x="307" y="78"/>
                    </a:cubicBezTo>
                    <a:cubicBezTo>
                      <a:pt x="300" y="87"/>
                      <a:pt x="297" y="98"/>
                      <a:pt x="300" y="109"/>
                    </a:cubicBezTo>
                    <a:cubicBezTo>
                      <a:pt x="302" y="114"/>
                      <a:pt x="302" y="118"/>
                      <a:pt x="303" y="122"/>
                    </a:cubicBezTo>
                    <a:cubicBezTo>
                      <a:pt x="303" y="134"/>
                      <a:pt x="289" y="134"/>
                      <a:pt x="281" y="135"/>
                    </a:cubicBezTo>
                    <a:cubicBezTo>
                      <a:pt x="278" y="135"/>
                      <a:pt x="275" y="135"/>
                      <a:pt x="272" y="134"/>
                    </a:cubicBezTo>
                    <a:cubicBezTo>
                      <a:pt x="270" y="133"/>
                      <a:pt x="267" y="131"/>
                      <a:pt x="265" y="130"/>
                    </a:cubicBezTo>
                    <a:cubicBezTo>
                      <a:pt x="262" y="129"/>
                      <a:pt x="258" y="129"/>
                      <a:pt x="257" y="132"/>
                    </a:cubicBezTo>
                    <a:cubicBezTo>
                      <a:pt x="255" y="136"/>
                      <a:pt x="261" y="140"/>
                      <a:pt x="263" y="143"/>
                    </a:cubicBezTo>
                    <a:cubicBezTo>
                      <a:pt x="264" y="149"/>
                      <a:pt x="262" y="155"/>
                      <a:pt x="264" y="161"/>
                    </a:cubicBezTo>
                    <a:cubicBezTo>
                      <a:pt x="265" y="165"/>
                      <a:pt x="267" y="168"/>
                      <a:pt x="268" y="172"/>
                    </a:cubicBezTo>
                    <a:cubicBezTo>
                      <a:pt x="269" y="175"/>
                      <a:pt x="268" y="177"/>
                      <a:pt x="269" y="180"/>
                    </a:cubicBezTo>
                    <a:cubicBezTo>
                      <a:pt x="269" y="182"/>
                      <a:pt x="269" y="184"/>
                      <a:pt x="268" y="185"/>
                    </a:cubicBezTo>
                    <a:cubicBezTo>
                      <a:pt x="267" y="185"/>
                      <a:pt x="264" y="186"/>
                      <a:pt x="263" y="185"/>
                    </a:cubicBezTo>
                    <a:cubicBezTo>
                      <a:pt x="263" y="184"/>
                      <a:pt x="263" y="183"/>
                      <a:pt x="262" y="183"/>
                    </a:cubicBezTo>
                    <a:cubicBezTo>
                      <a:pt x="261" y="177"/>
                      <a:pt x="256" y="178"/>
                      <a:pt x="252" y="174"/>
                    </a:cubicBezTo>
                    <a:cubicBezTo>
                      <a:pt x="251" y="173"/>
                      <a:pt x="249" y="172"/>
                      <a:pt x="248" y="173"/>
                    </a:cubicBezTo>
                    <a:cubicBezTo>
                      <a:pt x="246" y="173"/>
                      <a:pt x="246" y="174"/>
                      <a:pt x="245" y="175"/>
                    </a:cubicBezTo>
                    <a:cubicBezTo>
                      <a:pt x="244" y="177"/>
                      <a:pt x="244" y="180"/>
                      <a:pt x="244" y="183"/>
                    </a:cubicBezTo>
                    <a:cubicBezTo>
                      <a:pt x="244" y="189"/>
                      <a:pt x="244" y="195"/>
                      <a:pt x="245" y="202"/>
                    </a:cubicBezTo>
                    <a:cubicBezTo>
                      <a:pt x="245" y="204"/>
                      <a:pt x="245" y="205"/>
                      <a:pt x="245" y="207"/>
                    </a:cubicBezTo>
                    <a:cubicBezTo>
                      <a:pt x="245" y="208"/>
                      <a:pt x="245" y="209"/>
                      <a:pt x="246" y="210"/>
                    </a:cubicBezTo>
                    <a:cubicBezTo>
                      <a:pt x="246" y="210"/>
                      <a:pt x="247" y="210"/>
                      <a:pt x="248" y="210"/>
                    </a:cubicBezTo>
                    <a:cubicBezTo>
                      <a:pt x="252" y="210"/>
                      <a:pt x="257" y="210"/>
                      <a:pt x="261" y="209"/>
                    </a:cubicBezTo>
                    <a:cubicBezTo>
                      <a:pt x="262" y="209"/>
                      <a:pt x="263" y="209"/>
                      <a:pt x="263" y="210"/>
                    </a:cubicBezTo>
                    <a:cubicBezTo>
                      <a:pt x="263" y="210"/>
                      <a:pt x="263" y="211"/>
                      <a:pt x="263" y="211"/>
                    </a:cubicBezTo>
                    <a:cubicBezTo>
                      <a:pt x="263" y="214"/>
                      <a:pt x="263" y="216"/>
                      <a:pt x="263" y="219"/>
                    </a:cubicBezTo>
                    <a:cubicBezTo>
                      <a:pt x="263" y="220"/>
                      <a:pt x="263" y="220"/>
                      <a:pt x="264" y="221"/>
                    </a:cubicBezTo>
                    <a:cubicBezTo>
                      <a:pt x="264" y="222"/>
                      <a:pt x="265" y="222"/>
                      <a:pt x="266" y="222"/>
                    </a:cubicBezTo>
                    <a:cubicBezTo>
                      <a:pt x="268" y="222"/>
                      <a:pt x="270" y="223"/>
                      <a:pt x="270" y="225"/>
                    </a:cubicBezTo>
                    <a:cubicBezTo>
                      <a:pt x="270" y="226"/>
                      <a:pt x="269" y="226"/>
                      <a:pt x="269" y="227"/>
                    </a:cubicBezTo>
                    <a:cubicBezTo>
                      <a:pt x="270" y="228"/>
                      <a:pt x="270" y="228"/>
                      <a:pt x="271" y="228"/>
                    </a:cubicBezTo>
                    <a:cubicBezTo>
                      <a:pt x="272" y="228"/>
                      <a:pt x="273" y="228"/>
                      <a:pt x="274" y="228"/>
                    </a:cubicBezTo>
                    <a:cubicBezTo>
                      <a:pt x="276" y="228"/>
                      <a:pt x="278" y="229"/>
                      <a:pt x="280" y="231"/>
                    </a:cubicBezTo>
                    <a:cubicBezTo>
                      <a:pt x="281" y="233"/>
                      <a:pt x="282" y="235"/>
                      <a:pt x="282" y="237"/>
                    </a:cubicBezTo>
                    <a:cubicBezTo>
                      <a:pt x="282" y="239"/>
                      <a:pt x="282" y="240"/>
                      <a:pt x="280" y="241"/>
                    </a:cubicBezTo>
                    <a:cubicBezTo>
                      <a:pt x="280" y="241"/>
                      <a:pt x="280" y="241"/>
                      <a:pt x="279" y="241"/>
                    </a:cubicBezTo>
                    <a:cubicBezTo>
                      <a:pt x="276" y="240"/>
                      <a:pt x="273" y="240"/>
                      <a:pt x="270" y="240"/>
                    </a:cubicBezTo>
                    <a:cubicBezTo>
                      <a:pt x="268" y="239"/>
                      <a:pt x="266" y="238"/>
                      <a:pt x="264" y="237"/>
                    </a:cubicBezTo>
                    <a:cubicBezTo>
                      <a:pt x="256" y="233"/>
                      <a:pt x="256" y="233"/>
                      <a:pt x="256" y="233"/>
                    </a:cubicBezTo>
                    <a:cubicBezTo>
                      <a:pt x="251" y="230"/>
                      <a:pt x="248" y="242"/>
                      <a:pt x="246" y="243"/>
                    </a:cubicBezTo>
                    <a:cubicBezTo>
                      <a:pt x="242" y="246"/>
                      <a:pt x="242" y="248"/>
                      <a:pt x="240" y="253"/>
                    </a:cubicBezTo>
                    <a:cubicBezTo>
                      <a:pt x="239" y="256"/>
                      <a:pt x="236" y="261"/>
                      <a:pt x="232" y="257"/>
                    </a:cubicBezTo>
                    <a:cubicBezTo>
                      <a:pt x="229" y="255"/>
                      <a:pt x="232" y="251"/>
                      <a:pt x="230" y="249"/>
                    </a:cubicBezTo>
                    <a:cubicBezTo>
                      <a:pt x="229" y="248"/>
                      <a:pt x="228" y="247"/>
                      <a:pt x="227" y="247"/>
                    </a:cubicBezTo>
                    <a:cubicBezTo>
                      <a:pt x="225" y="245"/>
                      <a:pt x="225" y="242"/>
                      <a:pt x="224" y="240"/>
                    </a:cubicBezTo>
                    <a:cubicBezTo>
                      <a:pt x="223" y="237"/>
                      <a:pt x="219" y="236"/>
                      <a:pt x="216" y="235"/>
                    </a:cubicBezTo>
                    <a:cubicBezTo>
                      <a:pt x="215" y="235"/>
                      <a:pt x="214" y="235"/>
                      <a:pt x="213" y="236"/>
                    </a:cubicBezTo>
                    <a:cubicBezTo>
                      <a:pt x="211" y="237"/>
                      <a:pt x="210" y="240"/>
                      <a:pt x="210" y="242"/>
                    </a:cubicBezTo>
                    <a:cubicBezTo>
                      <a:pt x="210" y="245"/>
                      <a:pt x="211" y="247"/>
                      <a:pt x="210" y="250"/>
                    </a:cubicBezTo>
                    <a:cubicBezTo>
                      <a:pt x="208" y="254"/>
                      <a:pt x="202" y="254"/>
                      <a:pt x="197" y="253"/>
                    </a:cubicBezTo>
                    <a:cubicBezTo>
                      <a:pt x="195" y="253"/>
                      <a:pt x="192" y="253"/>
                      <a:pt x="189" y="252"/>
                    </a:cubicBezTo>
                    <a:cubicBezTo>
                      <a:pt x="184" y="251"/>
                      <a:pt x="179" y="253"/>
                      <a:pt x="176" y="258"/>
                    </a:cubicBezTo>
                    <a:cubicBezTo>
                      <a:pt x="173" y="265"/>
                      <a:pt x="176" y="274"/>
                      <a:pt x="176" y="282"/>
                    </a:cubicBezTo>
                    <a:cubicBezTo>
                      <a:pt x="176" y="285"/>
                      <a:pt x="175" y="288"/>
                      <a:pt x="176" y="291"/>
                    </a:cubicBezTo>
                    <a:cubicBezTo>
                      <a:pt x="176" y="295"/>
                      <a:pt x="177" y="294"/>
                      <a:pt x="180" y="295"/>
                    </a:cubicBezTo>
                    <a:cubicBezTo>
                      <a:pt x="183" y="295"/>
                      <a:pt x="190" y="294"/>
                      <a:pt x="192" y="297"/>
                    </a:cubicBezTo>
                    <a:cubicBezTo>
                      <a:pt x="193" y="298"/>
                      <a:pt x="193" y="300"/>
                      <a:pt x="192" y="301"/>
                    </a:cubicBezTo>
                    <a:cubicBezTo>
                      <a:pt x="192" y="302"/>
                      <a:pt x="192" y="304"/>
                      <a:pt x="191" y="305"/>
                    </a:cubicBezTo>
                    <a:cubicBezTo>
                      <a:pt x="191" y="305"/>
                      <a:pt x="190" y="305"/>
                      <a:pt x="189" y="306"/>
                    </a:cubicBezTo>
                    <a:cubicBezTo>
                      <a:pt x="189" y="306"/>
                      <a:pt x="189" y="307"/>
                      <a:pt x="188" y="308"/>
                    </a:cubicBezTo>
                    <a:cubicBezTo>
                      <a:pt x="188" y="309"/>
                      <a:pt x="187" y="309"/>
                      <a:pt x="186" y="309"/>
                    </a:cubicBezTo>
                    <a:cubicBezTo>
                      <a:pt x="183" y="309"/>
                      <a:pt x="180" y="309"/>
                      <a:pt x="178" y="310"/>
                    </a:cubicBezTo>
                    <a:cubicBezTo>
                      <a:pt x="175" y="312"/>
                      <a:pt x="176" y="317"/>
                      <a:pt x="175" y="320"/>
                    </a:cubicBezTo>
                    <a:cubicBezTo>
                      <a:pt x="175" y="320"/>
                      <a:pt x="175" y="321"/>
                      <a:pt x="175" y="321"/>
                    </a:cubicBezTo>
                    <a:cubicBezTo>
                      <a:pt x="174" y="321"/>
                      <a:pt x="174" y="321"/>
                      <a:pt x="174" y="322"/>
                    </a:cubicBezTo>
                    <a:cubicBezTo>
                      <a:pt x="172" y="322"/>
                      <a:pt x="172" y="324"/>
                      <a:pt x="172" y="326"/>
                    </a:cubicBezTo>
                    <a:cubicBezTo>
                      <a:pt x="172" y="328"/>
                      <a:pt x="171" y="332"/>
                      <a:pt x="173" y="333"/>
                    </a:cubicBezTo>
                    <a:cubicBezTo>
                      <a:pt x="175" y="334"/>
                      <a:pt x="178" y="333"/>
                      <a:pt x="180" y="333"/>
                    </a:cubicBezTo>
                    <a:cubicBezTo>
                      <a:pt x="188" y="333"/>
                      <a:pt x="192" y="341"/>
                      <a:pt x="192" y="341"/>
                    </a:cubicBezTo>
                    <a:cubicBezTo>
                      <a:pt x="192" y="341"/>
                      <a:pt x="192" y="349"/>
                      <a:pt x="188" y="349"/>
                    </a:cubicBezTo>
                    <a:cubicBezTo>
                      <a:pt x="184" y="349"/>
                      <a:pt x="184" y="349"/>
                      <a:pt x="184" y="349"/>
                    </a:cubicBezTo>
                    <a:cubicBezTo>
                      <a:pt x="180" y="345"/>
                      <a:pt x="180" y="345"/>
                      <a:pt x="180" y="345"/>
                    </a:cubicBezTo>
                    <a:cubicBezTo>
                      <a:pt x="172" y="345"/>
                      <a:pt x="172" y="345"/>
                      <a:pt x="172" y="345"/>
                    </a:cubicBezTo>
                    <a:cubicBezTo>
                      <a:pt x="172" y="345"/>
                      <a:pt x="164" y="345"/>
                      <a:pt x="164" y="349"/>
                    </a:cubicBezTo>
                    <a:cubicBezTo>
                      <a:pt x="164" y="353"/>
                      <a:pt x="164" y="357"/>
                      <a:pt x="164" y="357"/>
                    </a:cubicBezTo>
                    <a:cubicBezTo>
                      <a:pt x="164" y="357"/>
                      <a:pt x="164" y="357"/>
                      <a:pt x="164" y="369"/>
                    </a:cubicBezTo>
                    <a:cubicBezTo>
                      <a:pt x="164" y="381"/>
                      <a:pt x="164" y="393"/>
                      <a:pt x="164" y="393"/>
                    </a:cubicBezTo>
                    <a:cubicBezTo>
                      <a:pt x="164" y="393"/>
                      <a:pt x="164" y="385"/>
                      <a:pt x="164" y="401"/>
                    </a:cubicBezTo>
                    <a:cubicBezTo>
                      <a:pt x="164" y="417"/>
                      <a:pt x="164" y="417"/>
                      <a:pt x="164" y="417"/>
                    </a:cubicBezTo>
                    <a:cubicBezTo>
                      <a:pt x="168" y="421"/>
                      <a:pt x="168" y="421"/>
                      <a:pt x="168" y="421"/>
                    </a:cubicBezTo>
                    <a:cubicBezTo>
                      <a:pt x="176" y="421"/>
                      <a:pt x="176" y="421"/>
                      <a:pt x="176" y="421"/>
                    </a:cubicBezTo>
                    <a:cubicBezTo>
                      <a:pt x="180" y="423"/>
                      <a:pt x="184" y="424"/>
                      <a:pt x="187" y="428"/>
                    </a:cubicBezTo>
                    <a:cubicBezTo>
                      <a:pt x="188" y="429"/>
                      <a:pt x="189" y="430"/>
                      <a:pt x="189" y="431"/>
                    </a:cubicBezTo>
                    <a:cubicBezTo>
                      <a:pt x="188" y="433"/>
                      <a:pt x="185" y="433"/>
                      <a:pt x="183" y="434"/>
                    </a:cubicBezTo>
                    <a:cubicBezTo>
                      <a:pt x="182" y="436"/>
                      <a:pt x="183" y="439"/>
                      <a:pt x="183" y="441"/>
                    </a:cubicBezTo>
                    <a:cubicBezTo>
                      <a:pt x="182" y="445"/>
                      <a:pt x="178" y="446"/>
                      <a:pt x="174" y="446"/>
                    </a:cubicBezTo>
                    <a:cubicBezTo>
                      <a:pt x="168" y="446"/>
                      <a:pt x="162" y="448"/>
                      <a:pt x="156" y="448"/>
                    </a:cubicBezTo>
                    <a:cubicBezTo>
                      <a:pt x="153" y="448"/>
                      <a:pt x="150" y="447"/>
                      <a:pt x="147" y="446"/>
                    </a:cubicBezTo>
                    <a:cubicBezTo>
                      <a:pt x="146" y="445"/>
                      <a:pt x="145" y="444"/>
                      <a:pt x="145" y="442"/>
                    </a:cubicBezTo>
                    <a:cubicBezTo>
                      <a:pt x="144" y="440"/>
                      <a:pt x="146" y="439"/>
                      <a:pt x="146" y="437"/>
                    </a:cubicBezTo>
                    <a:cubicBezTo>
                      <a:pt x="146" y="435"/>
                      <a:pt x="146" y="433"/>
                      <a:pt x="144" y="432"/>
                    </a:cubicBezTo>
                    <a:cubicBezTo>
                      <a:pt x="143" y="432"/>
                      <a:pt x="143" y="432"/>
                      <a:pt x="143" y="432"/>
                    </a:cubicBezTo>
                    <a:cubicBezTo>
                      <a:pt x="143" y="432"/>
                      <a:pt x="142" y="431"/>
                      <a:pt x="142" y="431"/>
                    </a:cubicBezTo>
                    <a:cubicBezTo>
                      <a:pt x="140" y="428"/>
                      <a:pt x="140" y="424"/>
                      <a:pt x="140" y="420"/>
                    </a:cubicBezTo>
                    <a:cubicBezTo>
                      <a:pt x="140" y="419"/>
                      <a:pt x="139" y="417"/>
                      <a:pt x="139" y="415"/>
                    </a:cubicBezTo>
                    <a:cubicBezTo>
                      <a:pt x="139" y="413"/>
                      <a:pt x="140" y="411"/>
                      <a:pt x="140" y="409"/>
                    </a:cubicBezTo>
                    <a:cubicBezTo>
                      <a:pt x="140" y="405"/>
                      <a:pt x="132" y="401"/>
                      <a:pt x="136" y="393"/>
                    </a:cubicBezTo>
                    <a:cubicBezTo>
                      <a:pt x="140" y="385"/>
                      <a:pt x="140" y="381"/>
                      <a:pt x="144" y="373"/>
                    </a:cubicBezTo>
                    <a:cubicBezTo>
                      <a:pt x="145" y="372"/>
                      <a:pt x="146" y="370"/>
                      <a:pt x="146" y="369"/>
                    </a:cubicBezTo>
                    <a:cubicBezTo>
                      <a:pt x="146" y="366"/>
                      <a:pt x="146" y="364"/>
                      <a:pt x="146" y="362"/>
                    </a:cubicBezTo>
                    <a:cubicBezTo>
                      <a:pt x="145" y="361"/>
                      <a:pt x="146" y="359"/>
                      <a:pt x="147" y="359"/>
                    </a:cubicBezTo>
                    <a:cubicBezTo>
                      <a:pt x="147" y="358"/>
                      <a:pt x="148" y="358"/>
                      <a:pt x="149" y="358"/>
                    </a:cubicBezTo>
                    <a:cubicBezTo>
                      <a:pt x="150" y="358"/>
                      <a:pt x="151" y="358"/>
                      <a:pt x="152" y="358"/>
                    </a:cubicBezTo>
                    <a:cubicBezTo>
                      <a:pt x="152" y="358"/>
                      <a:pt x="152" y="358"/>
                      <a:pt x="152" y="358"/>
                    </a:cubicBezTo>
                    <a:cubicBezTo>
                      <a:pt x="152" y="358"/>
                      <a:pt x="152" y="357"/>
                      <a:pt x="152" y="357"/>
                    </a:cubicBezTo>
                    <a:cubicBezTo>
                      <a:pt x="152" y="356"/>
                      <a:pt x="151" y="354"/>
                      <a:pt x="151" y="352"/>
                    </a:cubicBezTo>
                    <a:cubicBezTo>
                      <a:pt x="151" y="351"/>
                      <a:pt x="152" y="349"/>
                      <a:pt x="153" y="348"/>
                    </a:cubicBezTo>
                    <a:cubicBezTo>
                      <a:pt x="153" y="347"/>
                      <a:pt x="153" y="346"/>
                      <a:pt x="152" y="346"/>
                    </a:cubicBezTo>
                    <a:cubicBezTo>
                      <a:pt x="149" y="346"/>
                      <a:pt x="146" y="346"/>
                      <a:pt x="143" y="346"/>
                    </a:cubicBezTo>
                    <a:cubicBezTo>
                      <a:pt x="143" y="346"/>
                      <a:pt x="142" y="346"/>
                      <a:pt x="141" y="346"/>
                    </a:cubicBezTo>
                    <a:cubicBezTo>
                      <a:pt x="141" y="347"/>
                      <a:pt x="141" y="347"/>
                      <a:pt x="141" y="348"/>
                    </a:cubicBezTo>
                    <a:cubicBezTo>
                      <a:pt x="141" y="348"/>
                      <a:pt x="141" y="349"/>
                      <a:pt x="141" y="350"/>
                    </a:cubicBezTo>
                    <a:cubicBezTo>
                      <a:pt x="141" y="351"/>
                      <a:pt x="140" y="352"/>
                      <a:pt x="140" y="353"/>
                    </a:cubicBezTo>
                    <a:cubicBezTo>
                      <a:pt x="139" y="354"/>
                      <a:pt x="139" y="356"/>
                      <a:pt x="140" y="358"/>
                    </a:cubicBezTo>
                    <a:cubicBezTo>
                      <a:pt x="140" y="358"/>
                      <a:pt x="140" y="358"/>
                      <a:pt x="140" y="358"/>
                    </a:cubicBezTo>
                    <a:cubicBezTo>
                      <a:pt x="140" y="358"/>
                      <a:pt x="139" y="358"/>
                      <a:pt x="139" y="358"/>
                    </a:cubicBezTo>
                    <a:cubicBezTo>
                      <a:pt x="139" y="358"/>
                      <a:pt x="138" y="358"/>
                      <a:pt x="138" y="358"/>
                    </a:cubicBezTo>
                    <a:cubicBezTo>
                      <a:pt x="137" y="358"/>
                      <a:pt x="136" y="357"/>
                      <a:pt x="135" y="358"/>
                    </a:cubicBezTo>
                    <a:cubicBezTo>
                      <a:pt x="134" y="358"/>
                      <a:pt x="134" y="359"/>
                      <a:pt x="134" y="360"/>
                    </a:cubicBezTo>
                    <a:cubicBezTo>
                      <a:pt x="134" y="361"/>
                      <a:pt x="134" y="363"/>
                      <a:pt x="135" y="364"/>
                    </a:cubicBezTo>
                    <a:cubicBezTo>
                      <a:pt x="135" y="364"/>
                      <a:pt x="135" y="364"/>
                      <a:pt x="135" y="364"/>
                    </a:cubicBezTo>
                    <a:cubicBezTo>
                      <a:pt x="135" y="365"/>
                      <a:pt x="134" y="365"/>
                      <a:pt x="134" y="365"/>
                    </a:cubicBezTo>
                    <a:cubicBezTo>
                      <a:pt x="133" y="365"/>
                      <a:pt x="132" y="365"/>
                      <a:pt x="132" y="366"/>
                    </a:cubicBezTo>
                    <a:cubicBezTo>
                      <a:pt x="132" y="367"/>
                      <a:pt x="132" y="368"/>
                      <a:pt x="132" y="369"/>
                    </a:cubicBezTo>
                    <a:cubicBezTo>
                      <a:pt x="132" y="370"/>
                      <a:pt x="133" y="370"/>
                      <a:pt x="133" y="370"/>
                    </a:cubicBezTo>
                    <a:cubicBezTo>
                      <a:pt x="133" y="371"/>
                      <a:pt x="133" y="371"/>
                      <a:pt x="133" y="372"/>
                    </a:cubicBezTo>
                    <a:cubicBezTo>
                      <a:pt x="133" y="373"/>
                      <a:pt x="133" y="374"/>
                      <a:pt x="133" y="375"/>
                    </a:cubicBezTo>
                    <a:cubicBezTo>
                      <a:pt x="133" y="376"/>
                      <a:pt x="133" y="376"/>
                      <a:pt x="133" y="376"/>
                    </a:cubicBezTo>
                    <a:cubicBezTo>
                      <a:pt x="133" y="377"/>
                      <a:pt x="132" y="377"/>
                      <a:pt x="131" y="377"/>
                    </a:cubicBezTo>
                    <a:cubicBezTo>
                      <a:pt x="130" y="376"/>
                      <a:pt x="129" y="376"/>
                      <a:pt x="128" y="377"/>
                    </a:cubicBezTo>
                    <a:cubicBezTo>
                      <a:pt x="127" y="378"/>
                      <a:pt x="128" y="379"/>
                      <a:pt x="128" y="380"/>
                    </a:cubicBezTo>
                    <a:cubicBezTo>
                      <a:pt x="128" y="381"/>
                      <a:pt x="127" y="382"/>
                      <a:pt x="126" y="383"/>
                    </a:cubicBezTo>
                    <a:cubicBezTo>
                      <a:pt x="125" y="385"/>
                      <a:pt x="123" y="386"/>
                      <a:pt x="123" y="388"/>
                    </a:cubicBezTo>
                    <a:cubicBezTo>
                      <a:pt x="123" y="391"/>
                      <a:pt x="124" y="394"/>
                      <a:pt x="124" y="397"/>
                    </a:cubicBezTo>
                    <a:cubicBezTo>
                      <a:pt x="124" y="402"/>
                      <a:pt x="122" y="406"/>
                      <a:pt x="120" y="410"/>
                    </a:cubicBezTo>
                    <a:cubicBezTo>
                      <a:pt x="120" y="411"/>
                      <a:pt x="120" y="412"/>
                      <a:pt x="119" y="413"/>
                    </a:cubicBezTo>
                    <a:cubicBezTo>
                      <a:pt x="118" y="413"/>
                      <a:pt x="117" y="413"/>
                      <a:pt x="117" y="413"/>
                    </a:cubicBezTo>
                    <a:cubicBezTo>
                      <a:pt x="116" y="412"/>
                      <a:pt x="116" y="411"/>
                      <a:pt x="116" y="409"/>
                    </a:cubicBezTo>
                    <a:cubicBezTo>
                      <a:pt x="116" y="408"/>
                      <a:pt x="116" y="407"/>
                      <a:pt x="115" y="406"/>
                    </a:cubicBezTo>
                    <a:cubicBezTo>
                      <a:pt x="115" y="405"/>
                      <a:pt x="114" y="403"/>
                      <a:pt x="114" y="402"/>
                    </a:cubicBezTo>
                    <a:cubicBezTo>
                      <a:pt x="115" y="401"/>
                      <a:pt x="116" y="400"/>
                      <a:pt x="117" y="400"/>
                    </a:cubicBezTo>
                    <a:cubicBezTo>
                      <a:pt x="118" y="400"/>
                      <a:pt x="118" y="400"/>
                      <a:pt x="119" y="400"/>
                    </a:cubicBezTo>
                    <a:cubicBezTo>
                      <a:pt x="119" y="400"/>
                      <a:pt x="120" y="400"/>
                      <a:pt x="120" y="399"/>
                    </a:cubicBezTo>
                    <a:cubicBezTo>
                      <a:pt x="122" y="396"/>
                      <a:pt x="121" y="392"/>
                      <a:pt x="121" y="389"/>
                    </a:cubicBezTo>
                    <a:cubicBezTo>
                      <a:pt x="121" y="388"/>
                      <a:pt x="122" y="387"/>
                      <a:pt x="121" y="386"/>
                    </a:cubicBezTo>
                    <a:cubicBezTo>
                      <a:pt x="121" y="386"/>
                      <a:pt x="121" y="385"/>
                      <a:pt x="120" y="385"/>
                    </a:cubicBezTo>
                    <a:cubicBezTo>
                      <a:pt x="118" y="381"/>
                      <a:pt x="119" y="377"/>
                      <a:pt x="120" y="373"/>
                    </a:cubicBezTo>
                    <a:cubicBezTo>
                      <a:pt x="121" y="370"/>
                      <a:pt x="121" y="367"/>
                      <a:pt x="121" y="364"/>
                    </a:cubicBezTo>
                    <a:cubicBezTo>
                      <a:pt x="121" y="361"/>
                      <a:pt x="121" y="359"/>
                      <a:pt x="121" y="356"/>
                    </a:cubicBezTo>
                    <a:cubicBezTo>
                      <a:pt x="121" y="354"/>
                      <a:pt x="119" y="354"/>
                      <a:pt x="117" y="352"/>
                    </a:cubicBezTo>
                    <a:cubicBezTo>
                      <a:pt x="116" y="351"/>
                      <a:pt x="116" y="349"/>
                      <a:pt x="116" y="348"/>
                    </a:cubicBezTo>
                    <a:cubicBezTo>
                      <a:pt x="116" y="346"/>
                      <a:pt x="117" y="344"/>
                      <a:pt x="116" y="343"/>
                    </a:cubicBezTo>
                    <a:cubicBezTo>
                      <a:pt x="116" y="342"/>
                      <a:pt x="116" y="342"/>
                      <a:pt x="116" y="341"/>
                    </a:cubicBezTo>
                    <a:cubicBezTo>
                      <a:pt x="116" y="341"/>
                      <a:pt x="116" y="340"/>
                      <a:pt x="117" y="340"/>
                    </a:cubicBezTo>
                    <a:cubicBezTo>
                      <a:pt x="117" y="339"/>
                      <a:pt x="117" y="338"/>
                      <a:pt x="117" y="338"/>
                    </a:cubicBezTo>
                    <a:cubicBezTo>
                      <a:pt x="117" y="335"/>
                      <a:pt x="111" y="333"/>
                      <a:pt x="109" y="333"/>
                    </a:cubicBezTo>
                    <a:cubicBezTo>
                      <a:pt x="108" y="327"/>
                      <a:pt x="109" y="322"/>
                      <a:pt x="109" y="316"/>
                    </a:cubicBezTo>
                    <a:cubicBezTo>
                      <a:pt x="109" y="316"/>
                      <a:pt x="109" y="315"/>
                      <a:pt x="109" y="315"/>
                    </a:cubicBezTo>
                    <a:cubicBezTo>
                      <a:pt x="108" y="314"/>
                      <a:pt x="107" y="314"/>
                      <a:pt x="107" y="314"/>
                    </a:cubicBezTo>
                    <a:cubicBezTo>
                      <a:pt x="106" y="313"/>
                      <a:pt x="106" y="313"/>
                      <a:pt x="105" y="312"/>
                    </a:cubicBezTo>
                    <a:cubicBezTo>
                      <a:pt x="104" y="312"/>
                      <a:pt x="103" y="312"/>
                      <a:pt x="103" y="311"/>
                    </a:cubicBezTo>
                    <a:cubicBezTo>
                      <a:pt x="102" y="310"/>
                      <a:pt x="103" y="309"/>
                      <a:pt x="102" y="309"/>
                    </a:cubicBezTo>
                    <a:cubicBezTo>
                      <a:pt x="102" y="308"/>
                      <a:pt x="100" y="309"/>
                      <a:pt x="99" y="308"/>
                    </a:cubicBezTo>
                    <a:cubicBezTo>
                      <a:pt x="99" y="308"/>
                      <a:pt x="99" y="307"/>
                      <a:pt x="99" y="307"/>
                    </a:cubicBezTo>
                    <a:cubicBezTo>
                      <a:pt x="98" y="306"/>
                      <a:pt x="98" y="303"/>
                      <a:pt x="97" y="302"/>
                    </a:cubicBezTo>
                    <a:cubicBezTo>
                      <a:pt x="95" y="301"/>
                      <a:pt x="92" y="302"/>
                      <a:pt x="90" y="302"/>
                    </a:cubicBezTo>
                    <a:cubicBezTo>
                      <a:pt x="90" y="301"/>
                      <a:pt x="90" y="300"/>
                      <a:pt x="90" y="298"/>
                    </a:cubicBezTo>
                    <a:cubicBezTo>
                      <a:pt x="90" y="298"/>
                      <a:pt x="90" y="297"/>
                      <a:pt x="89" y="296"/>
                    </a:cubicBezTo>
                    <a:cubicBezTo>
                      <a:pt x="89" y="296"/>
                      <a:pt x="88" y="296"/>
                      <a:pt x="87" y="296"/>
                    </a:cubicBezTo>
                    <a:cubicBezTo>
                      <a:pt x="85" y="296"/>
                      <a:pt x="84" y="296"/>
                      <a:pt x="82" y="296"/>
                    </a:cubicBezTo>
                    <a:cubicBezTo>
                      <a:pt x="81" y="296"/>
                      <a:pt x="80" y="296"/>
                      <a:pt x="79" y="296"/>
                    </a:cubicBezTo>
                    <a:cubicBezTo>
                      <a:pt x="79" y="297"/>
                      <a:pt x="79" y="297"/>
                      <a:pt x="78" y="298"/>
                    </a:cubicBezTo>
                    <a:cubicBezTo>
                      <a:pt x="77" y="300"/>
                      <a:pt x="77" y="302"/>
                      <a:pt x="77" y="305"/>
                    </a:cubicBezTo>
                    <a:cubicBezTo>
                      <a:pt x="78" y="307"/>
                      <a:pt x="77" y="309"/>
                      <a:pt x="78" y="312"/>
                    </a:cubicBezTo>
                    <a:cubicBezTo>
                      <a:pt x="78" y="312"/>
                      <a:pt x="78" y="312"/>
                      <a:pt x="78" y="312"/>
                    </a:cubicBezTo>
                    <a:cubicBezTo>
                      <a:pt x="78" y="313"/>
                      <a:pt x="78" y="313"/>
                      <a:pt x="78" y="314"/>
                    </a:cubicBezTo>
                    <a:cubicBezTo>
                      <a:pt x="78" y="314"/>
                      <a:pt x="77" y="315"/>
                      <a:pt x="77" y="315"/>
                    </a:cubicBezTo>
                    <a:cubicBezTo>
                      <a:pt x="76" y="315"/>
                      <a:pt x="76" y="315"/>
                      <a:pt x="76" y="315"/>
                    </a:cubicBezTo>
                    <a:cubicBezTo>
                      <a:pt x="75" y="315"/>
                      <a:pt x="74" y="315"/>
                      <a:pt x="73" y="315"/>
                    </a:cubicBezTo>
                    <a:cubicBezTo>
                      <a:pt x="72" y="316"/>
                      <a:pt x="72" y="316"/>
                      <a:pt x="72" y="317"/>
                    </a:cubicBezTo>
                    <a:cubicBezTo>
                      <a:pt x="71" y="319"/>
                      <a:pt x="70" y="320"/>
                      <a:pt x="69" y="321"/>
                    </a:cubicBezTo>
                    <a:cubicBezTo>
                      <a:pt x="69" y="321"/>
                      <a:pt x="67" y="322"/>
                      <a:pt x="66" y="323"/>
                    </a:cubicBezTo>
                    <a:cubicBezTo>
                      <a:pt x="66" y="324"/>
                      <a:pt x="68" y="325"/>
                      <a:pt x="68" y="325"/>
                    </a:cubicBezTo>
                    <a:cubicBezTo>
                      <a:pt x="72" y="329"/>
                      <a:pt x="72" y="325"/>
                      <a:pt x="72" y="333"/>
                    </a:cubicBezTo>
                    <a:cubicBezTo>
                      <a:pt x="72" y="341"/>
                      <a:pt x="80" y="337"/>
                      <a:pt x="72" y="341"/>
                    </a:cubicBezTo>
                    <a:cubicBezTo>
                      <a:pt x="64" y="345"/>
                      <a:pt x="64" y="345"/>
                      <a:pt x="64" y="345"/>
                    </a:cubicBezTo>
                    <a:cubicBezTo>
                      <a:pt x="64" y="345"/>
                      <a:pt x="64" y="349"/>
                      <a:pt x="64" y="349"/>
                    </a:cubicBezTo>
                    <a:cubicBezTo>
                      <a:pt x="64" y="352"/>
                      <a:pt x="63" y="354"/>
                      <a:pt x="65" y="356"/>
                    </a:cubicBezTo>
                    <a:cubicBezTo>
                      <a:pt x="65" y="357"/>
                      <a:pt x="66" y="358"/>
                      <a:pt x="65" y="358"/>
                    </a:cubicBezTo>
                    <a:cubicBezTo>
                      <a:pt x="65" y="359"/>
                      <a:pt x="64" y="359"/>
                      <a:pt x="64" y="359"/>
                    </a:cubicBezTo>
                    <a:cubicBezTo>
                      <a:pt x="57" y="359"/>
                      <a:pt x="60" y="357"/>
                      <a:pt x="56" y="353"/>
                    </a:cubicBezTo>
                    <a:cubicBezTo>
                      <a:pt x="55" y="353"/>
                      <a:pt x="54" y="353"/>
                      <a:pt x="53" y="352"/>
                    </a:cubicBezTo>
                    <a:cubicBezTo>
                      <a:pt x="52" y="351"/>
                      <a:pt x="53" y="350"/>
                      <a:pt x="53" y="348"/>
                    </a:cubicBezTo>
                    <a:cubicBezTo>
                      <a:pt x="53" y="347"/>
                      <a:pt x="52" y="346"/>
                      <a:pt x="51" y="346"/>
                    </a:cubicBezTo>
                    <a:cubicBezTo>
                      <a:pt x="49" y="345"/>
                      <a:pt x="48" y="345"/>
                      <a:pt x="47" y="346"/>
                    </a:cubicBezTo>
                    <a:cubicBezTo>
                      <a:pt x="48" y="346"/>
                      <a:pt x="47" y="341"/>
                      <a:pt x="47" y="340"/>
                    </a:cubicBezTo>
                    <a:cubicBezTo>
                      <a:pt x="47" y="338"/>
                      <a:pt x="46" y="336"/>
                      <a:pt x="45" y="334"/>
                    </a:cubicBezTo>
                    <a:cubicBezTo>
                      <a:pt x="43" y="331"/>
                      <a:pt x="40" y="329"/>
                      <a:pt x="37" y="328"/>
                    </a:cubicBezTo>
                    <a:cubicBezTo>
                      <a:pt x="34" y="328"/>
                      <a:pt x="30" y="328"/>
                      <a:pt x="27" y="329"/>
                    </a:cubicBezTo>
                    <a:cubicBezTo>
                      <a:pt x="27" y="328"/>
                      <a:pt x="26" y="326"/>
                      <a:pt x="25" y="327"/>
                    </a:cubicBezTo>
                    <a:cubicBezTo>
                      <a:pt x="24" y="328"/>
                      <a:pt x="24" y="332"/>
                      <a:pt x="24" y="333"/>
                    </a:cubicBezTo>
                    <a:cubicBezTo>
                      <a:pt x="23" y="337"/>
                      <a:pt x="23" y="341"/>
                      <a:pt x="23" y="345"/>
                    </a:cubicBezTo>
                    <a:cubicBezTo>
                      <a:pt x="23" y="347"/>
                      <a:pt x="22" y="348"/>
                      <a:pt x="22" y="350"/>
                    </a:cubicBezTo>
                    <a:cubicBezTo>
                      <a:pt x="22" y="351"/>
                      <a:pt x="22" y="351"/>
                      <a:pt x="22" y="351"/>
                    </a:cubicBezTo>
                    <a:cubicBezTo>
                      <a:pt x="23" y="352"/>
                      <a:pt x="24" y="352"/>
                      <a:pt x="25" y="352"/>
                    </a:cubicBezTo>
                    <a:cubicBezTo>
                      <a:pt x="27" y="352"/>
                      <a:pt x="28" y="360"/>
                      <a:pt x="28" y="362"/>
                    </a:cubicBezTo>
                    <a:cubicBezTo>
                      <a:pt x="29" y="366"/>
                      <a:pt x="28" y="369"/>
                      <a:pt x="24" y="365"/>
                    </a:cubicBezTo>
                    <a:cubicBezTo>
                      <a:pt x="20" y="361"/>
                      <a:pt x="24" y="361"/>
                      <a:pt x="20" y="361"/>
                    </a:cubicBezTo>
                    <a:cubicBezTo>
                      <a:pt x="16" y="361"/>
                      <a:pt x="12" y="361"/>
                      <a:pt x="12" y="361"/>
                    </a:cubicBezTo>
                    <a:cubicBezTo>
                      <a:pt x="8" y="365"/>
                      <a:pt x="8" y="365"/>
                      <a:pt x="8" y="365"/>
                    </a:cubicBezTo>
                    <a:cubicBezTo>
                      <a:pt x="8" y="365"/>
                      <a:pt x="16" y="365"/>
                      <a:pt x="8" y="369"/>
                    </a:cubicBezTo>
                    <a:cubicBezTo>
                      <a:pt x="0" y="373"/>
                      <a:pt x="0" y="369"/>
                      <a:pt x="0" y="373"/>
                    </a:cubicBezTo>
                    <a:cubicBezTo>
                      <a:pt x="0" y="377"/>
                      <a:pt x="0" y="381"/>
                      <a:pt x="0" y="381"/>
                    </a:cubicBezTo>
                    <a:cubicBezTo>
                      <a:pt x="8" y="385"/>
                      <a:pt x="8" y="389"/>
                      <a:pt x="8" y="389"/>
                    </a:cubicBezTo>
                    <a:cubicBezTo>
                      <a:pt x="8" y="389"/>
                      <a:pt x="4" y="393"/>
                      <a:pt x="8" y="397"/>
                    </a:cubicBezTo>
                    <a:cubicBezTo>
                      <a:pt x="12" y="401"/>
                      <a:pt x="12" y="405"/>
                      <a:pt x="12" y="405"/>
                    </a:cubicBezTo>
                    <a:cubicBezTo>
                      <a:pt x="12" y="405"/>
                      <a:pt x="12" y="405"/>
                      <a:pt x="20" y="413"/>
                    </a:cubicBezTo>
                    <a:cubicBezTo>
                      <a:pt x="28" y="421"/>
                      <a:pt x="20" y="425"/>
                      <a:pt x="28" y="421"/>
                    </a:cubicBezTo>
                    <a:cubicBezTo>
                      <a:pt x="36" y="417"/>
                      <a:pt x="36" y="417"/>
                      <a:pt x="36" y="417"/>
                    </a:cubicBezTo>
                    <a:cubicBezTo>
                      <a:pt x="40" y="409"/>
                      <a:pt x="40" y="409"/>
                      <a:pt x="40" y="409"/>
                    </a:cubicBezTo>
                    <a:cubicBezTo>
                      <a:pt x="40" y="409"/>
                      <a:pt x="32" y="401"/>
                      <a:pt x="40" y="401"/>
                    </a:cubicBezTo>
                    <a:cubicBezTo>
                      <a:pt x="48" y="401"/>
                      <a:pt x="48" y="401"/>
                      <a:pt x="48" y="401"/>
                    </a:cubicBezTo>
                    <a:cubicBezTo>
                      <a:pt x="48" y="401"/>
                      <a:pt x="52" y="389"/>
                      <a:pt x="52" y="397"/>
                    </a:cubicBezTo>
                    <a:cubicBezTo>
                      <a:pt x="52" y="405"/>
                      <a:pt x="52" y="397"/>
                      <a:pt x="52" y="405"/>
                    </a:cubicBezTo>
                    <a:cubicBezTo>
                      <a:pt x="52" y="413"/>
                      <a:pt x="56" y="405"/>
                      <a:pt x="52" y="413"/>
                    </a:cubicBezTo>
                    <a:cubicBezTo>
                      <a:pt x="48" y="421"/>
                      <a:pt x="48" y="417"/>
                      <a:pt x="48" y="425"/>
                    </a:cubicBezTo>
                    <a:cubicBezTo>
                      <a:pt x="48" y="433"/>
                      <a:pt x="44" y="433"/>
                      <a:pt x="48" y="437"/>
                    </a:cubicBezTo>
                    <a:cubicBezTo>
                      <a:pt x="50" y="439"/>
                      <a:pt x="51" y="440"/>
                      <a:pt x="53" y="442"/>
                    </a:cubicBezTo>
                    <a:cubicBezTo>
                      <a:pt x="55" y="447"/>
                      <a:pt x="56" y="449"/>
                      <a:pt x="55" y="454"/>
                    </a:cubicBezTo>
                    <a:cubicBezTo>
                      <a:pt x="55" y="454"/>
                      <a:pt x="55" y="455"/>
                      <a:pt x="55" y="455"/>
                    </a:cubicBezTo>
                    <a:cubicBezTo>
                      <a:pt x="56" y="456"/>
                      <a:pt x="56" y="456"/>
                      <a:pt x="57" y="456"/>
                    </a:cubicBezTo>
                    <a:cubicBezTo>
                      <a:pt x="59" y="457"/>
                      <a:pt x="62" y="457"/>
                      <a:pt x="64" y="456"/>
                    </a:cubicBezTo>
                    <a:cubicBezTo>
                      <a:pt x="65" y="456"/>
                      <a:pt x="65" y="457"/>
                      <a:pt x="65" y="458"/>
                    </a:cubicBezTo>
                    <a:cubicBezTo>
                      <a:pt x="65" y="463"/>
                      <a:pt x="65" y="467"/>
                      <a:pt x="65" y="471"/>
                    </a:cubicBezTo>
                    <a:cubicBezTo>
                      <a:pt x="65" y="473"/>
                      <a:pt x="67" y="474"/>
                      <a:pt x="69" y="475"/>
                    </a:cubicBezTo>
                    <a:cubicBezTo>
                      <a:pt x="72" y="476"/>
                      <a:pt x="75" y="476"/>
                      <a:pt x="78" y="476"/>
                    </a:cubicBezTo>
                    <a:cubicBezTo>
                      <a:pt x="79" y="476"/>
                      <a:pt x="81" y="475"/>
                      <a:pt x="82" y="476"/>
                    </a:cubicBezTo>
                    <a:cubicBezTo>
                      <a:pt x="85" y="476"/>
                      <a:pt x="82" y="478"/>
                      <a:pt x="83" y="479"/>
                    </a:cubicBezTo>
                    <a:cubicBezTo>
                      <a:pt x="84" y="480"/>
                      <a:pt x="85" y="481"/>
                      <a:pt x="86" y="481"/>
                    </a:cubicBezTo>
                    <a:cubicBezTo>
                      <a:pt x="87" y="481"/>
                      <a:pt x="88" y="481"/>
                      <a:pt x="88" y="481"/>
                    </a:cubicBezTo>
                    <a:cubicBezTo>
                      <a:pt x="89" y="481"/>
                      <a:pt x="89" y="481"/>
                      <a:pt x="89" y="482"/>
                    </a:cubicBezTo>
                    <a:cubicBezTo>
                      <a:pt x="90" y="482"/>
                      <a:pt x="90" y="482"/>
                      <a:pt x="90" y="483"/>
                    </a:cubicBezTo>
                    <a:cubicBezTo>
                      <a:pt x="90" y="484"/>
                      <a:pt x="90" y="486"/>
                      <a:pt x="91" y="487"/>
                    </a:cubicBezTo>
                    <a:cubicBezTo>
                      <a:pt x="91" y="487"/>
                      <a:pt x="92" y="487"/>
                      <a:pt x="92" y="487"/>
                    </a:cubicBezTo>
                    <a:cubicBezTo>
                      <a:pt x="93" y="487"/>
                      <a:pt x="94" y="488"/>
                      <a:pt x="95" y="488"/>
                    </a:cubicBezTo>
                    <a:cubicBezTo>
                      <a:pt x="95" y="488"/>
                      <a:pt x="96" y="488"/>
                      <a:pt x="96" y="488"/>
                    </a:cubicBezTo>
                    <a:cubicBezTo>
                      <a:pt x="96" y="488"/>
                      <a:pt x="96" y="487"/>
                      <a:pt x="96" y="487"/>
                    </a:cubicBezTo>
                    <a:cubicBezTo>
                      <a:pt x="97" y="484"/>
                      <a:pt x="98" y="483"/>
                      <a:pt x="100" y="481"/>
                    </a:cubicBezTo>
                    <a:cubicBezTo>
                      <a:pt x="101" y="480"/>
                      <a:pt x="104" y="478"/>
                      <a:pt x="104" y="477"/>
                    </a:cubicBezTo>
                    <a:cubicBezTo>
                      <a:pt x="104" y="469"/>
                      <a:pt x="104" y="469"/>
                      <a:pt x="104" y="469"/>
                    </a:cubicBezTo>
                    <a:cubicBezTo>
                      <a:pt x="104" y="469"/>
                      <a:pt x="108" y="465"/>
                      <a:pt x="108" y="469"/>
                    </a:cubicBezTo>
                    <a:cubicBezTo>
                      <a:pt x="108" y="473"/>
                      <a:pt x="104" y="469"/>
                      <a:pt x="108" y="477"/>
                    </a:cubicBezTo>
                    <a:cubicBezTo>
                      <a:pt x="112" y="485"/>
                      <a:pt x="112" y="485"/>
                      <a:pt x="112" y="485"/>
                    </a:cubicBezTo>
                    <a:cubicBezTo>
                      <a:pt x="116" y="489"/>
                      <a:pt x="116" y="489"/>
                      <a:pt x="116" y="489"/>
                    </a:cubicBezTo>
                    <a:cubicBezTo>
                      <a:pt x="120" y="489"/>
                      <a:pt x="120" y="489"/>
                      <a:pt x="120" y="489"/>
                    </a:cubicBezTo>
                    <a:cubicBezTo>
                      <a:pt x="124" y="485"/>
                      <a:pt x="124" y="485"/>
                      <a:pt x="124" y="485"/>
                    </a:cubicBezTo>
                    <a:cubicBezTo>
                      <a:pt x="124" y="477"/>
                      <a:pt x="124" y="477"/>
                      <a:pt x="124" y="477"/>
                    </a:cubicBezTo>
                    <a:cubicBezTo>
                      <a:pt x="128" y="477"/>
                      <a:pt x="128" y="477"/>
                      <a:pt x="128" y="477"/>
                    </a:cubicBezTo>
                    <a:cubicBezTo>
                      <a:pt x="129" y="477"/>
                      <a:pt x="127" y="471"/>
                      <a:pt x="131" y="475"/>
                    </a:cubicBezTo>
                    <a:cubicBezTo>
                      <a:pt x="133" y="478"/>
                      <a:pt x="132" y="479"/>
                      <a:pt x="136" y="480"/>
                    </a:cubicBezTo>
                    <a:cubicBezTo>
                      <a:pt x="138" y="481"/>
                      <a:pt x="141" y="481"/>
                      <a:pt x="143" y="481"/>
                    </a:cubicBezTo>
                    <a:cubicBezTo>
                      <a:pt x="147" y="482"/>
                      <a:pt x="148" y="483"/>
                      <a:pt x="144" y="485"/>
                    </a:cubicBezTo>
                    <a:cubicBezTo>
                      <a:pt x="136" y="489"/>
                      <a:pt x="136" y="489"/>
                      <a:pt x="136" y="489"/>
                    </a:cubicBezTo>
                    <a:cubicBezTo>
                      <a:pt x="132" y="489"/>
                      <a:pt x="132" y="489"/>
                      <a:pt x="132" y="489"/>
                    </a:cubicBezTo>
                    <a:cubicBezTo>
                      <a:pt x="128" y="493"/>
                      <a:pt x="128" y="493"/>
                      <a:pt x="128" y="493"/>
                    </a:cubicBezTo>
                    <a:cubicBezTo>
                      <a:pt x="124" y="497"/>
                      <a:pt x="124" y="497"/>
                      <a:pt x="124" y="497"/>
                    </a:cubicBezTo>
                    <a:cubicBezTo>
                      <a:pt x="124" y="497"/>
                      <a:pt x="120" y="493"/>
                      <a:pt x="120" y="501"/>
                    </a:cubicBezTo>
                    <a:cubicBezTo>
                      <a:pt x="120" y="509"/>
                      <a:pt x="120" y="513"/>
                      <a:pt x="120" y="513"/>
                    </a:cubicBezTo>
                    <a:cubicBezTo>
                      <a:pt x="120" y="513"/>
                      <a:pt x="116" y="513"/>
                      <a:pt x="120" y="517"/>
                    </a:cubicBezTo>
                    <a:cubicBezTo>
                      <a:pt x="124" y="521"/>
                      <a:pt x="119" y="522"/>
                      <a:pt x="124" y="525"/>
                    </a:cubicBezTo>
                    <a:cubicBezTo>
                      <a:pt x="132" y="529"/>
                      <a:pt x="136" y="529"/>
                      <a:pt x="136" y="529"/>
                    </a:cubicBezTo>
                    <a:cubicBezTo>
                      <a:pt x="140" y="525"/>
                      <a:pt x="140" y="525"/>
                      <a:pt x="140" y="525"/>
                    </a:cubicBezTo>
                    <a:cubicBezTo>
                      <a:pt x="148" y="517"/>
                      <a:pt x="148" y="517"/>
                      <a:pt x="148" y="517"/>
                    </a:cubicBezTo>
                    <a:cubicBezTo>
                      <a:pt x="156" y="513"/>
                      <a:pt x="156" y="517"/>
                      <a:pt x="160" y="513"/>
                    </a:cubicBezTo>
                    <a:cubicBezTo>
                      <a:pt x="164" y="509"/>
                      <a:pt x="164" y="509"/>
                      <a:pt x="164" y="509"/>
                    </a:cubicBezTo>
                    <a:cubicBezTo>
                      <a:pt x="164" y="509"/>
                      <a:pt x="164" y="509"/>
                      <a:pt x="168" y="501"/>
                    </a:cubicBezTo>
                    <a:cubicBezTo>
                      <a:pt x="172" y="493"/>
                      <a:pt x="172" y="497"/>
                      <a:pt x="172" y="493"/>
                    </a:cubicBezTo>
                    <a:cubicBezTo>
                      <a:pt x="172" y="489"/>
                      <a:pt x="172" y="485"/>
                      <a:pt x="172" y="485"/>
                    </a:cubicBezTo>
                    <a:cubicBezTo>
                      <a:pt x="172" y="485"/>
                      <a:pt x="176" y="477"/>
                      <a:pt x="180" y="481"/>
                    </a:cubicBezTo>
                    <a:cubicBezTo>
                      <a:pt x="184" y="485"/>
                      <a:pt x="184" y="485"/>
                      <a:pt x="184" y="485"/>
                    </a:cubicBezTo>
                    <a:cubicBezTo>
                      <a:pt x="188" y="485"/>
                      <a:pt x="188" y="485"/>
                      <a:pt x="188" y="485"/>
                    </a:cubicBezTo>
                    <a:cubicBezTo>
                      <a:pt x="188" y="489"/>
                      <a:pt x="188" y="489"/>
                      <a:pt x="188" y="489"/>
                    </a:cubicBezTo>
                    <a:cubicBezTo>
                      <a:pt x="186" y="491"/>
                      <a:pt x="183" y="494"/>
                      <a:pt x="181" y="496"/>
                    </a:cubicBezTo>
                    <a:cubicBezTo>
                      <a:pt x="179" y="497"/>
                      <a:pt x="177" y="497"/>
                      <a:pt x="176" y="498"/>
                    </a:cubicBezTo>
                    <a:cubicBezTo>
                      <a:pt x="175" y="498"/>
                      <a:pt x="174" y="501"/>
                      <a:pt x="173" y="502"/>
                    </a:cubicBezTo>
                    <a:cubicBezTo>
                      <a:pt x="172" y="503"/>
                      <a:pt x="172" y="503"/>
                      <a:pt x="172" y="505"/>
                    </a:cubicBezTo>
                    <a:cubicBezTo>
                      <a:pt x="172" y="509"/>
                      <a:pt x="172" y="513"/>
                      <a:pt x="172" y="513"/>
                    </a:cubicBezTo>
                    <a:cubicBezTo>
                      <a:pt x="172" y="514"/>
                      <a:pt x="167" y="512"/>
                      <a:pt x="169" y="516"/>
                    </a:cubicBezTo>
                    <a:cubicBezTo>
                      <a:pt x="169" y="517"/>
                      <a:pt x="173" y="524"/>
                      <a:pt x="172" y="525"/>
                    </a:cubicBezTo>
                    <a:cubicBezTo>
                      <a:pt x="172" y="525"/>
                      <a:pt x="172" y="525"/>
                      <a:pt x="168" y="529"/>
                    </a:cubicBezTo>
                    <a:cubicBezTo>
                      <a:pt x="164" y="533"/>
                      <a:pt x="168" y="533"/>
                      <a:pt x="164" y="533"/>
                    </a:cubicBezTo>
                    <a:cubicBezTo>
                      <a:pt x="160" y="533"/>
                      <a:pt x="164" y="525"/>
                      <a:pt x="160" y="533"/>
                    </a:cubicBezTo>
                    <a:cubicBezTo>
                      <a:pt x="156" y="541"/>
                      <a:pt x="152" y="545"/>
                      <a:pt x="152" y="545"/>
                    </a:cubicBezTo>
                    <a:cubicBezTo>
                      <a:pt x="152" y="545"/>
                      <a:pt x="152" y="545"/>
                      <a:pt x="148" y="549"/>
                    </a:cubicBezTo>
                    <a:cubicBezTo>
                      <a:pt x="144" y="553"/>
                      <a:pt x="144" y="553"/>
                      <a:pt x="144" y="557"/>
                    </a:cubicBezTo>
                    <a:cubicBezTo>
                      <a:pt x="144" y="561"/>
                      <a:pt x="148" y="557"/>
                      <a:pt x="144" y="561"/>
                    </a:cubicBezTo>
                    <a:cubicBezTo>
                      <a:pt x="140" y="565"/>
                      <a:pt x="140" y="565"/>
                      <a:pt x="140" y="569"/>
                    </a:cubicBezTo>
                    <a:cubicBezTo>
                      <a:pt x="140" y="573"/>
                      <a:pt x="144" y="577"/>
                      <a:pt x="164" y="573"/>
                    </a:cubicBezTo>
                    <a:cubicBezTo>
                      <a:pt x="164" y="573"/>
                      <a:pt x="176" y="573"/>
                      <a:pt x="168" y="577"/>
                    </a:cubicBezTo>
                    <a:cubicBezTo>
                      <a:pt x="160" y="581"/>
                      <a:pt x="156" y="577"/>
                      <a:pt x="152" y="585"/>
                    </a:cubicBezTo>
                    <a:cubicBezTo>
                      <a:pt x="148" y="593"/>
                      <a:pt x="144" y="589"/>
                      <a:pt x="144" y="593"/>
                    </a:cubicBezTo>
                    <a:cubicBezTo>
                      <a:pt x="144" y="597"/>
                      <a:pt x="144" y="597"/>
                      <a:pt x="144" y="597"/>
                    </a:cubicBezTo>
                    <a:cubicBezTo>
                      <a:pt x="144" y="597"/>
                      <a:pt x="140" y="597"/>
                      <a:pt x="140" y="601"/>
                    </a:cubicBezTo>
                    <a:cubicBezTo>
                      <a:pt x="140" y="605"/>
                      <a:pt x="144" y="605"/>
                      <a:pt x="140" y="605"/>
                    </a:cubicBezTo>
                    <a:cubicBezTo>
                      <a:pt x="139" y="605"/>
                      <a:pt x="137" y="605"/>
                      <a:pt x="136" y="605"/>
                    </a:cubicBezTo>
                    <a:cubicBezTo>
                      <a:pt x="135" y="604"/>
                      <a:pt x="135" y="602"/>
                      <a:pt x="134" y="601"/>
                    </a:cubicBezTo>
                    <a:cubicBezTo>
                      <a:pt x="134" y="600"/>
                      <a:pt x="133" y="599"/>
                      <a:pt x="133" y="599"/>
                    </a:cubicBezTo>
                    <a:cubicBezTo>
                      <a:pt x="132" y="598"/>
                      <a:pt x="131" y="598"/>
                      <a:pt x="131" y="598"/>
                    </a:cubicBezTo>
                    <a:cubicBezTo>
                      <a:pt x="126" y="598"/>
                      <a:pt x="121" y="598"/>
                      <a:pt x="117" y="598"/>
                    </a:cubicBezTo>
                    <a:cubicBezTo>
                      <a:pt x="116" y="598"/>
                      <a:pt x="116" y="598"/>
                      <a:pt x="116" y="598"/>
                    </a:cubicBezTo>
                    <a:cubicBezTo>
                      <a:pt x="114" y="599"/>
                      <a:pt x="114" y="600"/>
                      <a:pt x="113" y="601"/>
                    </a:cubicBezTo>
                    <a:cubicBezTo>
                      <a:pt x="113" y="602"/>
                      <a:pt x="114" y="604"/>
                      <a:pt x="113" y="605"/>
                    </a:cubicBezTo>
                    <a:cubicBezTo>
                      <a:pt x="112" y="605"/>
                      <a:pt x="110" y="606"/>
                      <a:pt x="108" y="606"/>
                    </a:cubicBezTo>
                    <a:cubicBezTo>
                      <a:pt x="107" y="607"/>
                      <a:pt x="105" y="607"/>
                      <a:pt x="103" y="608"/>
                    </a:cubicBezTo>
                    <a:cubicBezTo>
                      <a:pt x="102" y="608"/>
                      <a:pt x="101" y="609"/>
                      <a:pt x="100" y="609"/>
                    </a:cubicBezTo>
                    <a:cubicBezTo>
                      <a:pt x="100" y="609"/>
                      <a:pt x="104" y="605"/>
                      <a:pt x="96" y="609"/>
                    </a:cubicBezTo>
                    <a:cubicBezTo>
                      <a:pt x="88" y="613"/>
                      <a:pt x="88" y="613"/>
                      <a:pt x="88" y="613"/>
                    </a:cubicBezTo>
                    <a:cubicBezTo>
                      <a:pt x="88" y="613"/>
                      <a:pt x="84" y="609"/>
                      <a:pt x="84" y="613"/>
                    </a:cubicBezTo>
                    <a:cubicBezTo>
                      <a:pt x="84" y="617"/>
                      <a:pt x="84" y="609"/>
                      <a:pt x="84" y="617"/>
                    </a:cubicBezTo>
                    <a:cubicBezTo>
                      <a:pt x="84" y="625"/>
                      <a:pt x="76" y="621"/>
                      <a:pt x="84" y="625"/>
                    </a:cubicBezTo>
                    <a:cubicBezTo>
                      <a:pt x="92" y="629"/>
                      <a:pt x="84" y="621"/>
                      <a:pt x="92" y="629"/>
                    </a:cubicBezTo>
                    <a:cubicBezTo>
                      <a:pt x="100" y="637"/>
                      <a:pt x="96" y="637"/>
                      <a:pt x="100" y="637"/>
                    </a:cubicBezTo>
                    <a:cubicBezTo>
                      <a:pt x="104" y="637"/>
                      <a:pt x="92" y="637"/>
                      <a:pt x="100" y="637"/>
                    </a:cubicBezTo>
                    <a:cubicBezTo>
                      <a:pt x="108" y="637"/>
                      <a:pt x="96" y="637"/>
                      <a:pt x="104" y="637"/>
                    </a:cubicBezTo>
                    <a:cubicBezTo>
                      <a:pt x="112" y="637"/>
                      <a:pt x="112" y="637"/>
                      <a:pt x="112" y="637"/>
                    </a:cubicBezTo>
                    <a:cubicBezTo>
                      <a:pt x="116" y="637"/>
                      <a:pt x="116" y="637"/>
                      <a:pt x="116" y="637"/>
                    </a:cubicBezTo>
                    <a:cubicBezTo>
                      <a:pt x="124" y="637"/>
                      <a:pt x="124" y="637"/>
                      <a:pt x="124" y="637"/>
                    </a:cubicBezTo>
                    <a:cubicBezTo>
                      <a:pt x="124" y="637"/>
                      <a:pt x="124" y="629"/>
                      <a:pt x="128" y="637"/>
                    </a:cubicBezTo>
                    <a:cubicBezTo>
                      <a:pt x="132" y="645"/>
                      <a:pt x="140" y="645"/>
                      <a:pt x="132" y="645"/>
                    </a:cubicBezTo>
                    <a:cubicBezTo>
                      <a:pt x="130" y="645"/>
                      <a:pt x="127" y="643"/>
                      <a:pt x="126" y="643"/>
                    </a:cubicBezTo>
                    <a:cubicBezTo>
                      <a:pt x="125" y="643"/>
                      <a:pt x="123" y="645"/>
                      <a:pt x="122" y="646"/>
                    </a:cubicBezTo>
                    <a:cubicBezTo>
                      <a:pt x="120" y="648"/>
                      <a:pt x="117" y="648"/>
                      <a:pt x="114" y="648"/>
                    </a:cubicBezTo>
                    <a:cubicBezTo>
                      <a:pt x="113" y="648"/>
                      <a:pt x="112" y="648"/>
                      <a:pt x="111" y="648"/>
                    </a:cubicBezTo>
                    <a:cubicBezTo>
                      <a:pt x="110" y="648"/>
                      <a:pt x="109" y="646"/>
                      <a:pt x="109" y="646"/>
                    </a:cubicBezTo>
                    <a:cubicBezTo>
                      <a:pt x="108" y="645"/>
                      <a:pt x="109" y="643"/>
                      <a:pt x="108" y="642"/>
                    </a:cubicBezTo>
                    <a:cubicBezTo>
                      <a:pt x="108" y="642"/>
                      <a:pt x="108" y="642"/>
                      <a:pt x="107" y="642"/>
                    </a:cubicBezTo>
                    <a:cubicBezTo>
                      <a:pt x="100" y="642"/>
                      <a:pt x="92" y="642"/>
                      <a:pt x="85" y="642"/>
                    </a:cubicBezTo>
                    <a:cubicBezTo>
                      <a:pt x="84" y="642"/>
                      <a:pt x="84" y="642"/>
                      <a:pt x="84" y="642"/>
                    </a:cubicBezTo>
                    <a:cubicBezTo>
                      <a:pt x="84" y="642"/>
                      <a:pt x="84" y="643"/>
                      <a:pt x="83" y="643"/>
                    </a:cubicBezTo>
                    <a:cubicBezTo>
                      <a:pt x="83" y="645"/>
                      <a:pt x="83" y="646"/>
                      <a:pt x="84" y="647"/>
                    </a:cubicBezTo>
                    <a:cubicBezTo>
                      <a:pt x="84" y="648"/>
                      <a:pt x="84" y="648"/>
                      <a:pt x="83" y="648"/>
                    </a:cubicBezTo>
                    <a:cubicBezTo>
                      <a:pt x="83" y="648"/>
                      <a:pt x="83" y="648"/>
                      <a:pt x="83" y="648"/>
                    </a:cubicBezTo>
                    <a:cubicBezTo>
                      <a:pt x="80" y="648"/>
                      <a:pt x="79" y="648"/>
                      <a:pt x="76" y="649"/>
                    </a:cubicBezTo>
                    <a:cubicBezTo>
                      <a:pt x="76" y="649"/>
                      <a:pt x="76" y="649"/>
                      <a:pt x="72" y="653"/>
                    </a:cubicBezTo>
                    <a:cubicBezTo>
                      <a:pt x="68" y="657"/>
                      <a:pt x="72" y="657"/>
                      <a:pt x="68" y="657"/>
                    </a:cubicBezTo>
                    <a:cubicBezTo>
                      <a:pt x="64" y="657"/>
                      <a:pt x="64" y="657"/>
                      <a:pt x="64" y="657"/>
                    </a:cubicBezTo>
                    <a:cubicBezTo>
                      <a:pt x="64" y="657"/>
                      <a:pt x="60" y="661"/>
                      <a:pt x="60" y="665"/>
                    </a:cubicBezTo>
                    <a:cubicBezTo>
                      <a:pt x="60" y="669"/>
                      <a:pt x="60" y="673"/>
                      <a:pt x="60" y="673"/>
                    </a:cubicBezTo>
                    <a:cubicBezTo>
                      <a:pt x="60" y="673"/>
                      <a:pt x="56" y="673"/>
                      <a:pt x="60" y="677"/>
                    </a:cubicBezTo>
                    <a:cubicBezTo>
                      <a:pt x="62" y="679"/>
                      <a:pt x="65" y="680"/>
                      <a:pt x="68" y="681"/>
                    </a:cubicBezTo>
                    <a:cubicBezTo>
                      <a:pt x="67" y="683"/>
                      <a:pt x="66" y="684"/>
                      <a:pt x="66" y="686"/>
                    </a:cubicBezTo>
                    <a:cubicBezTo>
                      <a:pt x="66" y="686"/>
                      <a:pt x="66" y="686"/>
                      <a:pt x="66" y="686"/>
                    </a:cubicBezTo>
                    <a:cubicBezTo>
                      <a:pt x="66" y="686"/>
                      <a:pt x="66" y="687"/>
                      <a:pt x="66" y="687"/>
                    </a:cubicBezTo>
                    <a:cubicBezTo>
                      <a:pt x="68" y="687"/>
                      <a:pt x="69" y="687"/>
                      <a:pt x="71" y="687"/>
                    </a:cubicBezTo>
                    <a:cubicBezTo>
                      <a:pt x="71" y="687"/>
                      <a:pt x="71" y="687"/>
                      <a:pt x="71" y="687"/>
                    </a:cubicBezTo>
                    <a:cubicBezTo>
                      <a:pt x="71" y="688"/>
                      <a:pt x="71" y="688"/>
                      <a:pt x="71" y="688"/>
                    </a:cubicBezTo>
                    <a:cubicBezTo>
                      <a:pt x="71" y="689"/>
                      <a:pt x="71" y="690"/>
                      <a:pt x="71" y="691"/>
                    </a:cubicBezTo>
                    <a:cubicBezTo>
                      <a:pt x="70" y="694"/>
                      <a:pt x="66" y="694"/>
                      <a:pt x="64" y="697"/>
                    </a:cubicBezTo>
                    <a:cubicBezTo>
                      <a:pt x="63" y="700"/>
                      <a:pt x="64" y="703"/>
                      <a:pt x="67" y="704"/>
                    </a:cubicBezTo>
                    <a:cubicBezTo>
                      <a:pt x="68" y="704"/>
                      <a:pt x="71" y="704"/>
                      <a:pt x="72" y="705"/>
                    </a:cubicBezTo>
                    <a:cubicBezTo>
                      <a:pt x="75" y="708"/>
                      <a:pt x="77" y="709"/>
                      <a:pt x="81" y="711"/>
                    </a:cubicBezTo>
                    <a:cubicBezTo>
                      <a:pt x="83" y="711"/>
                      <a:pt x="84" y="712"/>
                      <a:pt x="85" y="714"/>
                    </a:cubicBezTo>
                    <a:cubicBezTo>
                      <a:pt x="85" y="715"/>
                      <a:pt x="85" y="717"/>
                      <a:pt x="84" y="718"/>
                    </a:cubicBezTo>
                    <a:cubicBezTo>
                      <a:pt x="82" y="723"/>
                      <a:pt x="72" y="729"/>
                      <a:pt x="76" y="733"/>
                    </a:cubicBezTo>
                    <a:cubicBezTo>
                      <a:pt x="80" y="737"/>
                      <a:pt x="79" y="738"/>
                      <a:pt x="76" y="741"/>
                    </a:cubicBezTo>
                    <a:cubicBezTo>
                      <a:pt x="72" y="745"/>
                      <a:pt x="68" y="741"/>
                      <a:pt x="68" y="741"/>
                    </a:cubicBezTo>
                    <a:cubicBezTo>
                      <a:pt x="36" y="741"/>
                      <a:pt x="36" y="741"/>
                      <a:pt x="36" y="741"/>
                    </a:cubicBezTo>
                    <a:cubicBezTo>
                      <a:pt x="36" y="741"/>
                      <a:pt x="28" y="745"/>
                      <a:pt x="36" y="749"/>
                    </a:cubicBezTo>
                    <a:cubicBezTo>
                      <a:pt x="44" y="753"/>
                      <a:pt x="48" y="757"/>
                      <a:pt x="48" y="757"/>
                    </a:cubicBezTo>
                    <a:cubicBezTo>
                      <a:pt x="52" y="761"/>
                      <a:pt x="52" y="761"/>
                      <a:pt x="52" y="761"/>
                    </a:cubicBezTo>
                    <a:cubicBezTo>
                      <a:pt x="56" y="769"/>
                      <a:pt x="56" y="769"/>
                      <a:pt x="56" y="769"/>
                    </a:cubicBezTo>
                    <a:cubicBezTo>
                      <a:pt x="60" y="773"/>
                      <a:pt x="60" y="773"/>
                      <a:pt x="60" y="773"/>
                    </a:cubicBezTo>
                    <a:cubicBezTo>
                      <a:pt x="64" y="773"/>
                      <a:pt x="64" y="773"/>
                      <a:pt x="64" y="773"/>
                    </a:cubicBezTo>
                    <a:cubicBezTo>
                      <a:pt x="72" y="769"/>
                      <a:pt x="72" y="769"/>
                      <a:pt x="72" y="769"/>
                    </a:cubicBezTo>
                    <a:cubicBezTo>
                      <a:pt x="80" y="765"/>
                      <a:pt x="80" y="765"/>
                      <a:pt x="80" y="765"/>
                    </a:cubicBezTo>
                    <a:cubicBezTo>
                      <a:pt x="88" y="765"/>
                      <a:pt x="88" y="765"/>
                      <a:pt x="88" y="765"/>
                    </a:cubicBezTo>
                    <a:cubicBezTo>
                      <a:pt x="96" y="765"/>
                      <a:pt x="96" y="765"/>
                      <a:pt x="96" y="765"/>
                    </a:cubicBezTo>
                    <a:cubicBezTo>
                      <a:pt x="100" y="765"/>
                      <a:pt x="100" y="765"/>
                      <a:pt x="100" y="765"/>
                    </a:cubicBezTo>
                    <a:cubicBezTo>
                      <a:pt x="100" y="765"/>
                      <a:pt x="104" y="765"/>
                      <a:pt x="104" y="765"/>
                    </a:cubicBezTo>
                    <a:cubicBezTo>
                      <a:pt x="105" y="765"/>
                      <a:pt x="106" y="763"/>
                      <a:pt x="107" y="762"/>
                    </a:cubicBezTo>
                    <a:cubicBezTo>
                      <a:pt x="108" y="762"/>
                      <a:pt x="108" y="761"/>
                      <a:pt x="109" y="761"/>
                    </a:cubicBezTo>
                    <a:cubicBezTo>
                      <a:pt x="111" y="761"/>
                      <a:pt x="114" y="761"/>
                      <a:pt x="115" y="758"/>
                    </a:cubicBezTo>
                    <a:cubicBezTo>
                      <a:pt x="115" y="757"/>
                      <a:pt x="115" y="755"/>
                      <a:pt x="117" y="754"/>
                    </a:cubicBezTo>
                    <a:cubicBezTo>
                      <a:pt x="117" y="754"/>
                      <a:pt x="118" y="754"/>
                      <a:pt x="118" y="754"/>
                    </a:cubicBezTo>
                    <a:cubicBezTo>
                      <a:pt x="123" y="754"/>
                      <a:pt x="128" y="754"/>
                      <a:pt x="133" y="754"/>
                    </a:cubicBezTo>
                    <a:cubicBezTo>
                      <a:pt x="133" y="755"/>
                      <a:pt x="133" y="756"/>
                      <a:pt x="134" y="758"/>
                    </a:cubicBezTo>
                    <a:cubicBezTo>
                      <a:pt x="134" y="758"/>
                      <a:pt x="134" y="759"/>
                      <a:pt x="134" y="759"/>
                    </a:cubicBezTo>
                    <a:cubicBezTo>
                      <a:pt x="134" y="759"/>
                      <a:pt x="135" y="759"/>
                      <a:pt x="135" y="759"/>
                    </a:cubicBezTo>
                    <a:cubicBezTo>
                      <a:pt x="141" y="760"/>
                      <a:pt x="146" y="759"/>
                      <a:pt x="152" y="758"/>
                    </a:cubicBezTo>
                    <a:cubicBezTo>
                      <a:pt x="152" y="758"/>
                      <a:pt x="152" y="758"/>
                      <a:pt x="153" y="758"/>
                    </a:cubicBezTo>
                    <a:cubicBezTo>
                      <a:pt x="153" y="758"/>
                      <a:pt x="153" y="758"/>
                      <a:pt x="153" y="757"/>
                    </a:cubicBezTo>
                    <a:cubicBezTo>
                      <a:pt x="153" y="756"/>
                      <a:pt x="153" y="755"/>
                      <a:pt x="152" y="754"/>
                    </a:cubicBezTo>
                    <a:cubicBezTo>
                      <a:pt x="154" y="753"/>
                      <a:pt x="156" y="753"/>
                      <a:pt x="157" y="754"/>
                    </a:cubicBezTo>
                    <a:cubicBezTo>
                      <a:pt x="160" y="754"/>
                      <a:pt x="162" y="754"/>
                      <a:pt x="164" y="753"/>
                    </a:cubicBezTo>
                    <a:cubicBezTo>
                      <a:pt x="164" y="752"/>
                      <a:pt x="166" y="751"/>
                      <a:pt x="167" y="750"/>
                    </a:cubicBezTo>
                    <a:cubicBezTo>
                      <a:pt x="168" y="749"/>
                      <a:pt x="169" y="748"/>
                      <a:pt x="168" y="747"/>
                    </a:cubicBezTo>
                    <a:cubicBezTo>
                      <a:pt x="170" y="747"/>
                      <a:pt x="171" y="746"/>
                      <a:pt x="172" y="744"/>
                    </a:cubicBezTo>
                    <a:cubicBezTo>
                      <a:pt x="173" y="743"/>
                      <a:pt x="173" y="741"/>
                      <a:pt x="174" y="740"/>
                    </a:cubicBezTo>
                    <a:cubicBezTo>
                      <a:pt x="175" y="738"/>
                      <a:pt x="177" y="736"/>
                      <a:pt x="177" y="733"/>
                    </a:cubicBezTo>
                    <a:cubicBezTo>
                      <a:pt x="176" y="726"/>
                      <a:pt x="178" y="719"/>
                      <a:pt x="177" y="712"/>
                    </a:cubicBezTo>
                    <a:cubicBezTo>
                      <a:pt x="176" y="710"/>
                      <a:pt x="176" y="708"/>
                      <a:pt x="175" y="707"/>
                    </a:cubicBezTo>
                    <a:cubicBezTo>
                      <a:pt x="173" y="704"/>
                      <a:pt x="167" y="704"/>
                      <a:pt x="168" y="698"/>
                    </a:cubicBezTo>
                    <a:cubicBezTo>
                      <a:pt x="168" y="696"/>
                      <a:pt x="171" y="694"/>
                      <a:pt x="173" y="694"/>
                    </a:cubicBezTo>
                    <a:cubicBezTo>
                      <a:pt x="175" y="693"/>
                      <a:pt x="177" y="693"/>
                      <a:pt x="180" y="693"/>
                    </a:cubicBezTo>
                    <a:cubicBezTo>
                      <a:pt x="183" y="693"/>
                      <a:pt x="186" y="693"/>
                      <a:pt x="189" y="692"/>
                    </a:cubicBezTo>
                    <a:cubicBezTo>
                      <a:pt x="200" y="683"/>
                      <a:pt x="210" y="673"/>
                      <a:pt x="219" y="662"/>
                    </a:cubicBezTo>
                    <a:cubicBezTo>
                      <a:pt x="224" y="657"/>
                      <a:pt x="228" y="651"/>
                      <a:pt x="233" y="647"/>
                    </a:cubicBezTo>
                    <a:cubicBezTo>
                      <a:pt x="238" y="642"/>
                      <a:pt x="244" y="639"/>
                      <a:pt x="251" y="638"/>
                    </a:cubicBezTo>
                    <a:cubicBezTo>
                      <a:pt x="253" y="638"/>
                      <a:pt x="256" y="639"/>
                      <a:pt x="257" y="641"/>
                    </a:cubicBezTo>
                    <a:cubicBezTo>
                      <a:pt x="259" y="643"/>
                      <a:pt x="258" y="646"/>
                      <a:pt x="257" y="649"/>
                    </a:cubicBezTo>
                    <a:cubicBezTo>
                      <a:pt x="255" y="652"/>
                      <a:pt x="251" y="655"/>
                      <a:pt x="248" y="658"/>
                    </a:cubicBezTo>
                    <a:cubicBezTo>
                      <a:pt x="246" y="660"/>
                      <a:pt x="244" y="662"/>
                      <a:pt x="242" y="665"/>
                    </a:cubicBezTo>
                    <a:cubicBezTo>
                      <a:pt x="241" y="665"/>
                      <a:pt x="240" y="666"/>
                      <a:pt x="239" y="667"/>
                    </a:cubicBezTo>
                    <a:cubicBezTo>
                      <a:pt x="238" y="667"/>
                      <a:pt x="237" y="667"/>
                      <a:pt x="236" y="668"/>
                    </a:cubicBezTo>
                    <a:cubicBezTo>
                      <a:pt x="232" y="669"/>
                      <a:pt x="230" y="674"/>
                      <a:pt x="228" y="677"/>
                    </a:cubicBezTo>
                    <a:cubicBezTo>
                      <a:pt x="223" y="684"/>
                      <a:pt x="218" y="691"/>
                      <a:pt x="211" y="695"/>
                    </a:cubicBezTo>
                    <a:cubicBezTo>
                      <a:pt x="209" y="697"/>
                      <a:pt x="207" y="698"/>
                      <a:pt x="207" y="700"/>
                    </a:cubicBezTo>
                    <a:cubicBezTo>
                      <a:pt x="206" y="702"/>
                      <a:pt x="207" y="704"/>
                      <a:pt x="209" y="705"/>
                    </a:cubicBezTo>
                    <a:cubicBezTo>
                      <a:pt x="210" y="706"/>
                      <a:pt x="212" y="706"/>
                      <a:pt x="214" y="706"/>
                    </a:cubicBezTo>
                    <a:cubicBezTo>
                      <a:pt x="216" y="707"/>
                      <a:pt x="218" y="706"/>
                      <a:pt x="220" y="707"/>
                    </a:cubicBezTo>
                    <a:cubicBezTo>
                      <a:pt x="222" y="709"/>
                      <a:pt x="223" y="712"/>
                      <a:pt x="222" y="714"/>
                    </a:cubicBezTo>
                    <a:cubicBezTo>
                      <a:pt x="221" y="717"/>
                      <a:pt x="219" y="719"/>
                      <a:pt x="217" y="720"/>
                    </a:cubicBezTo>
                    <a:cubicBezTo>
                      <a:pt x="214" y="722"/>
                      <a:pt x="212" y="724"/>
                      <a:pt x="209" y="726"/>
                    </a:cubicBezTo>
                    <a:cubicBezTo>
                      <a:pt x="203" y="730"/>
                      <a:pt x="196" y="733"/>
                      <a:pt x="194" y="740"/>
                    </a:cubicBezTo>
                    <a:cubicBezTo>
                      <a:pt x="193" y="743"/>
                      <a:pt x="194" y="747"/>
                      <a:pt x="192" y="751"/>
                    </a:cubicBezTo>
                    <a:cubicBezTo>
                      <a:pt x="191" y="753"/>
                      <a:pt x="189" y="754"/>
                      <a:pt x="188" y="756"/>
                    </a:cubicBezTo>
                    <a:cubicBezTo>
                      <a:pt x="184" y="760"/>
                      <a:pt x="181" y="766"/>
                      <a:pt x="181" y="771"/>
                    </a:cubicBezTo>
                    <a:cubicBezTo>
                      <a:pt x="180" y="784"/>
                      <a:pt x="179" y="797"/>
                      <a:pt x="184" y="809"/>
                    </a:cubicBezTo>
                    <a:cubicBezTo>
                      <a:pt x="187" y="817"/>
                      <a:pt x="191" y="825"/>
                      <a:pt x="187" y="831"/>
                    </a:cubicBezTo>
                    <a:cubicBezTo>
                      <a:pt x="185" y="835"/>
                      <a:pt x="180" y="837"/>
                      <a:pt x="177" y="841"/>
                    </a:cubicBezTo>
                    <a:cubicBezTo>
                      <a:pt x="174" y="845"/>
                      <a:pt x="173" y="850"/>
                      <a:pt x="172" y="855"/>
                    </a:cubicBezTo>
                    <a:cubicBezTo>
                      <a:pt x="167" y="878"/>
                      <a:pt x="162" y="901"/>
                      <a:pt x="166" y="924"/>
                    </a:cubicBezTo>
                    <a:cubicBezTo>
                      <a:pt x="166" y="927"/>
                      <a:pt x="167" y="931"/>
                      <a:pt x="170" y="933"/>
                    </a:cubicBezTo>
                    <a:cubicBezTo>
                      <a:pt x="171" y="933"/>
                      <a:pt x="172" y="934"/>
                      <a:pt x="172" y="935"/>
                    </a:cubicBezTo>
                    <a:cubicBezTo>
                      <a:pt x="173" y="935"/>
                      <a:pt x="173" y="936"/>
                      <a:pt x="173" y="937"/>
                    </a:cubicBezTo>
                    <a:cubicBezTo>
                      <a:pt x="170" y="950"/>
                      <a:pt x="168" y="964"/>
                      <a:pt x="166" y="978"/>
                    </a:cubicBezTo>
                    <a:cubicBezTo>
                      <a:pt x="162" y="978"/>
                      <a:pt x="160" y="975"/>
                      <a:pt x="159" y="971"/>
                    </a:cubicBezTo>
                    <a:cubicBezTo>
                      <a:pt x="159" y="968"/>
                      <a:pt x="160" y="965"/>
                      <a:pt x="160" y="962"/>
                    </a:cubicBezTo>
                    <a:cubicBezTo>
                      <a:pt x="155" y="960"/>
                      <a:pt x="149" y="964"/>
                      <a:pt x="148" y="969"/>
                    </a:cubicBezTo>
                    <a:cubicBezTo>
                      <a:pt x="146" y="974"/>
                      <a:pt x="147" y="980"/>
                      <a:pt x="151" y="983"/>
                    </a:cubicBezTo>
                    <a:cubicBezTo>
                      <a:pt x="153" y="985"/>
                      <a:pt x="155" y="986"/>
                      <a:pt x="156" y="989"/>
                    </a:cubicBezTo>
                    <a:cubicBezTo>
                      <a:pt x="158" y="991"/>
                      <a:pt x="157" y="994"/>
                      <a:pt x="157" y="997"/>
                    </a:cubicBezTo>
                    <a:cubicBezTo>
                      <a:pt x="154" y="1013"/>
                      <a:pt x="151" y="1029"/>
                      <a:pt x="148" y="1045"/>
                    </a:cubicBezTo>
                    <a:cubicBezTo>
                      <a:pt x="147" y="1048"/>
                      <a:pt x="146" y="1052"/>
                      <a:pt x="143" y="1054"/>
                    </a:cubicBezTo>
                    <a:cubicBezTo>
                      <a:pt x="141" y="1055"/>
                      <a:pt x="138" y="1055"/>
                      <a:pt x="136" y="1056"/>
                    </a:cubicBezTo>
                    <a:cubicBezTo>
                      <a:pt x="133" y="1058"/>
                      <a:pt x="132" y="1062"/>
                      <a:pt x="132" y="1065"/>
                    </a:cubicBezTo>
                    <a:cubicBezTo>
                      <a:pt x="131" y="1072"/>
                      <a:pt x="130" y="1079"/>
                      <a:pt x="131" y="1086"/>
                    </a:cubicBezTo>
                    <a:cubicBezTo>
                      <a:pt x="131" y="1090"/>
                      <a:pt x="131" y="1094"/>
                      <a:pt x="135" y="1097"/>
                    </a:cubicBezTo>
                    <a:cubicBezTo>
                      <a:pt x="136" y="1097"/>
                      <a:pt x="138" y="1098"/>
                      <a:pt x="140" y="1098"/>
                    </a:cubicBezTo>
                    <a:cubicBezTo>
                      <a:pt x="148" y="1099"/>
                      <a:pt x="157" y="1099"/>
                      <a:pt x="165" y="1098"/>
                    </a:cubicBezTo>
                    <a:cubicBezTo>
                      <a:pt x="169" y="1097"/>
                      <a:pt x="172" y="1097"/>
                      <a:pt x="175" y="1095"/>
                    </a:cubicBezTo>
                    <a:cubicBezTo>
                      <a:pt x="182" y="1090"/>
                      <a:pt x="182" y="1082"/>
                      <a:pt x="180" y="1075"/>
                    </a:cubicBezTo>
                    <a:cubicBezTo>
                      <a:pt x="179" y="1065"/>
                      <a:pt x="179" y="1056"/>
                      <a:pt x="183" y="1047"/>
                    </a:cubicBezTo>
                    <a:cubicBezTo>
                      <a:pt x="187" y="1037"/>
                      <a:pt x="192" y="1027"/>
                      <a:pt x="194" y="1016"/>
                    </a:cubicBezTo>
                    <a:cubicBezTo>
                      <a:pt x="195" y="1013"/>
                      <a:pt x="195" y="1011"/>
                      <a:pt x="196" y="1008"/>
                    </a:cubicBezTo>
                    <a:cubicBezTo>
                      <a:pt x="198" y="1006"/>
                      <a:pt x="200" y="1005"/>
                      <a:pt x="201" y="1002"/>
                    </a:cubicBezTo>
                    <a:cubicBezTo>
                      <a:pt x="208" y="994"/>
                      <a:pt x="201" y="982"/>
                      <a:pt x="204" y="972"/>
                    </a:cubicBezTo>
                    <a:cubicBezTo>
                      <a:pt x="206" y="966"/>
                      <a:pt x="211" y="961"/>
                      <a:pt x="211" y="955"/>
                    </a:cubicBezTo>
                    <a:cubicBezTo>
                      <a:pt x="211" y="953"/>
                      <a:pt x="211" y="952"/>
                      <a:pt x="212" y="950"/>
                    </a:cubicBezTo>
                    <a:cubicBezTo>
                      <a:pt x="214" y="944"/>
                      <a:pt x="223" y="946"/>
                      <a:pt x="228" y="942"/>
                    </a:cubicBezTo>
                    <a:cubicBezTo>
                      <a:pt x="232" y="938"/>
                      <a:pt x="231" y="932"/>
                      <a:pt x="229" y="926"/>
                    </a:cubicBezTo>
                    <a:cubicBezTo>
                      <a:pt x="227" y="920"/>
                      <a:pt x="225" y="914"/>
                      <a:pt x="224" y="909"/>
                    </a:cubicBezTo>
                    <a:cubicBezTo>
                      <a:pt x="223" y="906"/>
                      <a:pt x="222" y="904"/>
                      <a:pt x="221" y="902"/>
                    </a:cubicBezTo>
                    <a:cubicBezTo>
                      <a:pt x="220" y="896"/>
                      <a:pt x="218" y="891"/>
                      <a:pt x="214" y="887"/>
                    </a:cubicBezTo>
                    <a:cubicBezTo>
                      <a:pt x="214" y="882"/>
                      <a:pt x="215" y="878"/>
                      <a:pt x="215" y="873"/>
                    </a:cubicBezTo>
                    <a:cubicBezTo>
                      <a:pt x="216" y="870"/>
                      <a:pt x="216" y="867"/>
                      <a:pt x="218" y="866"/>
                    </a:cubicBezTo>
                    <a:cubicBezTo>
                      <a:pt x="221" y="864"/>
                      <a:pt x="224" y="865"/>
                      <a:pt x="226" y="867"/>
                    </a:cubicBezTo>
                    <a:cubicBezTo>
                      <a:pt x="228" y="869"/>
                      <a:pt x="229" y="872"/>
                      <a:pt x="229" y="875"/>
                    </a:cubicBezTo>
                    <a:cubicBezTo>
                      <a:pt x="230" y="885"/>
                      <a:pt x="224" y="896"/>
                      <a:pt x="229" y="906"/>
                    </a:cubicBezTo>
                    <a:cubicBezTo>
                      <a:pt x="234" y="915"/>
                      <a:pt x="246" y="917"/>
                      <a:pt x="257" y="917"/>
                    </a:cubicBezTo>
                    <a:cubicBezTo>
                      <a:pt x="258" y="917"/>
                      <a:pt x="259" y="917"/>
                      <a:pt x="260" y="918"/>
                    </a:cubicBezTo>
                    <a:cubicBezTo>
                      <a:pt x="264" y="919"/>
                      <a:pt x="264" y="924"/>
                      <a:pt x="264" y="928"/>
                    </a:cubicBezTo>
                    <a:cubicBezTo>
                      <a:pt x="264" y="933"/>
                      <a:pt x="264" y="939"/>
                      <a:pt x="264" y="944"/>
                    </a:cubicBezTo>
                    <a:cubicBezTo>
                      <a:pt x="264" y="946"/>
                      <a:pt x="265" y="949"/>
                      <a:pt x="267" y="949"/>
                    </a:cubicBezTo>
                    <a:cubicBezTo>
                      <a:pt x="268" y="949"/>
                      <a:pt x="269" y="947"/>
                      <a:pt x="270" y="946"/>
                    </a:cubicBezTo>
                    <a:cubicBezTo>
                      <a:pt x="274" y="944"/>
                      <a:pt x="276" y="949"/>
                      <a:pt x="280" y="951"/>
                    </a:cubicBezTo>
                    <a:cubicBezTo>
                      <a:pt x="284" y="954"/>
                      <a:pt x="290" y="950"/>
                      <a:pt x="292" y="945"/>
                    </a:cubicBezTo>
                    <a:cubicBezTo>
                      <a:pt x="293" y="941"/>
                      <a:pt x="292" y="935"/>
                      <a:pt x="290" y="930"/>
                    </a:cubicBezTo>
                    <a:cubicBezTo>
                      <a:pt x="289" y="925"/>
                      <a:pt x="287" y="920"/>
                      <a:pt x="288" y="915"/>
                    </a:cubicBezTo>
                    <a:cubicBezTo>
                      <a:pt x="290" y="908"/>
                      <a:pt x="299" y="903"/>
                      <a:pt x="306" y="906"/>
                    </a:cubicBezTo>
                    <a:cubicBezTo>
                      <a:pt x="305" y="899"/>
                      <a:pt x="314" y="895"/>
                      <a:pt x="318" y="890"/>
                    </a:cubicBezTo>
                    <a:cubicBezTo>
                      <a:pt x="322" y="885"/>
                      <a:pt x="322" y="877"/>
                      <a:pt x="327" y="872"/>
                    </a:cubicBezTo>
                    <a:cubicBezTo>
                      <a:pt x="328" y="873"/>
                      <a:pt x="330" y="875"/>
                      <a:pt x="331" y="874"/>
                    </a:cubicBezTo>
                    <a:cubicBezTo>
                      <a:pt x="332" y="873"/>
                      <a:pt x="333" y="871"/>
                      <a:pt x="334" y="870"/>
                    </a:cubicBezTo>
                    <a:cubicBezTo>
                      <a:pt x="337" y="868"/>
                      <a:pt x="339" y="867"/>
                      <a:pt x="342" y="865"/>
                    </a:cubicBezTo>
                    <a:cubicBezTo>
                      <a:pt x="343" y="863"/>
                      <a:pt x="344" y="862"/>
                      <a:pt x="346" y="862"/>
                    </a:cubicBezTo>
                    <a:cubicBezTo>
                      <a:pt x="347" y="861"/>
                      <a:pt x="347" y="862"/>
                      <a:pt x="348" y="862"/>
                    </a:cubicBezTo>
                    <a:cubicBezTo>
                      <a:pt x="352" y="864"/>
                      <a:pt x="354" y="869"/>
                      <a:pt x="357" y="873"/>
                    </a:cubicBezTo>
                    <a:cubicBezTo>
                      <a:pt x="359" y="875"/>
                      <a:pt x="363" y="877"/>
                      <a:pt x="366" y="878"/>
                    </a:cubicBezTo>
                    <a:cubicBezTo>
                      <a:pt x="369" y="880"/>
                      <a:pt x="372" y="881"/>
                      <a:pt x="375" y="882"/>
                    </a:cubicBezTo>
                    <a:cubicBezTo>
                      <a:pt x="376" y="883"/>
                      <a:pt x="378" y="884"/>
                      <a:pt x="380" y="884"/>
                    </a:cubicBezTo>
                    <a:cubicBezTo>
                      <a:pt x="382" y="885"/>
                      <a:pt x="384" y="885"/>
                      <a:pt x="387" y="886"/>
                    </a:cubicBezTo>
                    <a:cubicBezTo>
                      <a:pt x="393" y="887"/>
                      <a:pt x="400" y="887"/>
                      <a:pt x="407" y="888"/>
                    </a:cubicBezTo>
                    <a:cubicBezTo>
                      <a:pt x="414" y="889"/>
                      <a:pt x="421" y="889"/>
                      <a:pt x="427" y="887"/>
                    </a:cubicBezTo>
                    <a:cubicBezTo>
                      <a:pt x="431" y="886"/>
                      <a:pt x="434" y="884"/>
                      <a:pt x="437" y="883"/>
                    </a:cubicBezTo>
                    <a:cubicBezTo>
                      <a:pt x="452" y="875"/>
                      <a:pt x="462" y="871"/>
                      <a:pt x="471" y="857"/>
                    </a:cubicBezTo>
                    <a:cubicBezTo>
                      <a:pt x="482" y="842"/>
                      <a:pt x="495" y="833"/>
                      <a:pt x="513" y="833"/>
                    </a:cubicBezTo>
                    <a:cubicBezTo>
                      <a:pt x="524" y="833"/>
                      <a:pt x="534" y="834"/>
                      <a:pt x="543" y="828"/>
                    </a:cubicBezTo>
                    <a:cubicBezTo>
                      <a:pt x="552" y="823"/>
                      <a:pt x="558" y="813"/>
                      <a:pt x="563" y="805"/>
                    </a:cubicBezTo>
                    <a:cubicBezTo>
                      <a:pt x="567" y="797"/>
                      <a:pt x="571" y="789"/>
                      <a:pt x="578" y="784"/>
                    </a:cubicBezTo>
                    <a:cubicBezTo>
                      <a:pt x="583" y="780"/>
                      <a:pt x="589" y="775"/>
                      <a:pt x="595" y="772"/>
                    </a:cubicBezTo>
                    <a:cubicBezTo>
                      <a:pt x="601" y="770"/>
                      <a:pt x="607" y="771"/>
                      <a:pt x="613" y="768"/>
                    </a:cubicBezTo>
                    <a:cubicBezTo>
                      <a:pt x="617" y="767"/>
                      <a:pt x="621" y="763"/>
                      <a:pt x="624" y="761"/>
                    </a:cubicBezTo>
                    <a:cubicBezTo>
                      <a:pt x="636" y="751"/>
                      <a:pt x="649" y="744"/>
                      <a:pt x="664" y="740"/>
                    </a:cubicBezTo>
                    <a:cubicBezTo>
                      <a:pt x="669" y="738"/>
                      <a:pt x="676" y="736"/>
                      <a:pt x="680" y="732"/>
                    </a:cubicBezTo>
                    <a:cubicBezTo>
                      <a:pt x="690" y="725"/>
                      <a:pt x="697" y="724"/>
                      <a:pt x="708" y="721"/>
                    </a:cubicBezTo>
                    <a:cubicBezTo>
                      <a:pt x="716" y="718"/>
                      <a:pt x="732" y="717"/>
                      <a:pt x="732" y="706"/>
                    </a:cubicBezTo>
                    <a:cubicBezTo>
                      <a:pt x="732" y="703"/>
                      <a:pt x="731" y="699"/>
                      <a:pt x="733" y="698"/>
                    </a:cubicBezTo>
                    <a:cubicBezTo>
                      <a:pt x="735" y="696"/>
                      <a:pt x="738" y="697"/>
                      <a:pt x="740" y="696"/>
                    </a:cubicBezTo>
                    <a:cubicBezTo>
                      <a:pt x="748" y="692"/>
                      <a:pt x="752" y="675"/>
                      <a:pt x="756" y="668"/>
                    </a:cubicBezTo>
                    <a:cubicBezTo>
                      <a:pt x="760" y="658"/>
                      <a:pt x="764" y="647"/>
                      <a:pt x="766" y="637"/>
                    </a:cubicBezTo>
                    <a:cubicBezTo>
                      <a:pt x="767" y="633"/>
                      <a:pt x="768" y="629"/>
                      <a:pt x="771" y="627"/>
                    </a:cubicBezTo>
                    <a:cubicBezTo>
                      <a:pt x="774" y="626"/>
                      <a:pt x="778" y="627"/>
                      <a:pt x="781" y="627"/>
                    </a:cubicBezTo>
                    <a:cubicBezTo>
                      <a:pt x="797" y="627"/>
                      <a:pt x="795" y="607"/>
                      <a:pt x="801" y="598"/>
                    </a:cubicBezTo>
                    <a:cubicBezTo>
                      <a:pt x="805" y="591"/>
                      <a:pt x="805" y="583"/>
                      <a:pt x="805" y="576"/>
                    </a:cubicBezTo>
                    <a:cubicBezTo>
                      <a:pt x="805" y="566"/>
                      <a:pt x="803" y="563"/>
                      <a:pt x="812" y="559"/>
                    </a:cubicBezTo>
                    <a:cubicBezTo>
                      <a:pt x="813" y="559"/>
                      <a:pt x="814" y="558"/>
                      <a:pt x="815" y="558"/>
                    </a:cubicBezTo>
                    <a:cubicBezTo>
                      <a:pt x="819" y="555"/>
                      <a:pt x="818" y="550"/>
                      <a:pt x="819" y="546"/>
                    </a:cubicBezTo>
                    <a:cubicBezTo>
                      <a:pt x="821" y="531"/>
                      <a:pt x="835" y="521"/>
                      <a:pt x="835" y="504"/>
                    </a:cubicBezTo>
                    <a:cubicBezTo>
                      <a:pt x="836" y="497"/>
                      <a:pt x="834" y="490"/>
                      <a:pt x="834" y="483"/>
                    </a:cubicBezTo>
                    <a:cubicBezTo>
                      <a:pt x="835" y="449"/>
                      <a:pt x="875" y="437"/>
                      <a:pt x="881" y="407"/>
                    </a:cubicBezTo>
                    <a:cubicBezTo>
                      <a:pt x="881" y="406"/>
                      <a:pt x="881" y="405"/>
                      <a:pt x="881" y="404"/>
                    </a:cubicBezTo>
                    <a:cubicBezTo>
                      <a:pt x="880" y="403"/>
                      <a:pt x="880" y="403"/>
                      <a:pt x="879" y="402"/>
                    </a:cubicBezTo>
                    <a:cubicBezTo>
                      <a:pt x="878" y="402"/>
                      <a:pt x="878" y="400"/>
                      <a:pt x="878" y="399"/>
                    </a:cubicBezTo>
                    <a:cubicBezTo>
                      <a:pt x="877" y="372"/>
                      <a:pt x="876" y="346"/>
                      <a:pt x="850" y="330"/>
                    </a:cubicBezTo>
                    <a:cubicBezTo>
                      <a:pt x="839" y="323"/>
                      <a:pt x="825" y="320"/>
                      <a:pt x="815" y="327"/>
                    </a:cubicBezTo>
                    <a:cubicBezTo>
                      <a:pt x="813" y="329"/>
                      <a:pt x="811" y="331"/>
                      <a:pt x="809" y="332"/>
                    </a:cubicBezTo>
                    <a:cubicBezTo>
                      <a:pt x="805" y="334"/>
                      <a:pt x="801" y="334"/>
                      <a:pt x="798" y="335"/>
                    </a:cubicBezTo>
                    <a:cubicBezTo>
                      <a:pt x="771" y="337"/>
                      <a:pt x="743" y="335"/>
                      <a:pt x="717" y="329"/>
                    </a:cubicBezTo>
                    <a:cubicBezTo>
                      <a:pt x="710" y="327"/>
                      <a:pt x="703" y="325"/>
                      <a:pt x="696" y="325"/>
                    </a:cubicBezTo>
                    <a:cubicBezTo>
                      <a:pt x="682" y="325"/>
                      <a:pt x="668" y="332"/>
                      <a:pt x="654" y="331"/>
                    </a:cubicBezTo>
                    <a:cubicBezTo>
                      <a:pt x="643" y="330"/>
                      <a:pt x="634" y="325"/>
                      <a:pt x="624" y="321"/>
                    </a:cubicBezTo>
                    <a:cubicBezTo>
                      <a:pt x="615" y="318"/>
                      <a:pt x="603" y="316"/>
                      <a:pt x="594" y="321"/>
                    </a:cubicBezTo>
                    <a:cubicBezTo>
                      <a:pt x="589" y="324"/>
                      <a:pt x="585" y="330"/>
                      <a:pt x="579" y="334"/>
                    </a:cubicBezTo>
                    <a:cubicBezTo>
                      <a:pt x="574" y="337"/>
                      <a:pt x="566" y="338"/>
                      <a:pt x="561" y="338"/>
                    </a:cubicBezTo>
                    <a:cubicBezTo>
                      <a:pt x="554" y="338"/>
                      <a:pt x="549" y="335"/>
                      <a:pt x="542" y="338"/>
                    </a:cubicBezTo>
                    <a:cubicBezTo>
                      <a:pt x="538" y="341"/>
                      <a:pt x="534" y="345"/>
                      <a:pt x="528" y="346"/>
                    </a:cubicBezTo>
                    <a:cubicBezTo>
                      <a:pt x="526" y="346"/>
                      <a:pt x="523" y="345"/>
                      <a:pt x="520" y="346"/>
                    </a:cubicBezTo>
                    <a:cubicBezTo>
                      <a:pt x="519" y="347"/>
                      <a:pt x="517" y="348"/>
                      <a:pt x="515" y="349"/>
                    </a:cubicBezTo>
                    <a:cubicBezTo>
                      <a:pt x="513" y="350"/>
                      <a:pt x="510" y="350"/>
                      <a:pt x="507" y="350"/>
                    </a:cubicBezTo>
                    <a:cubicBezTo>
                      <a:pt x="499" y="350"/>
                      <a:pt x="491" y="350"/>
                      <a:pt x="483" y="351"/>
                    </a:cubicBezTo>
                    <a:cubicBezTo>
                      <a:pt x="481" y="351"/>
                      <a:pt x="478" y="349"/>
                      <a:pt x="480" y="348"/>
                    </a:cubicBezTo>
                    <a:cubicBezTo>
                      <a:pt x="485" y="346"/>
                      <a:pt x="489" y="342"/>
                      <a:pt x="491" y="337"/>
                    </a:cubicBezTo>
                    <a:cubicBezTo>
                      <a:pt x="492" y="335"/>
                      <a:pt x="492" y="333"/>
                      <a:pt x="494" y="331"/>
                    </a:cubicBezTo>
                    <a:cubicBezTo>
                      <a:pt x="495" y="330"/>
                      <a:pt x="497" y="329"/>
                      <a:pt x="499" y="328"/>
                    </a:cubicBezTo>
                    <a:cubicBezTo>
                      <a:pt x="502" y="325"/>
                      <a:pt x="506" y="321"/>
                      <a:pt x="508" y="317"/>
                    </a:cubicBezTo>
                    <a:cubicBezTo>
                      <a:pt x="509" y="315"/>
                      <a:pt x="509" y="313"/>
                      <a:pt x="511" y="312"/>
                    </a:cubicBezTo>
                    <a:cubicBezTo>
                      <a:pt x="513" y="309"/>
                      <a:pt x="516" y="308"/>
                      <a:pt x="518" y="306"/>
                    </a:cubicBezTo>
                    <a:cubicBezTo>
                      <a:pt x="522" y="303"/>
                      <a:pt x="524" y="299"/>
                      <a:pt x="525" y="294"/>
                    </a:cubicBezTo>
                    <a:cubicBezTo>
                      <a:pt x="526" y="291"/>
                      <a:pt x="526" y="284"/>
                      <a:pt x="530" y="283"/>
                    </a:cubicBezTo>
                    <a:cubicBezTo>
                      <a:pt x="531" y="283"/>
                      <a:pt x="532" y="283"/>
                      <a:pt x="533" y="282"/>
                    </a:cubicBezTo>
                    <a:cubicBezTo>
                      <a:pt x="535" y="282"/>
                      <a:pt x="535" y="279"/>
                      <a:pt x="535" y="277"/>
                    </a:cubicBezTo>
                    <a:cubicBezTo>
                      <a:pt x="535" y="275"/>
                      <a:pt x="535" y="272"/>
                      <a:pt x="532" y="271"/>
                    </a:cubicBezTo>
                    <a:cubicBezTo>
                      <a:pt x="531" y="271"/>
                      <a:pt x="531" y="272"/>
                      <a:pt x="530" y="272"/>
                    </a:cubicBezTo>
                    <a:cubicBezTo>
                      <a:pt x="528" y="272"/>
                      <a:pt x="524" y="271"/>
                      <a:pt x="523" y="272"/>
                    </a:cubicBezTo>
                    <a:cubicBezTo>
                      <a:pt x="521" y="273"/>
                      <a:pt x="522" y="275"/>
                      <a:pt x="520" y="276"/>
                    </a:cubicBezTo>
                    <a:cubicBezTo>
                      <a:pt x="519" y="277"/>
                      <a:pt x="518" y="277"/>
                      <a:pt x="516" y="277"/>
                    </a:cubicBezTo>
                    <a:cubicBezTo>
                      <a:pt x="509" y="278"/>
                      <a:pt x="502" y="277"/>
                      <a:pt x="495" y="276"/>
                    </a:cubicBezTo>
                    <a:cubicBezTo>
                      <a:pt x="495" y="276"/>
                      <a:pt x="494" y="276"/>
                      <a:pt x="494" y="276"/>
                    </a:cubicBezTo>
                    <a:cubicBezTo>
                      <a:pt x="492" y="275"/>
                      <a:pt x="492" y="274"/>
                      <a:pt x="492" y="273"/>
                    </a:cubicBezTo>
                    <a:cubicBezTo>
                      <a:pt x="492" y="268"/>
                      <a:pt x="491" y="264"/>
                      <a:pt x="491" y="259"/>
                    </a:cubicBezTo>
                    <a:cubicBezTo>
                      <a:pt x="491" y="258"/>
                      <a:pt x="491" y="257"/>
                      <a:pt x="492" y="256"/>
                    </a:cubicBezTo>
                    <a:cubicBezTo>
                      <a:pt x="494" y="254"/>
                      <a:pt x="496" y="254"/>
                      <a:pt x="497" y="251"/>
                    </a:cubicBezTo>
                    <a:cubicBezTo>
                      <a:pt x="499" y="249"/>
                      <a:pt x="497" y="244"/>
                      <a:pt x="497" y="241"/>
                    </a:cubicBezTo>
                    <a:cubicBezTo>
                      <a:pt x="497" y="239"/>
                      <a:pt x="498" y="237"/>
                      <a:pt x="499" y="236"/>
                    </a:cubicBezTo>
                    <a:close/>
                  </a:path>
                </a:pathLst>
              </a:custGeom>
              <a:solidFill>
                <a:schemeClr val="accent3"/>
              </a:solid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74" name="Freeform 12">
                <a:extLst>
                  <a:ext uri="{FF2B5EF4-FFF2-40B4-BE49-F238E27FC236}">
                    <a16:creationId xmlns:a16="http://schemas.microsoft.com/office/drawing/2014/main" id="{06AC3531-F523-A27A-738F-BB83E3A11E43}"/>
                  </a:ext>
                </a:extLst>
              </p:cNvPr>
              <p:cNvSpPr>
                <a:spLocks/>
              </p:cNvSpPr>
              <p:nvPr/>
            </p:nvSpPr>
            <p:spPr bwMode="gray">
              <a:xfrm>
                <a:off x="1038672" y="3003064"/>
                <a:ext cx="22694" cy="30458"/>
              </a:xfrm>
              <a:custGeom>
                <a:avLst/>
                <a:gdLst>
                  <a:gd name="T0" fmla="*/ 13 w 14"/>
                  <a:gd name="T1" fmla="*/ 4 h 19"/>
                  <a:gd name="T2" fmla="*/ 13 w 14"/>
                  <a:gd name="T3" fmla="*/ 9 h 19"/>
                  <a:gd name="T4" fmla="*/ 10 w 14"/>
                  <a:gd name="T5" fmla="*/ 16 h 19"/>
                  <a:gd name="T6" fmla="*/ 3 w 14"/>
                  <a:gd name="T7" fmla="*/ 17 h 19"/>
                  <a:gd name="T8" fmla="*/ 0 w 14"/>
                  <a:gd name="T9" fmla="*/ 10 h 19"/>
                  <a:gd name="T10" fmla="*/ 2 w 14"/>
                  <a:gd name="T11" fmla="*/ 4 h 19"/>
                  <a:gd name="T12" fmla="*/ 3 w 14"/>
                  <a:gd name="T13" fmla="*/ 3 h 19"/>
                  <a:gd name="T14" fmla="*/ 4 w 14"/>
                  <a:gd name="T15" fmla="*/ 1 h 19"/>
                  <a:gd name="T16" fmla="*/ 8 w 14"/>
                  <a:gd name="T17" fmla="*/ 0 h 19"/>
                  <a:gd name="T18" fmla="*/ 13 w 14"/>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9">
                    <a:moveTo>
                      <a:pt x="13" y="4"/>
                    </a:moveTo>
                    <a:cubicBezTo>
                      <a:pt x="14" y="6"/>
                      <a:pt x="14" y="7"/>
                      <a:pt x="13" y="9"/>
                    </a:cubicBezTo>
                    <a:cubicBezTo>
                      <a:pt x="13" y="12"/>
                      <a:pt x="12" y="14"/>
                      <a:pt x="10" y="16"/>
                    </a:cubicBezTo>
                    <a:cubicBezTo>
                      <a:pt x="8" y="18"/>
                      <a:pt x="6" y="19"/>
                      <a:pt x="3" y="17"/>
                    </a:cubicBezTo>
                    <a:cubicBezTo>
                      <a:pt x="1" y="16"/>
                      <a:pt x="0" y="13"/>
                      <a:pt x="0" y="10"/>
                    </a:cubicBezTo>
                    <a:cubicBezTo>
                      <a:pt x="0" y="8"/>
                      <a:pt x="1" y="6"/>
                      <a:pt x="2" y="4"/>
                    </a:cubicBezTo>
                    <a:cubicBezTo>
                      <a:pt x="3" y="4"/>
                      <a:pt x="3" y="3"/>
                      <a:pt x="3" y="3"/>
                    </a:cubicBezTo>
                    <a:cubicBezTo>
                      <a:pt x="4" y="2"/>
                      <a:pt x="4" y="2"/>
                      <a:pt x="4" y="1"/>
                    </a:cubicBezTo>
                    <a:cubicBezTo>
                      <a:pt x="5" y="0"/>
                      <a:pt x="7" y="0"/>
                      <a:pt x="8" y="0"/>
                    </a:cubicBezTo>
                    <a:cubicBezTo>
                      <a:pt x="10" y="1"/>
                      <a:pt x="12" y="2"/>
                      <a:pt x="13" y="4"/>
                    </a:cubicBezTo>
                    <a:close/>
                  </a:path>
                </a:pathLst>
              </a:custGeom>
              <a:grp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75" name="Freeform 13">
                <a:extLst>
                  <a:ext uri="{FF2B5EF4-FFF2-40B4-BE49-F238E27FC236}">
                    <a16:creationId xmlns:a16="http://schemas.microsoft.com/office/drawing/2014/main" id="{B0D2A27E-87FD-B5C6-916A-9AE92B5E5D75}"/>
                  </a:ext>
                </a:extLst>
              </p:cNvPr>
              <p:cNvSpPr>
                <a:spLocks/>
              </p:cNvSpPr>
              <p:nvPr/>
            </p:nvSpPr>
            <p:spPr bwMode="gray">
              <a:xfrm>
                <a:off x="579426" y="2768962"/>
                <a:ext cx="261574" cy="312336"/>
              </a:xfrm>
              <a:custGeom>
                <a:avLst/>
                <a:gdLst>
                  <a:gd name="T0" fmla="*/ 32 w 164"/>
                  <a:gd name="T1" fmla="*/ 194 h 196"/>
                  <a:gd name="T2" fmla="*/ 32 w 164"/>
                  <a:gd name="T3" fmla="*/ 193 h 196"/>
                  <a:gd name="T4" fmla="*/ 33 w 164"/>
                  <a:gd name="T5" fmla="*/ 183 h 196"/>
                  <a:gd name="T6" fmla="*/ 42 w 164"/>
                  <a:gd name="T7" fmla="*/ 177 h 196"/>
                  <a:gd name="T8" fmla="*/ 44 w 164"/>
                  <a:gd name="T9" fmla="*/ 177 h 196"/>
                  <a:gd name="T10" fmla="*/ 44 w 164"/>
                  <a:gd name="T11" fmla="*/ 176 h 196"/>
                  <a:gd name="T12" fmla="*/ 44 w 164"/>
                  <a:gd name="T13" fmla="*/ 172 h 196"/>
                  <a:gd name="T14" fmla="*/ 44 w 164"/>
                  <a:gd name="T15" fmla="*/ 170 h 196"/>
                  <a:gd name="T16" fmla="*/ 43 w 164"/>
                  <a:gd name="T17" fmla="*/ 168 h 196"/>
                  <a:gd name="T18" fmla="*/ 42 w 164"/>
                  <a:gd name="T19" fmla="*/ 168 h 196"/>
                  <a:gd name="T20" fmla="*/ 40 w 164"/>
                  <a:gd name="T21" fmla="*/ 166 h 196"/>
                  <a:gd name="T22" fmla="*/ 34 w 164"/>
                  <a:gd name="T23" fmla="*/ 161 h 196"/>
                  <a:gd name="T24" fmla="*/ 16 w 164"/>
                  <a:gd name="T25" fmla="*/ 163 h 196"/>
                  <a:gd name="T26" fmla="*/ 4 w 164"/>
                  <a:gd name="T27" fmla="*/ 168 h 196"/>
                  <a:gd name="T28" fmla="*/ 0 w 164"/>
                  <a:gd name="T29" fmla="*/ 164 h 196"/>
                  <a:gd name="T30" fmla="*/ 0 w 164"/>
                  <a:gd name="T31" fmla="*/ 158 h 196"/>
                  <a:gd name="T32" fmla="*/ 5 w 164"/>
                  <a:gd name="T33" fmla="*/ 136 h 196"/>
                  <a:gd name="T34" fmla="*/ 15 w 164"/>
                  <a:gd name="T35" fmla="*/ 114 h 196"/>
                  <a:gd name="T36" fmla="*/ 20 w 164"/>
                  <a:gd name="T37" fmla="*/ 108 h 196"/>
                  <a:gd name="T38" fmla="*/ 34 w 164"/>
                  <a:gd name="T39" fmla="*/ 109 h 196"/>
                  <a:gd name="T40" fmla="*/ 53 w 164"/>
                  <a:gd name="T41" fmla="*/ 99 h 196"/>
                  <a:gd name="T42" fmla="*/ 86 w 164"/>
                  <a:gd name="T43" fmla="*/ 96 h 196"/>
                  <a:gd name="T44" fmla="*/ 115 w 164"/>
                  <a:gd name="T45" fmla="*/ 51 h 196"/>
                  <a:gd name="T46" fmla="*/ 148 w 164"/>
                  <a:gd name="T47" fmla="*/ 24 h 196"/>
                  <a:gd name="T48" fmla="*/ 162 w 164"/>
                  <a:gd name="T49" fmla="*/ 1 h 196"/>
                  <a:gd name="T50" fmla="*/ 164 w 164"/>
                  <a:gd name="T51" fmla="*/ 22 h 196"/>
                  <a:gd name="T52" fmla="*/ 157 w 164"/>
                  <a:gd name="T53" fmla="*/ 42 h 196"/>
                  <a:gd name="T54" fmla="*/ 151 w 164"/>
                  <a:gd name="T55" fmla="*/ 54 h 196"/>
                  <a:gd name="T56" fmla="*/ 149 w 164"/>
                  <a:gd name="T57" fmla="*/ 60 h 196"/>
                  <a:gd name="T58" fmla="*/ 138 w 164"/>
                  <a:gd name="T59" fmla="*/ 72 h 196"/>
                  <a:gd name="T60" fmla="*/ 112 w 164"/>
                  <a:gd name="T61" fmla="*/ 121 h 196"/>
                  <a:gd name="T62" fmla="*/ 99 w 164"/>
                  <a:gd name="T63" fmla="*/ 134 h 196"/>
                  <a:gd name="T64" fmla="*/ 85 w 164"/>
                  <a:gd name="T65" fmla="*/ 140 h 196"/>
                  <a:gd name="T66" fmla="*/ 86 w 164"/>
                  <a:gd name="T67" fmla="*/ 156 h 196"/>
                  <a:gd name="T68" fmla="*/ 77 w 164"/>
                  <a:gd name="T69" fmla="*/ 181 h 196"/>
                  <a:gd name="T70" fmla="*/ 55 w 164"/>
                  <a:gd name="T71" fmla="*/ 193 h 196"/>
                  <a:gd name="T72" fmla="*/ 45 w 164"/>
                  <a:gd name="T73" fmla="*/ 195 h 196"/>
                  <a:gd name="T74" fmla="*/ 38 w 164"/>
                  <a:gd name="T75" fmla="*/ 195 h 196"/>
                  <a:gd name="T76" fmla="*/ 35 w 164"/>
                  <a:gd name="T77" fmla="*/ 196 h 196"/>
                  <a:gd name="T78" fmla="*/ 32 w 164"/>
                  <a:gd name="T79" fmla="*/ 195 h 196"/>
                  <a:gd name="T80" fmla="*/ 32 w 164"/>
                  <a:gd name="T81" fmla="*/ 19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196">
                    <a:moveTo>
                      <a:pt x="32" y="194"/>
                    </a:moveTo>
                    <a:cubicBezTo>
                      <a:pt x="32" y="194"/>
                      <a:pt x="32" y="193"/>
                      <a:pt x="32" y="193"/>
                    </a:cubicBezTo>
                    <a:cubicBezTo>
                      <a:pt x="32" y="190"/>
                      <a:pt x="33" y="186"/>
                      <a:pt x="33" y="183"/>
                    </a:cubicBezTo>
                    <a:cubicBezTo>
                      <a:pt x="34" y="177"/>
                      <a:pt x="38" y="178"/>
                      <a:pt x="42" y="177"/>
                    </a:cubicBezTo>
                    <a:cubicBezTo>
                      <a:pt x="43" y="177"/>
                      <a:pt x="43" y="177"/>
                      <a:pt x="44" y="177"/>
                    </a:cubicBezTo>
                    <a:cubicBezTo>
                      <a:pt x="44" y="176"/>
                      <a:pt x="44" y="176"/>
                      <a:pt x="44" y="176"/>
                    </a:cubicBezTo>
                    <a:cubicBezTo>
                      <a:pt x="44" y="175"/>
                      <a:pt x="44" y="173"/>
                      <a:pt x="44" y="172"/>
                    </a:cubicBezTo>
                    <a:cubicBezTo>
                      <a:pt x="44" y="171"/>
                      <a:pt x="44" y="171"/>
                      <a:pt x="44" y="170"/>
                    </a:cubicBezTo>
                    <a:cubicBezTo>
                      <a:pt x="44" y="169"/>
                      <a:pt x="44" y="168"/>
                      <a:pt x="43" y="168"/>
                    </a:cubicBezTo>
                    <a:cubicBezTo>
                      <a:pt x="43" y="168"/>
                      <a:pt x="42" y="168"/>
                      <a:pt x="42" y="168"/>
                    </a:cubicBezTo>
                    <a:cubicBezTo>
                      <a:pt x="41" y="167"/>
                      <a:pt x="41" y="167"/>
                      <a:pt x="40" y="166"/>
                    </a:cubicBezTo>
                    <a:cubicBezTo>
                      <a:pt x="38" y="163"/>
                      <a:pt x="37" y="162"/>
                      <a:pt x="34" y="161"/>
                    </a:cubicBezTo>
                    <a:cubicBezTo>
                      <a:pt x="28" y="159"/>
                      <a:pt x="21" y="161"/>
                      <a:pt x="16" y="163"/>
                    </a:cubicBezTo>
                    <a:cubicBezTo>
                      <a:pt x="12" y="164"/>
                      <a:pt x="8" y="168"/>
                      <a:pt x="4" y="168"/>
                    </a:cubicBezTo>
                    <a:cubicBezTo>
                      <a:pt x="2" y="168"/>
                      <a:pt x="1" y="166"/>
                      <a:pt x="0" y="164"/>
                    </a:cubicBezTo>
                    <a:cubicBezTo>
                      <a:pt x="0" y="162"/>
                      <a:pt x="0" y="160"/>
                      <a:pt x="0" y="158"/>
                    </a:cubicBezTo>
                    <a:cubicBezTo>
                      <a:pt x="1" y="150"/>
                      <a:pt x="3" y="143"/>
                      <a:pt x="5" y="136"/>
                    </a:cubicBezTo>
                    <a:cubicBezTo>
                      <a:pt x="8" y="128"/>
                      <a:pt x="12" y="121"/>
                      <a:pt x="15" y="114"/>
                    </a:cubicBezTo>
                    <a:cubicBezTo>
                      <a:pt x="16" y="112"/>
                      <a:pt x="18" y="109"/>
                      <a:pt x="20" y="108"/>
                    </a:cubicBezTo>
                    <a:cubicBezTo>
                      <a:pt x="24" y="106"/>
                      <a:pt x="29" y="109"/>
                      <a:pt x="34" y="109"/>
                    </a:cubicBezTo>
                    <a:cubicBezTo>
                      <a:pt x="41" y="109"/>
                      <a:pt x="47" y="103"/>
                      <a:pt x="53" y="99"/>
                    </a:cubicBezTo>
                    <a:cubicBezTo>
                      <a:pt x="63" y="93"/>
                      <a:pt x="75" y="92"/>
                      <a:pt x="86" y="96"/>
                    </a:cubicBezTo>
                    <a:cubicBezTo>
                      <a:pt x="103" y="89"/>
                      <a:pt x="102" y="64"/>
                      <a:pt x="115" y="51"/>
                    </a:cubicBezTo>
                    <a:cubicBezTo>
                      <a:pt x="124" y="40"/>
                      <a:pt x="142" y="37"/>
                      <a:pt x="148" y="24"/>
                    </a:cubicBezTo>
                    <a:cubicBezTo>
                      <a:pt x="152" y="15"/>
                      <a:pt x="152" y="2"/>
                      <a:pt x="162" y="1"/>
                    </a:cubicBezTo>
                    <a:cubicBezTo>
                      <a:pt x="163" y="0"/>
                      <a:pt x="164" y="20"/>
                      <a:pt x="164" y="22"/>
                    </a:cubicBezTo>
                    <a:cubicBezTo>
                      <a:pt x="162" y="29"/>
                      <a:pt x="160" y="35"/>
                      <a:pt x="157" y="42"/>
                    </a:cubicBezTo>
                    <a:cubicBezTo>
                      <a:pt x="155" y="46"/>
                      <a:pt x="152" y="50"/>
                      <a:pt x="151" y="54"/>
                    </a:cubicBezTo>
                    <a:cubicBezTo>
                      <a:pt x="150" y="56"/>
                      <a:pt x="149" y="58"/>
                      <a:pt x="149" y="60"/>
                    </a:cubicBezTo>
                    <a:cubicBezTo>
                      <a:pt x="149" y="61"/>
                      <a:pt x="140" y="68"/>
                      <a:pt x="138" y="72"/>
                    </a:cubicBezTo>
                    <a:cubicBezTo>
                      <a:pt x="130" y="88"/>
                      <a:pt x="122" y="105"/>
                      <a:pt x="112" y="121"/>
                    </a:cubicBezTo>
                    <a:cubicBezTo>
                      <a:pt x="108" y="127"/>
                      <a:pt x="104" y="131"/>
                      <a:pt x="99" y="134"/>
                    </a:cubicBezTo>
                    <a:cubicBezTo>
                      <a:pt x="94" y="137"/>
                      <a:pt x="88" y="132"/>
                      <a:pt x="85" y="140"/>
                    </a:cubicBezTo>
                    <a:cubicBezTo>
                      <a:pt x="83" y="145"/>
                      <a:pt x="85" y="151"/>
                      <a:pt x="86" y="156"/>
                    </a:cubicBezTo>
                    <a:cubicBezTo>
                      <a:pt x="90" y="167"/>
                      <a:pt x="87" y="175"/>
                      <a:pt x="77" y="181"/>
                    </a:cubicBezTo>
                    <a:cubicBezTo>
                      <a:pt x="70" y="186"/>
                      <a:pt x="63" y="190"/>
                      <a:pt x="55" y="193"/>
                    </a:cubicBezTo>
                    <a:cubicBezTo>
                      <a:pt x="52" y="194"/>
                      <a:pt x="48" y="195"/>
                      <a:pt x="45" y="195"/>
                    </a:cubicBezTo>
                    <a:cubicBezTo>
                      <a:pt x="43" y="195"/>
                      <a:pt x="40" y="195"/>
                      <a:pt x="38" y="195"/>
                    </a:cubicBezTo>
                    <a:cubicBezTo>
                      <a:pt x="37" y="195"/>
                      <a:pt x="36" y="196"/>
                      <a:pt x="35" y="196"/>
                    </a:cubicBezTo>
                    <a:cubicBezTo>
                      <a:pt x="34" y="196"/>
                      <a:pt x="33" y="196"/>
                      <a:pt x="32" y="195"/>
                    </a:cubicBezTo>
                    <a:cubicBezTo>
                      <a:pt x="32" y="195"/>
                      <a:pt x="32" y="194"/>
                      <a:pt x="32" y="194"/>
                    </a:cubicBezTo>
                    <a:close/>
                  </a:path>
                </a:pathLst>
              </a:custGeom>
              <a:solidFill>
                <a:schemeClr val="accent3"/>
              </a:solid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76" name="Freeform 14">
                <a:extLst>
                  <a:ext uri="{FF2B5EF4-FFF2-40B4-BE49-F238E27FC236}">
                    <a16:creationId xmlns:a16="http://schemas.microsoft.com/office/drawing/2014/main" id="{05AB08F1-21C5-655E-FDBF-D41E721A3359}"/>
                  </a:ext>
                </a:extLst>
              </p:cNvPr>
              <p:cNvSpPr>
                <a:spLocks/>
              </p:cNvSpPr>
              <p:nvPr/>
            </p:nvSpPr>
            <p:spPr bwMode="gray">
              <a:xfrm>
                <a:off x="659451" y="2811960"/>
                <a:ext cx="38221" cy="62109"/>
              </a:xfrm>
              <a:custGeom>
                <a:avLst/>
                <a:gdLst>
                  <a:gd name="T0" fmla="*/ 4 w 24"/>
                  <a:gd name="T1" fmla="*/ 36 h 39"/>
                  <a:gd name="T2" fmla="*/ 2 w 24"/>
                  <a:gd name="T3" fmla="*/ 35 h 39"/>
                  <a:gd name="T4" fmla="*/ 0 w 24"/>
                  <a:gd name="T5" fmla="*/ 30 h 39"/>
                  <a:gd name="T6" fmla="*/ 6 w 24"/>
                  <a:gd name="T7" fmla="*/ 16 h 39"/>
                  <a:gd name="T8" fmla="*/ 19 w 24"/>
                  <a:gd name="T9" fmla="*/ 0 h 39"/>
                  <a:gd name="T10" fmla="*/ 23 w 24"/>
                  <a:gd name="T11" fmla="*/ 10 h 39"/>
                  <a:gd name="T12" fmla="*/ 16 w 24"/>
                  <a:gd name="T13" fmla="*/ 23 h 39"/>
                  <a:gd name="T14" fmla="*/ 4 w 24"/>
                  <a:gd name="T15" fmla="*/ 36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9">
                    <a:moveTo>
                      <a:pt x="4" y="36"/>
                    </a:moveTo>
                    <a:cubicBezTo>
                      <a:pt x="3" y="36"/>
                      <a:pt x="3" y="36"/>
                      <a:pt x="2" y="35"/>
                    </a:cubicBezTo>
                    <a:cubicBezTo>
                      <a:pt x="1" y="34"/>
                      <a:pt x="0" y="32"/>
                      <a:pt x="0" y="30"/>
                    </a:cubicBezTo>
                    <a:cubicBezTo>
                      <a:pt x="0" y="25"/>
                      <a:pt x="3" y="21"/>
                      <a:pt x="6" y="16"/>
                    </a:cubicBezTo>
                    <a:cubicBezTo>
                      <a:pt x="8" y="13"/>
                      <a:pt x="13" y="0"/>
                      <a:pt x="19" y="0"/>
                    </a:cubicBezTo>
                    <a:cubicBezTo>
                      <a:pt x="23" y="1"/>
                      <a:pt x="24" y="7"/>
                      <a:pt x="23" y="10"/>
                    </a:cubicBezTo>
                    <a:cubicBezTo>
                      <a:pt x="23" y="17"/>
                      <a:pt x="19" y="18"/>
                      <a:pt x="16" y="23"/>
                    </a:cubicBezTo>
                    <a:cubicBezTo>
                      <a:pt x="13" y="28"/>
                      <a:pt x="13" y="39"/>
                      <a:pt x="4" y="36"/>
                    </a:cubicBezTo>
                    <a:close/>
                  </a:path>
                </a:pathLst>
              </a:custGeom>
              <a:grp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77" name="Freeform 15">
                <a:extLst>
                  <a:ext uri="{FF2B5EF4-FFF2-40B4-BE49-F238E27FC236}">
                    <a16:creationId xmlns:a16="http://schemas.microsoft.com/office/drawing/2014/main" id="{B781395E-4654-5D55-EE4D-86683469101F}"/>
                  </a:ext>
                </a:extLst>
              </p:cNvPr>
              <p:cNvSpPr>
                <a:spLocks/>
              </p:cNvSpPr>
              <p:nvPr/>
            </p:nvSpPr>
            <p:spPr bwMode="gray">
              <a:xfrm>
                <a:off x="903107" y="3026952"/>
                <a:ext cx="105705" cy="164230"/>
              </a:xfrm>
              <a:custGeom>
                <a:avLst/>
                <a:gdLst>
                  <a:gd name="T0" fmla="*/ 11 w 66"/>
                  <a:gd name="T1" fmla="*/ 85 h 103"/>
                  <a:gd name="T2" fmla="*/ 31 w 66"/>
                  <a:gd name="T3" fmla="*/ 99 h 103"/>
                  <a:gd name="T4" fmla="*/ 58 w 66"/>
                  <a:gd name="T5" fmla="*/ 83 h 103"/>
                  <a:gd name="T6" fmla="*/ 60 w 66"/>
                  <a:gd name="T7" fmla="*/ 74 h 103"/>
                  <a:gd name="T8" fmla="*/ 64 w 66"/>
                  <a:gd name="T9" fmla="*/ 67 h 103"/>
                  <a:gd name="T10" fmla="*/ 58 w 66"/>
                  <a:gd name="T11" fmla="*/ 63 h 103"/>
                  <a:gd name="T12" fmla="*/ 58 w 66"/>
                  <a:gd name="T13" fmla="*/ 57 h 103"/>
                  <a:gd name="T14" fmla="*/ 46 w 66"/>
                  <a:gd name="T15" fmla="*/ 50 h 103"/>
                  <a:gd name="T16" fmla="*/ 47 w 66"/>
                  <a:gd name="T17" fmla="*/ 46 h 103"/>
                  <a:gd name="T18" fmla="*/ 49 w 66"/>
                  <a:gd name="T19" fmla="*/ 22 h 103"/>
                  <a:gd name="T20" fmla="*/ 7 w 66"/>
                  <a:gd name="T21" fmla="*/ 24 h 103"/>
                  <a:gd name="T22" fmla="*/ 11 w 66"/>
                  <a:gd name="T23" fmla="*/ 8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103">
                    <a:moveTo>
                      <a:pt x="11" y="85"/>
                    </a:moveTo>
                    <a:cubicBezTo>
                      <a:pt x="15" y="91"/>
                      <a:pt x="22" y="97"/>
                      <a:pt x="31" y="99"/>
                    </a:cubicBezTo>
                    <a:cubicBezTo>
                      <a:pt x="42" y="103"/>
                      <a:pt x="56" y="95"/>
                      <a:pt x="58" y="83"/>
                    </a:cubicBezTo>
                    <a:cubicBezTo>
                      <a:pt x="58" y="80"/>
                      <a:pt x="58" y="76"/>
                      <a:pt x="60" y="74"/>
                    </a:cubicBezTo>
                    <a:cubicBezTo>
                      <a:pt x="62" y="72"/>
                      <a:pt x="66" y="69"/>
                      <a:pt x="64" y="67"/>
                    </a:cubicBezTo>
                    <a:cubicBezTo>
                      <a:pt x="63" y="65"/>
                      <a:pt x="59" y="65"/>
                      <a:pt x="58" y="63"/>
                    </a:cubicBezTo>
                    <a:cubicBezTo>
                      <a:pt x="57" y="62"/>
                      <a:pt x="59" y="59"/>
                      <a:pt x="58" y="57"/>
                    </a:cubicBezTo>
                    <a:cubicBezTo>
                      <a:pt x="57" y="52"/>
                      <a:pt x="47" y="55"/>
                      <a:pt x="46" y="50"/>
                    </a:cubicBezTo>
                    <a:cubicBezTo>
                      <a:pt x="46" y="49"/>
                      <a:pt x="46" y="47"/>
                      <a:pt x="47" y="46"/>
                    </a:cubicBezTo>
                    <a:cubicBezTo>
                      <a:pt x="50" y="38"/>
                      <a:pt x="51" y="30"/>
                      <a:pt x="49" y="22"/>
                    </a:cubicBezTo>
                    <a:cubicBezTo>
                      <a:pt x="43" y="0"/>
                      <a:pt x="13" y="5"/>
                      <a:pt x="7" y="24"/>
                    </a:cubicBezTo>
                    <a:cubicBezTo>
                      <a:pt x="2" y="42"/>
                      <a:pt x="0" y="68"/>
                      <a:pt x="11" y="85"/>
                    </a:cubicBezTo>
                    <a:close/>
                  </a:path>
                </a:pathLst>
              </a:custGeom>
              <a:solidFill>
                <a:schemeClr val="accent3"/>
              </a:solid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78" name="Freeform 22">
                <a:extLst>
                  <a:ext uri="{FF2B5EF4-FFF2-40B4-BE49-F238E27FC236}">
                    <a16:creationId xmlns:a16="http://schemas.microsoft.com/office/drawing/2014/main" id="{A19CCFD7-0B2C-AF0E-BD7D-51448AFC6DD2}"/>
                  </a:ext>
                </a:extLst>
              </p:cNvPr>
              <p:cNvSpPr>
                <a:spLocks/>
              </p:cNvSpPr>
              <p:nvPr/>
            </p:nvSpPr>
            <p:spPr bwMode="gray">
              <a:xfrm>
                <a:off x="599132" y="2304938"/>
                <a:ext cx="48971" cy="33443"/>
              </a:xfrm>
              <a:custGeom>
                <a:avLst/>
                <a:gdLst>
                  <a:gd name="T0" fmla="*/ 1 w 31"/>
                  <a:gd name="T1" fmla="*/ 4 h 21"/>
                  <a:gd name="T2" fmla="*/ 21 w 31"/>
                  <a:gd name="T3" fmla="*/ 0 h 21"/>
                  <a:gd name="T4" fmla="*/ 28 w 31"/>
                  <a:gd name="T5" fmla="*/ 2 h 21"/>
                  <a:gd name="T6" fmla="*/ 27 w 31"/>
                  <a:gd name="T7" fmla="*/ 16 h 21"/>
                  <a:gd name="T8" fmla="*/ 10 w 31"/>
                  <a:gd name="T9" fmla="*/ 19 h 21"/>
                  <a:gd name="T10" fmla="*/ 0 w 31"/>
                  <a:gd name="T11" fmla="*/ 5 h 21"/>
                </a:gdLst>
                <a:ahLst/>
                <a:cxnLst>
                  <a:cxn ang="0">
                    <a:pos x="T0" y="T1"/>
                  </a:cxn>
                  <a:cxn ang="0">
                    <a:pos x="T2" y="T3"/>
                  </a:cxn>
                  <a:cxn ang="0">
                    <a:pos x="T4" y="T5"/>
                  </a:cxn>
                  <a:cxn ang="0">
                    <a:pos x="T6" y="T7"/>
                  </a:cxn>
                  <a:cxn ang="0">
                    <a:pos x="T8" y="T9"/>
                  </a:cxn>
                  <a:cxn ang="0">
                    <a:pos x="T10" y="T11"/>
                  </a:cxn>
                </a:cxnLst>
                <a:rect l="0" t="0" r="r" b="b"/>
                <a:pathLst>
                  <a:path w="31" h="21">
                    <a:moveTo>
                      <a:pt x="1" y="4"/>
                    </a:moveTo>
                    <a:cubicBezTo>
                      <a:pt x="7" y="0"/>
                      <a:pt x="14" y="0"/>
                      <a:pt x="21" y="0"/>
                    </a:cubicBezTo>
                    <a:cubicBezTo>
                      <a:pt x="24" y="0"/>
                      <a:pt x="26" y="0"/>
                      <a:pt x="28" y="2"/>
                    </a:cubicBezTo>
                    <a:cubicBezTo>
                      <a:pt x="31" y="5"/>
                      <a:pt x="27" y="11"/>
                      <a:pt x="27" y="16"/>
                    </a:cubicBezTo>
                    <a:cubicBezTo>
                      <a:pt x="22" y="19"/>
                      <a:pt x="15" y="21"/>
                      <a:pt x="10" y="19"/>
                    </a:cubicBezTo>
                    <a:cubicBezTo>
                      <a:pt x="4" y="17"/>
                      <a:pt x="0" y="11"/>
                      <a:pt x="0" y="5"/>
                    </a:cubicBezTo>
                  </a:path>
                </a:pathLst>
              </a:custGeom>
              <a:solidFill>
                <a:schemeClr val="accent3"/>
              </a:solid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79" name="Freeform 23">
                <a:extLst>
                  <a:ext uri="{FF2B5EF4-FFF2-40B4-BE49-F238E27FC236}">
                    <a16:creationId xmlns:a16="http://schemas.microsoft.com/office/drawing/2014/main" id="{EF90B795-3A47-082C-4ED3-2F15F7D26406}"/>
                  </a:ext>
                </a:extLst>
              </p:cNvPr>
              <p:cNvSpPr>
                <a:spLocks/>
              </p:cNvSpPr>
              <p:nvPr/>
            </p:nvSpPr>
            <p:spPr bwMode="gray">
              <a:xfrm>
                <a:off x="649895" y="2319270"/>
                <a:ext cx="52554" cy="66887"/>
              </a:xfrm>
              <a:custGeom>
                <a:avLst/>
                <a:gdLst>
                  <a:gd name="T0" fmla="*/ 0 w 33"/>
                  <a:gd name="T1" fmla="*/ 22 h 42"/>
                  <a:gd name="T2" fmla="*/ 0 w 33"/>
                  <a:gd name="T3" fmla="*/ 10 h 42"/>
                  <a:gd name="T4" fmla="*/ 0 w 33"/>
                  <a:gd name="T5" fmla="*/ 7 h 42"/>
                  <a:gd name="T6" fmla="*/ 2 w 33"/>
                  <a:gd name="T7" fmla="*/ 5 h 42"/>
                  <a:gd name="T8" fmla="*/ 24 w 33"/>
                  <a:gd name="T9" fmla="*/ 2 h 42"/>
                  <a:gd name="T10" fmla="*/ 32 w 33"/>
                  <a:gd name="T11" fmla="*/ 6 h 42"/>
                  <a:gd name="T12" fmla="*/ 31 w 33"/>
                  <a:gd name="T13" fmla="*/ 15 h 42"/>
                  <a:gd name="T14" fmla="*/ 31 w 33"/>
                  <a:gd name="T15" fmla="*/ 32 h 42"/>
                  <a:gd name="T16" fmla="*/ 24 w 33"/>
                  <a:gd name="T17" fmla="*/ 40 h 42"/>
                  <a:gd name="T18" fmla="*/ 16 w 33"/>
                  <a:gd name="T19" fmla="*/ 41 h 42"/>
                  <a:gd name="T20" fmla="*/ 10 w 33"/>
                  <a:gd name="T21" fmla="*/ 36 h 42"/>
                  <a:gd name="T22" fmla="*/ 4 w 33"/>
                  <a:gd name="T23" fmla="*/ 32 h 42"/>
                  <a:gd name="T24" fmla="*/ 0 w 33"/>
                  <a:gd name="T25" fmla="*/ 1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42">
                    <a:moveTo>
                      <a:pt x="0" y="22"/>
                    </a:moveTo>
                    <a:cubicBezTo>
                      <a:pt x="0" y="18"/>
                      <a:pt x="0" y="14"/>
                      <a:pt x="0" y="10"/>
                    </a:cubicBezTo>
                    <a:cubicBezTo>
                      <a:pt x="0" y="9"/>
                      <a:pt x="0" y="8"/>
                      <a:pt x="0" y="7"/>
                    </a:cubicBezTo>
                    <a:cubicBezTo>
                      <a:pt x="1" y="6"/>
                      <a:pt x="2" y="6"/>
                      <a:pt x="2" y="5"/>
                    </a:cubicBezTo>
                    <a:cubicBezTo>
                      <a:pt x="9" y="2"/>
                      <a:pt x="17" y="0"/>
                      <a:pt x="24" y="2"/>
                    </a:cubicBezTo>
                    <a:cubicBezTo>
                      <a:pt x="27" y="2"/>
                      <a:pt x="31" y="4"/>
                      <a:pt x="32" y="6"/>
                    </a:cubicBezTo>
                    <a:cubicBezTo>
                      <a:pt x="33" y="9"/>
                      <a:pt x="32" y="12"/>
                      <a:pt x="31" y="15"/>
                    </a:cubicBezTo>
                    <a:cubicBezTo>
                      <a:pt x="29" y="21"/>
                      <a:pt x="29" y="26"/>
                      <a:pt x="31" y="32"/>
                    </a:cubicBezTo>
                    <a:cubicBezTo>
                      <a:pt x="27" y="32"/>
                      <a:pt x="27" y="38"/>
                      <a:pt x="24" y="40"/>
                    </a:cubicBezTo>
                    <a:cubicBezTo>
                      <a:pt x="22" y="42"/>
                      <a:pt x="19" y="42"/>
                      <a:pt x="16" y="41"/>
                    </a:cubicBezTo>
                    <a:cubicBezTo>
                      <a:pt x="14" y="40"/>
                      <a:pt x="12" y="38"/>
                      <a:pt x="10" y="36"/>
                    </a:cubicBezTo>
                    <a:cubicBezTo>
                      <a:pt x="8" y="35"/>
                      <a:pt x="5" y="34"/>
                      <a:pt x="4" y="32"/>
                    </a:cubicBezTo>
                    <a:cubicBezTo>
                      <a:pt x="0" y="28"/>
                      <a:pt x="0" y="22"/>
                      <a:pt x="0" y="17"/>
                    </a:cubicBezTo>
                  </a:path>
                </a:pathLst>
              </a:custGeom>
              <a:solidFill>
                <a:schemeClr val="accent3"/>
              </a:solid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0" name="Freeform 24">
                <a:extLst>
                  <a:ext uri="{FF2B5EF4-FFF2-40B4-BE49-F238E27FC236}">
                    <a16:creationId xmlns:a16="http://schemas.microsoft.com/office/drawing/2014/main" id="{0C003E09-32A3-300D-DE66-327B341FEC65}"/>
                  </a:ext>
                </a:extLst>
              </p:cNvPr>
              <p:cNvSpPr>
                <a:spLocks/>
              </p:cNvSpPr>
              <p:nvPr/>
            </p:nvSpPr>
            <p:spPr bwMode="gray">
              <a:xfrm>
                <a:off x="709018" y="2379587"/>
                <a:ext cx="33443" cy="46582"/>
              </a:xfrm>
              <a:custGeom>
                <a:avLst/>
                <a:gdLst>
                  <a:gd name="T0" fmla="*/ 1 w 21"/>
                  <a:gd name="T1" fmla="*/ 13 h 29"/>
                  <a:gd name="T2" fmla="*/ 9 w 21"/>
                  <a:gd name="T3" fmla="*/ 10 h 29"/>
                  <a:gd name="T4" fmla="*/ 7 w 21"/>
                  <a:gd name="T5" fmla="*/ 3 h 29"/>
                  <a:gd name="T6" fmla="*/ 18 w 21"/>
                  <a:gd name="T7" fmla="*/ 4 h 29"/>
                  <a:gd name="T8" fmla="*/ 21 w 21"/>
                  <a:gd name="T9" fmla="*/ 17 h 29"/>
                  <a:gd name="T10" fmla="*/ 20 w 21"/>
                  <a:gd name="T11" fmla="*/ 25 h 29"/>
                  <a:gd name="T12" fmla="*/ 11 w 21"/>
                  <a:gd name="T13" fmla="*/ 28 h 29"/>
                  <a:gd name="T14" fmla="*/ 2 w 21"/>
                  <a:gd name="T15" fmla="*/ 25 h 29"/>
                  <a:gd name="T16" fmla="*/ 0 w 21"/>
                  <a:gd name="T17" fmla="*/ 17 h 29"/>
                  <a:gd name="T18" fmla="*/ 2 w 21"/>
                  <a:gd name="T19"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9">
                    <a:moveTo>
                      <a:pt x="1" y="13"/>
                    </a:moveTo>
                    <a:cubicBezTo>
                      <a:pt x="3" y="11"/>
                      <a:pt x="6" y="9"/>
                      <a:pt x="9" y="10"/>
                    </a:cubicBezTo>
                    <a:cubicBezTo>
                      <a:pt x="9" y="7"/>
                      <a:pt x="8" y="5"/>
                      <a:pt x="7" y="3"/>
                    </a:cubicBezTo>
                    <a:cubicBezTo>
                      <a:pt x="10" y="0"/>
                      <a:pt x="16" y="1"/>
                      <a:pt x="18" y="4"/>
                    </a:cubicBezTo>
                    <a:cubicBezTo>
                      <a:pt x="21" y="8"/>
                      <a:pt x="21" y="12"/>
                      <a:pt x="21" y="17"/>
                    </a:cubicBezTo>
                    <a:cubicBezTo>
                      <a:pt x="21" y="19"/>
                      <a:pt x="21" y="22"/>
                      <a:pt x="20" y="25"/>
                    </a:cubicBezTo>
                    <a:cubicBezTo>
                      <a:pt x="18" y="28"/>
                      <a:pt x="14" y="29"/>
                      <a:pt x="11" y="28"/>
                    </a:cubicBezTo>
                    <a:cubicBezTo>
                      <a:pt x="8" y="28"/>
                      <a:pt x="5" y="26"/>
                      <a:pt x="2" y="25"/>
                    </a:cubicBezTo>
                    <a:cubicBezTo>
                      <a:pt x="2" y="22"/>
                      <a:pt x="2" y="19"/>
                      <a:pt x="0" y="17"/>
                    </a:cubicBezTo>
                    <a:cubicBezTo>
                      <a:pt x="1" y="16"/>
                      <a:pt x="1" y="15"/>
                      <a:pt x="2" y="14"/>
                    </a:cubicBezTo>
                  </a:path>
                </a:pathLst>
              </a:custGeom>
              <a:solidFill>
                <a:schemeClr val="accent3"/>
              </a:solid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1" name="Freeform 25">
                <a:extLst>
                  <a:ext uri="{FF2B5EF4-FFF2-40B4-BE49-F238E27FC236}">
                    <a16:creationId xmlns:a16="http://schemas.microsoft.com/office/drawing/2014/main" id="{A688B194-D262-BC2A-94AB-3E542C8924D5}"/>
                  </a:ext>
                </a:extLst>
              </p:cNvPr>
              <p:cNvSpPr>
                <a:spLocks/>
              </p:cNvSpPr>
              <p:nvPr/>
            </p:nvSpPr>
            <p:spPr bwMode="gray">
              <a:xfrm>
                <a:off x="557329" y="2510374"/>
                <a:ext cx="75247" cy="65692"/>
              </a:xfrm>
              <a:custGeom>
                <a:avLst/>
                <a:gdLst>
                  <a:gd name="T0" fmla="*/ 9 w 47"/>
                  <a:gd name="T1" fmla="*/ 28 h 41"/>
                  <a:gd name="T2" fmla="*/ 9 w 47"/>
                  <a:gd name="T3" fmla="*/ 18 h 41"/>
                  <a:gd name="T4" fmla="*/ 16 w 47"/>
                  <a:gd name="T5" fmla="*/ 16 h 41"/>
                  <a:gd name="T6" fmla="*/ 31 w 47"/>
                  <a:gd name="T7" fmla="*/ 6 h 41"/>
                  <a:gd name="T8" fmla="*/ 36 w 47"/>
                  <a:gd name="T9" fmla="*/ 1 h 41"/>
                  <a:gd name="T10" fmla="*/ 44 w 47"/>
                  <a:gd name="T11" fmla="*/ 2 h 41"/>
                  <a:gd name="T12" fmla="*/ 46 w 47"/>
                  <a:gd name="T13" fmla="*/ 11 h 41"/>
                  <a:gd name="T14" fmla="*/ 39 w 47"/>
                  <a:gd name="T15" fmla="*/ 18 h 41"/>
                  <a:gd name="T16" fmla="*/ 25 w 47"/>
                  <a:gd name="T17" fmla="*/ 32 h 41"/>
                  <a:gd name="T18" fmla="*/ 10 w 47"/>
                  <a:gd name="T19" fmla="*/ 32 h 41"/>
                  <a:gd name="T20" fmla="*/ 2 w 47"/>
                  <a:gd name="T21" fmla="*/ 35 h 41"/>
                  <a:gd name="T22" fmla="*/ 9 w 47"/>
                  <a:gd name="T23"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41">
                    <a:moveTo>
                      <a:pt x="9" y="28"/>
                    </a:moveTo>
                    <a:cubicBezTo>
                      <a:pt x="10" y="25"/>
                      <a:pt x="8" y="22"/>
                      <a:pt x="9" y="18"/>
                    </a:cubicBezTo>
                    <a:cubicBezTo>
                      <a:pt x="10" y="15"/>
                      <a:pt x="14" y="13"/>
                      <a:pt x="16" y="16"/>
                    </a:cubicBezTo>
                    <a:cubicBezTo>
                      <a:pt x="17" y="9"/>
                      <a:pt x="25" y="4"/>
                      <a:pt x="31" y="6"/>
                    </a:cubicBezTo>
                    <a:cubicBezTo>
                      <a:pt x="30" y="3"/>
                      <a:pt x="33" y="1"/>
                      <a:pt x="36" y="1"/>
                    </a:cubicBezTo>
                    <a:cubicBezTo>
                      <a:pt x="39" y="0"/>
                      <a:pt x="42" y="0"/>
                      <a:pt x="44" y="2"/>
                    </a:cubicBezTo>
                    <a:cubicBezTo>
                      <a:pt x="46" y="4"/>
                      <a:pt x="47" y="8"/>
                      <a:pt x="46" y="11"/>
                    </a:cubicBezTo>
                    <a:cubicBezTo>
                      <a:pt x="44" y="14"/>
                      <a:pt x="42" y="16"/>
                      <a:pt x="39" y="18"/>
                    </a:cubicBezTo>
                    <a:cubicBezTo>
                      <a:pt x="35" y="23"/>
                      <a:pt x="30" y="27"/>
                      <a:pt x="25" y="32"/>
                    </a:cubicBezTo>
                    <a:cubicBezTo>
                      <a:pt x="20" y="33"/>
                      <a:pt x="15" y="33"/>
                      <a:pt x="10" y="32"/>
                    </a:cubicBezTo>
                    <a:cubicBezTo>
                      <a:pt x="10" y="36"/>
                      <a:pt x="3" y="41"/>
                      <a:pt x="2" y="35"/>
                    </a:cubicBezTo>
                    <a:cubicBezTo>
                      <a:pt x="0" y="29"/>
                      <a:pt x="8" y="30"/>
                      <a:pt x="9" y="28"/>
                    </a:cubicBezTo>
                    <a:close/>
                  </a:path>
                </a:pathLst>
              </a:custGeom>
              <a:solidFill>
                <a:schemeClr val="accent3"/>
              </a:solid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2" name="Freeform 26">
                <a:extLst>
                  <a:ext uri="{FF2B5EF4-FFF2-40B4-BE49-F238E27FC236}">
                    <a16:creationId xmlns:a16="http://schemas.microsoft.com/office/drawing/2014/main" id="{7B97D7D7-57C2-CF91-E2EB-EEC4120234B8}"/>
                  </a:ext>
                </a:extLst>
              </p:cNvPr>
              <p:cNvSpPr>
                <a:spLocks/>
              </p:cNvSpPr>
              <p:nvPr/>
            </p:nvSpPr>
            <p:spPr bwMode="gray">
              <a:xfrm>
                <a:off x="464762" y="2571288"/>
                <a:ext cx="75247" cy="62109"/>
              </a:xfrm>
              <a:custGeom>
                <a:avLst/>
                <a:gdLst>
                  <a:gd name="T0" fmla="*/ 12 w 47"/>
                  <a:gd name="T1" fmla="*/ 13 h 39"/>
                  <a:gd name="T2" fmla="*/ 14 w 47"/>
                  <a:gd name="T3" fmla="*/ 7 h 39"/>
                  <a:gd name="T4" fmla="*/ 32 w 47"/>
                  <a:gd name="T5" fmla="*/ 9 h 39"/>
                  <a:gd name="T6" fmla="*/ 35 w 47"/>
                  <a:gd name="T7" fmla="*/ 2 h 39"/>
                  <a:gd name="T8" fmla="*/ 46 w 47"/>
                  <a:gd name="T9" fmla="*/ 0 h 39"/>
                  <a:gd name="T10" fmla="*/ 40 w 47"/>
                  <a:gd name="T11" fmla="*/ 18 h 39"/>
                  <a:gd name="T12" fmla="*/ 26 w 47"/>
                  <a:gd name="T13" fmla="*/ 27 h 39"/>
                  <a:gd name="T14" fmla="*/ 24 w 47"/>
                  <a:gd name="T15" fmla="*/ 37 h 39"/>
                  <a:gd name="T16" fmla="*/ 5 w 47"/>
                  <a:gd name="T17" fmla="*/ 32 h 39"/>
                  <a:gd name="T18" fmla="*/ 12 w 47"/>
                  <a:gd name="T19"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9">
                    <a:moveTo>
                      <a:pt x="12" y="13"/>
                    </a:moveTo>
                    <a:cubicBezTo>
                      <a:pt x="15" y="12"/>
                      <a:pt x="17" y="8"/>
                      <a:pt x="14" y="7"/>
                    </a:cubicBezTo>
                    <a:cubicBezTo>
                      <a:pt x="20" y="4"/>
                      <a:pt x="26" y="6"/>
                      <a:pt x="32" y="9"/>
                    </a:cubicBezTo>
                    <a:cubicBezTo>
                      <a:pt x="34" y="7"/>
                      <a:pt x="35" y="5"/>
                      <a:pt x="35" y="2"/>
                    </a:cubicBezTo>
                    <a:cubicBezTo>
                      <a:pt x="38" y="2"/>
                      <a:pt x="42" y="1"/>
                      <a:pt x="46" y="0"/>
                    </a:cubicBezTo>
                    <a:cubicBezTo>
                      <a:pt x="47" y="7"/>
                      <a:pt x="45" y="14"/>
                      <a:pt x="40" y="18"/>
                    </a:cubicBezTo>
                    <a:cubicBezTo>
                      <a:pt x="35" y="21"/>
                      <a:pt x="31" y="24"/>
                      <a:pt x="26" y="27"/>
                    </a:cubicBezTo>
                    <a:cubicBezTo>
                      <a:pt x="24" y="30"/>
                      <a:pt x="23" y="33"/>
                      <a:pt x="24" y="37"/>
                    </a:cubicBezTo>
                    <a:cubicBezTo>
                      <a:pt x="25" y="39"/>
                      <a:pt x="8" y="36"/>
                      <a:pt x="5" y="32"/>
                    </a:cubicBezTo>
                    <a:cubicBezTo>
                      <a:pt x="0" y="23"/>
                      <a:pt x="5" y="17"/>
                      <a:pt x="12" y="13"/>
                    </a:cubicBezTo>
                    <a:close/>
                  </a:path>
                </a:pathLst>
              </a:custGeom>
              <a:solidFill>
                <a:schemeClr val="accent3"/>
              </a:solidFill>
              <a:ln w="6350">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grpSp>
        <p:sp>
          <p:nvSpPr>
            <p:cNvPr id="183" name="Freeform 27">
              <a:extLst>
                <a:ext uri="{FF2B5EF4-FFF2-40B4-BE49-F238E27FC236}">
                  <a16:creationId xmlns:a16="http://schemas.microsoft.com/office/drawing/2014/main" id="{62EBD207-65BD-2252-4A5A-3750B5E1C511}"/>
                </a:ext>
              </a:extLst>
            </p:cNvPr>
            <p:cNvSpPr>
              <a:spLocks/>
            </p:cNvSpPr>
            <p:nvPr/>
          </p:nvSpPr>
          <p:spPr bwMode="gray">
            <a:xfrm>
              <a:off x="1065896" y="3014365"/>
              <a:ext cx="770672" cy="815720"/>
            </a:xfrm>
            <a:custGeom>
              <a:avLst/>
              <a:gdLst>
                <a:gd name="T0" fmla="*/ 366 w 575"/>
                <a:gd name="T1" fmla="*/ 40 h 579"/>
                <a:gd name="T2" fmla="*/ 439 w 575"/>
                <a:gd name="T3" fmla="*/ 0 h 579"/>
                <a:gd name="T4" fmla="*/ 461 w 575"/>
                <a:gd name="T5" fmla="*/ 33 h 579"/>
                <a:gd name="T6" fmla="*/ 463 w 575"/>
                <a:gd name="T7" fmla="*/ 73 h 579"/>
                <a:gd name="T8" fmla="*/ 411 w 575"/>
                <a:gd name="T9" fmla="*/ 80 h 579"/>
                <a:gd name="T10" fmla="*/ 385 w 575"/>
                <a:gd name="T11" fmla="*/ 111 h 579"/>
                <a:gd name="T12" fmla="*/ 348 w 575"/>
                <a:gd name="T13" fmla="*/ 137 h 579"/>
                <a:gd name="T14" fmla="*/ 358 w 575"/>
                <a:gd name="T15" fmla="*/ 142 h 579"/>
                <a:gd name="T16" fmla="*/ 410 w 575"/>
                <a:gd name="T17" fmla="*/ 154 h 579"/>
                <a:gd name="T18" fmla="*/ 437 w 575"/>
                <a:gd name="T19" fmla="*/ 125 h 579"/>
                <a:gd name="T20" fmla="*/ 479 w 575"/>
                <a:gd name="T21" fmla="*/ 119 h 579"/>
                <a:gd name="T22" fmla="*/ 515 w 575"/>
                <a:gd name="T23" fmla="*/ 154 h 579"/>
                <a:gd name="T24" fmla="*/ 527 w 575"/>
                <a:gd name="T25" fmla="*/ 156 h 579"/>
                <a:gd name="T26" fmla="*/ 556 w 575"/>
                <a:gd name="T27" fmla="*/ 167 h 579"/>
                <a:gd name="T28" fmla="*/ 575 w 575"/>
                <a:gd name="T29" fmla="*/ 187 h 579"/>
                <a:gd name="T30" fmla="*/ 543 w 575"/>
                <a:gd name="T31" fmla="*/ 210 h 579"/>
                <a:gd name="T32" fmla="*/ 502 w 575"/>
                <a:gd name="T33" fmla="*/ 263 h 579"/>
                <a:gd name="T34" fmla="*/ 526 w 575"/>
                <a:gd name="T35" fmla="*/ 288 h 579"/>
                <a:gd name="T36" fmla="*/ 477 w 575"/>
                <a:gd name="T37" fmla="*/ 346 h 579"/>
                <a:gd name="T38" fmla="*/ 440 w 575"/>
                <a:gd name="T39" fmla="*/ 395 h 579"/>
                <a:gd name="T40" fmla="*/ 413 w 575"/>
                <a:gd name="T41" fmla="*/ 437 h 579"/>
                <a:gd name="T42" fmla="*/ 366 w 575"/>
                <a:gd name="T43" fmla="*/ 471 h 579"/>
                <a:gd name="T44" fmla="*/ 345 w 575"/>
                <a:gd name="T45" fmla="*/ 478 h 579"/>
                <a:gd name="T46" fmla="*/ 320 w 575"/>
                <a:gd name="T47" fmla="*/ 473 h 579"/>
                <a:gd name="T48" fmla="*/ 295 w 575"/>
                <a:gd name="T49" fmla="*/ 489 h 579"/>
                <a:gd name="T50" fmla="*/ 269 w 575"/>
                <a:gd name="T51" fmla="*/ 510 h 579"/>
                <a:gd name="T52" fmla="*/ 247 w 575"/>
                <a:gd name="T53" fmla="*/ 529 h 579"/>
                <a:gd name="T54" fmla="*/ 189 w 575"/>
                <a:gd name="T55" fmla="*/ 540 h 579"/>
                <a:gd name="T56" fmla="*/ 176 w 575"/>
                <a:gd name="T57" fmla="*/ 517 h 579"/>
                <a:gd name="T58" fmla="*/ 157 w 575"/>
                <a:gd name="T59" fmla="*/ 509 h 579"/>
                <a:gd name="T60" fmla="*/ 149 w 575"/>
                <a:gd name="T61" fmla="*/ 520 h 579"/>
                <a:gd name="T62" fmla="*/ 157 w 575"/>
                <a:gd name="T63" fmla="*/ 528 h 579"/>
                <a:gd name="T64" fmla="*/ 118 w 575"/>
                <a:gd name="T65" fmla="*/ 558 h 579"/>
                <a:gd name="T66" fmla="*/ 71 w 575"/>
                <a:gd name="T67" fmla="*/ 518 h 579"/>
                <a:gd name="T68" fmla="*/ 55 w 575"/>
                <a:gd name="T69" fmla="*/ 517 h 579"/>
                <a:gd name="T70" fmla="*/ 56 w 575"/>
                <a:gd name="T71" fmla="*/ 565 h 579"/>
                <a:gd name="T72" fmla="*/ 37 w 575"/>
                <a:gd name="T73" fmla="*/ 550 h 579"/>
                <a:gd name="T74" fmla="*/ 1 w 575"/>
                <a:gd name="T75" fmla="*/ 502 h 579"/>
                <a:gd name="T76" fmla="*/ 1 w 575"/>
                <a:gd name="T77" fmla="*/ 456 h 579"/>
                <a:gd name="T78" fmla="*/ 43 w 575"/>
                <a:gd name="T79" fmla="*/ 404 h 579"/>
                <a:gd name="T80" fmla="*/ 77 w 575"/>
                <a:gd name="T81" fmla="*/ 335 h 579"/>
                <a:gd name="T82" fmla="*/ 97 w 575"/>
                <a:gd name="T83" fmla="*/ 318 h 579"/>
                <a:gd name="T84" fmla="*/ 94 w 575"/>
                <a:gd name="T85" fmla="*/ 280 h 579"/>
                <a:gd name="T86" fmla="*/ 87 w 575"/>
                <a:gd name="T87" fmla="*/ 255 h 579"/>
                <a:gd name="T88" fmla="*/ 81 w 575"/>
                <a:gd name="T89" fmla="*/ 154 h 579"/>
                <a:gd name="T90" fmla="*/ 85 w 575"/>
                <a:gd name="T91" fmla="*/ 140 h 579"/>
                <a:gd name="T92" fmla="*/ 107 w 575"/>
                <a:gd name="T93" fmla="*/ 130 h 579"/>
                <a:gd name="T94" fmla="*/ 120 w 575"/>
                <a:gd name="T95" fmla="*/ 140 h 579"/>
                <a:gd name="T96" fmla="*/ 200 w 575"/>
                <a:gd name="T97" fmla="*/ 145 h 579"/>
                <a:gd name="T98" fmla="*/ 259 w 575"/>
                <a:gd name="T99" fmla="*/ 96 h 579"/>
                <a:gd name="T100" fmla="*/ 320 w 575"/>
                <a:gd name="T101" fmla="*/ 67 h 579"/>
                <a:gd name="T102" fmla="*/ 331 w 575"/>
                <a:gd name="T103" fmla="*/ 55 h 579"/>
                <a:gd name="T104" fmla="*/ 349 w 575"/>
                <a:gd name="T105" fmla="*/ 4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5" h="579">
                  <a:moveTo>
                    <a:pt x="349" y="42"/>
                  </a:moveTo>
                  <a:cubicBezTo>
                    <a:pt x="350" y="41"/>
                    <a:pt x="352" y="41"/>
                    <a:pt x="353" y="41"/>
                  </a:cubicBezTo>
                  <a:cubicBezTo>
                    <a:pt x="357" y="40"/>
                    <a:pt x="361" y="42"/>
                    <a:pt x="366" y="40"/>
                  </a:cubicBezTo>
                  <a:cubicBezTo>
                    <a:pt x="370" y="38"/>
                    <a:pt x="373" y="36"/>
                    <a:pt x="376" y="33"/>
                  </a:cubicBezTo>
                  <a:cubicBezTo>
                    <a:pt x="391" y="20"/>
                    <a:pt x="408" y="10"/>
                    <a:pt x="426" y="3"/>
                  </a:cubicBezTo>
                  <a:cubicBezTo>
                    <a:pt x="430" y="1"/>
                    <a:pt x="435" y="0"/>
                    <a:pt x="439" y="0"/>
                  </a:cubicBezTo>
                  <a:cubicBezTo>
                    <a:pt x="444" y="0"/>
                    <a:pt x="449" y="3"/>
                    <a:pt x="451" y="7"/>
                  </a:cubicBezTo>
                  <a:cubicBezTo>
                    <a:pt x="454" y="13"/>
                    <a:pt x="450" y="22"/>
                    <a:pt x="454" y="27"/>
                  </a:cubicBezTo>
                  <a:cubicBezTo>
                    <a:pt x="456" y="30"/>
                    <a:pt x="458" y="31"/>
                    <a:pt x="461" y="33"/>
                  </a:cubicBezTo>
                  <a:cubicBezTo>
                    <a:pt x="467" y="35"/>
                    <a:pt x="474" y="38"/>
                    <a:pt x="479" y="43"/>
                  </a:cubicBezTo>
                  <a:cubicBezTo>
                    <a:pt x="483" y="48"/>
                    <a:pt x="486" y="56"/>
                    <a:pt x="482" y="62"/>
                  </a:cubicBezTo>
                  <a:cubicBezTo>
                    <a:pt x="478" y="68"/>
                    <a:pt x="469" y="68"/>
                    <a:pt x="463" y="73"/>
                  </a:cubicBezTo>
                  <a:cubicBezTo>
                    <a:pt x="461" y="74"/>
                    <a:pt x="458" y="77"/>
                    <a:pt x="455" y="79"/>
                  </a:cubicBezTo>
                  <a:cubicBezTo>
                    <a:pt x="452" y="80"/>
                    <a:pt x="448" y="80"/>
                    <a:pt x="444" y="80"/>
                  </a:cubicBezTo>
                  <a:cubicBezTo>
                    <a:pt x="433" y="80"/>
                    <a:pt x="422" y="80"/>
                    <a:pt x="411" y="80"/>
                  </a:cubicBezTo>
                  <a:cubicBezTo>
                    <a:pt x="409" y="80"/>
                    <a:pt x="406" y="80"/>
                    <a:pt x="404" y="82"/>
                  </a:cubicBezTo>
                  <a:cubicBezTo>
                    <a:pt x="402" y="83"/>
                    <a:pt x="401" y="84"/>
                    <a:pt x="400" y="86"/>
                  </a:cubicBezTo>
                  <a:cubicBezTo>
                    <a:pt x="394" y="94"/>
                    <a:pt x="390" y="103"/>
                    <a:pt x="385" y="111"/>
                  </a:cubicBezTo>
                  <a:cubicBezTo>
                    <a:pt x="378" y="121"/>
                    <a:pt x="369" y="127"/>
                    <a:pt x="356" y="127"/>
                  </a:cubicBezTo>
                  <a:cubicBezTo>
                    <a:pt x="353" y="126"/>
                    <a:pt x="350" y="127"/>
                    <a:pt x="347" y="129"/>
                  </a:cubicBezTo>
                  <a:cubicBezTo>
                    <a:pt x="345" y="131"/>
                    <a:pt x="345" y="136"/>
                    <a:pt x="348" y="137"/>
                  </a:cubicBezTo>
                  <a:cubicBezTo>
                    <a:pt x="349" y="138"/>
                    <a:pt x="351" y="137"/>
                    <a:pt x="353" y="137"/>
                  </a:cubicBezTo>
                  <a:cubicBezTo>
                    <a:pt x="355" y="137"/>
                    <a:pt x="357" y="138"/>
                    <a:pt x="357" y="140"/>
                  </a:cubicBezTo>
                  <a:cubicBezTo>
                    <a:pt x="357" y="140"/>
                    <a:pt x="357" y="141"/>
                    <a:pt x="358" y="142"/>
                  </a:cubicBezTo>
                  <a:cubicBezTo>
                    <a:pt x="358" y="142"/>
                    <a:pt x="359" y="142"/>
                    <a:pt x="360" y="142"/>
                  </a:cubicBezTo>
                  <a:cubicBezTo>
                    <a:pt x="374" y="142"/>
                    <a:pt x="386" y="144"/>
                    <a:pt x="399" y="152"/>
                  </a:cubicBezTo>
                  <a:cubicBezTo>
                    <a:pt x="402" y="154"/>
                    <a:pt x="407" y="157"/>
                    <a:pt x="410" y="154"/>
                  </a:cubicBezTo>
                  <a:cubicBezTo>
                    <a:pt x="411" y="153"/>
                    <a:pt x="412" y="152"/>
                    <a:pt x="413" y="151"/>
                  </a:cubicBezTo>
                  <a:cubicBezTo>
                    <a:pt x="416" y="148"/>
                    <a:pt x="420" y="149"/>
                    <a:pt x="424" y="148"/>
                  </a:cubicBezTo>
                  <a:cubicBezTo>
                    <a:pt x="432" y="145"/>
                    <a:pt x="431" y="131"/>
                    <a:pt x="437" y="125"/>
                  </a:cubicBezTo>
                  <a:cubicBezTo>
                    <a:pt x="440" y="123"/>
                    <a:pt x="444" y="122"/>
                    <a:pt x="448" y="121"/>
                  </a:cubicBezTo>
                  <a:cubicBezTo>
                    <a:pt x="453" y="120"/>
                    <a:pt x="459" y="119"/>
                    <a:pt x="465" y="119"/>
                  </a:cubicBezTo>
                  <a:cubicBezTo>
                    <a:pt x="470" y="118"/>
                    <a:pt x="475" y="118"/>
                    <a:pt x="479" y="119"/>
                  </a:cubicBezTo>
                  <a:cubicBezTo>
                    <a:pt x="494" y="124"/>
                    <a:pt x="484" y="141"/>
                    <a:pt x="495" y="145"/>
                  </a:cubicBezTo>
                  <a:cubicBezTo>
                    <a:pt x="499" y="146"/>
                    <a:pt x="505" y="143"/>
                    <a:pt x="510" y="146"/>
                  </a:cubicBezTo>
                  <a:cubicBezTo>
                    <a:pt x="513" y="147"/>
                    <a:pt x="514" y="150"/>
                    <a:pt x="515" y="154"/>
                  </a:cubicBezTo>
                  <a:cubicBezTo>
                    <a:pt x="515" y="154"/>
                    <a:pt x="515" y="155"/>
                    <a:pt x="515" y="155"/>
                  </a:cubicBezTo>
                  <a:cubicBezTo>
                    <a:pt x="516" y="155"/>
                    <a:pt x="517" y="155"/>
                    <a:pt x="517" y="155"/>
                  </a:cubicBezTo>
                  <a:cubicBezTo>
                    <a:pt x="520" y="156"/>
                    <a:pt x="523" y="156"/>
                    <a:pt x="527" y="156"/>
                  </a:cubicBezTo>
                  <a:cubicBezTo>
                    <a:pt x="527" y="158"/>
                    <a:pt x="527" y="160"/>
                    <a:pt x="527" y="162"/>
                  </a:cubicBezTo>
                  <a:cubicBezTo>
                    <a:pt x="531" y="160"/>
                    <a:pt x="535" y="163"/>
                    <a:pt x="538" y="165"/>
                  </a:cubicBezTo>
                  <a:cubicBezTo>
                    <a:pt x="544" y="168"/>
                    <a:pt x="550" y="167"/>
                    <a:pt x="556" y="167"/>
                  </a:cubicBezTo>
                  <a:cubicBezTo>
                    <a:pt x="562" y="168"/>
                    <a:pt x="566" y="170"/>
                    <a:pt x="570" y="175"/>
                  </a:cubicBezTo>
                  <a:cubicBezTo>
                    <a:pt x="571" y="177"/>
                    <a:pt x="573" y="179"/>
                    <a:pt x="574" y="181"/>
                  </a:cubicBezTo>
                  <a:cubicBezTo>
                    <a:pt x="574" y="183"/>
                    <a:pt x="575" y="185"/>
                    <a:pt x="575" y="187"/>
                  </a:cubicBezTo>
                  <a:cubicBezTo>
                    <a:pt x="574" y="190"/>
                    <a:pt x="574" y="188"/>
                    <a:pt x="572" y="190"/>
                  </a:cubicBezTo>
                  <a:cubicBezTo>
                    <a:pt x="569" y="192"/>
                    <a:pt x="565" y="195"/>
                    <a:pt x="561" y="197"/>
                  </a:cubicBezTo>
                  <a:cubicBezTo>
                    <a:pt x="555" y="202"/>
                    <a:pt x="549" y="206"/>
                    <a:pt x="543" y="210"/>
                  </a:cubicBezTo>
                  <a:cubicBezTo>
                    <a:pt x="532" y="219"/>
                    <a:pt x="521" y="228"/>
                    <a:pt x="510" y="235"/>
                  </a:cubicBezTo>
                  <a:cubicBezTo>
                    <a:pt x="504" y="239"/>
                    <a:pt x="500" y="246"/>
                    <a:pt x="499" y="253"/>
                  </a:cubicBezTo>
                  <a:cubicBezTo>
                    <a:pt x="499" y="257"/>
                    <a:pt x="499" y="261"/>
                    <a:pt x="502" y="263"/>
                  </a:cubicBezTo>
                  <a:cubicBezTo>
                    <a:pt x="503" y="265"/>
                    <a:pt x="505" y="266"/>
                    <a:pt x="507" y="267"/>
                  </a:cubicBezTo>
                  <a:cubicBezTo>
                    <a:pt x="513" y="270"/>
                    <a:pt x="518" y="275"/>
                    <a:pt x="523" y="281"/>
                  </a:cubicBezTo>
                  <a:cubicBezTo>
                    <a:pt x="524" y="283"/>
                    <a:pt x="526" y="285"/>
                    <a:pt x="526" y="288"/>
                  </a:cubicBezTo>
                  <a:cubicBezTo>
                    <a:pt x="526" y="295"/>
                    <a:pt x="512" y="307"/>
                    <a:pt x="508" y="311"/>
                  </a:cubicBezTo>
                  <a:cubicBezTo>
                    <a:pt x="501" y="317"/>
                    <a:pt x="493" y="323"/>
                    <a:pt x="488" y="331"/>
                  </a:cubicBezTo>
                  <a:cubicBezTo>
                    <a:pt x="484" y="337"/>
                    <a:pt x="481" y="341"/>
                    <a:pt x="477" y="346"/>
                  </a:cubicBezTo>
                  <a:cubicBezTo>
                    <a:pt x="472" y="351"/>
                    <a:pt x="467" y="356"/>
                    <a:pt x="463" y="362"/>
                  </a:cubicBezTo>
                  <a:cubicBezTo>
                    <a:pt x="460" y="367"/>
                    <a:pt x="457" y="372"/>
                    <a:pt x="454" y="376"/>
                  </a:cubicBezTo>
                  <a:cubicBezTo>
                    <a:pt x="450" y="383"/>
                    <a:pt x="445" y="389"/>
                    <a:pt x="440" y="395"/>
                  </a:cubicBezTo>
                  <a:cubicBezTo>
                    <a:pt x="438" y="398"/>
                    <a:pt x="434" y="400"/>
                    <a:pt x="432" y="403"/>
                  </a:cubicBezTo>
                  <a:cubicBezTo>
                    <a:pt x="428" y="409"/>
                    <a:pt x="428" y="415"/>
                    <a:pt x="425" y="421"/>
                  </a:cubicBezTo>
                  <a:cubicBezTo>
                    <a:pt x="423" y="428"/>
                    <a:pt x="418" y="433"/>
                    <a:pt x="413" y="437"/>
                  </a:cubicBezTo>
                  <a:cubicBezTo>
                    <a:pt x="405" y="443"/>
                    <a:pt x="396" y="448"/>
                    <a:pt x="390" y="456"/>
                  </a:cubicBezTo>
                  <a:cubicBezTo>
                    <a:pt x="388" y="458"/>
                    <a:pt x="386" y="460"/>
                    <a:pt x="384" y="462"/>
                  </a:cubicBezTo>
                  <a:cubicBezTo>
                    <a:pt x="379" y="466"/>
                    <a:pt x="372" y="468"/>
                    <a:pt x="366" y="471"/>
                  </a:cubicBezTo>
                  <a:cubicBezTo>
                    <a:pt x="363" y="473"/>
                    <a:pt x="360" y="474"/>
                    <a:pt x="356" y="474"/>
                  </a:cubicBezTo>
                  <a:cubicBezTo>
                    <a:pt x="355" y="474"/>
                    <a:pt x="346" y="474"/>
                    <a:pt x="346" y="472"/>
                  </a:cubicBezTo>
                  <a:cubicBezTo>
                    <a:pt x="346" y="474"/>
                    <a:pt x="346" y="476"/>
                    <a:pt x="345" y="478"/>
                  </a:cubicBezTo>
                  <a:cubicBezTo>
                    <a:pt x="342" y="480"/>
                    <a:pt x="337" y="480"/>
                    <a:pt x="333" y="478"/>
                  </a:cubicBezTo>
                  <a:cubicBezTo>
                    <a:pt x="333" y="477"/>
                    <a:pt x="333" y="476"/>
                    <a:pt x="333" y="474"/>
                  </a:cubicBezTo>
                  <a:cubicBezTo>
                    <a:pt x="329" y="472"/>
                    <a:pt x="325" y="472"/>
                    <a:pt x="320" y="473"/>
                  </a:cubicBezTo>
                  <a:cubicBezTo>
                    <a:pt x="323" y="475"/>
                    <a:pt x="320" y="480"/>
                    <a:pt x="317" y="480"/>
                  </a:cubicBezTo>
                  <a:cubicBezTo>
                    <a:pt x="313" y="480"/>
                    <a:pt x="310" y="479"/>
                    <a:pt x="307" y="479"/>
                  </a:cubicBezTo>
                  <a:cubicBezTo>
                    <a:pt x="301" y="479"/>
                    <a:pt x="297" y="484"/>
                    <a:pt x="295" y="489"/>
                  </a:cubicBezTo>
                  <a:cubicBezTo>
                    <a:pt x="293" y="494"/>
                    <a:pt x="294" y="500"/>
                    <a:pt x="295" y="506"/>
                  </a:cubicBezTo>
                  <a:cubicBezTo>
                    <a:pt x="287" y="506"/>
                    <a:pt x="280" y="506"/>
                    <a:pt x="273" y="506"/>
                  </a:cubicBezTo>
                  <a:cubicBezTo>
                    <a:pt x="273" y="508"/>
                    <a:pt x="271" y="510"/>
                    <a:pt x="269" y="510"/>
                  </a:cubicBezTo>
                  <a:cubicBezTo>
                    <a:pt x="264" y="513"/>
                    <a:pt x="259" y="515"/>
                    <a:pt x="253" y="517"/>
                  </a:cubicBezTo>
                  <a:cubicBezTo>
                    <a:pt x="254" y="521"/>
                    <a:pt x="251" y="524"/>
                    <a:pt x="247" y="524"/>
                  </a:cubicBezTo>
                  <a:cubicBezTo>
                    <a:pt x="247" y="526"/>
                    <a:pt x="247" y="527"/>
                    <a:pt x="247" y="529"/>
                  </a:cubicBezTo>
                  <a:cubicBezTo>
                    <a:pt x="243" y="539"/>
                    <a:pt x="231" y="541"/>
                    <a:pt x="220" y="541"/>
                  </a:cubicBezTo>
                  <a:cubicBezTo>
                    <a:pt x="212" y="541"/>
                    <a:pt x="204" y="542"/>
                    <a:pt x="196" y="542"/>
                  </a:cubicBezTo>
                  <a:cubicBezTo>
                    <a:pt x="194" y="542"/>
                    <a:pt x="191" y="542"/>
                    <a:pt x="189" y="540"/>
                  </a:cubicBezTo>
                  <a:cubicBezTo>
                    <a:pt x="187" y="538"/>
                    <a:pt x="187" y="535"/>
                    <a:pt x="187" y="533"/>
                  </a:cubicBezTo>
                  <a:cubicBezTo>
                    <a:pt x="187" y="528"/>
                    <a:pt x="185" y="524"/>
                    <a:pt x="182" y="520"/>
                  </a:cubicBezTo>
                  <a:cubicBezTo>
                    <a:pt x="180" y="519"/>
                    <a:pt x="178" y="517"/>
                    <a:pt x="176" y="517"/>
                  </a:cubicBezTo>
                  <a:cubicBezTo>
                    <a:pt x="174" y="517"/>
                    <a:pt x="170" y="518"/>
                    <a:pt x="169" y="516"/>
                  </a:cubicBezTo>
                  <a:cubicBezTo>
                    <a:pt x="168" y="515"/>
                    <a:pt x="168" y="513"/>
                    <a:pt x="168" y="512"/>
                  </a:cubicBezTo>
                  <a:cubicBezTo>
                    <a:pt x="167" y="508"/>
                    <a:pt x="161" y="508"/>
                    <a:pt x="157" y="509"/>
                  </a:cubicBezTo>
                  <a:cubicBezTo>
                    <a:pt x="152" y="509"/>
                    <a:pt x="146" y="506"/>
                    <a:pt x="148" y="502"/>
                  </a:cubicBezTo>
                  <a:cubicBezTo>
                    <a:pt x="147" y="502"/>
                    <a:pt x="145" y="502"/>
                    <a:pt x="143" y="502"/>
                  </a:cubicBezTo>
                  <a:cubicBezTo>
                    <a:pt x="140" y="509"/>
                    <a:pt x="143" y="517"/>
                    <a:pt x="149" y="520"/>
                  </a:cubicBezTo>
                  <a:cubicBezTo>
                    <a:pt x="151" y="521"/>
                    <a:pt x="154" y="522"/>
                    <a:pt x="155" y="524"/>
                  </a:cubicBezTo>
                  <a:cubicBezTo>
                    <a:pt x="155" y="526"/>
                    <a:pt x="154" y="527"/>
                    <a:pt x="154" y="529"/>
                  </a:cubicBezTo>
                  <a:cubicBezTo>
                    <a:pt x="155" y="530"/>
                    <a:pt x="158" y="529"/>
                    <a:pt x="157" y="528"/>
                  </a:cubicBezTo>
                  <a:cubicBezTo>
                    <a:pt x="154" y="536"/>
                    <a:pt x="152" y="544"/>
                    <a:pt x="149" y="551"/>
                  </a:cubicBezTo>
                  <a:cubicBezTo>
                    <a:pt x="147" y="558"/>
                    <a:pt x="144" y="566"/>
                    <a:pt x="137" y="568"/>
                  </a:cubicBezTo>
                  <a:cubicBezTo>
                    <a:pt x="130" y="569"/>
                    <a:pt x="123" y="563"/>
                    <a:pt x="118" y="558"/>
                  </a:cubicBezTo>
                  <a:cubicBezTo>
                    <a:pt x="109" y="547"/>
                    <a:pt x="99" y="538"/>
                    <a:pt x="89" y="529"/>
                  </a:cubicBezTo>
                  <a:cubicBezTo>
                    <a:pt x="89" y="524"/>
                    <a:pt x="88" y="519"/>
                    <a:pt x="85" y="515"/>
                  </a:cubicBezTo>
                  <a:cubicBezTo>
                    <a:pt x="81" y="517"/>
                    <a:pt x="76" y="518"/>
                    <a:pt x="71" y="518"/>
                  </a:cubicBezTo>
                  <a:cubicBezTo>
                    <a:pt x="71" y="515"/>
                    <a:pt x="72" y="513"/>
                    <a:pt x="74" y="510"/>
                  </a:cubicBezTo>
                  <a:cubicBezTo>
                    <a:pt x="68" y="508"/>
                    <a:pt x="62" y="508"/>
                    <a:pt x="57" y="511"/>
                  </a:cubicBezTo>
                  <a:cubicBezTo>
                    <a:pt x="56" y="513"/>
                    <a:pt x="56" y="515"/>
                    <a:pt x="55" y="517"/>
                  </a:cubicBezTo>
                  <a:cubicBezTo>
                    <a:pt x="49" y="516"/>
                    <a:pt x="43" y="523"/>
                    <a:pt x="43" y="529"/>
                  </a:cubicBezTo>
                  <a:cubicBezTo>
                    <a:pt x="42" y="535"/>
                    <a:pt x="45" y="542"/>
                    <a:pt x="48" y="547"/>
                  </a:cubicBezTo>
                  <a:cubicBezTo>
                    <a:pt x="51" y="553"/>
                    <a:pt x="55" y="559"/>
                    <a:pt x="56" y="565"/>
                  </a:cubicBezTo>
                  <a:cubicBezTo>
                    <a:pt x="56" y="571"/>
                    <a:pt x="53" y="578"/>
                    <a:pt x="48" y="578"/>
                  </a:cubicBezTo>
                  <a:cubicBezTo>
                    <a:pt x="43" y="579"/>
                    <a:pt x="39" y="573"/>
                    <a:pt x="38" y="567"/>
                  </a:cubicBezTo>
                  <a:cubicBezTo>
                    <a:pt x="37" y="562"/>
                    <a:pt x="39" y="556"/>
                    <a:pt x="37" y="550"/>
                  </a:cubicBezTo>
                  <a:cubicBezTo>
                    <a:pt x="36" y="546"/>
                    <a:pt x="33" y="541"/>
                    <a:pt x="29" y="538"/>
                  </a:cubicBezTo>
                  <a:cubicBezTo>
                    <a:pt x="21" y="528"/>
                    <a:pt x="14" y="519"/>
                    <a:pt x="6" y="510"/>
                  </a:cubicBezTo>
                  <a:cubicBezTo>
                    <a:pt x="4" y="507"/>
                    <a:pt x="2" y="505"/>
                    <a:pt x="1" y="502"/>
                  </a:cubicBezTo>
                  <a:cubicBezTo>
                    <a:pt x="0" y="499"/>
                    <a:pt x="0" y="496"/>
                    <a:pt x="0" y="493"/>
                  </a:cubicBezTo>
                  <a:cubicBezTo>
                    <a:pt x="0" y="483"/>
                    <a:pt x="0" y="473"/>
                    <a:pt x="0" y="463"/>
                  </a:cubicBezTo>
                  <a:cubicBezTo>
                    <a:pt x="0" y="461"/>
                    <a:pt x="0" y="458"/>
                    <a:pt x="1" y="456"/>
                  </a:cubicBezTo>
                  <a:cubicBezTo>
                    <a:pt x="4" y="451"/>
                    <a:pt x="11" y="451"/>
                    <a:pt x="16" y="449"/>
                  </a:cubicBezTo>
                  <a:cubicBezTo>
                    <a:pt x="30" y="442"/>
                    <a:pt x="25" y="420"/>
                    <a:pt x="36" y="410"/>
                  </a:cubicBezTo>
                  <a:cubicBezTo>
                    <a:pt x="39" y="408"/>
                    <a:pt x="41" y="406"/>
                    <a:pt x="43" y="404"/>
                  </a:cubicBezTo>
                  <a:cubicBezTo>
                    <a:pt x="49" y="399"/>
                    <a:pt x="51" y="389"/>
                    <a:pt x="58" y="386"/>
                  </a:cubicBezTo>
                  <a:cubicBezTo>
                    <a:pt x="56" y="379"/>
                    <a:pt x="58" y="372"/>
                    <a:pt x="61" y="365"/>
                  </a:cubicBezTo>
                  <a:cubicBezTo>
                    <a:pt x="65" y="354"/>
                    <a:pt x="71" y="345"/>
                    <a:pt x="77" y="335"/>
                  </a:cubicBezTo>
                  <a:cubicBezTo>
                    <a:pt x="79" y="333"/>
                    <a:pt x="80" y="330"/>
                    <a:pt x="82" y="327"/>
                  </a:cubicBezTo>
                  <a:cubicBezTo>
                    <a:pt x="84" y="325"/>
                    <a:pt x="85" y="322"/>
                    <a:pt x="83" y="320"/>
                  </a:cubicBezTo>
                  <a:cubicBezTo>
                    <a:pt x="87" y="316"/>
                    <a:pt x="93" y="318"/>
                    <a:pt x="97" y="318"/>
                  </a:cubicBezTo>
                  <a:cubicBezTo>
                    <a:pt x="104" y="317"/>
                    <a:pt x="108" y="309"/>
                    <a:pt x="106" y="303"/>
                  </a:cubicBezTo>
                  <a:cubicBezTo>
                    <a:pt x="104" y="298"/>
                    <a:pt x="105" y="293"/>
                    <a:pt x="105" y="288"/>
                  </a:cubicBezTo>
                  <a:cubicBezTo>
                    <a:pt x="100" y="291"/>
                    <a:pt x="93" y="285"/>
                    <a:pt x="94" y="280"/>
                  </a:cubicBezTo>
                  <a:cubicBezTo>
                    <a:pt x="95" y="275"/>
                    <a:pt x="102" y="270"/>
                    <a:pt x="99" y="265"/>
                  </a:cubicBezTo>
                  <a:cubicBezTo>
                    <a:pt x="97" y="264"/>
                    <a:pt x="95" y="263"/>
                    <a:pt x="93" y="262"/>
                  </a:cubicBezTo>
                  <a:cubicBezTo>
                    <a:pt x="90" y="260"/>
                    <a:pt x="89" y="258"/>
                    <a:pt x="87" y="255"/>
                  </a:cubicBezTo>
                  <a:cubicBezTo>
                    <a:pt x="76" y="237"/>
                    <a:pt x="66" y="216"/>
                    <a:pt x="68" y="194"/>
                  </a:cubicBezTo>
                  <a:cubicBezTo>
                    <a:pt x="68" y="185"/>
                    <a:pt x="71" y="176"/>
                    <a:pt x="75" y="167"/>
                  </a:cubicBezTo>
                  <a:cubicBezTo>
                    <a:pt x="77" y="163"/>
                    <a:pt x="79" y="158"/>
                    <a:pt x="81" y="154"/>
                  </a:cubicBezTo>
                  <a:cubicBezTo>
                    <a:pt x="82" y="152"/>
                    <a:pt x="83" y="150"/>
                    <a:pt x="83" y="148"/>
                  </a:cubicBezTo>
                  <a:cubicBezTo>
                    <a:pt x="84" y="146"/>
                    <a:pt x="83" y="144"/>
                    <a:pt x="84" y="141"/>
                  </a:cubicBezTo>
                  <a:cubicBezTo>
                    <a:pt x="84" y="141"/>
                    <a:pt x="84" y="141"/>
                    <a:pt x="85" y="140"/>
                  </a:cubicBezTo>
                  <a:cubicBezTo>
                    <a:pt x="86" y="138"/>
                    <a:pt x="88" y="136"/>
                    <a:pt x="90" y="135"/>
                  </a:cubicBezTo>
                  <a:cubicBezTo>
                    <a:pt x="93" y="132"/>
                    <a:pt x="98" y="130"/>
                    <a:pt x="102" y="129"/>
                  </a:cubicBezTo>
                  <a:cubicBezTo>
                    <a:pt x="104" y="129"/>
                    <a:pt x="105" y="129"/>
                    <a:pt x="107" y="130"/>
                  </a:cubicBezTo>
                  <a:cubicBezTo>
                    <a:pt x="108" y="130"/>
                    <a:pt x="108" y="131"/>
                    <a:pt x="109" y="132"/>
                  </a:cubicBezTo>
                  <a:cubicBezTo>
                    <a:pt x="110" y="133"/>
                    <a:pt x="112" y="135"/>
                    <a:pt x="114" y="136"/>
                  </a:cubicBezTo>
                  <a:cubicBezTo>
                    <a:pt x="116" y="137"/>
                    <a:pt x="118" y="139"/>
                    <a:pt x="120" y="140"/>
                  </a:cubicBezTo>
                  <a:cubicBezTo>
                    <a:pt x="140" y="151"/>
                    <a:pt x="165" y="157"/>
                    <a:pt x="188" y="152"/>
                  </a:cubicBezTo>
                  <a:cubicBezTo>
                    <a:pt x="190" y="151"/>
                    <a:pt x="192" y="151"/>
                    <a:pt x="194" y="150"/>
                  </a:cubicBezTo>
                  <a:cubicBezTo>
                    <a:pt x="196" y="149"/>
                    <a:pt x="198" y="147"/>
                    <a:pt x="200" y="145"/>
                  </a:cubicBezTo>
                  <a:cubicBezTo>
                    <a:pt x="205" y="142"/>
                    <a:pt x="209" y="139"/>
                    <a:pt x="213" y="135"/>
                  </a:cubicBezTo>
                  <a:cubicBezTo>
                    <a:pt x="221" y="129"/>
                    <a:pt x="230" y="121"/>
                    <a:pt x="237" y="114"/>
                  </a:cubicBezTo>
                  <a:cubicBezTo>
                    <a:pt x="244" y="107"/>
                    <a:pt x="251" y="100"/>
                    <a:pt x="259" y="96"/>
                  </a:cubicBezTo>
                  <a:cubicBezTo>
                    <a:pt x="274" y="90"/>
                    <a:pt x="292" y="95"/>
                    <a:pt x="305" y="86"/>
                  </a:cubicBezTo>
                  <a:cubicBezTo>
                    <a:pt x="310" y="83"/>
                    <a:pt x="313" y="78"/>
                    <a:pt x="316" y="74"/>
                  </a:cubicBezTo>
                  <a:cubicBezTo>
                    <a:pt x="317" y="71"/>
                    <a:pt x="318" y="69"/>
                    <a:pt x="320" y="67"/>
                  </a:cubicBezTo>
                  <a:cubicBezTo>
                    <a:pt x="321" y="66"/>
                    <a:pt x="322" y="65"/>
                    <a:pt x="323" y="64"/>
                  </a:cubicBezTo>
                  <a:cubicBezTo>
                    <a:pt x="325" y="63"/>
                    <a:pt x="326" y="64"/>
                    <a:pt x="328" y="61"/>
                  </a:cubicBezTo>
                  <a:cubicBezTo>
                    <a:pt x="329" y="59"/>
                    <a:pt x="330" y="57"/>
                    <a:pt x="331" y="55"/>
                  </a:cubicBezTo>
                  <a:cubicBezTo>
                    <a:pt x="334" y="51"/>
                    <a:pt x="338" y="48"/>
                    <a:pt x="342" y="46"/>
                  </a:cubicBezTo>
                  <a:cubicBezTo>
                    <a:pt x="344" y="45"/>
                    <a:pt x="345" y="45"/>
                    <a:pt x="347" y="43"/>
                  </a:cubicBezTo>
                  <a:cubicBezTo>
                    <a:pt x="348" y="43"/>
                    <a:pt x="348" y="42"/>
                    <a:pt x="349" y="42"/>
                  </a:cubicBezTo>
                  <a:close/>
                </a:path>
              </a:pathLst>
            </a:custGeom>
            <a:solidFill>
              <a:schemeClr val="accent3"/>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4" name="Freeform 29">
              <a:extLst>
                <a:ext uri="{FF2B5EF4-FFF2-40B4-BE49-F238E27FC236}">
                  <a16:creationId xmlns:a16="http://schemas.microsoft.com/office/drawing/2014/main" id="{C6DD42BC-F9CC-655D-4865-A49EEFF0B4A1}"/>
                </a:ext>
              </a:extLst>
            </p:cNvPr>
            <p:cNvSpPr>
              <a:spLocks/>
            </p:cNvSpPr>
            <p:nvPr/>
          </p:nvSpPr>
          <p:spPr bwMode="gray">
            <a:xfrm>
              <a:off x="1439934" y="3544742"/>
              <a:ext cx="528174" cy="958852"/>
            </a:xfrm>
            <a:custGeom>
              <a:avLst/>
              <a:gdLst>
                <a:gd name="T0" fmla="*/ 109 w 352"/>
                <a:gd name="T1" fmla="*/ 61 h 662"/>
                <a:gd name="T2" fmla="*/ 50 w 352"/>
                <a:gd name="T3" fmla="*/ 98 h 662"/>
                <a:gd name="T4" fmla="*/ 36 w 352"/>
                <a:gd name="T5" fmla="*/ 119 h 662"/>
                <a:gd name="T6" fmla="*/ 37 w 352"/>
                <a:gd name="T7" fmla="*/ 149 h 662"/>
                <a:gd name="T8" fmla="*/ 2 w 352"/>
                <a:gd name="T9" fmla="*/ 226 h 662"/>
                <a:gd name="T10" fmla="*/ 20 w 352"/>
                <a:gd name="T11" fmla="*/ 257 h 662"/>
                <a:gd name="T12" fmla="*/ 45 w 352"/>
                <a:gd name="T13" fmla="*/ 315 h 662"/>
                <a:gd name="T14" fmla="*/ 69 w 352"/>
                <a:gd name="T15" fmla="*/ 343 h 662"/>
                <a:gd name="T16" fmla="*/ 93 w 352"/>
                <a:gd name="T17" fmla="*/ 384 h 662"/>
                <a:gd name="T18" fmla="*/ 115 w 352"/>
                <a:gd name="T19" fmla="*/ 355 h 662"/>
                <a:gd name="T20" fmla="*/ 127 w 352"/>
                <a:gd name="T21" fmla="*/ 353 h 662"/>
                <a:gd name="T22" fmla="*/ 147 w 352"/>
                <a:gd name="T23" fmla="*/ 368 h 662"/>
                <a:gd name="T24" fmla="*/ 133 w 352"/>
                <a:gd name="T25" fmla="*/ 408 h 662"/>
                <a:gd name="T26" fmla="*/ 105 w 352"/>
                <a:gd name="T27" fmla="*/ 426 h 662"/>
                <a:gd name="T28" fmla="*/ 124 w 352"/>
                <a:gd name="T29" fmla="*/ 495 h 662"/>
                <a:gd name="T30" fmla="*/ 133 w 352"/>
                <a:gd name="T31" fmla="*/ 547 h 662"/>
                <a:gd name="T32" fmla="*/ 173 w 352"/>
                <a:gd name="T33" fmla="*/ 584 h 662"/>
                <a:gd name="T34" fmla="*/ 270 w 352"/>
                <a:gd name="T35" fmla="*/ 646 h 662"/>
                <a:gd name="T36" fmla="*/ 319 w 352"/>
                <a:gd name="T37" fmla="*/ 655 h 662"/>
                <a:gd name="T38" fmla="*/ 343 w 352"/>
                <a:gd name="T39" fmla="*/ 622 h 662"/>
                <a:gd name="T40" fmla="*/ 351 w 352"/>
                <a:gd name="T41" fmla="*/ 611 h 662"/>
                <a:gd name="T42" fmla="*/ 347 w 352"/>
                <a:gd name="T43" fmla="*/ 601 h 662"/>
                <a:gd name="T44" fmla="*/ 330 w 352"/>
                <a:gd name="T45" fmla="*/ 584 h 662"/>
                <a:gd name="T46" fmla="*/ 333 w 352"/>
                <a:gd name="T47" fmla="*/ 553 h 662"/>
                <a:gd name="T48" fmla="*/ 293 w 352"/>
                <a:gd name="T49" fmla="*/ 513 h 662"/>
                <a:gd name="T50" fmla="*/ 294 w 352"/>
                <a:gd name="T51" fmla="*/ 444 h 662"/>
                <a:gd name="T52" fmla="*/ 269 w 352"/>
                <a:gd name="T53" fmla="*/ 417 h 662"/>
                <a:gd name="T54" fmla="*/ 264 w 352"/>
                <a:gd name="T55" fmla="*/ 413 h 662"/>
                <a:gd name="T56" fmla="*/ 261 w 352"/>
                <a:gd name="T57" fmla="*/ 401 h 662"/>
                <a:gd name="T58" fmla="*/ 268 w 352"/>
                <a:gd name="T59" fmla="*/ 388 h 662"/>
                <a:gd name="T60" fmla="*/ 272 w 352"/>
                <a:gd name="T61" fmla="*/ 386 h 662"/>
                <a:gd name="T62" fmla="*/ 273 w 352"/>
                <a:gd name="T63" fmla="*/ 380 h 662"/>
                <a:gd name="T64" fmla="*/ 271 w 352"/>
                <a:gd name="T65" fmla="*/ 361 h 662"/>
                <a:gd name="T66" fmla="*/ 270 w 352"/>
                <a:gd name="T67" fmla="*/ 348 h 662"/>
                <a:gd name="T68" fmla="*/ 267 w 352"/>
                <a:gd name="T69" fmla="*/ 330 h 662"/>
                <a:gd name="T70" fmla="*/ 268 w 352"/>
                <a:gd name="T71" fmla="*/ 319 h 662"/>
                <a:gd name="T72" fmla="*/ 262 w 352"/>
                <a:gd name="T73" fmla="*/ 317 h 662"/>
                <a:gd name="T74" fmla="*/ 252 w 352"/>
                <a:gd name="T75" fmla="*/ 291 h 662"/>
                <a:gd name="T76" fmla="*/ 261 w 352"/>
                <a:gd name="T77" fmla="*/ 270 h 662"/>
                <a:gd name="T78" fmla="*/ 286 w 352"/>
                <a:gd name="T79" fmla="*/ 228 h 662"/>
                <a:gd name="T80" fmla="*/ 278 w 352"/>
                <a:gd name="T81" fmla="*/ 209 h 662"/>
                <a:gd name="T82" fmla="*/ 274 w 352"/>
                <a:gd name="T83" fmla="*/ 206 h 662"/>
                <a:gd name="T84" fmla="*/ 272 w 352"/>
                <a:gd name="T85" fmla="*/ 189 h 662"/>
                <a:gd name="T86" fmla="*/ 261 w 352"/>
                <a:gd name="T87" fmla="*/ 165 h 662"/>
                <a:gd name="T88" fmla="*/ 264 w 352"/>
                <a:gd name="T89" fmla="*/ 120 h 662"/>
                <a:gd name="T90" fmla="*/ 228 w 352"/>
                <a:gd name="T91" fmla="*/ 109 h 662"/>
                <a:gd name="T92" fmla="*/ 213 w 352"/>
                <a:gd name="T93" fmla="*/ 117 h 662"/>
                <a:gd name="T94" fmla="*/ 202 w 352"/>
                <a:gd name="T95" fmla="*/ 111 h 662"/>
                <a:gd name="T96" fmla="*/ 201 w 352"/>
                <a:gd name="T97" fmla="*/ 91 h 662"/>
                <a:gd name="T98" fmla="*/ 210 w 352"/>
                <a:gd name="T99" fmla="*/ 52 h 662"/>
                <a:gd name="T100" fmla="*/ 197 w 352"/>
                <a:gd name="T101" fmla="*/ 26 h 662"/>
                <a:gd name="T102" fmla="*/ 165 w 352"/>
                <a:gd name="T10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662">
                  <a:moveTo>
                    <a:pt x="165" y="0"/>
                  </a:moveTo>
                  <a:cubicBezTo>
                    <a:pt x="150" y="23"/>
                    <a:pt x="131" y="44"/>
                    <a:pt x="109" y="61"/>
                  </a:cubicBezTo>
                  <a:cubicBezTo>
                    <a:pt x="93" y="74"/>
                    <a:pt x="74" y="85"/>
                    <a:pt x="62" y="102"/>
                  </a:cubicBezTo>
                  <a:cubicBezTo>
                    <a:pt x="58" y="100"/>
                    <a:pt x="54" y="99"/>
                    <a:pt x="50" y="98"/>
                  </a:cubicBezTo>
                  <a:cubicBezTo>
                    <a:pt x="51" y="103"/>
                    <a:pt x="51" y="109"/>
                    <a:pt x="49" y="113"/>
                  </a:cubicBezTo>
                  <a:cubicBezTo>
                    <a:pt x="47" y="118"/>
                    <a:pt x="41" y="122"/>
                    <a:pt x="36" y="119"/>
                  </a:cubicBezTo>
                  <a:cubicBezTo>
                    <a:pt x="36" y="126"/>
                    <a:pt x="37" y="133"/>
                    <a:pt x="38" y="140"/>
                  </a:cubicBezTo>
                  <a:cubicBezTo>
                    <a:pt x="38" y="143"/>
                    <a:pt x="38" y="146"/>
                    <a:pt x="37" y="149"/>
                  </a:cubicBezTo>
                  <a:cubicBezTo>
                    <a:pt x="36" y="153"/>
                    <a:pt x="33" y="155"/>
                    <a:pt x="30" y="158"/>
                  </a:cubicBezTo>
                  <a:cubicBezTo>
                    <a:pt x="10" y="174"/>
                    <a:pt x="0" y="200"/>
                    <a:pt x="2" y="226"/>
                  </a:cubicBezTo>
                  <a:cubicBezTo>
                    <a:pt x="3" y="234"/>
                    <a:pt x="5" y="243"/>
                    <a:pt x="11" y="249"/>
                  </a:cubicBezTo>
                  <a:cubicBezTo>
                    <a:pt x="14" y="252"/>
                    <a:pt x="17" y="254"/>
                    <a:pt x="20" y="257"/>
                  </a:cubicBezTo>
                  <a:cubicBezTo>
                    <a:pt x="24" y="261"/>
                    <a:pt x="26" y="265"/>
                    <a:pt x="28" y="270"/>
                  </a:cubicBezTo>
                  <a:cubicBezTo>
                    <a:pt x="35" y="284"/>
                    <a:pt x="41" y="299"/>
                    <a:pt x="45" y="315"/>
                  </a:cubicBezTo>
                  <a:cubicBezTo>
                    <a:pt x="47" y="321"/>
                    <a:pt x="49" y="328"/>
                    <a:pt x="53" y="332"/>
                  </a:cubicBezTo>
                  <a:cubicBezTo>
                    <a:pt x="58" y="336"/>
                    <a:pt x="65" y="338"/>
                    <a:pt x="69" y="343"/>
                  </a:cubicBezTo>
                  <a:cubicBezTo>
                    <a:pt x="75" y="349"/>
                    <a:pt x="74" y="359"/>
                    <a:pt x="75" y="368"/>
                  </a:cubicBezTo>
                  <a:cubicBezTo>
                    <a:pt x="77" y="377"/>
                    <a:pt x="84" y="387"/>
                    <a:pt x="93" y="384"/>
                  </a:cubicBezTo>
                  <a:cubicBezTo>
                    <a:pt x="95" y="383"/>
                    <a:pt x="97" y="381"/>
                    <a:pt x="99" y="379"/>
                  </a:cubicBezTo>
                  <a:cubicBezTo>
                    <a:pt x="105" y="372"/>
                    <a:pt x="111" y="364"/>
                    <a:pt x="115" y="355"/>
                  </a:cubicBezTo>
                  <a:cubicBezTo>
                    <a:pt x="116" y="353"/>
                    <a:pt x="117" y="351"/>
                    <a:pt x="119" y="350"/>
                  </a:cubicBezTo>
                  <a:cubicBezTo>
                    <a:pt x="122" y="349"/>
                    <a:pt x="124" y="351"/>
                    <a:pt x="127" y="353"/>
                  </a:cubicBezTo>
                  <a:cubicBezTo>
                    <a:pt x="135" y="356"/>
                    <a:pt x="145" y="350"/>
                    <a:pt x="146" y="342"/>
                  </a:cubicBezTo>
                  <a:cubicBezTo>
                    <a:pt x="153" y="348"/>
                    <a:pt x="153" y="361"/>
                    <a:pt x="147" y="368"/>
                  </a:cubicBezTo>
                  <a:cubicBezTo>
                    <a:pt x="145" y="370"/>
                    <a:pt x="143" y="372"/>
                    <a:pt x="141" y="374"/>
                  </a:cubicBezTo>
                  <a:cubicBezTo>
                    <a:pt x="134" y="384"/>
                    <a:pt x="144" y="403"/>
                    <a:pt x="133" y="408"/>
                  </a:cubicBezTo>
                  <a:cubicBezTo>
                    <a:pt x="130" y="409"/>
                    <a:pt x="127" y="408"/>
                    <a:pt x="124" y="409"/>
                  </a:cubicBezTo>
                  <a:cubicBezTo>
                    <a:pt x="115" y="410"/>
                    <a:pt x="108" y="418"/>
                    <a:pt x="105" y="426"/>
                  </a:cubicBezTo>
                  <a:cubicBezTo>
                    <a:pt x="95" y="448"/>
                    <a:pt x="102" y="475"/>
                    <a:pt x="120" y="490"/>
                  </a:cubicBezTo>
                  <a:cubicBezTo>
                    <a:pt x="122" y="492"/>
                    <a:pt x="124" y="493"/>
                    <a:pt x="124" y="495"/>
                  </a:cubicBezTo>
                  <a:cubicBezTo>
                    <a:pt x="127" y="509"/>
                    <a:pt x="104" y="514"/>
                    <a:pt x="113" y="531"/>
                  </a:cubicBezTo>
                  <a:cubicBezTo>
                    <a:pt x="117" y="539"/>
                    <a:pt x="125" y="543"/>
                    <a:pt x="133" y="547"/>
                  </a:cubicBezTo>
                  <a:cubicBezTo>
                    <a:pt x="141" y="551"/>
                    <a:pt x="149" y="554"/>
                    <a:pt x="156" y="560"/>
                  </a:cubicBezTo>
                  <a:cubicBezTo>
                    <a:pt x="163" y="567"/>
                    <a:pt x="166" y="577"/>
                    <a:pt x="173" y="584"/>
                  </a:cubicBezTo>
                  <a:cubicBezTo>
                    <a:pt x="192" y="602"/>
                    <a:pt x="228" y="588"/>
                    <a:pt x="247" y="606"/>
                  </a:cubicBezTo>
                  <a:cubicBezTo>
                    <a:pt x="258" y="616"/>
                    <a:pt x="260" y="634"/>
                    <a:pt x="270" y="646"/>
                  </a:cubicBezTo>
                  <a:cubicBezTo>
                    <a:pt x="279" y="657"/>
                    <a:pt x="295" y="662"/>
                    <a:pt x="309" y="659"/>
                  </a:cubicBezTo>
                  <a:cubicBezTo>
                    <a:pt x="313" y="658"/>
                    <a:pt x="316" y="657"/>
                    <a:pt x="319" y="655"/>
                  </a:cubicBezTo>
                  <a:cubicBezTo>
                    <a:pt x="327" y="650"/>
                    <a:pt x="332" y="641"/>
                    <a:pt x="336" y="634"/>
                  </a:cubicBezTo>
                  <a:cubicBezTo>
                    <a:pt x="338" y="630"/>
                    <a:pt x="341" y="626"/>
                    <a:pt x="343" y="622"/>
                  </a:cubicBezTo>
                  <a:cubicBezTo>
                    <a:pt x="344" y="619"/>
                    <a:pt x="346" y="619"/>
                    <a:pt x="348" y="617"/>
                  </a:cubicBezTo>
                  <a:cubicBezTo>
                    <a:pt x="349" y="615"/>
                    <a:pt x="351" y="613"/>
                    <a:pt x="351" y="611"/>
                  </a:cubicBezTo>
                  <a:cubicBezTo>
                    <a:pt x="352" y="608"/>
                    <a:pt x="352" y="604"/>
                    <a:pt x="350" y="602"/>
                  </a:cubicBezTo>
                  <a:cubicBezTo>
                    <a:pt x="349" y="602"/>
                    <a:pt x="348" y="601"/>
                    <a:pt x="347" y="601"/>
                  </a:cubicBezTo>
                  <a:cubicBezTo>
                    <a:pt x="343" y="599"/>
                    <a:pt x="339" y="597"/>
                    <a:pt x="336" y="594"/>
                  </a:cubicBezTo>
                  <a:cubicBezTo>
                    <a:pt x="333" y="591"/>
                    <a:pt x="331" y="588"/>
                    <a:pt x="330" y="584"/>
                  </a:cubicBezTo>
                  <a:cubicBezTo>
                    <a:pt x="328" y="578"/>
                    <a:pt x="328" y="570"/>
                    <a:pt x="330" y="563"/>
                  </a:cubicBezTo>
                  <a:cubicBezTo>
                    <a:pt x="332" y="560"/>
                    <a:pt x="334" y="556"/>
                    <a:pt x="333" y="553"/>
                  </a:cubicBezTo>
                  <a:cubicBezTo>
                    <a:pt x="333" y="548"/>
                    <a:pt x="329" y="544"/>
                    <a:pt x="325" y="540"/>
                  </a:cubicBezTo>
                  <a:cubicBezTo>
                    <a:pt x="314" y="531"/>
                    <a:pt x="304" y="522"/>
                    <a:pt x="293" y="513"/>
                  </a:cubicBezTo>
                  <a:cubicBezTo>
                    <a:pt x="281" y="503"/>
                    <a:pt x="268" y="488"/>
                    <a:pt x="273" y="473"/>
                  </a:cubicBezTo>
                  <a:cubicBezTo>
                    <a:pt x="277" y="462"/>
                    <a:pt x="291" y="456"/>
                    <a:pt x="294" y="444"/>
                  </a:cubicBezTo>
                  <a:cubicBezTo>
                    <a:pt x="295" y="436"/>
                    <a:pt x="290" y="427"/>
                    <a:pt x="282" y="423"/>
                  </a:cubicBezTo>
                  <a:cubicBezTo>
                    <a:pt x="278" y="420"/>
                    <a:pt x="274" y="419"/>
                    <a:pt x="269" y="417"/>
                  </a:cubicBezTo>
                  <a:cubicBezTo>
                    <a:pt x="268" y="417"/>
                    <a:pt x="266" y="417"/>
                    <a:pt x="266" y="416"/>
                  </a:cubicBezTo>
                  <a:cubicBezTo>
                    <a:pt x="265" y="416"/>
                    <a:pt x="265" y="414"/>
                    <a:pt x="264" y="413"/>
                  </a:cubicBezTo>
                  <a:cubicBezTo>
                    <a:pt x="263" y="411"/>
                    <a:pt x="262" y="409"/>
                    <a:pt x="261" y="407"/>
                  </a:cubicBezTo>
                  <a:cubicBezTo>
                    <a:pt x="261" y="405"/>
                    <a:pt x="261" y="403"/>
                    <a:pt x="261" y="401"/>
                  </a:cubicBezTo>
                  <a:cubicBezTo>
                    <a:pt x="262" y="399"/>
                    <a:pt x="262" y="397"/>
                    <a:pt x="263" y="395"/>
                  </a:cubicBezTo>
                  <a:cubicBezTo>
                    <a:pt x="264" y="392"/>
                    <a:pt x="265" y="389"/>
                    <a:pt x="268" y="388"/>
                  </a:cubicBezTo>
                  <a:cubicBezTo>
                    <a:pt x="268" y="387"/>
                    <a:pt x="269" y="387"/>
                    <a:pt x="270" y="387"/>
                  </a:cubicBezTo>
                  <a:cubicBezTo>
                    <a:pt x="271" y="386"/>
                    <a:pt x="272" y="386"/>
                    <a:pt x="272" y="386"/>
                  </a:cubicBezTo>
                  <a:cubicBezTo>
                    <a:pt x="272" y="385"/>
                    <a:pt x="272" y="384"/>
                    <a:pt x="273" y="383"/>
                  </a:cubicBezTo>
                  <a:cubicBezTo>
                    <a:pt x="273" y="382"/>
                    <a:pt x="273" y="381"/>
                    <a:pt x="273" y="380"/>
                  </a:cubicBezTo>
                  <a:cubicBezTo>
                    <a:pt x="273" y="377"/>
                    <a:pt x="273" y="373"/>
                    <a:pt x="273" y="369"/>
                  </a:cubicBezTo>
                  <a:cubicBezTo>
                    <a:pt x="273" y="367"/>
                    <a:pt x="272" y="364"/>
                    <a:pt x="271" y="361"/>
                  </a:cubicBezTo>
                  <a:cubicBezTo>
                    <a:pt x="270" y="359"/>
                    <a:pt x="271" y="356"/>
                    <a:pt x="271" y="353"/>
                  </a:cubicBezTo>
                  <a:cubicBezTo>
                    <a:pt x="271" y="351"/>
                    <a:pt x="271" y="350"/>
                    <a:pt x="270" y="348"/>
                  </a:cubicBezTo>
                  <a:cubicBezTo>
                    <a:pt x="270" y="345"/>
                    <a:pt x="269" y="342"/>
                    <a:pt x="268" y="339"/>
                  </a:cubicBezTo>
                  <a:cubicBezTo>
                    <a:pt x="267" y="335"/>
                    <a:pt x="265" y="334"/>
                    <a:pt x="267" y="330"/>
                  </a:cubicBezTo>
                  <a:cubicBezTo>
                    <a:pt x="268" y="328"/>
                    <a:pt x="270" y="327"/>
                    <a:pt x="270" y="324"/>
                  </a:cubicBezTo>
                  <a:cubicBezTo>
                    <a:pt x="271" y="322"/>
                    <a:pt x="270" y="319"/>
                    <a:pt x="268" y="319"/>
                  </a:cubicBezTo>
                  <a:cubicBezTo>
                    <a:pt x="267" y="318"/>
                    <a:pt x="266" y="318"/>
                    <a:pt x="265" y="318"/>
                  </a:cubicBezTo>
                  <a:cubicBezTo>
                    <a:pt x="264" y="318"/>
                    <a:pt x="263" y="318"/>
                    <a:pt x="262" y="317"/>
                  </a:cubicBezTo>
                  <a:cubicBezTo>
                    <a:pt x="259" y="317"/>
                    <a:pt x="257" y="314"/>
                    <a:pt x="256" y="312"/>
                  </a:cubicBezTo>
                  <a:cubicBezTo>
                    <a:pt x="251" y="307"/>
                    <a:pt x="250" y="297"/>
                    <a:pt x="252" y="291"/>
                  </a:cubicBezTo>
                  <a:cubicBezTo>
                    <a:pt x="253" y="287"/>
                    <a:pt x="255" y="283"/>
                    <a:pt x="257" y="280"/>
                  </a:cubicBezTo>
                  <a:cubicBezTo>
                    <a:pt x="258" y="277"/>
                    <a:pt x="259" y="272"/>
                    <a:pt x="261" y="270"/>
                  </a:cubicBezTo>
                  <a:cubicBezTo>
                    <a:pt x="267" y="265"/>
                    <a:pt x="274" y="261"/>
                    <a:pt x="279" y="254"/>
                  </a:cubicBezTo>
                  <a:cubicBezTo>
                    <a:pt x="285" y="247"/>
                    <a:pt x="286" y="238"/>
                    <a:pt x="286" y="228"/>
                  </a:cubicBezTo>
                  <a:cubicBezTo>
                    <a:pt x="286" y="226"/>
                    <a:pt x="286" y="224"/>
                    <a:pt x="285" y="222"/>
                  </a:cubicBezTo>
                  <a:cubicBezTo>
                    <a:pt x="285" y="217"/>
                    <a:pt x="281" y="212"/>
                    <a:pt x="278" y="209"/>
                  </a:cubicBezTo>
                  <a:cubicBezTo>
                    <a:pt x="277" y="208"/>
                    <a:pt x="277" y="207"/>
                    <a:pt x="276" y="207"/>
                  </a:cubicBezTo>
                  <a:cubicBezTo>
                    <a:pt x="275" y="207"/>
                    <a:pt x="274" y="206"/>
                    <a:pt x="274" y="206"/>
                  </a:cubicBezTo>
                  <a:cubicBezTo>
                    <a:pt x="273" y="205"/>
                    <a:pt x="273" y="202"/>
                    <a:pt x="273" y="201"/>
                  </a:cubicBezTo>
                  <a:cubicBezTo>
                    <a:pt x="272" y="197"/>
                    <a:pt x="273" y="193"/>
                    <a:pt x="272" y="189"/>
                  </a:cubicBezTo>
                  <a:cubicBezTo>
                    <a:pt x="272" y="183"/>
                    <a:pt x="271" y="177"/>
                    <a:pt x="267" y="172"/>
                  </a:cubicBezTo>
                  <a:cubicBezTo>
                    <a:pt x="265" y="170"/>
                    <a:pt x="262" y="168"/>
                    <a:pt x="261" y="165"/>
                  </a:cubicBezTo>
                  <a:cubicBezTo>
                    <a:pt x="261" y="162"/>
                    <a:pt x="261" y="157"/>
                    <a:pt x="262" y="154"/>
                  </a:cubicBezTo>
                  <a:cubicBezTo>
                    <a:pt x="263" y="142"/>
                    <a:pt x="266" y="131"/>
                    <a:pt x="264" y="120"/>
                  </a:cubicBezTo>
                  <a:cubicBezTo>
                    <a:pt x="263" y="109"/>
                    <a:pt x="253" y="98"/>
                    <a:pt x="242" y="100"/>
                  </a:cubicBezTo>
                  <a:cubicBezTo>
                    <a:pt x="236" y="101"/>
                    <a:pt x="232" y="105"/>
                    <a:pt x="228" y="109"/>
                  </a:cubicBezTo>
                  <a:cubicBezTo>
                    <a:pt x="226" y="111"/>
                    <a:pt x="225" y="114"/>
                    <a:pt x="222" y="116"/>
                  </a:cubicBezTo>
                  <a:cubicBezTo>
                    <a:pt x="220" y="118"/>
                    <a:pt x="216" y="117"/>
                    <a:pt x="213" y="117"/>
                  </a:cubicBezTo>
                  <a:cubicBezTo>
                    <a:pt x="210" y="117"/>
                    <a:pt x="208" y="117"/>
                    <a:pt x="207" y="115"/>
                  </a:cubicBezTo>
                  <a:cubicBezTo>
                    <a:pt x="205" y="114"/>
                    <a:pt x="203" y="112"/>
                    <a:pt x="202" y="111"/>
                  </a:cubicBezTo>
                  <a:cubicBezTo>
                    <a:pt x="201" y="109"/>
                    <a:pt x="200" y="108"/>
                    <a:pt x="200" y="107"/>
                  </a:cubicBezTo>
                  <a:cubicBezTo>
                    <a:pt x="198" y="102"/>
                    <a:pt x="200" y="96"/>
                    <a:pt x="201" y="91"/>
                  </a:cubicBezTo>
                  <a:cubicBezTo>
                    <a:pt x="202" y="85"/>
                    <a:pt x="202" y="79"/>
                    <a:pt x="203" y="73"/>
                  </a:cubicBezTo>
                  <a:cubicBezTo>
                    <a:pt x="204" y="66"/>
                    <a:pt x="209" y="60"/>
                    <a:pt x="210" y="52"/>
                  </a:cubicBezTo>
                  <a:cubicBezTo>
                    <a:pt x="212" y="41"/>
                    <a:pt x="206" y="36"/>
                    <a:pt x="199" y="28"/>
                  </a:cubicBezTo>
                  <a:cubicBezTo>
                    <a:pt x="199" y="27"/>
                    <a:pt x="198" y="26"/>
                    <a:pt x="197" y="26"/>
                  </a:cubicBezTo>
                  <a:cubicBezTo>
                    <a:pt x="192" y="21"/>
                    <a:pt x="186" y="18"/>
                    <a:pt x="182" y="13"/>
                  </a:cubicBezTo>
                  <a:cubicBezTo>
                    <a:pt x="177" y="7"/>
                    <a:pt x="172" y="2"/>
                    <a:pt x="165" y="0"/>
                  </a:cubicBezTo>
                  <a:close/>
                </a:path>
              </a:pathLst>
            </a:custGeom>
            <a:solidFill>
              <a:schemeClr val="accent2"/>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5" name="Freeform 30">
              <a:extLst>
                <a:ext uri="{FF2B5EF4-FFF2-40B4-BE49-F238E27FC236}">
                  <a16:creationId xmlns:a16="http://schemas.microsoft.com/office/drawing/2014/main" id="{CF0B037C-89D5-4AB4-AAB7-034B8FDFAF7E}"/>
                </a:ext>
              </a:extLst>
            </p:cNvPr>
            <p:cNvSpPr>
              <a:spLocks/>
            </p:cNvSpPr>
            <p:nvPr/>
          </p:nvSpPr>
          <p:spPr bwMode="gray">
            <a:xfrm>
              <a:off x="1134677" y="4315114"/>
              <a:ext cx="713945" cy="580051"/>
            </a:xfrm>
            <a:custGeom>
              <a:avLst/>
              <a:gdLst>
                <a:gd name="T0" fmla="*/ 369 w 491"/>
                <a:gd name="T1" fmla="*/ 21 h 416"/>
                <a:gd name="T2" fmla="*/ 399 w 491"/>
                <a:gd name="T3" fmla="*/ 59 h 416"/>
                <a:gd name="T4" fmla="*/ 470 w 491"/>
                <a:gd name="T5" fmla="*/ 74 h 416"/>
                <a:gd name="T6" fmla="*/ 490 w 491"/>
                <a:gd name="T7" fmla="*/ 122 h 416"/>
                <a:gd name="T8" fmla="*/ 480 w 491"/>
                <a:gd name="T9" fmla="*/ 144 h 416"/>
                <a:gd name="T10" fmla="*/ 479 w 491"/>
                <a:gd name="T11" fmla="*/ 174 h 416"/>
                <a:gd name="T12" fmla="*/ 438 w 491"/>
                <a:gd name="T13" fmla="*/ 194 h 416"/>
                <a:gd name="T14" fmla="*/ 416 w 491"/>
                <a:gd name="T15" fmla="*/ 221 h 416"/>
                <a:gd name="T16" fmla="*/ 412 w 491"/>
                <a:gd name="T17" fmla="*/ 255 h 416"/>
                <a:gd name="T18" fmla="*/ 380 w 491"/>
                <a:gd name="T19" fmla="*/ 255 h 416"/>
                <a:gd name="T20" fmla="*/ 314 w 491"/>
                <a:gd name="T21" fmla="*/ 308 h 416"/>
                <a:gd name="T22" fmla="*/ 307 w 491"/>
                <a:gd name="T23" fmla="*/ 334 h 416"/>
                <a:gd name="T24" fmla="*/ 282 w 491"/>
                <a:gd name="T25" fmla="*/ 353 h 416"/>
                <a:gd name="T26" fmla="*/ 254 w 491"/>
                <a:gd name="T27" fmla="*/ 363 h 416"/>
                <a:gd name="T28" fmla="*/ 123 w 491"/>
                <a:gd name="T29" fmla="*/ 399 h 416"/>
                <a:gd name="T30" fmla="*/ 129 w 491"/>
                <a:gd name="T31" fmla="*/ 331 h 416"/>
                <a:gd name="T32" fmla="*/ 131 w 491"/>
                <a:gd name="T33" fmla="*/ 301 h 416"/>
                <a:gd name="T34" fmla="*/ 120 w 491"/>
                <a:gd name="T35" fmla="*/ 232 h 416"/>
                <a:gd name="T36" fmla="*/ 110 w 491"/>
                <a:gd name="T37" fmla="*/ 220 h 416"/>
                <a:gd name="T38" fmla="*/ 45 w 491"/>
                <a:gd name="T39" fmla="*/ 256 h 416"/>
                <a:gd name="T40" fmla="*/ 29 w 491"/>
                <a:gd name="T41" fmla="*/ 248 h 416"/>
                <a:gd name="T42" fmla="*/ 14 w 491"/>
                <a:gd name="T43" fmla="*/ 255 h 416"/>
                <a:gd name="T44" fmla="*/ 3 w 491"/>
                <a:gd name="T45" fmla="*/ 239 h 416"/>
                <a:gd name="T46" fmla="*/ 86 w 491"/>
                <a:gd name="T47" fmla="*/ 158 h 416"/>
                <a:gd name="T48" fmla="*/ 78 w 491"/>
                <a:gd name="T49" fmla="*/ 143 h 416"/>
                <a:gd name="T50" fmla="*/ 17 w 491"/>
                <a:gd name="T51" fmla="*/ 94 h 416"/>
                <a:gd name="T52" fmla="*/ 29 w 491"/>
                <a:gd name="T53" fmla="*/ 85 h 416"/>
                <a:gd name="T54" fmla="*/ 41 w 491"/>
                <a:gd name="T55" fmla="*/ 59 h 416"/>
                <a:gd name="T56" fmla="*/ 100 w 491"/>
                <a:gd name="T57" fmla="*/ 61 h 416"/>
                <a:gd name="T58" fmla="*/ 139 w 491"/>
                <a:gd name="T59" fmla="*/ 89 h 416"/>
                <a:gd name="T60" fmla="*/ 163 w 491"/>
                <a:gd name="T61" fmla="*/ 104 h 416"/>
                <a:gd name="T62" fmla="*/ 193 w 491"/>
                <a:gd name="T63" fmla="*/ 84 h 416"/>
                <a:gd name="T64" fmla="*/ 208 w 491"/>
                <a:gd name="T65" fmla="*/ 96 h 416"/>
                <a:gd name="T66" fmla="*/ 311 w 491"/>
                <a:gd name="T67" fmla="*/ 98 h 416"/>
                <a:gd name="T68" fmla="*/ 312 w 491"/>
                <a:gd name="T69" fmla="*/ 82 h 416"/>
                <a:gd name="T70" fmla="*/ 337 w 491"/>
                <a:gd name="T71" fmla="*/ 4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1" h="416">
                  <a:moveTo>
                    <a:pt x="340" y="0"/>
                  </a:moveTo>
                  <a:cubicBezTo>
                    <a:pt x="347" y="10"/>
                    <a:pt x="358" y="17"/>
                    <a:pt x="369" y="21"/>
                  </a:cubicBezTo>
                  <a:cubicBezTo>
                    <a:pt x="375" y="23"/>
                    <a:pt x="380" y="24"/>
                    <a:pt x="385" y="27"/>
                  </a:cubicBezTo>
                  <a:cubicBezTo>
                    <a:pt x="394" y="35"/>
                    <a:pt x="391" y="50"/>
                    <a:pt x="399" y="59"/>
                  </a:cubicBezTo>
                  <a:cubicBezTo>
                    <a:pt x="407" y="67"/>
                    <a:pt x="419" y="66"/>
                    <a:pt x="430" y="66"/>
                  </a:cubicBezTo>
                  <a:cubicBezTo>
                    <a:pt x="444" y="65"/>
                    <a:pt x="458" y="67"/>
                    <a:pt x="470" y="74"/>
                  </a:cubicBezTo>
                  <a:cubicBezTo>
                    <a:pt x="485" y="84"/>
                    <a:pt x="487" y="99"/>
                    <a:pt x="490" y="115"/>
                  </a:cubicBezTo>
                  <a:cubicBezTo>
                    <a:pt x="490" y="117"/>
                    <a:pt x="491" y="119"/>
                    <a:pt x="490" y="122"/>
                  </a:cubicBezTo>
                  <a:cubicBezTo>
                    <a:pt x="488" y="125"/>
                    <a:pt x="484" y="126"/>
                    <a:pt x="481" y="128"/>
                  </a:cubicBezTo>
                  <a:cubicBezTo>
                    <a:pt x="477" y="132"/>
                    <a:pt x="478" y="139"/>
                    <a:pt x="480" y="144"/>
                  </a:cubicBezTo>
                  <a:cubicBezTo>
                    <a:pt x="482" y="149"/>
                    <a:pt x="485" y="153"/>
                    <a:pt x="485" y="159"/>
                  </a:cubicBezTo>
                  <a:cubicBezTo>
                    <a:pt x="486" y="164"/>
                    <a:pt x="482" y="169"/>
                    <a:pt x="479" y="174"/>
                  </a:cubicBezTo>
                  <a:cubicBezTo>
                    <a:pt x="474" y="179"/>
                    <a:pt x="470" y="187"/>
                    <a:pt x="462" y="189"/>
                  </a:cubicBezTo>
                  <a:cubicBezTo>
                    <a:pt x="455" y="192"/>
                    <a:pt x="446" y="193"/>
                    <a:pt x="438" y="194"/>
                  </a:cubicBezTo>
                  <a:cubicBezTo>
                    <a:pt x="432" y="195"/>
                    <a:pt x="423" y="197"/>
                    <a:pt x="419" y="202"/>
                  </a:cubicBezTo>
                  <a:cubicBezTo>
                    <a:pt x="416" y="206"/>
                    <a:pt x="416" y="215"/>
                    <a:pt x="416" y="221"/>
                  </a:cubicBezTo>
                  <a:cubicBezTo>
                    <a:pt x="417" y="228"/>
                    <a:pt x="420" y="235"/>
                    <a:pt x="418" y="243"/>
                  </a:cubicBezTo>
                  <a:cubicBezTo>
                    <a:pt x="418" y="247"/>
                    <a:pt x="415" y="251"/>
                    <a:pt x="412" y="255"/>
                  </a:cubicBezTo>
                  <a:cubicBezTo>
                    <a:pt x="411" y="258"/>
                    <a:pt x="409" y="260"/>
                    <a:pt x="407" y="261"/>
                  </a:cubicBezTo>
                  <a:cubicBezTo>
                    <a:pt x="398" y="267"/>
                    <a:pt x="387" y="259"/>
                    <a:pt x="380" y="255"/>
                  </a:cubicBezTo>
                  <a:cubicBezTo>
                    <a:pt x="365" y="248"/>
                    <a:pt x="346" y="253"/>
                    <a:pt x="334" y="264"/>
                  </a:cubicBezTo>
                  <a:cubicBezTo>
                    <a:pt x="322" y="275"/>
                    <a:pt x="313" y="291"/>
                    <a:pt x="314" y="308"/>
                  </a:cubicBezTo>
                  <a:cubicBezTo>
                    <a:pt x="314" y="313"/>
                    <a:pt x="314" y="319"/>
                    <a:pt x="313" y="324"/>
                  </a:cubicBezTo>
                  <a:cubicBezTo>
                    <a:pt x="312" y="328"/>
                    <a:pt x="310" y="331"/>
                    <a:pt x="307" y="334"/>
                  </a:cubicBezTo>
                  <a:cubicBezTo>
                    <a:pt x="304" y="336"/>
                    <a:pt x="303" y="337"/>
                    <a:pt x="300" y="340"/>
                  </a:cubicBezTo>
                  <a:cubicBezTo>
                    <a:pt x="296" y="347"/>
                    <a:pt x="290" y="352"/>
                    <a:pt x="282" y="353"/>
                  </a:cubicBezTo>
                  <a:cubicBezTo>
                    <a:pt x="276" y="354"/>
                    <a:pt x="268" y="352"/>
                    <a:pt x="262" y="355"/>
                  </a:cubicBezTo>
                  <a:cubicBezTo>
                    <a:pt x="259" y="357"/>
                    <a:pt x="257" y="360"/>
                    <a:pt x="254" y="363"/>
                  </a:cubicBezTo>
                  <a:cubicBezTo>
                    <a:pt x="239" y="383"/>
                    <a:pt x="216" y="393"/>
                    <a:pt x="192" y="399"/>
                  </a:cubicBezTo>
                  <a:cubicBezTo>
                    <a:pt x="180" y="402"/>
                    <a:pt x="127" y="416"/>
                    <a:pt x="123" y="399"/>
                  </a:cubicBezTo>
                  <a:cubicBezTo>
                    <a:pt x="122" y="393"/>
                    <a:pt x="125" y="387"/>
                    <a:pt x="127" y="381"/>
                  </a:cubicBezTo>
                  <a:cubicBezTo>
                    <a:pt x="134" y="365"/>
                    <a:pt x="137" y="346"/>
                    <a:pt x="129" y="331"/>
                  </a:cubicBezTo>
                  <a:cubicBezTo>
                    <a:pt x="125" y="324"/>
                    <a:pt x="118" y="316"/>
                    <a:pt x="122" y="309"/>
                  </a:cubicBezTo>
                  <a:cubicBezTo>
                    <a:pt x="124" y="306"/>
                    <a:pt x="129" y="305"/>
                    <a:pt x="131" y="301"/>
                  </a:cubicBezTo>
                  <a:cubicBezTo>
                    <a:pt x="132" y="298"/>
                    <a:pt x="131" y="295"/>
                    <a:pt x="131" y="292"/>
                  </a:cubicBezTo>
                  <a:cubicBezTo>
                    <a:pt x="127" y="272"/>
                    <a:pt x="123" y="252"/>
                    <a:pt x="120" y="232"/>
                  </a:cubicBezTo>
                  <a:cubicBezTo>
                    <a:pt x="119" y="229"/>
                    <a:pt x="119" y="227"/>
                    <a:pt x="118" y="225"/>
                  </a:cubicBezTo>
                  <a:cubicBezTo>
                    <a:pt x="116" y="223"/>
                    <a:pt x="113" y="221"/>
                    <a:pt x="110" y="220"/>
                  </a:cubicBezTo>
                  <a:cubicBezTo>
                    <a:pt x="87" y="213"/>
                    <a:pt x="58" y="222"/>
                    <a:pt x="50" y="244"/>
                  </a:cubicBezTo>
                  <a:cubicBezTo>
                    <a:pt x="49" y="248"/>
                    <a:pt x="48" y="253"/>
                    <a:pt x="45" y="256"/>
                  </a:cubicBezTo>
                  <a:cubicBezTo>
                    <a:pt x="42" y="261"/>
                    <a:pt x="35" y="262"/>
                    <a:pt x="30" y="260"/>
                  </a:cubicBezTo>
                  <a:cubicBezTo>
                    <a:pt x="31" y="256"/>
                    <a:pt x="31" y="251"/>
                    <a:pt x="29" y="248"/>
                  </a:cubicBezTo>
                  <a:cubicBezTo>
                    <a:pt x="26" y="244"/>
                    <a:pt x="21" y="243"/>
                    <a:pt x="18" y="247"/>
                  </a:cubicBezTo>
                  <a:cubicBezTo>
                    <a:pt x="16" y="249"/>
                    <a:pt x="16" y="253"/>
                    <a:pt x="14" y="255"/>
                  </a:cubicBezTo>
                  <a:cubicBezTo>
                    <a:pt x="11" y="259"/>
                    <a:pt x="4" y="257"/>
                    <a:pt x="2" y="253"/>
                  </a:cubicBezTo>
                  <a:cubicBezTo>
                    <a:pt x="0" y="248"/>
                    <a:pt x="1" y="243"/>
                    <a:pt x="3" y="239"/>
                  </a:cubicBezTo>
                  <a:cubicBezTo>
                    <a:pt x="14" y="219"/>
                    <a:pt x="39" y="214"/>
                    <a:pt x="58" y="201"/>
                  </a:cubicBezTo>
                  <a:cubicBezTo>
                    <a:pt x="72" y="191"/>
                    <a:pt x="82" y="175"/>
                    <a:pt x="86" y="158"/>
                  </a:cubicBezTo>
                  <a:cubicBezTo>
                    <a:pt x="86" y="155"/>
                    <a:pt x="87" y="152"/>
                    <a:pt x="85" y="149"/>
                  </a:cubicBezTo>
                  <a:cubicBezTo>
                    <a:pt x="84" y="146"/>
                    <a:pt x="81" y="145"/>
                    <a:pt x="78" y="143"/>
                  </a:cubicBezTo>
                  <a:cubicBezTo>
                    <a:pt x="61" y="133"/>
                    <a:pt x="47" y="120"/>
                    <a:pt x="35" y="104"/>
                  </a:cubicBezTo>
                  <a:cubicBezTo>
                    <a:pt x="31" y="98"/>
                    <a:pt x="24" y="90"/>
                    <a:pt x="17" y="94"/>
                  </a:cubicBezTo>
                  <a:cubicBezTo>
                    <a:pt x="13" y="94"/>
                    <a:pt x="12" y="86"/>
                    <a:pt x="16" y="84"/>
                  </a:cubicBezTo>
                  <a:cubicBezTo>
                    <a:pt x="20" y="82"/>
                    <a:pt x="25" y="83"/>
                    <a:pt x="29" y="85"/>
                  </a:cubicBezTo>
                  <a:cubicBezTo>
                    <a:pt x="33" y="88"/>
                    <a:pt x="37" y="90"/>
                    <a:pt x="42" y="90"/>
                  </a:cubicBezTo>
                  <a:cubicBezTo>
                    <a:pt x="45" y="80"/>
                    <a:pt x="36" y="69"/>
                    <a:pt x="41" y="59"/>
                  </a:cubicBezTo>
                  <a:cubicBezTo>
                    <a:pt x="45" y="54"/>
                    <a:pt x="52" y="52"/>
                    <a:pt x="59" y="51"/>
                  </a:cubicBezTo>
                  <a:cubicBezTo>
                    <a:pt x="74" y="49"/>
                    <a:pt x="92" y="48"/>
                    <a:pt x="100" y="61"/>
                  </a:cubicBezTo>
                  <a:cubicBezTo>
                    <a:pt x="107" y="70"/>
                    <a:pt x="106" y="84"/>
                    <a:pt x="115" y="90"/>
                  </a:cubicBezTo>
                  <a:cubicBezTo>
                    <a:pt x="122" y="94"/>
                    <a:pt x="131" y="92"/>
                    <a:pt x="139" y="89"/>
                  </a:cubicBezTo>
                  <a:cubicBezTo>
                    <a:pt x="138" y="97"/>
                    <a:pt x="139" y="108"/>
                    <a:pt x="147" y="111"/>
                  </a:cubicBezTo>
                  <a:cubicBezTo>
                    <a:pt x="153" y="112"/>
                    <a:pt x="159" y="108"/>
                    <a:pt x="163" y="104"/>
                  </a:cubicBezTo>
                  <a:cubicBezTo>
                    <a:pt x="170" y="98"/>
                    <a:pt x="176" y="93"/>
                    <a:pt x="183" y="87"/>
                  </a:cubicBezTo>
                  <a:cubicBezTo>
                    <a:pt x="186" y="84"/>
                    <a:pt x="190" y="82"/>
                    <a:pt x="193" y="84"/>
                  </a:cubicBezTo>
                  <a:cubicBezTo>
                    <a:pt x="195" y="85"/>
                    <a:pt x="196" y="88"/>
                    <a:pt x="197" y="90"/>
                  </a:cubicBezTo>
                  <a:cubicBezTo>
                    <a:pt x="199" y="94"/>
                    <a:pt x="203" y="95"/>
                    <a:pt x="208" y="96"/>
                  </a:cubicBezTo>
                  <a:cubicBezTo>
                    <a:pt x="226" y="98"/>
                    <a:pt x="244" y="88"/>
                    <a:pt x="262" y="84"/>
                  </a:cubicBezTo>
                  <a:cubicBezTo>
                    <a:pt x="280" y="79"/>
                    <a:pt x="303" y="81"/>
                    <a:pt x="311" y="98"/>
                  </a:cubicBezTo>
                  <a:cubicBezTo>
                    <a:pt x="314" y="99"/>
                    <a:pt x="316" y="94"/>
                    <a:pt x="315" y="91"/>
                  </a:cubicBezTo>
                  <a:cubicBezTo>
                    <a:pt x="315" y="88"/>
                    <a:pt x="312" y="85"/>
                    <a:pt x="312" y="82"/>
                  </a:cubicBezTo>
                  <a:cubicBezTo>
                    <a:pt x="310" y="68"/>
                    <a:pt x="340" y="69"/>
                    <a:pt x="341" y="55"/>
                  </a:cubicBezTo>
                  <a:cubicBezTo>
                    <a:pt x="342" y="50"/>
                    <a:pt x="339" y="46"/>
                    <a:pt x="337" y="42"/>
                  </a:cubicBezTo>
                  <a:cubicBezTo>
                    <a:pt x="330" y="29"/>
                    <a:pt x="332" y="12"/>
                    <a:pt x="341" y="1"/>
                  </a:cubicBezTo>
                </a:path>
              </a:pathLst>
            </a:custGeom>
            <a:solidFill>
              <a:schemeClr val="accent2"/>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6" name="Freeform 31">
              <a:extLst>
                <a:ext uri="{FF2B5EF4-FFF2-40B4-BE49-F238E27FC236}">
                  <a16:creationId xmlns:a16="http://schemas.microsoft.com/office/drawing/2014/main" id="{19856EAE-65DC-6B63-6CC6-33BAC29A88E8}"/>
                </a:ext>
              </a:extLst>
            </p:cNvPr>
            <p:cNvSpPr>
              <a:spLocks/>
            </p:cNvSpPr>
            <p:nvPr/>
          </p:nvSpPr>
          <p:spPr bwMode="gray">
            <a:xfrm>
              <a:off x="1836568" y="4397604"/>
              <a:ext cx="648669" cy="746055"/>
            </a:xfrm>
            <a:custGeom>
              <a:avLst/>
              <a:gdLst>
                <a:gd name="T0" fmla="*/ 22 w 458"/>
                <a:gd name="T1" fmla="*/ 91 h 521"/>
                <a:gd name="T2" fmla="*/ 8 w 458"/>
                <a:gd name="T3" fmla="*/ 100 h 521"/>
                <a:gd name="T4" fmla="*/ 19 w 458"/>
                <a:gd name="T5" fmla="*/ 116 h 521"/>
                <a:gd name="T6" fmla="*/ 5 w 458"/>
                <a:gd name="T7" fmla="*/ 144 h 521"/>
                <a:gd name="T8" fmla="*/ 3 w 458"/>
                <a:gd name="T9" fmla="*/ 183 h 521"/>
                <a:gd name="T10" fmla="*/ 29 w 458"/>
                <a:gd name="T11" fmla="*/ 203 h 521"/>
                <a:gd name="T12" fmla="*/ 37 w 458"/>
                <a:gd name="T13" fmla="*/ 246 h 521"/>
                <a:gd name="T14" fmla="*/ 31 w 458"/>
                <a:gd name="T15" fmla="*/ 262 h 521"/>
                <a:gd name="T16" fmla="*/ 47 w 458"/>
                <a:gd name="T17" fmla="*/ 305 h 521"/>
                <a:gd name="T18" fmla="*/ 32 w 458"/>
                <a:gd name="T19" fmla="*/ 353 h 521"/>
                <a:gd name="T20" fmla="*/ 30 w 458"/>
                <a:gd name="T21" fmla="*/ 377 h 521"/>
                <a:gd name="T22" fmla="*/ 40 w 458"/>
                <a:gd name="T23" fmla="*/ 393 h 521"/>
                <a:gd name="T24" fmla="*/ 62 w 458"/>
                <a:gd name="T25" fmla="*/ 410 h 521"/>
                <a:gd name="T26" fmla="*/ 120 w 458"/>
                <a:gd name="T27" fmla="*/ 420 h 521"/>
                <a:gd name="T28" fmla="*/ 140 w 458"/>
                <a:gd name="T29" fmla="*/ 457 h 521"/>
                <a:gd name="T30" fmla="*/ 155 w 458"/>
                <a:gd name="T31" fmla="*/ 480 h 521"/>
                <a:gd name="T32" fmla="*/ 166 w 458"/>
                <a:gd name="T33" fmla="*/ 493 h 521"/>
                <a:gd name="T34" fmla="*/ 171 w 458"/>
                <a:gd name="T35" fmla="*/ 513 h 521"/>
                <a:gd name="T36" fmla="*/ 219 w 458"/>
                <a:gd name="T37" fmla="*/ 515 h 521"/>
                <a:gd name="T38" fmla="*/ 250 w 458"/>
                <a:gd name="T39" fmla="*/ 513 h 521"/>
                <a:gd name="T40" fmla="*/ 261 w 458"/>
                <a:gd name="T41" fmla="*/ 492 h 521"/>
                <a:gd name="T42" fmla="*/ 278 w 458"/>
                <a:gd name="T43" fmla="*/ 445 h 521"/>
                <a:gd name="T44" fmla="*/ 279 w 458"/>
                <a:gd name="T45" fmla="*/ 444 h 521"/>
                <a:gd name="T46" fmla="*/ 280 w 458"/>
                <a:gd name="T47" fmla="*/ 413 h 521"/>
                <a:gd name="T48" fmla="*/ 291 w 458"/>
                <a:gd name="T49" fmla="*/ 395 h 521"/>
                <a:gd name="T50" fmla="*/ 298 w 458"/>
                <a:gd name="T51" fmla="*/ 391 h 521"/>
                <a:gd name="T52" fmla="*/ 300 w 458"/>
                <a:gd name="T53" fmla="*/ 380 h 521"/>
                <a:gd name="T54" fmla="*/ 303 w 458"/>
                <a:gd name="T55" fmla="*/ 353 h 521"/>
                <a:gd name="T56" fmla="*/ 309 w 458"/>
                <a:gd name="T57" fmla="*/ 286 h 521"/>
                <a:gd name="T58" fmla="*/ 343 w 458"/>
                <a:gd name="T59" fmla="*/ 245 h 521"/>
                <a:gd name="T60" fmla="*/ 408 w 458"/>
                <a:gd name="T61" fmla="*/ 221 h 521"/>
                <a:gd name="T62" fmla="*/ 436 w 458"/>
                <a:gd name="T63" fmla="*/ 188 h 521"/>
                <a:gd name="T64" fmla="*/ 442 w 458"/>
                <a:gd name="T65" fmla="*/ 113 h 521"/>
                <a:gd name="T66" fmla="*/ 451 w 458"/>
                <a:gd name="T67" fmla="*/ 38 h 521"/>
                <a:gd name="T68" fmla="*/ 400 w 458"/>
                <a:gd name="T69" fmla="*/ 56 h 521"/>
                <a:gd name="T70" fmla="*/ 314 w 458"/>
                <a:gd name="T71" fmla="*/ 37 h 521"/>
                <a:gd name="T72" fmla="*/ 274 w 458"/>
                <a:gd name="T73" fmla="*/ 27 h 521"/>
                <a:gd name="T74" fmla="*/ 247 w 458"/>
                <a:gd name="T75" fmla="*/ 50 h 521"/>
                <a:gd name="T76" fmla="*/ 221 w 458"/>
                <a:gd name="T77" fmla="*/ 56 h 521"/>
                <a:gd name="T78" fmla="*/ 211 w 458"/>
                <a:gd name="T79" fmla="*/ 15 h 521"/>
                <a:gd name="T80" fmla="*/ 180 w 458"/>
                <a:gd name="T81" fmla="*/ 5 h 521"/>
                <a:gd name="T82" fmla="*/ 169 w 458"/>
                <a:gd name="T83" fmla="*/ 46 h 521"/>
                <a:gd name="T84" fmla="*/ 131 w 458"/>
                <a:gd name="T85" fmla="*/ 47 h 521"/>
                <a:gd name="T86" fmla="*/ 83 w 458"/>
                <a:gd name="T87" fmla="*/ 33 h 521"/>
                <a:gd name="T88" fmla="*/ 59 w 458"/>
                <a:gd name="T89" fmla="*/ 24 h 521"/>
                <a:gd name="T90" fmla="*/ 34 w 458"/>
                <a:gd name="T91" fmla="*/ 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8" h="521">
                  <a:moveTo>
                    <a:pt x="13" y="50"/>
                  </a:moveTo>
                  <a:cubicBezTo>
                    <a:pt x="10" y="64"/>
                    <a:pt x="34" y="75"/>
                    <a:pt x="27" y="87"/>
                  </a:cubicBezTo>
                  <a:cubicBezTo>
                    <a:pt x="26" y="88"/>
                    <a:pt x="24" y="90"/>
                    <a:pt x="22" y="91"/>
                  </a:cubicBezTo>
                  <a:cubicBezTo>
                    <a:pt x="20" y="91"/>
                    <a:pt x="17" y="91"/>
                    <a:pt x="15" y="91"/>
                  </a:cubicBezTo>
                  <a:cubicBezTo>
                    <a:pt x="13" y="91"/>
                    <a:pt x="11" y="92"/>
                    <a:pt x="9" y="93"/>
                  </a:cubicBezTo>
                  <a:cubicBezTo>
                    <a:pt x="7" y="95"/>
                    <a:pt x="7" y="98"/>
                    <a:pt x="8" y="100"/>
                  </a:cubicBezTo>
                  <a:cubicBezTo>
                    <a:pt x="8" y="104"/>
                    <a:pt x="10" y="107"/>
                    <a:pt x="13" y="109"/>
                  </a:cubicBezTo>
                  <a:cubicBezTo>
                    <a:pt x="15" y="110"/>
                    <a:pt x="16" y="110"/>
                    <a:pt x="17" y="111"/>
                  </a:cubicBezTo>
                  <a:cubicBezTo>
                    <a:pt x="18" y="113"/>
                    <a:pt x="19" y="114"/>
                    <a:pt x="19" y="116"/>
                  </a:cubicBezTo>
                  <a:cubicBezTo>
                    <a:pt x="22" y="121"/>
                    <a:pt x="22" y="128"/>
                    <a:pt x="19" y="134"/>
                  </a:cubicBezTo>
                  <a:cubicBezTo>
                    <a:pt x="18" y="136"/>
                    <a:pt x="16" y="138"/>
                    <a:pt x="14" y="140"/>
                  </a:cubicBezTo>
                  <a:cubicBezTo>
                    <a:pt x="11" y="141"/>
                    <a:pt x="8" y="142"/>
                    <a:pt x="5" y="144"/>
                  </a:cubicBezTo>
                  <a:cubicBezTo>
                    <a:pt x="4" y="144"/>
                    <a:pt x="2" y="145"/>
                    <a:pt x="1" y="146"/>
                  </a:cubicBezTo>
                  <a:cubicBezTo>
                    <a:pt x="0" y="148"/>
                    <a:pt x="0" y="150"/>
                    <a:pt x="0" y="151"/>
                  </a:cubicBezTo>
                  <a:cubicBezTo>
                    <a:pt x="0" y="162"/>
                    <a:pt x="1" y="172"/>
                    <a:pt x="3" y="183"/>
                  </a:cubicBezTo>
                  <a:cubicBezTo>
                    <a:pt x="3" y="185"/>
                    <a:pt x="4" y="187"/>
                    <a:pt x="5" y="189"/>
                  </a:cubicBezTo>
                  <a:cubicBezTo>
                    <a:pt x="7" y="193"/>
                    <a:pt x="12" y="195"/>
                    <a:pt x="16" y="196"/>
                  </a:cubicBezTo>
                  <a:cubicBezTo>
                    <a:pt x="20" y="197"/>
                    <a:pt x="25" y="201"/>
                    <a:pt x="29" y="203"/>
                  </a:cubicBezTo>
                  <a:cubicBezTo>
                    <a:pt x="30" y="204"/>
                    <a:pt x="33" y="205"/>
                    <a:pt x="34" y="206"/>
                  </a:cubicBezTo>
                  <a:cubicBezTo>
                    <a:pt x="36" y="207"/>
                    <a:pt x="36" y="209"/>
                    <a:pt x="37" y="211"/>
                  </a:cubicBezTo>
                  <a:cubicBezTo>
                    <a:pt x="39" y="222"/>
                    <a:pt x="35" y="234"/>
                    <a:pt x="37" y="246"/>
                  </a:cubicBezTo>
                  <a:cubicBezTo>
                    <a:pt x="38" y="248"/>
                    <a:pt x="38" y="249"/>
                    <a:pt x="37" y="250"/>
                  </a:cubicBezTo>
                  <a:cubicBezTo>
                    <a:pt x="36" y="251"/>
                    <a:pt x="35" y="253"/>
                    <a:pt x="35" y="254"/>
                  </a:cubicBezTo>
                  <a:cubicBezTo>
                    <a:pt x="33" y="256"/>
                    <a:pt x="32" y="259"/>
                    <a:pt x="31" y="262"/>
                  </a:cubicBezTo>
                  <a:cubicBezTo>
                    <a:pt x="29" y="267"/>
                    <a:pt x="29" y="273"/>
                    <a:pt x="32" y="278"/>
                  </a:cubicBezTo>
                  <a:cubicBezTo>
                    <a:pt x="35" y="283"/>
                    <a:pt x="40" y="286"/>
                    <a:pt x="43" y="291"/>
                  </a:cubicBezTo>
                  <a:cubicBezTo>
                    <a:pt x="46" y="295"/>
                    <a:pt x="46" y="300"/>
                    <a:pt x="47" y="305"/>
                  </a:cubicBezTo>
                  <a:cubicBezTo>
                    <a:pt x="47" y="313"/>
                    <a:pt x="48" y="322"/>
                    <a:pt x="47" y="330"/>
                  </a:cubicBezTo>
                  <a:cubicBezTo>
                    <a:pt x="46" y="338"/>
                    <a:pt x="41" y="345"/>
                    <a:pt x="36" y="349"/>
                  </a:cubicBezTo>
                  <a:cubicBezTo>
                    <a:pt x="34" y="350"/>
                    <a:pt x="33" y="351"/>
                    <a:pt x="32" y="353"/>
                  </a:cubicBezTo>
                  <a:cubicBezTo>
                    <a:pt x="30" y="354"/>
                    <a:pt x="28" y="357"/>
                    <a:pt x="28" y="359"/>
                  </a:cubicBezTo>
                  <a:cubicBezTo>
                    <a:pt x="28" y="362"/>
                    <a:pt x="28" y="365"/>
                    <a:pt x="29" y="367"/>
                  </a:cubicBezTo>
                  <a:cubicBezTo>
                    <a:pt x="29" y="370"/>
                    <a:pt x="30" y="374"/>
                    <a:pt x="30" y="377"/>
                  </a:cubicBezTo>
                  <a:cubicBezTo>
                    <a:pt x="31" y="379"/>
                    <a:pt x="31" y="380"/>
                    <a:pt x="32" y="382"/>
                  </a:cubicBezTo>
                  <a:cubicBezTo>
                    <a:pt x="32" y="383"/>
                    <a:pt x="33" y="384"/>
                    <a:pt x="34" y="385"/>
                  </a:cubicBezTo>
                  <a:cubicBezTo>
                    <a:pt x="36" y="388"/>
                    <a:pt x="38" y="390"/>
                    <a:pt x="40" y="393"/>
                  </a:cubicBezTo>
                  <a:cubicBezTo>
                    <a:pt x="41" y="394"/>
                    <a:pt x="42" y="396"/>
                    <a:pt x="44" y="398"/>
                  </a:cubicBezTo>
                  <a:cubicBezTo>
                    <a:pt x="47" y="401"/>
                    <a:pt x="51" y="403"/>
                    <a:pt x="55" y="405"/>
                  </a:cubicBezTo>
                  <a:cubicBezTo>
                    <a:pt x="58" y="407"/>
                    <a:pt x="60" y="409"/>
                    <a:pt x="62" y="410"/>
                  </a:cubicBezTo>
                  <a:cubicBezTo>
                    <a:pt x="64" y="412"/>
                    <a:pt x="66" y="413"/>
                    <a:pt x="69" y="414"/>
                  </a:cubicBezTo>
                  <a:cubicBezTo>
                    <a:pt x="74" y="417"/>
                    <a:pt x="80" y="418"/>
                    <a:pt x="85" y="419"/>
                  </a:cubicBezTo>
                  <a:cubicBezTo>
                    <a:pt x="97" y="421"/>
                    <a:pt x="109" y="420"/>
                    <a:pt x="120" y="420"/>
                  </a:cubicBezTo>
                  <a:cubicBezTo>
                    <a:pt x="124" y="420"/>
                    <a:pt x="128" y="420"/>
                    <a:pt x="131" y="422"/>
                  </a:cubicBezTo>
                  <a:cubicBezTo>
                    <a:pt x="136" y="426"/>
                    <a:pt x="136" y="431"/>
                    <a:pt x="137" y="437"/>
                  </a:cubicBezTo>
                  <a:cubicBezTo>
                    <a:pt x="139" y="443"/>
                    <a:pt x="140" y="450"/>
                    <a:pt x="140" y="457"/>
                  </a:cubicBezTo>
                  <a:cubicBezTo>
                    <a:pt x="140" y="461"/>
                    <a:pt x="140" y="465"/>
                    <a:pt x="141" y="469"/>
                  </a:cubicBezTo>
                  <a:cubicBezTo>
                    <a:pt x="142" y="473"/>
                    <a:pt x="145" y="477"/>
                    <a:pt x="148" y="478"/>
                  </a:cubicBezTo>
                  <a:cubicBezTo>
                    <a:pt x="151" y="479"/>
                    <a:pt x="153" y="479"/>
                    <a:pt x="155" y="480"/>
                  </a:cubicBezTo>
                  <a:cubicBezTo>
                    <a:pt x="158" y="480"/>
                    <a:pt x="167" y="480"/>
                    <a:pt x="168" y="483"/>
                  </a:cubicBezTo>
                  <a:cubicBezTo>
                    <a:pt x="168" y="485"/>
                    <a:pt x="167" y="487"/>
                    <a:pt x="167" y="488"/>
                  </a:cubicBezTo>
                  <a:cubicBezTo>
                    <a:pt x="167" y="489"/>
                    <a:pt x="167" y="491"/>
                    <a:pt x="166" y="493"/>
                  </a:cubicBezTo>
                  <a:cubicBezTo>
                    <a:pt x="166" y="496"/>
                    <a:pt x="166" y="499"/>
                    <a:pt x="166" y="502"/>
                  </a:cubicBezTo>
                  <a:cubicBezTo>
                    <a:pt x="166" y="505"/>
                    <a:pt x="166" y="508"/>
                    <a:pt x="168" y="510"/>
                  </a:cubicBezTo>
                  <a:cubicBezTo>
                    <a:pt x="168" y="511"/>
                    <a:pt x="169" y="512"/>
                    <a:pt x="171" y="513"/>
                  </a:cubicBezTo>
                  <a:cubicBezTo>
                    <a:pt x="179" y="518"/>
                    <a:pt x="189" y="521"/>
                    <a:pt x="199" y="520"/>
                  </a:cubicBezTo>
                  <a:cubicBezTo>
                    <a:pt x="202" y="520"/>
                    <a:pt x="206" y="520"/>
                    <a:pt x="209" y="519"/>
                  </a:cubicBezTo>
                  <a:cubicBezTo>
                    <a:pt x="212" y="518"/>
                    <a:pt x="215" y="515"/>
                    <a:pt x="219" y="515"/>
                  </a:cubicBezTo>
                  <a:cubicBezTo>
                    <a:pt x="224" y="514"/>
                    <a:pt x="228" y="515"/>
                    <a:pt x="233" y="515"/>
                  </a:cubicBezTo>
                  <a:cubicBezTo>
                    <a:pt x="237" y="515"/>
                    <a:pt x="241" y="514"/>
                    <a:pt x="245" y="513"/>
                  </a:cubicBezTo>
                  <a:cubicBezTo>
                    <a:pt x="247" y="512"/>
                    <a:pt x="248" y="513"/>
                    <a:pt x="250" y="513"/>
                  </a:cubicBezTo>
                  <a:cubicBezTo>
                    <a:pt x="252" y="513"/>
                    <a:pt x="254" y="513"/>
                    <a:pt x="255" y="511"/>
                  </a:cubicBezTo>
                  <a:cubicBezTo>
                    <a:pt x="258" y="509"/>
                    <a:pt x="259" y="506"/>
                    <a:pt x="260" y="503"/>
                  </a:cubicBezTo>
                  <a:cubicBezTo>
                    <a:pt x="261" y="500"/>
                    <a:pt x="261" y="496"/>
                    <a:pt x="261" y="492"/>
                  </a:cubicBezTo>
                  <a:cubicBezTo>
                    <a:pt x="261" y="489"/>
                    <a:pt x="261" y="486"/>
                    <a:pt x="262" y="483"/>
                  </a:cubicBezTo>
                  <a:cubicBezTo>
                    <a:pt x="264" y="475"/>
                    <a:pt x="272" y="471"/>
                    <a:pt x="276" y="464"/>
                  </a:cubicBezTo>
                  <a:cubicBezTo>
                    <a:pt x="278" y="458"/>
                    <a:pt x="278" y="452"/>
                    <a:pt x="278" y="445"/>
                  </a:cubicBezTo>
                  <a:cubicBezTo>
                    <a:pt x="277" y="445"/>
                    <a:pt x="277" y="446"/>
                    <a:pt x="278" y="446"/>
                  </a:cubicBezTo>
                  <a:cubicBezTo>
                    <a:pt x="278" y="446"/>
                    <a:pt x="278" y="445"/>
                    <a:pt x="279" y="445"/>
                  </a:cubicBezTo>
                  <a:cubicBezTo>
                    <a:pt x="279" y="445"/>
                    <a:pt x="279" y="444"/>
                    <a:pt x="279" y="444"/>
                  </a:cubicBezTo>
                  <a:cubicBezTo>
                    <a:pt x="277" y="441"/>
                    <a:pt x="277" y="437"/>
                    <a:pt x="277" y="433"/>
                  </a:cubicBezTo>
                  <a:cubicBezTo>
                    <a:pt x="278" y="429"/>
                    <a:pt x="278" y="425"/>
                    <a:pt x="279" y="422"/>
                  </a:cubicBezTo>
                  <a:cubicBezTo>
                    <a:pt x="279" y="419"/>
                    <a:pt x="279" y="416"/>
                    <a:pt x="280" y="413"/>
                  </a:cubicBezTo>
                  <a:cubicBezTo>
                    <a:pt x="281" y="411"/>
                    <a:pt x="282" y="410"/>
                    <a:pt x="283" y="408"/>
                  </a:cubicBezTo>
                  <a:cubicBezTo>
                    <a:pt x="285" y="404"/>
                    <a:pt x="287" y="401"/>
                    <a:pt x="290" y="398"/>
                  </a:cubicBezTo>
                  <a:cubicBezTo>
                    <a:pt x="290" y="397"/>
                    <a:pt x="291" y="396"/>
                    <a:pt x="291" y="395"/>
                  </a:cubicBezTo>
                  <a:cubicBezTo>
                    <a:pt x="292" y="395"/>
                    <a:pt x="292" y="394"/>
                    <a:pt x="292" y="394"/>
                  </a:cubicBezTo>
                  <a:cubicBezTo>
                    <a:pt x="293" y="393"/>
                    <a:pt x="293" y="394"/>
                    <a:pt x="293" y="394"/>
                  </a:cubicBezTo>
                  <a:cubicBezTo>
                    <a:pt x="295" y="394"/>
                    <a:pt x="297" y="393"/>
                    <a:pt x="298" y="391"/>
                  </a:cubicBezTo>
                  <a:cubicBezTo>
                    <a:pt x="300" y="389"/>
                    <a:pt x="301" y="387"/>
                    <a:pt x="300" y="384"/>
                  </a:cubicBezTo>
                  <a:cubicBezTo>
                    <a:pt x="300" y="383"/>
                    <a:pt x="300" y="383"/>
                    <a:pt x="300" y="382"/>
                  </a:cubicBezTo>
                  <a:cubicBezTo>
                    <a:pt x="300" y="382"/>
                    <a:pt x="300" y="381"/>
                    <a:pt x="300" y="380"/>
                  </a:cubicBezTo>
                  <a:cubicBezTo>
                    <a:pt x="301" y="378"/>
                    <a:pt x="301" y="377"/>
                    <a:pt x="302" y="375"/>
                  </a:cubicBezTo>
                  <a:cubicBezTo>
                    <a:pt x="303" y="369"/>
                    <a:pt x="303" y="363"/>
                    <a:pt x="303" y="356"/>
                  </a:cubicBezTo>
                  <a:cubicBezTo>
                    <a:pt x="303" y="355"/>
                    <a:pt x="303" y="354"/>
                    <a:pt x="303" y="353"/>
                  </a:cubicBezTo>
                  <a:cubicBezTo>
                    <a:pt x="303" y="343"/>
                    <a:pt x="304" y="333"/>
                    <a:pt x="309" y="323"/>
                  </a:cubicBezTo>
                  <a:cubicBezTo>
                    <a:pt x="311" y="318"/>
                    <a:pt x="316" y="313"/>
                    <a:pt x="316" y="307"/>
                  </a:cubicBezTo>
                  <a:cubicBezTo>
                    <a:pt x="316" y="300"/>
                    <a:pt x="310" y="293"/>
                    <a:pt x="309" y="286"/>
                  </a:cubicBezTo>
                  <a:cubicBezTo>
                    <a:pt x="308" y="277"/>
                    <a:pt x="305" y="265"/>
                    <a:pt x="309" y="257"/>
                  </a:cubicBezTo>
                  <a:cubicBezTo>
                    <a:pt x="312" y="251"/>
                    <a:pt x="318" y="247"/>
                    <a:pt x="324" y="245"/>
                  </a:cubicBezTo>
                  <a:cubicBezTo>
                    <a:pt x="330" y="244"/>
                    <a:pt x="337" y="244"/>
                    <a:pt x="343" y="245"/>
                  </a:cubicBezTo>
                  <a:cubicBezTo>
                    <a:pt x="349" y="246"/>
                    <a:pt x="355" y="248"/>
                    <a:pt x="361" y="248"/>
                  </a:cubicBezTo>
                  <a:cubicBezTo>
                    <a:pt x="370" y="248"/>
                    <a:pt x="378" y="245"/>
                    <a:pt x="385" y="240"/>
                  </a:cubicBezTo>
                  <a:cubicBezTo>
                    <a:pt x="393" y="235"/>
                    <a:pt x="401" y="228"/>
                    <a:pt x="408" y="221"/>
                  </a:cubicBezTo>
                  <a:cubicBezTo>
                    <a:pt x="411" y="217"/>
                    <a:pt x="413" y="213"/>
                    <a:pt x="416" y="210"/>
                  </a:cubicBezTo>
                  <a:cubicBezTo>
                    <a:pt x="421" y="206"/>
                    <a:pt x="426" y="202"/>
                    <a:pt x="430" y="198"/>
                  </a:cubicBezTo>
                  <a:cubicBezTo>
                    <a:pt x="433" y="195"/>
                    <a:pt x="435" y="192"/>
                    <a:pt x="436" y="188"/>
                  </a:cubicBezTo>
                  <a:cubicBezTo>
                    <a:pt x="437" y="179"/>
                    <a:pt x="428" y="169"/>
                    <a:pt x="420" y="166"/>
                  </a:cubicBezTo>
                  <a:cubicBezTo>
                    <a:pt x="413" y="164"/>
                    <a:pt x="401" y="162"/>
                    <a:pt x="400" y="153"/>
                  </a:cubicBezTo>
                  <a:cubicBezTo>
                    <a:pt x="411" y="138"/>
                    <a:pt x="426" y="124"/>
                    <a:pt x="442" y="113"/>
                  </a:cubicBezTo>
                  <a:cubicBezTo>
                    <a:pt x="447" y="109"/>
                    <a:pt x="454" y="105"/>
                    <a:pt x="456" y="99"/>
                  </a:cubicBezTo>
                  <a:cubicBezTo>
                    <a:pt x="458" y="94"/>
                    <a:pt x="457" y="89"/>
                    <a:pt x="457" y="85"/>
                  </a:cubicBezTo>
                  <a:cubicBezTo>
                    <a:pt x="455" y="69"/>
                    <a:pt x="454" y="53"/>
                    <a:pt x="451" y="38"/>
                  </a:cubicBezTo>
                  <a:cubicBezTo>
                    <a:pt x="450" y="32"/>
                    <a:pt x="447" y="24"/>
                    <a:pt x="441" y="25"/>
                  </a:cubicBezTo>
                  <a:cubicBezTo>
                    <a:pt x="438" y="25"/>
                    <a:pt x="436" y="27"/>
                    <a:pt x="434" y="29"/>
                  </a:cubicBezTo>
                  <a:cubicBezTo>
                    <a:pt x="424" y="40"/>
                    <a:pt x="413" y="50"/>
                    <a:pt x="400" y="56"/>
                  </a:cubicBezTo>
                  <a:cubicBezTo>
                    <a:pt x="387" y="61"/>
                    <a:pt x="371" y="63"/>
                    <a:pt x="359" y="56"/>
                  </a:cubicBezTo>
                  <a:cubicBezTo>
                    <a:pt x="351" y="52"/>
                    <a:pt x="345" y="46"/>
                    <a:pt x="338" y="41"/>
                  </a:cubicBezTo>
                  <a:cubicBezTo>
                    <a:pt x="331" y="37"/>
                    <a:pt x="322" y="34"/>
                    <a:pt x="314" y="37"/>
                  </a:cubicBezTo>
                  <a:cubicBezTo>
                    <a:pt x="306" y="40"/>
                    <a:pt x="297" y="51"/>
                    <a:pt x="290" y="45"/>
                  </a:cubicBezTo>
                  <a:cubicBezTo>
                    <a:pt x="286" y="42"/>
                    <a:pt x="286" y="35"/>
                    <a:pt x="283" y="31"/>
                  </a:cubicBezTo>
                  <a:cubicBezTo>
                    <a:pt x="281" y="28"/>
                    <a:pt x="278" y="26"/>
                    <a:pt x="274" y="27"/>
                  </a:cubicBezTo>
                  <a:cubicBezTo>
                    <a:pt x="271" y="28"/>
                    <a:pt x="268" y="31"/>
                    <a:pt x="265" y="33"/>
                  </a:cubicBezTo>
                  <a:cubicBezTo>
                    <a:pt x="262" y="37"/>
                    <a:pt x="260" y="41"/>
                    <a:pt x="256" y="44"/>
                  </a:cubicBezTo>
                  <a:cubicBezTo>
                    <a:pt x="254" y="47"/>
                    <a:pt x="251" y="49"/>
                    <a:pt x="247" y="50"/>
                  </a:cubicBezTo>
                  <a:cubicBezTo>
                    <a:pt x="246" y="50"/>
                    <a:pt x="244" y="50"/>
                    <a:pt x="243" y="51"/>
                  </a:cubicBezTo>
                  <a:cubicBezTo>
                    <a:pt x="242" y="52"/>
                    <a:pt x="241" y="53"/>
                    <a:pt x="239" y="54"/>
                  </a:cubicBezTo>
                  <a:cubicBezTo>
                    <a:pt x="234" y="58"/>
                    <a:pt x="227" y="59"/>
                    <a:pt x="221" y="56"/>
                  </a:cubicBezTo>
                  <a:cubicBezTo>
                    <a:pt x="217" y="53"/>
                    <a:pt x="216" y="49"/>
                    <a:pt x="216" y="45"/>
                  </a:cubicBezTo>
                  <a:cubicBezTo>
                    <a:pt x="215" y="39"/>
                    <a:pt x="215" y="34"/>
                    <a:pt x="214" y="29"/>
                  </a:cubicBezTo>
                  <a:cubicBezTo>
                    <a:pt x="213" y="24"/>
                    <a:pt x="212" y="20"/>
                    <a:pt x="211" y="15"/>
                  </a:cubicBezTo>
                  <a:cubicBezTo>
                    <a:pt x="211" y="11"/>
                    <a:pt x="210" y="6"/>
                    <a:pt x="206" y="4"/>
                  </a:cubicBezTo>
                  <a:cubicBezTo>
                    <a:pt x="201" y="2"/>
                    <a:pt x="197" y="0"/>
                    <a:pt x="192" y="1"/>
                  </a:cubicBezTo>
                  <a:cubicBezTo>
                    <a:pt x="187" y="1"/>
                    <a:pt x="184" y="3"/>
                    <a:pt x="180" y="5"/>
                  </a:cubicBezTo>
                  <a:cubicBezTo>
                    <a:pt x="177" y="7"/>
                    <a:pt x="173" y="11"/>
                    <a:pt x="174" y="15"/>
                  </a:cubicBezTo>
                  <a:cubicBezTo>
                    <a:pt x="174" y="20"/>
                    <a:pt x="175" y="26"/>
                    <a:pt x="175" y="31"/>
                  </a:cubicBezTo>
                  <a:cubicBezTo>
                    <a:pt x="175" y="36"/>
                    <a:pt x="173" y="42"/>
                    <a:pt x="169" y="46"/>
                  </a:cubicBezTo>
                  <a:cubicBezTo>
                    <a:pt x="166" y="49"/>
                    <a:pt x="160" y="50"/>
                    <a:pt x="156" y="50"/>
                  </a:cubicBezTo>
                  <a:cubicBezTo>
                    <a:pt x="151" y="51"/>
                    <a:pt x="146" y="49"/>
                    <a:pt x="142" y="49"/>
                  </a:cubicBezTo>
                  <a:cubicBezTo>
                    <a:pt x="138" y="48"/>
                    <a:pt x="134" y="49"/>
                    <a:pt x="131" y="47"/>
                  </a:cubicBezTo>
                  <a:cubicBezTo>
                    <a:pt x="128" y="45"/>
                    <a:pt x="127" y="42"/>
                    <a:pt x="124" y="40"/>
                  </a:cubicBezTo>
                  <a:cubicBezTo>
                    <a:pt x="121" y="37"/>
                    <a:pt x="116" y="36"/>
                    <a:pt x="111" y="36"/>
                  </a:cubicBezTo>
                  <a:cubicBezTo>
                    <a:pt x="102" y="35"/>
                    <a:pt x="92" y="34"/>
                    <a:pt x="83" y="33"/>
                  </a:cubicBezTo>
                  <a:cubicBezTo>
                    <a:pt x="81" y="33"/>
                    <a:pt x="79" y="33"/>
                    <a:pt x="77" y="33"/>
                  </a:cubicBezTo>
                  <a:cubicBezTo>
                    <a:pt x="75" y="32"/>
                    <a:pt x="73" y="31"/>
                    <a:pt x="72" y="30"/>
                  </a:cubicBezTo>
                  <a:cubicBezTo>
                    <a:pt x="68" y="28"/>
                    <a:pt x="63" y="26"/>
                    <a:pt x="59" y="24"/>
                  </a:cubicBezTo>
                  <a:cubicBezTo>
                    <a:pt x="56" y="23"/>
                    <a:pt x="53" y="22"/>
                    <a:pt x="49" y="22"/>
                  </a:cubicBezTo>
                  <a:cubicBezTo>
                    <a:pt x="46" y="21"/>
                    <a:pt x="43" y="21"/>
                    <a:pt x="40" y="21"/>
                  </a:cubicBezTo>
                  <a:cubicBezTo>
                    <a:pt x="38" y="21"/>
                    <a:pt x="36" y="19"/>
                    <a:pt x="34" y="21"/>
                  </a:cubicBezTo>
                  <a:cubicBezTo>
                    <a:pt x="33" y="22"/>
                    <a:pt x="32" y="24"/>
                    <a:pt x="31" y="25"/>
                  </a:cubicBezTo>
                  <a:cubicBezTo>
                    <a:pt x="27" y="28"/>
                    <a:pt x="13" y="45"/>
                    <a:pt x="13" y="50"/>
                  </a:cubicBezTo>
                  <a:close/>
                </a:path>
              </a:pathLst>
            </a:custGeom>
            <a:solidFill>
              <a:schemeClr val="accent5"/>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7" name="Freeform 32">
              <a:extLst>
                <a:ext uri="{FF2B5EF4-FFF2-40B4-BE49-F238E27FC236}">
                  <a16:creationId xmlns:a16="http://schemas.microsoft.com/office/drawing/2014/main" id="{76FA2331-D362-8FA1-EEC7-903799EB59D8}"/>
                </a:ext>
              </a:extLst>
            </p:cNvPr>
            <p:cNvSpPr>
              <a:spLocks/>
            </p:cNvSpPr>
            <p:nvPr/>
          </p:nvSpPr>
          <p:spPr bwMode="gray">
            <a:xfrm>
              <a:off x="1457458" y="4478680"/>
              <a:ext cx="635679" cy="841955"/>
            </a:xfrm>
            <a:custGeom>
              <a:avLst/>
              <a:gdLst>
                <a:gd name="T0" fmla="*/ 135 w 405"/>
                <a:gd name="T1" fmla="*/ 130 h 594"/>
                <a:gd name="T2" fmla="*/ 142 w 405"/>
                <a:gd name="T3" fmla="*/ 78 h 594"/>
                <a:gd name="T4" fmla="*/ 181 w 405"/>
                <a:gd name="T5" fmla="*/ 67 h 594"/>
                <a:gd name="T6" fmla="*/ 195 w 405"/>
                <a:gd name="T7" fmla="*/ 15 h 594"/>
                <a:gd name="T8" fmla="*/ 244 w 405"/>
                <a:gd name="T9" fmla="*/ 16 h 594"/>
                <a:gd name="T10" fmla="*/ 266 w 405"/>
                <a:gd name="T11" fmla="*/ 8 h 594"/>
                <a:gd name="T12" fmla="*/ 277 w 405"/>
                <a:gd name="T13" fmla="*/ 0 h 594"/>
                <a:gd name="T14" fmla="*/ 286 w 405"/>
                <a:gd name="T15" fmla="*/ 14 h 594"/>
                <a:gd name="T16" fmla="*/ 278 w 405"/>
                <a:gd name="T17" fmla="*/ 36 h 594"/>
                <a:gd name="T18" fmla="*/ 278 w 405"/>
                <a:gd name="T19" fmla="*/ 54 h 594"/>
                <a:gd name="T20" fmla="*/ 269 w 405"/>
                <a:gd name="T21" fmla="*/ 93 h 594"/>
                <a:gd name="T22" fmla="*/ 277 w 405"/>
                <a:gd name="T23" fmla="*/ 138 h 594"/>
                <a:gd name="T24" fmla="*/ 301 w 405"/>
                <a:gd name="T25" fmla="*/ 187 h 594"/>
                <a:gd name="T26" fmla="*/ 305 w 405"/>
                <a:gd name="T27" fmla="*/ 230 h 594"/>
                <a:gd name="T28" fmla="*/ 295 w 405"/>
                <a:gd name="T29" fmla="*/ 304 h 594"/>
                <a:gd name="T30" fmla="*/ 368 w 405"/>
                <a:gd name="T31" fmla="*/ 362 h 594"/>
                <a:gd name="T32" fmla="*/ 403 w 405"/>
                <a:gd name="T33" fmla="*/ 378 h 594"/>
                <a:gd name="T34" fmla="*/ 393 w 405"/>
                <a:gd name="T35" fmla="*/ 431 h 594"/>
                <a:gd name="T36" fmla="*/ 385 w 405"/>
                <a:gd name="T37" fmla="*/ 440 h 594"/>
                <a:gd name="T38" fmla="*/ 366 w 405"/>
                <a:gd name="T39" fmla="*/ 440 h 594"/>
                <a:gd name="T40" fmla="*/ 300 w 405"/>
                <a:gd name="T41" fmla="*/ 449 h 594"/>
                <a:gd name="T42" fmla="*/ 274 w 405"/>
                <a:gd name="T43" fmla="*/ 453 h 594"/>
                <a:gd name="T44" fmla="*/ 263 w 405"/>
                <a:gd name="T45" fmla="*/ 450 h 594"/>
                <a:gd name="T46" fmla="*/ 257 w 405"/>
                <a:gd name="T47" fmla="*/ 463 h 594"/>
                <a:gd name="T48" fmla="*/ 257 w 405"/>
                <a:gd name="T49" fmla="*/ 484 h 594"/>
                <a:gd name="T50" fmla="*/ 261 w 405"/>
                <a:gd name="T51" fmla="*/ 500 h 594"/>
                <a:gd name="T52" fmla="*/ 260 w 405"/>
                <a:gd name="T53" fmla="*/ 514 h 594"/>
                <a:gd name="T54" fmla="*/ 260 w 405"/>
                <a:gd name="T55" fmla="*/ 522 h 594"/>
                <a:gd name="T56" fmla="*/ 256 w 405"/>
                <a:gd name="T57" fmla="*/ 536 h 594"/>
                <a:gd name="T58" fmla="*/ 237 w 405"/>
                <a:gd name="T59" fmla="*/ 544 h 594"/>
                <a:gd name="T60" fmla="*/ 217 w 405"/>
                <a:gd name="T61" fmla="*/ 552 h 594"/>
                <a:gd name="T62" fmla="*/ 206 w 405"/>
                <a:gd name="T63" fmla="*/ 562 h 594"/>
                <a:gd name="T64" fmla="*/ 201 w 405"/>
                <a:gd name="T65" fmla="*/ 578 h 594"/>
                <a:gd name="T66" fmla="*/ 186 w 405"/>
                <a:gd name="T67" fmla="*/ 593 h 594"/>
                <a:gd name="T68" fmla="*/ 175 w 405"/>
                <a:gd name="T69" fmla="*/ 581 h 594"/>
                <a:gd name="T70" fmla="*/ 166 w 405"/>
                <a:gd name="T71" fmla="*/ 564 h 594"/>
                <a:gd name="T72" fmla="*/ 159 w 405"/>
                <a:gd name="T73" fmla="*/ 557 h 594"/>
                <a:gd name="T74" fmla="*/ 152 w 405"/>
                <a:gd name="T75" fmla="*/ 546 h 594"/>
                <a:gd name="T76" fmla="*/ 145 w 405"/>
                <a:gd name="T77" fmla="*/ 540 h 594"/>
                <a:gd name="T78" fmla="*/ 156 w 405"/>
                <a:gd name="T79" fmla="*/ 517 h 594"/>
                <a:gd name="T80" fmla="*/ 153 w 405"/>
                <a:gd name="T81" fmla="*/ 512 h 594"/>
                <a:gd name="T82" fmla="*/ 139 w 405"/>
                <a:gd name="T83" fmla="*/ 518 h 594"/>
                <a:gd name="T84" fmla="*/ 120 w 405"/>
                <a:gd name="T85" fmla="*/ 478 h 594"/>
                <a:gd name="T86" fmla="*/ 108 w 405"/>
                <a:gd name="T87" fmla="*/ 460 h 594"/>
                <a:gd name="T88" fmla="*/ 58 w 405"/>
                <a:gd name="T89" fmla="*/ 444 h 594"/>
                <a:gd name="T90" fmla="*/ 54 w 405"/>
                <a:gd name="T91" fmla="*/ 421 h 594"/>
                <a:gd name="T92" fmla="*/ 43 w 405"/>
                <a:gd name="T93" fmla="*/ 345 h 594"/>
                <a:gd name="T94" fmla="*/ 49 w 405"/>
                <a:gd name="T95" fmla="*/ 337 h 594"/>
                <a:gd name="T96" fmla="*/ 52 w 405"/>
                <a:gd name="T97" fmla="*/ 332 h 594"/>
                <a:gd name="T98" fmla="*/ 61 w 405"/>
                <a:gd name="T99" fmla="*/ 320 h 594"/>
                <a:gd name="T100" fmla="*/ 65 w 405"/>
                <a:gd name="T101" fmla="*/ 305 h 594"/>
                <a:gd name="T102" fmla="*/ 14 w 405"/>
                <a:gd name="T103" fmla="*/ 270 h 594"/>
                <a:gd name="T104" fmla="*/ 2 w 405"/>
                <a:gd name="T105" fmla="*/ 241 h 594"/>
                <a:gd name="T106" fmla="*/ 15 w 405"/>
                <a:gd name="T107" fmla="*/ 225 h 594"/>
                <a:gd name="T108" fmla="*/ 28 w 405"/>
                <a:gd name="T109" fmla="*/ 206 h 594"/>
                <a:gd name="T110" fmla="*/ 54 w 405"/>
                <a:gd name="T111" fmla="*/ 14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5" h="594">
                  <a:moveTo>
                    <a:pt x="119" y="145"/>
                  </a:moveTo>
                  <a:cubicBezTo>
                    <a:pt x="126" y="144"/>
                    <a:pt x="134" y="138"/>
                    <a:pt x="135" y="130"/>
                  </a:cubicBezTo>
                  <a:cubicBezTo>
                    <a:pt x="136" y="120"/>
                    <a:pt x="128" y="112"/>
                    <a:pt x="129" y="101"/>
                  </a:cubicBezTo>
                  <a:cubicBezTo>
                    <a:pt x="130" y="92"/>
                    <a:pt x="134" y="83"/>
                    <a:pt x="142" y="78"/>
                  </a:cubicBezTo>
                  <a:cubicBezTo>
                    <a:pt x="148" y="75"/>
                    <a:pt x="154" y="75"/>
                    <a:pt x="161" y="74"/>
                  </a:cubicBezTo>
                  <a:cubicBezTo>
                    <a:pt x="168" y="73"/>
                    <a:pt x="175" y="70"/>
                    <a:pt x="181" y="67"/>
                  </a:cubicBezTo>
                  <a:cubicBezTo>
                    <a:pt x="186" y="64"/>
                    <a:pt x="195" y="59"/>
                    <a:pt x="197" y="53"/>
                  </a:cubicBezTo>
                  <a:cubicBezTo>
                    <a:pt x="200" y="41"/>
                    <a:pt x="186" y="27"/>
                    <a:pt x="195" y="15"/>
                  </a:cubicBezTo>
                  <a:cubicBezTo>
                    <a:pt x="200" y="8"/>
                    <a:pt x="210" y="7"/>
                    <a:pt x="219" y="10"/>
                  </a:cubicBezTo>
                  <a:cubicBezTo>
                    <a:pt x="227" y="12"/>
                    <a:pt x="235" y="16"/>
                    <a:pt x="244" y="16"/>
                  </a:cubicBezTo>
                  <a:cubicBezTo>
                    <a:pt x="248" y="16"/>
                    <a:pt x="253" y="16"/>
                    <a:pt x="256" y="14"/>
                  </a:cubicBezTo>
                  <a:cubicBezTo>
                    <a:pt x="259" y="12"/>
                    <a:pt x="262" y="10"/>
                    <a:pt x="266" y="8"/>
                  </a:cubicBezTo>
                  <a:cubicBezTo>
                    <a:pt x="268" y="6"/>
                    <a:pt x="271" y="5"/>
                    <a:pt x="273" y="2"/>
                  </a:cubicBezTo>
                  <a:cubicBezTo>
                    <a:pt x="274" y="1"/>
                    <a:pt x="275" y="0"/>
                    <a:pt x="277" y="0"/>
                  </a:cubicBezTo>
                  <a:cubicBezTo>
                    <a:pt x="277" y="0"/>
                    <a:pt x="278" y="1"/>
                    <a:pt x="278" y="1"/>
                  </a:cubicBezTo>
                  <a:cubicBezTo>
                    <a:pt x="281" y="5"/>
                    <a:pt x="284" y="9"/>
                    <a:pt x="286" y="14"/>
                  </a:cubicBezTo>
                  <a:cubicBezTo>
                    <a:pt x="288" y="17"/>
                    <a:pt x="290" y="24"/>
                    <a:pt x="289" y="28"/>
                  </a:cubicBezTo>
                  <a:cubicBezTo>
                    <a:pt x="287" y="32"/>
                    <a:pt x="281" y="34"/>
                    <a:pt x="278" y="36"/>
                  </a:cubicBezTo>
                  <a:cubicBezTo>
                    <a:pt x="273" y="39"/>
                    <a:pt x="269" y="44"/>
                    <a:pt x="271" y="48"/>
                  </a:cubicBezTo>
                  <a:cubicBezTo>
                    <a:pt x="273" y="51"/>
                    <a:pt x="275" y="52"/>
                    <a:pt x="278" y="54"/>
                  </a:cubicBezTo>
                  <a:cubicBezTo>
                    <a:pt x="288" y="61"/>
                    <a:pt x="288" y="79"/>
                    <a:pt x="278" y="86"/>
                  </a:cubicBezTo>
                  <a:cubicBezTo>
                    <a:pt x="275" y="88"/>
                    <a:pt x="271" y="90"/>
                    <a:pt x="269" y="93"/>
                  </a:cubicBezTo>
                  <a:cubicBezTo>
                    <a:pt x="267" y="96"/>
                    <a:pt x="266" y="100"/>
                    <a:pt x="266" y="104"/>
                  </a:cubicBezTo>
                  <a:cubicBezTo>
                    <a:pt x="267" y="117"/>
                    <a:pt x="268" y="130"/>
                    <a:pt x="277" y="138"/>
                  </a:cubicBezTo>
                  <a:cubicBezTo>
                    <a:pt x="281" y="142"/>
                    <a:pt x="287" y="144"/>
                    <a:pt x="292" y="147"/>
                  </a:cubicBezTo>
                  <a:cubicBezTo>
                    <a:pt x="304" y="155"/>
                    <a:pt x="309" y="174"/>
                    <a:pt x="301" y="187"/>
                  </a:cubicBezTo>
                  <a:cubicBezTo>
                    <a:pt x="298" y="193"/>
                    <a:pt x="293" y="198"/>
                    <a:pt x="292" y="205"/>
                  </a:cubicBezTo>
                  <a:cubicBezTo>
                    <a:pt x="291" y="214"/>
                    <a:pt x="299" y="222"/>
                    <a:pt x="305" y="230"/>
                  </a:cubicBezTo>
                  <a:cubicBezTo>
                    <a:pt x="317" y="246"/>
                    <a:pt x="317" y="269"/>
                    <a:pt x="306" y="286"/>
                  </a:cubicBezTo>
                  <a:cubicBezTo>
                    <a:pt x="303" y="292"/>
                    <a:pt x="297" y="297"/>
                    <a:pt x="295" y="304"/>
                  </a:cubicBezTo>
                  <a:cubicBezTo>
                    <a:pt x="292" y="315"/>
                    <a:pt x="298" y="328"/>
                    <a:pt x="306" y="337"/>
                  </a:cubicBezTo>
                  <a:cubicBezTo>
                    <a:pt x="322" y="353"/>
                    <a:pt x="345" y="363"/>
                    <a:pt x="368" y="362"/>
                  </a:cubicBezTo>
                  <a:cubicBezTo>
                    <a:pt x="379" y="361"/>
                    <a:pt x="393" y="359"/>
                    <a:pt x="399" y="368"/>
                  </a:cubicBezTo>
                  <a:cubicBezTo>
                    <a:pt x="402" y="371"/>
                    <a:pt x="403" y="375"/>
                    <a:pt x="403" y="378"/>
                  </a:cubicBezTo>
                  <a:cubicBezTo>
                    <a:pt x="405" y="387"/>
                    <a:pt x="404" y="396"/>
                    <a:pt x="402" y="405"/>
                  </a:cubicBezTo>
                  <a:cubicBezTo>
                    <a:pt x="400" y="414"/>
                    <a:pt x="395" y="422"/>
                    <a:pt x="393" y="431"/>
                  </a:cubicBezTo>
                  <a:cubicBezTo>
                    <a:pt x="392" y="432"/>
                    <a:pt x="392" y="433"/>
                    <a:pt x="391" y="434"/>
                  </a:cubicBezTo>
                  <a:cubicBezTo>
                    <a:pt x="390" y="437"/>
                    <a:pt x="388" y="439"/>
                    <a:pt x="385" y="440"/>
                  </a:cubicBezTo>
                  <a:cubicBezTo>
                    <a:pt x="382" y="441"/>
                    <a:pt x="380" y="441"/>
                    <a:pt x="377" y="441"/>
                  </a:cubicBezTo>
                  <a:cubicBezTo>
                    <a:pt x="373" y="441"/>
                    <a:pt x="370" y="441"/>
                    <a:pt x="366" y="440"/>
                  </a:cubicBezTo>
                  <a:cubicBezTo>
                    <a:pt x="362" y="439"/>
                    <a:pt x="359" y="437"/>
                    <a:pt x="356" y="436"/>
                  </a:cubicBezTo>
                  <a:cubicBezTo>
                    <a:pt x="336" y="430"/>
                    <a:pt x="314" y="435"/>
                    <a:pt x="300" y="449"/>
                  </a:cubicBezTo>
                  <a:cubicBezTo>
                    <a:pt x="297" y="451"/>
                    <a:pt x="294" y="455"/>
                    <a:pt x="290" y="456"/>
                  </a:cubicBezTo>
                  <a:cubicBezTo>
                    <a:pt x="285" y="457"/>
                    <a:pt x="279" y="455"/>
                    <a:pt x="274" y="453"/>
                  </a:cubicBezTo>
                  <a:cubicBezTo>
                    <a:pt x="272" y="452"/>
                    <a:pt x="269" y="451"/>
                    <a:pt x="267" y="450"/>
                  </a:cubicBezTo>
                  <a:cubicBezTo>
                    <a:pt x="265" y="450"/>
                    <a:pt x="264" y="450"/>
                    <a:pt x="263" y="450"/>
                  </a:cubicBezTo>
                  <a:cubicBezTo>
                    <a:pt x="262" y="450"/>
                    <a:pt x="259" y="451"/>
                    <a:pt x="259" y="451"/>
                  </a:cubicBezTo>
                  <a:cubicBezTo>
                    <a:pt x="258" y="455"/>
                    <a:pt x="257" y="459"/>
                    <a:pt x="257" y="463"/>
                  </a:cubicBezTo>
                  <a:cubicBezTo>
                    <a:pt x="256" y="467"/>
                    <a:pt x="256" y="471"/>
                    <a:pt x="256" y="475"/>
                  </a:cubicBezTo>
                  <a:cubicBezTo>
                    <a:pt x="256" y="478"/>
                    <a:pt x="257" y="481"/>
                    <a:pt x="257" y="484"/>
                  </a:cubicBezTo>
                  <a:cubicBezTo>
                    <a:pt x="258" y="487"/>
                    <a:pt x="258" y="491"/>
                    <a:pt x="259" y="495"/>
                  </a:cubicBezTo>
                  <a:cubicBezTo>
                    <a:pt x="260" y="496"/>
                    <a:pt x="260" y="498"/>
                    <a:pt x="261" y="500"/>
                  </a:cubicBezTo>
                  <a:cubicBezTo>
                    <a:pt x="261" y="503"/>
                    <a:pt x="261" y="506"/>
                    <a:pt x="261" y="510"/>
                  </a:cubicBezTo>
                  <a:cubicBezTo>
                    <a:pt x="260" y="511"/>
                    <a:pt x="260" y="513"/>
                    <a:pt x="260" y="514"/>
                  </a:cubicBezTo>
                  <a:cubicBezTo>
                    <a:pt x="260" y="515"/>
                    <a:pt x="259" y="517"/>
                    <a:pt x="259" y="519"/>
                  </a:cubicBezTo>
                  <a:cubicBezTo>
                    <a:pt x="259" y="520"/>
                    <a:pt x="260" y="521"/>
                    <a:pt x="260" y="522"/>
                  </a:cubicBezTo>
                  <a:cubicBezTo>
                    <a:pt x="261" y="524"/>
                    <a:pt x="261" y="525"/>
                    <a:pt x="261" y="526"/>
                  </a:cubicBezTo>
                  <a:cubicBezTo>
                    <a:pt x="260" y="530"/>
                    <a:pt x="258" y="533"/>
                    <a:pt x="256" y="536"/>
                  </a:cubicBezTo>
                  <a:cubicBezTo>
                    <a:pt x="255" y="539"/>
                    <a:pt x="253" y="541"/>
                    <a:pt x="251" y="542"/>
                  </a:cubicBezTo>
                  <a:cubicBezTo>
                    <a:pt x="246" y="544"/>
                    <a:pt x="241" y="543"/>
                    <a:pt x="237" y="544"/>
                  </a:cubicBezTo>
                  <a:cubicBezTo>
                    <a:pt x="233" y="544"/>
                    <a:pt x="229" y="545"/>
                    <a:pt x="226" y="547"/>
                  </a:cubicBezTo>
                  <a:cubicBezTo>
                    <a:pt x="223" y="549"/>
                    <a:pt x="220" y="551"/>
                    <a:pt x="217" y="552"/>
                  </a:cubicBezTo>
                  <a:cubicBezTo>
                    <a:pt x="214" y="553"/>
                    <a:pt x="211" y="552"/>
                    <a:pt x="210" y="555"/>
                  </a:cubicBezTo>
                  <a:cubicBezTo>
                    <a:pt x="208" y="557"/>
                    <a:pt x="207" y="560"/>
                    <a:pt x="206" y="562"/>
                  </a:cubicBezTo>
                  <a:cubicBezTo>
                    <a:pt x="204" y="566"/>
                    <a:pt x="203" y="569"/>
                    <a:pt x="202" y="573"/>
                  </a:cubicBezTo>
                  <a:cubicBezTo>
                    <a:pt x="202" y="575"/>
                    <a:pt x="201" y="576"/>
                    <a:pt x="201" y="578"/>
                  </a:cubicBezTo>
                  <a:cubicBezTo>
                    <a:pt x="200" y="582"/>
                    <a:pt x="199" y="586"/>
                    <a:pt x="196" y="589"/>
                  </a:cubicBezTo>
                  <a:cubicBezTo>
                    <a:pt x="194" y="592"/>
                    <a:pt x="190" y="594"/>
                    <a:pt x="186" y="593"/>
                  </a:cubicBezTo>
                  <a:cubicBezTo>
                    <a:pt x="182" y="592"/>
                    <a:pt x="178" y="590"/>
                    <a:pt x="177" y="586"/>
                  </a:cubicBezTo>
                  <a:cubicBezTo>
                    <a:pt x="176" y="585"/>
                    <a:pt x="176" y="583"/>
                    <a:pt x="175" y="581"/>
                  </a:cubicBezTo>
                  <a:cubicBezTo>
                    <a:pt x="174" y="576"/>
                    <a:pt x="171" y="571"/>
                    <a:pt x="168" y="566"/>
                  </a:cubicBezTo>
                  <a:cubicBezTo>
                    <a:pt x="167" y="565"/>
                    <a:pt x="166" y="565"/>
                    <a:pt x="166" y="564"/>
                  </a:cubicBezTo>
                  <a:cubicBezTo>
                    <a:pt x="165" y="563"/>
                    <a:pt x="164" y="562"/>
                    <a:pt x="163" y="561"/>
                  </a:cubicBezTo>
                  <a:cubicBezTo>
                    <a:pt x="162" y="560"/>
                    <a:pt x="160" y="558"/>
                    <a:pt x="159" y="557"/>
                  </a:cubicBezTo>
                  <a:cubicBezTo>
                    <a:pt x="158" y="555"/>
                    <a:pt x="157" y="553"/>
                    <a:pt x="155" y="551"/>
                  </a:cubicBezTo>
                  <a:cubicBezTo>
                    <a:pt x="154" y="550"/>
                    <a:pt x="153" y="548"/>
                    <a:pt x="152" y="546"/>
                  </a:cubicBezTo>
                  <a:cubicBezTo>
                    <a:pt x="151" y="545"/>
                    <a:pt x="151" y="542"/>
                    <a:pt x="149" y="541"/>
                  </a:cubicBezTo>
                  <a:cubicBezTo>
                    <a:pt x="148" y="541"/>
                    <a:pt x="146" y="541"/>
                    <a:pt x="145" y="540"/>
                  </a:cubicBezTo>
                  <a:cubicBezTo>
                    <a:pt x="143" y="538"/>
                    <a:pt x="144" y="535"/>
                    <a:pt x="145" y="533"/>
                  </a:cubicBezTo>
                  <a:cubicBezTo>
                    <a:pt x="148" y="527"/>
                    <a:pt x="154" y="523"/>
                    <a:pt x="156" y="517"/>
                  </a:cubicBezTo>
                  <a:cubicBezTo>
                    <a:pt x="157" y="516"/>
                    <a:pt x="157" y="515"/>
                    <a:pt x="156" y="514"/>
                  </a:cubicBezTo>
                  <a:cubicBezTo>
                    <a:pt x="156" y="513"/>
                    <a:pt x="155" y="512"/>
                    <a:pt x="153" y="512"/>
                  </a:cubicBezTo>
                  <a:cubicBezTo>
                    <a:pt x="151" y="512"/>
                    <a:pt x="147" y="511"/>
                    <a:pt x="144" y="513"/>
                  </a:cubicBezTo>
                  <a:cubicBezTo>
                    <a:pt x="142" y="514"/>
                    <a:pt x="140" y="516"/>
                    <a:pt x="139" y="518"/>
                  </a:cubicBezTo>
                  <a:cubicBezTo>
                    <a:pt x="135" y="522"/>
                    <a:pt x="130" y="525"/>
                    <a:pt x="125" y="525"/>
                  </a:cubicBezTo>
                  <a:cubicBezTo>
                    <a:pt x="123" y="510"/>
                    <a:pt x="122" y="494"/>
                    <a:pt x="120" y="478"/>
                  </a:cubicBezTo>
                  <a:cubicBezTo>
                    <a:pt x="120" y="474"/>
                    <a:pt x="119" y="470"/>
                    <a:pt x="117" y="467"/>
                  </a:cubicBezTo>
                  <a:cubicBezTo>
                    <a:pt x="115" y="463"/>
                    <a:pt x="112" y="461"/>
                    <a:pt x="108" y="460"/>
                  </a:cubicBezTo>
                  <a:cubicBezTo>
                    <a:pt x="96" y="454"/>
                    <a:pt x="82" y="453"/>
                    <a:pt x="69" y="449"/>
                  </a:cubicBezTo>
                  <a:cubicBezTo>
                    <a:pt x="65" y="448"/>
                    <a:pt x="61" y="447"/>
                    <a:pt x="58" y="444"/>
                  </a:cubicBezTo>
                  <a:cubicBezTo>
                    <a:pt x="55" y="441"/>
                    <a:pt x="55" y="438"/>
                    <a:pt x="55" y="433"/>
                  </a:cubicBezTo>
                  <a:cubicBezTo>
                    <a:pt x="56" y="430"/>
                    <a:pt x="55" y="425"/>
                    <a:pt x="54" y="421"/>
                  </a:cubicBezTo>
                  <a:cubicBezTo>
                    <a:pt x="51" y="409"/>
                    <a:pt x="38" y="403"/>
                    <a:pt x="32" y="392"/>
                  </a:cubicBezTo>
                  <a:cubicBezTo>
                    <a:pt x="24" y="377"/>
                    <a:pt x="32" y="358"/>
                    <a:pt x="43" y="345"/>
                  </a:cubicBezTo>
                  <a:cubicBezTo>
                    <a:pt x="44" y="343"/>
                    <a:pt x="46" y="340"/>
                    <a:pt x="48" y="338"/>
                  </a:cubicBezTo>
                  <a:cubicBezTo>
                    <a:pt x="49" y="338"/>
                    <a:pt x="49" y="337"/>
                    <a:pt x="49" y="337"/>
                  </a:cubicBezTo>
                  <a:cubicBezTo>
                    <a:pt x="50" y="336"/>
                    <a:pt x="50" y="336"/>
                    <a:pt x="50" y="335"/>
                  </a:cubicBezTo>
                  <a:cubicBezTo>
                    <a:pt x="50" y="334"/>
                    <a:pt x="51" y="333"/>
                    <a:pt x="52" y="332"/>
                  </a:cubicBezTo>
                  <a:cubicBezTo>
                    <a:pt x="53" y="330"/>
                    <a:pt x="54" y="328"/>
                    <a:pt x="56" y="325"/>
                  </a:cubicBezTo>
                  <a:cubicBezTo>
                    <a:pt x="57" y="323"/>
                    <a:pt x="59" y="322"/>
                    <a:pt x="61" y="320"/>
                  </a:cubicBezTo>
                  <a:cubicBezTo>
                    <a:pt x="62" y="319"/>
                    <a:pt x="63" y="315"/>
                    <a:pt x="64" y="313"/>
                  </a:cubicBezTo>
                  <a:cubicBezTo>
                    <a:pt x="64" y="310"/>
                    <a:pt x="65" y="307"/>
                    <a:pt x="65" y="305"/>
                  </a:cubicBezTo>
                  <a:cubicBezTo>
                    <a:pt x="65" y="299"/>
                    <a:pt x="64" y="294"/>
                    <a:pt x="61" y="290"/>
                  </a:cubicBezTo>
                  <a:cubicBezTo>
                    <a:pt x="50" y="275"/>
                    <a:pt x="28" y="277"/>
                    <a:pt x="14" y="270"/>
                  </a:cubicBezTo>
                  <a:cubicBezTo>
                    <a:pt x="8" y="267"/>
                    <a:pt x="3" y="262"/>
                    <a:pt x="1" y="256"/>
                  </a:cubicBezTo>
                  <a:cubicBezTo>
                    <a:pt x="0" y="251"/>
                    <a:pt x="0" y="246"/>
                    <a:pt x="2" y="241"/>
                  </a:cubicBezTo>
                  <a:cubicBezTo>
                    <a:pt x="4" y="237"/>
                    <a:pt x="7" y="233"/>
                    <a:pt x="11" y="230"/>
                  </a:cubicBezTo>
                  <a:cubicBezTo>
                    <a:pt x="12" y="228"/>
                    <a:pt x="14" y="227"/>
                    <a:pt x="15" y="225"/>
                  </a:cubicBezTo>
                  <a:cubicBezTo>
                    <a:pt x="16" y="224"/>
                    <a:pt x="17" y="222"/>
                    <a:pt x="18" y="220"/>
                  </a:cubicBezTo>
                  <a:cubicBezTo>
                    <a:pt x="20" y="214"/>
                    <a:pt x="25" y="210"/>
                    <a:pt x="28" y="206"/>
                  </a:cubicBezTo>
                  <a:cubicBezTo>
                    <a:pt x="32" y="200"/>
                    <a:pt x="31" y="193"/>
                    <a:pt x="32" y="186"/>
                  </a:cubicBezTo>
                  <a:cubicBezTo>
                    <a:pt x="34" y="171"/>
                    <a:pt x="41" y="156"/>
                    <a:pt x="54" y="147"/>
                  </a:cubicBezTo>
                  <a:cubicBezTo>
                    <a:pt x="78" y="129"/>
                    <a:pt x="95" y="150"/>
                    <a:pt x="119" y="145"/>
                  </a:cubicBezTo>
                  <a:close/>
                </a:path>
              </a:pathLst>
            </a:custGeom>
            <a:solidFill>
              <a:schemeClr val="accent5"/>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8" name="Freeform 33">
              <a:extLst>
                <a:ext uri="{FF2B5EF4-FFF2-40B4-BE49-F238E27FC236}">
                  <a16:creationId xmlns:a16="http://schemas.microsoft.com/office/drawing/2014/main" id="{81F6AE21-34DE-09D1-BC15-0964243715D6}"/>
                </a:ext>
              </a:extLst>
            </p:cNvPr>
            <p:cNvSpPr>
              <a:spLocks/>
            </p:cNvSpPr>
            <p:nvPr/>
          </p:nvSpPr>
          <p:spPr bwMode="gray">
            <a:xfrm>
              <a:off x="1652904" y="5026670"/>
              <a:ext cx="681469" cy="700199"/>
            </a:xfrm>
            <a:custGeom>
              <a:avLst/>
              <a:gdLst>
                <a:gd name="T0" fmla="*/ 136 w 468"/>
                <a:gd name="T1" fmla="*/ 63 h 479"/>
                <a:gd name="T2" fmla="*/ 137 w 468"/>
                <a:gd name="T3" fmla="*/ 44 h 479"/>
                <a:gd name="T4" fmla="*/ 147 w 468"/>
                <a:gd name="T5" fmla="*/ 36 h 479"/>
                <a:gd name="T6" fmla="*/ 164 w 468"/>
                <a:gd name="T7" fmla="*/ 38 h 479"/>
                <a:gd name="T8" fmla="*/ 189 w 468"/>
                <a:gd name="T9" fmla="*/ 26 h 479"/>
                <a:gd name="T10" fmla="*/ 195 w 468"/>
                <a:gd name="T11" fmla="*/ 21 h 479"/>
                <a:gd name="T12" fmla="*/ 228 w 468"/>
                <a:gd name="T13" fmla="*/ 16 h 479"/>
                <a:gd name="T14" fmla="*/ 274 w 468"/>
                <a:gd name="T15" fmla="*/ 19 h 479"/>
                <a:gd name="T16" fmla="*/ 278 w 468"/>
                <a:gd name="T17" fmla="*/ 11 h 479"/>
                <a:gd name="T18" fmla="*/ 278 w 468"/>
                <a:gd name="T19" fmla="*/ 5 h 479"/>
                <a:gd name="T20" fmla="*/ 281 w 468"/>
                <a:gd name="T21" fmla="*/ 0 h 479"/>
                <a:gd name="T22" fmla="*/ 286 w 468"/>
                <a:gd name="T23" fmla="*/ 3 h 479"/>
                <a:gd name="T24" fmla="*/ 297 w 468"/>
                <a:gd name="T25" fmla="*/ 5 h 479"/>
                <a:gd name="T26" fmla="*/ 310 w 468"/>
                <a:gd name="T27" fmla="*/ 37 h 479"/>
                <a:gd name="T28" fmla="*/ 308 w 468"/>
                <a:gd name="T29" fmla="*/ 66 h 479"/>
                <a:gd name="T30" fmla="*/ 329 w 468"/>
                <a:gd name="T31" fmla="*/ 90 h 479"/>
                <a:gd name="T32" fmla="*/ 372 w 468"/>
                <a:gd name="T33" fmla="*/ 113 h 479"/>
                <a:gd name="T34" fmla="*/ 419 w 468"/>
                <a:gd name="T35" fmla="*/ 148 h 479"/>
                <a:gd name="T36" fmla="*/ 441 w 468"/>
                <a:gd name="T37" fmla="*/ 151 h 479"/>
                <a:gd name="T38" fmla="*/ 453 w 468"/>
                <a:gd name="T39" fmla="*/ 162 h 479"/>
                <a:gd name="T40" fmla="*/ 444 w 468"/>
                <a:gd name="T41" fmla="*/ 193 h 479"/>
                <a:gd name="T42" fmla="*/ 448 w 468"/>
                <a:gd name="T43" fmla="*/ 209 h 479"/>
                <a:gd name="T44" fmla="*/ 438 w 468"/>
                <a:gd name="T45" fmla="*/ 224 h 479"/>
                <a:gd name="T46" fmla="*/ 422 w 468"/>
                <a:gd name="T47" fmla="*/ 251 h 479"/>
                <a:gd name="T48" fmla="*/ 422 w 468"/>
                <a:gd name="T49" fmla="*/ 279 h 479"/>
                <a:gd name="T50" fmla="*/ 428 w 468"/>
                <a:gd name="T51" fmla="*/ 309 h 479"/>
                <a:gd name="T52" fmla="*/ 463 w 468"/>
                <a:gd name="T53" fmla="*/ 323 h 479"/>
                <a:gd name="T54" fmla="*/ 467 w 468"/>
                <a:gd name="T55" fmla="*/ 340 h 479"/>
                <a:gd name="T56" fmla="*/ 453 w 468"/>
                <a:gd name="T57" fmla="*/ 356 h 479"/>
                <a:gd name="T58" fmla="*/ 447 w 468"/>
                <a:gd name="T59" fmla="*/ 371 h 479"/>
                <a:gd name="T60" fmla="*/ 432 w 468"/>
                <a:gd name="T61" fmla="*/ 375 h 479"/>
                <a:gd name="T62" fmla="*/ 422 w 468"/>
                <a:gd name="T63" fmla="*/ 371 h 479"/>
                <a:gd name="T64" fmla="*/ 419 w 468"/>
                <a:gd name="T65" fmla="*/ 387 h 479"/>
                <a:gd name="T66" fmla="*/ 396 w 468"/>
                <a:gd name="T67" fmla="*/ 390 h 479"/>
                <a:gd name="T68" fmla="*/ 358 w 468"/>
                <a:gd name="T69" fmla="*/ 395 h 479"/>
                <a:gd name="T70" fmla="*/ 346 w 468"/>
                <a:gd name="T71" fmla="*/ 393 h 479"/>
                <a:gd name="T72" fmla="*/ 296 w 468"/>
                <a:gd name="T73" fmla="*/ 384 h 479"/>
                <a:gd name="T74" fmla="*/ 264 w 468"/>
                <a:gd name="T75" fmla="*/ 384 h 479"/>
                <a:gd name="T76" fmla="*/ 224 w 468"/>
                <a:gd name="T77" fmla="*/ 406 h 479"/>
                <a:gd name="T78" fmla="*/ 161 w 468"/>
                <a:gd name="T79" fmla="*/ 416 h 479"/>
                <a:gd name="T80" fmla="*/ 147 w 468"/>
                <a:gd name="T81" fmla="*/ 442 h 479"/>
                <a:gd name="T82" fmla="*/ 111 w 468"/>
                <a:gd name="T83" fmla="*/ 452 h 479"/>
                <a:gd name="T84" fmla="*/ 92 w 468"/>
                <a:gd name="T85" fmla="*/ 447 h 479"/>
                <a:gd name="T86" fmla="*/ 83 w 468"/>
                <a:gd name="T87" fmla="*/ 445 h 479"/>
                <a:gd name="T88" fmla="*/ 54 w 468"/>
                <a:gd name="T89" fmla="*/ 438 h 479"/>
                <a:gd name="T90" fmla="*/ 42 w 468"/>
                <a:gd name="T91" fmla="*/ 440 h 479"/>
                <a:gd name="T92" fmla="*/ 42 w 468"/>
                <a:gd name="T93" fmla="*/ 452 h 479"/>
                <a:gd name="T94" fmla="*/ 47 w 468"/>
                <a:gd name="T95" fmla="*/ 471 h 479"/>
                <a:gd name="T96" fmla="*/ 33 w 468"/>
                <a:gd name="T97" fmla="*/ 458 h 479"/>
                <a:gd name="T98" fmla="*/ 4 w 468"/>
                <a:gd name="T99" fmla="*/ 428 h 479"/>
                <a:gd name="T100" fmla="*/ 5 w 468"/>
                <a:gd name="T101" fmla="*/ 419 h 479"/>
                <a:gd name="T102" fmla="*/ 10 w 468"/>
                <a:gd name="T103" fmla="*/ 393 h 479"/>
                <a:gd name="T104" fmla="*/ 36 w 468"/>
                <a:gd name="T105" fmla="*/ 331 h 479"/>
                <a:gd name="T106" fmla="*/ 53 w 468"/>
                <a:gd name="T107" fmla="*/ 303 h 479"/>
                <a:gd name="T108" fmla="*/ 61 w 468"/>
                <a:gd name="T109" fmla="*/ 265 h 479"/>
                <a:gd name="T110" fmla="*/ 65 w 468"/>
                <a:gd name="T111" fmla="*/ 236 h 479"/>
                <a:gd name="T112" fmla="*/ 76 w 468"/>
                <a:gd name="T113" fmla="*/ 217 h 479"/>
                <a:gd name="T114" fmla="*/ 83 w 468"/>
                <a:gd name="T115" fmla="*/ 166 h 479"/>
                <a:gd name="T116" fmla="*/ 114 w 468"/>
                <a:gd name="T117" fmla="*/ 127 h 479"/>
                <a:gd name="T118" fmla="*/ 137 w 468"/>
                <a:gd name="T119" fmla="*/ 8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8" h="479">
                  <a:moveTo>
                    <a:pt x="137" y="83"/>
                  </a:moveTo>
                  <a:cubicBezTo>
                    <a:pt x="139" y="77"/>
                    <a:pt x="137" y="70"/>
                    <a:pt x="136" y="63"/>
                  </a:cubicBezTo>
                  <a:cubicBezTo>
                    <a:pt x="135" y="60"/>
                    <a:pt x="134" y="57"/>
                    <a:pt x="134" y="54"/>
                  </a:cubicBezTo>
                  <a:cubicBezTo>
                    <a:pt x="135" y="51"/>
                    <a:pt x="136" y="47"/>
                    <a:pt x="137" y="44"/>
                  </a:cubicBezTo>
                  <a:cubicBezTo>
                    <a:pt x="138" y="41"/>
                    <a:pt x="140" y="39"/>
                    <a:pt x="142" y="37"/>
                  </a:cubicBezTo>
                  <a:cubicBezTo>
                    <a:pt x="143" y="36"/>
                    <a:pt x="145" y="36"/>
                    <a:pt x="147" y="36"/>
                  </a:cubicBezTo>
                  <a:cubicBezTo>
                    <a:pt x="150" y="35"/>
                    <a:pt x="154" y="36"/>
                    <a:pt x="158" y="37"/>
                  </a:cubicBezTo>
                  <a:cubicBezTo>
                    <a:pt x="160" y="37"/>
                    <a:pt x="162" y="38"/>
                    <a:pt x="164" y="38"/>
                  </a:cubicBezTo>
                  <a:cubicBezTo>
                    <a:pt x="169" y="39"/>
                    <a:pt x="174" y="37"/>
                    <a:pt x="178" y="35"/>
                  </a:cubicBezTo>
                  <a:cubicBezTo>
                    <a:pt x="183" y="33"/>
                    <a:pt x="187" y="31"/>
                    <a:pt x="189" y="26"/>
                  </a:cubicBezTo>
                  <a:cubicBezTo>
                    <a:pt x="190" y="25"/>
                    <a:pt x="190" y="24"/>
                    <a:pt x="191" y="22"/>
                  </a:cubicBezTo>
                  <a:cubicBezTo>
                    <a:pt x="192" y="21"/>
                    <a:pt x="194" y="21"/>
                    <a:pt x="195" y="21"/>
                  </a:cubicBezTo>
                  <a:cubicBezTo>
                    <a:pt x="201" y="19"/>
                    <a:pt x="206" y="18"/>
                    <a:pt x="211" y="16"/>
                  </a:cubicBezTo>
                  <a:cubicBezTo>
                    <a:pt x="217" y="15"/>
                    <a:pt x="222" y="15"/>
                    <a:pt x="228" y="16"/>
                  </a:cubicBezTo>
                  <a:cubicBezTo>
                    <a:pt x="236" y="17"/>
                    <a:pt x="243" y="22"/>
                    <a:pt x="251" y="24"/>
                  </a:cubicBezTo>
                  <a:cubicBezTo>
                    <a:pt x="259" y="26"/>
                    <a:pt x="269" y="25"/>
                    <a:pt x="274" y="19"/>
                  </a:cubicBezTo>
                  <a:cubicBezTo>
                    <a:pt x="275" y="17"/>
                    <a:pt x="276" y="15"/>
                    <a:pt x="277" y="13"/>
                  </a:cubicBezTo>
                  <a:cubicBezTo>
                    <a:pt x="278" y="13"/>
                    <a:pt x="278" y="12"/>
                    <a:pt x="278" y="11"/>
                  </a:cubicBezTo>
                  <a:cubicBezTo>
                    <a:pt x="278" y="10"/>
                    <a:pt x="277" y="9"/>
                    <a:pt x="277" y="8"/>
                  </a:cubicBezTo>
                  <a:cubicBezTo>
                    <a:pt x="277" y="7"/>
                    <a:pt x="277" y="6"/>
                    <a:pt x="278" y="5"/>
                  </a:cubicBezTo>
                  <a:cubicBezTo>
                    <a:pt x="279" y="3"/>
                    <a:pt x="280" y="1"/>
                    <a:pt x="281" y="1"/>
                  </a:cubicBezTo>
                  <a:cubicBezTo>
                    <a:pt x="281" y="1"/>
                    <a:pt x="281" y="0"/>
                    <a:pt x="281" y="0"/>
                  </a:cubicBezTo>
                  <a:cubicBezTo>
                    <a:pt x="282" y="0"/>
                    <a:pt x="282" y="1"/>
                    <a:pt x="282" y="1"/>
                  </a:cubicBezTo>
                  <a:cubicBezTo>
                    <a:pt x="283" y="1"/>
                    <a:pt x="284" y="2"/>
                    <a:pt x="286" y="3"/>
                  </a:cubicBezTo>
                  <a:cubicBezTo>
                    <a:pt x="287" y="4"/>
                    <a:pt x="288" y="4"/>
                    <a:pt x="291" y="4"/>
                  </a:cubicBezTo>
                  <a:cubicBezTo>
                    <a:pt x="293" y="4"/>
                    <a:pt x="295" y="4"/>
                    <a:pt x="297" y="5"/>
                  </a:cubicBezTo>
                  <a:cubicBezTo>
                    <a:pt x="304" y="7"/>
                    <a:pt x="309" y="13"/>
                    <a:pt x="309" y="21"/>
                  </a:cubicBezTo>
                  <a:cubicBezTo>
                    <a:pt x="309" y="26"/>
                    <a:pt x="307" y="33"/>
                    <a:pt x="310" y="37"/>
                  </a:cubicBezTo>
                  <a:cubicBezTo>
                    <a:pt x="314" y="41"/>
                    <a:pt x="321" y="42"/>
                    <a:pt x="322" y="47"/>
                  </a:cubicBezTo>
                  <a:cubicBezTo>
                    <a:pt x="325" y="54"/>
                    <a:pt x="311" y="58"/>
                    <a:pt x="308" y="66"/>
                  </a:cubicBezTo>
                  <a:cubicBezTo>
                    <a:pt x="306" y="71"/>
                    <a:pt x="310" y="77"/>
                    <a:pt x="315" y="80"/>
                  </a:cubicBezTo>
                  <a:cubicBezTo>
                    <a:pt x="319" y="84"/>
                    <a:pt x="325" y="86"/>
                    <a:pt x="329" y="90"/>
                  </a:cubicBezTo>
                  <a:cubicBezTo>
                    <a:pt x="334" y="95"/>
                    <a:pt x="337" y="103"/>
                    <a:pt x="342" y="107"/>
                  </a:cubicBezTo>
                  <a:cubicBezTo>
                    <a:pt x="351" y="114"/>
                    <a:pt x="362" y="111"/>
                    <a:pt x="372" y="113"/>
                  </a:cubicBezTo>
                  <a:cubicBezTo>
                    <a:pt x="385" y="116"/>
                    <a:pt x="395" y="125"/>
                    <a:pt x="405" y="134"/>
                  </a:cubicBezTo>
                  <a:cubicBezTo>
                    <a:pt x="409" y="139"/>
                    <a:pt x="414" y="144"/>
                    <a:pt x="419" y="148"/>
                  </a:cubicBezTo>
                  <a:cubicBezTo>
                    <a:pt x="422" y="150"/>
                    <a:pt x="425" y="149"/>
                    <a:pt x="429" y="150"/>
                  </a:cubicBezTo>
                  <a:cubicBezTo>
                    <a:pt x="433" y="150"/>
                    <a:pt x="437" y="150"/>
                    <a:pt x="441" y="151"/>
                  </a:cubicBezTo>
                  <a:cubicBezTo>
                    <a:pt x="444" y="152"/>
                    <a:pt x="448" y="153"/>
                    <a:pt x="450" y="156"/>
                  </a:cubicBezTo>
                  <a:cubicBezTo>
                    <a:pt x="451" y="158"/>
                    <a:pt x="452" y="160"/>
                    <a:pt x="453" y="162"/>
                  </a:cubicBezTo>
                  <a:cubicBezTo>
                    <a:pt x="455" y="168"/>
                    <a:pt x="456" y="175"/>
                    <a:pt x="453" y="180"/>
                  </a:cubicBezTo>
                  <a:cubicBezTo>
                    <a:pt x="451" y="185"/>
                    <a:pt x="446" y="188"/>
                    <a:pt x="444" y="193"/>
                  </a:cubicBezTo>
                  <a:cubicBezTo>
                    <a:pt x="442" y="197"/>
                    <a:pt x="443" y="203"/>
                    <a:pt x="446" y="207"/>
                  </a:cubicBezTo>
                  <a:cubicBezTo>
                    <a:pt x="446" y="208"/>
                    <a:pt x="447" y="208"/>
                    <a:pt x="448" y="209"/>
                  </a:cubicBezTo>
                  <a:cubicBezTo>
                    <a:pt x="448" y="211"/>
                    <a:pt x="448" y="212"/>
                    <a:pt x="447" y="213"/>
                  </a:cubicBezTo>
                  <a:cubicBezTo>
                    <a:pt x="446" y="217"/>
                    <a:pt x="442" y="221"/>
                    <a:pt x="438" y="224"/>
                  </a:cubicBezTo>
                  <a:cubicBezTo>
                    <a:pt x="433" y="229"/>
                    <a:pt x="428" y="235"/>
                    <a:pt x="424" y="242"/>
                  </a:cubicBezTo>
                  <a:cubicBezTo>
                    <a:pt x="422" y="245"/>
                    <a:pt x="420" y="247"/>
                    <a:pt x="422" y="251"/>
                  </a:cubicBezTo>
                  <a:cubicBezTo>
                    <a:pt x="423" y="254"/>
                    <a:pt x="425" y="257"/>
                    <a:pt x="425" y="261"/>
                  </a:cubicBezTo>
                  <a:cubicBezTo>
                    <a:pt x="426" y="267"/>
                    <a:pt x="423" y="273"/>
                    <a:pt x="422" y="279"/>
                  </a:cubicBezTo>
                  <a:cubicBezTo>
                    <a:pt x="421" y="284"/>
                    <a:pt x="421" y="290"/>
                    <a:pt x="423" y="295"/>
                  </a:cubicBezTo>
                  <a:cubicBezTo>
                    <a:pt x="424" y="300"/>
                    <a:pt x="426" y="305"/>
                    <a:pt x="428" y="309"/>
                  </a:cubicBezTo>
                  <a:cubicBezTo>
                    <a:pt x="434" y="317"/>
                    <a:pt x="444" y="321"/>
                    <a:pt x="454" y="321"/>
                  </a:cubicBezTo>
                  <a:cubicBezTo>
                    <a:pt x="457" y="321"/>
                    <a:pt x="460" y="321"/>
                    <a:pt x="463" y="323"/>
                  </a:cubicBezTo>
                  <a:cubicBezTo>
                    <a:pt x="464" y="324"/>
                    <a:pt x="465" y="326"/>
                    <a:pt x="466" y="327"/>
                  </a:cubicBezTo>
                  <a:cubicBezTo>
                    <a:pt x="467" y="332"/>
                    <a:pt x="468" y="336"/>
                    <a:pt x="467" y="340"/>
                  </a:cubicBezTo>
                  <a:cubicBezTo>
                    <a:pt x="466" y="345"/>
                    <a:pt x="464" y="349"/>
                    <a:pt x="461" y="352"/>
                  </a:cubicBezTo>
                  <a:cubicBezTo>
                    <a:pt x="458" y="354"/>
                    <a:pt x="455" y="355"/>
                    <a:pt x="453" y="356"/>
                  </a:cubicBezTo>
                  <a:cubicBezTo>
                    <a:pt x="450" y="358"/>
                    <a:pt x="448" y="360"/>
                    <a:pt x="447" y="363"/>
                  </a:cubicBezTo>
                  <a:cubicBezTo>
                    <a:pt x="447" y="365"/>
                    <a:pt x="447" y="368"/>
                    <a:pt x="447" y="371"/>
                  </a:cubicBezTo>
                  <a:cubicBezTo>
                    <a:pt x="447" y="374"/>
                    <a:pt x="442" y="383"/>
                    <a:pt x="438" y="382"/>
                  </a:cubicBezTo>
                  <a:cubicBezTo>
                    <a:pt x="436" y="381"/>
                    <a:pt x="433" y="376"/>
                    <a:pt x="432" y="375"/>
                  </a:cubicBezTo>
                  <a:cubicBezTo>
                    <a:pt x="430" y="372"/>
                    <a:pt x="431" y="370"/>
                    <a:pt x="430" y="367"/>
                  </a:cubicBezTo>
                  <a:cubicBezTo>
                    <a:pt x="429" y="364"/>
                    <a:pt x="423" y="367"/>
                    <a:pt x="422" y="371"/>
                  </a:cubicBezTo>
                  <a:cubicBezTo>
                    <a:pt x="422" y="375"/>
                    <a:pt x="424" y="379"/>
                    <a:pt x="423" y="383"/>
                  </a:cubicBezTo>
                  <a:cubicBezTo>
                    <a:pt x="422" y="385"/>
                    <a:pt x="420" y="386"/>
                    <a:pt x="419" y="387"/>
                  </a:cubicBezTo>
                  <a:cubicBezTo>
                    <a:pt x="415" y="391"/>
                    <a:pt x="412" y="397"/>
                    <a:pt x="407" y="396"/>
                  </a:cubicBezTo>
                  <a:cubicBezTo>
                    <a:pt x="403" y="395"/>
                    <a:pt x="400" y="390"/>
                    <a:pt x="396" y="390"/>
                  </a:cubicBezTo>
                  <a:cubicBezTo>
                    <a:pt x="394" y="391"/>
                    <a:pt x="393" y="393"/>
                    <a:pt x="392" y="394"/>
                  </a:cubicBezTo>
                  <a:cubicBezTo>
                    <a:pt x="384" y="404"/>
                    <a:pt x="367" y="405"/>
                    <a:pt x="358" y="395"/>
                  </a:cubicBezTo>
                  <a:cubicBezTo>
                    <a:pt x="357" y="394"/>
                    <a:pt x="356" y="393"/>
                    <a:pt x="355" y="392"/>
                  </a:cubicBezTo>
                  <a:cubicBezTo>
                    <a:pt x="352" y="391"/>
                    <a:pt x="349" y="392"/>
                    <a:pt x="346" y="393"/>
                  </a:cubicBezTo>
                  <a:cubicBezTo>
                    <a:pt x="331" y="399"/>
                    <a:pt x="315" y="392"/>
                    <a:pt x="300" y="385"/>
                  </a:cubicBezTo>
                  <a:cubicBezTo>
                    <a:pt x="298" y="385"/>
                    <a:pt x="297" y="384"/>
                    <a:pt x="296" y="384"/>
                  </a:cubicBezTo>
                  <a:cubicBezTo>
                    <a:pt x="287" y="380"/>
                    <a:pt x="278" y="376"/>
                    <a:pt x="269" y="378"/>
                  </a:cubicBezTo>
                  <a:cubicBezTo>
                    <a:pt x="270" y="381"/>
                    <a:pt x="267" y="383"/>
                    <a:pt x="264" y="384"/>
                  </a:cubicBezTo>
                  <a:cubicBezTo>
                    <a:pt x="261" y="384"/>
                    <a:pt x="259" y="383"/>
                    <a:pt x="256" y="384"/>
                  </a:cubicBezTo>
                  <a:cubicBezTo>
                    <a:pt x="243" y="384"/>
                    <a:pt x="236" y="400"/>
                    <a:pt x="224" y="406"/>
                  </a:cubicBezTo>
                  <a:cubicBezTo>
                    <a:pt x="208" y="415"/>
                    <a:pt x="185" y="403"/>
                    <a:pt x="168" y="412"/>
                  </a:cubicBezTo>
                  <a:cubicBezTo>
                    <a:pt x="165" y="413"/>
                    <a:pt x="163" y="415"/>
                    <a:pt x="161" y="416"/>
                  </a:cubicBezTo>
                  <a:cubicBezTo>
                    <a:pt x="156" y="419"/>
                    <a:pt x="151" y="419"/>
                    <a:pt x="146" y="418"/>
                  </a:cubicBezTo>
                  <a:cubicBezTo>
                    <a:pt x="148" y="426"/>
                    <a:pt x="149" y="435"/>
                    <a:pt x="147" y="442"/>
                  </a:cubicBezTo>
                  <a:cubicBezTo>
                    <a:pt x="144" y="450"/>
                    <a:pt x="137" y="457"/>
                    <a:pt x="130" y="456"/>
                  </a:cubicBezTo>
                  <a:cubicBezTo>
                    <a:pt x="123" y="456"/>
                    <a:pt x="117" y="452"/>
                    <a:pt x="111" y="452"/>
                  </a:cubicBezTo>
                  <a:cubicBezTo>
                    <a:pt x="104" y="451"/>
                    <a:pt x="97" y="453"/>
                    <a:pt x="90" y="450"/>
                  </a:cubicBezTo>
                  <a:cubicBezTo>
                    <a:pt x="91" y="451"/>
                    <a:pt x="93" y="449"/>
                    <a:pt x="92" y="447"/>
                  </a:cubicBezTo>
                  <a:cubicBezTo>
                    <a:pt x="92" y="445"/>
                    <a:pt x="90" y="444"/>
                    <a:pt x="88" y="444"/>
                  </a:cubicBezTo>
                  <a:cubicBezTo>
                    <a:pt x="87" y="444"/>
                    <a:pt x="85" y="445"/>
                    <a:pt x="83" y="445"/>
                  </a:cubicBezTo>
                  <a:cubicBezTo>
                    <a:pt x="75" y="447"/>
                    <a:pt x="66" y="446"/>
                    <a:pt x="57" y="444"/>
                  </a:cubicBezTo>
                  <a:cubicBezTo>
                    <a:pt x="59" y="442"/>
                    <a:pt x="56" y="438"/>
                    <a:pt x="54" y="438"/>
                  </a:cubicBezTo>
                  <a:cubicBezTo>
                    <a:pt x="51" y="437"/>
                    <a:pt x="48" y="437"/>
                    <a:pt x="45" y="438"/>
                  </a:cubicBezTo>
                  <a:cubicBezTo>
                    <a:pt x="44" y="439"/>
                    <a:pt x="43" y="439"/>
                    <a:pt x="42" y="440"/>
                  </a:cubicBezTo>
                  <a:cubicBezTo>
                    <a:pt x="42" y="440"/>
                    <a:pt x="42" y="441"/>
                    <a:pt x="42" y="442"/>
                  </a:cubicBezTo>
                  <a:cubicBezTo>
                    <a:pt x="42" y="444"/>
                    <a:pt x="41" y="450"/>
                    <a:pt x="42" y="452"/>
                  </a:cubicBezTo>
                  <a:cubicBezTo>
                    <a:pt x="43" y="454"/>
                    <a:pt x="47" y="453"/>
                    <a:pt x="49" y="454"/>
                  </a:cubicBezTo>
                  <a:cubicBezTo>
                    <a:pt x="55" y="457"/>
                    <a:pt x="52" y="466"/>
                    <a:pt x="47" y="471"/>
                  </a:cubicBezTo>
                  <a:cubicBezTo>
                    <a:pt x="45" y="474"/>
                    <a:pt x="43" y="476"/>
                    <a:pt x="40" y="479"/>
                  </a:cubicBezTo>
                  <a:cubicBezTo>
                    <a:pt x="40" y="471"/>
                    <a:pt x="38" y="464"/>
                    <a:pt x="33" y="458"/>
                  </a:cubicBezTo>
                  <a:cubicBezTo>
                    <a:pt x="30" y="453"/>
                    <a:pt x="26" y="448"/>
                    <a:pt x="21" y="444"/>
                  </a:cubicBezTo>
                  <a:cubicBezTo>
                    <a:pt x="16" y="439"/>
                    <a:pt x="10" y="434"/>
                    <a:pt x="4" y="428"/>
                  </a:cubicBezTo>
                  <a:cubicBezTo>
                    <a:pt x="2" y="426"/>
                    <a:pt x="0" y="421"/>
                    <a:pt x="3" y="420"/>
                  </a:cubicBezTo>
                  <a:cubicBezTo>
                    <a:pt x="3" y="419"/>
                    <a:pt x="4" y="419"/>
                    <a:pt x="5" y="419"/>
                  </a:cubicBezTo>
                  <a:cubicBezTo>
                    <a:pt x="10" y="418"/>
                    <a:pt x="13" y="413"/>
                    <a:pt x="13" y="408"/>
                  </a:cubicBezTo>
                  <a:cubicBezTo>
                    <a:pt x="13" y="403"/>
                    <a:pt x="11" y="398"/>
                    <a:pt x="10" y="393"/>
                  </a:cubicBezTo>
                  <a:cubicBezTo>
                    <a:pt x="7" y="381"/>
                    <a:pt x="10" y="368"/>
                    <a:pt x="16" y="357"/>
                  </a:cubicBezTo>
                  <a:cubicBezTo>
                    <a:pt x="21" y="347"/>
                    <a:pt x="28" y="339"/>
                    <a:pt x="36" y="331"/>
                  </a:cubicBezTo>
                  <a:cubicBezTo>
                    <a:pt x="39" y="327"/>
                    <a:pt x="41" y="322"/>
                    <a:pt x="44" y="318"/>
                  </a:cubicBezTo>
                  <a:cubicBezTo>
                    <a:pt x="47" y="313"/>
                    <a:pt x="50" y="308"/>
                    <a:pt x="53" y="303"/>
                  </a:cubicBezTo>
                  <a:cubicBezTo>
                    <a:pt x="58" y="295"/>
                    <a:pt x="62" y="286"/>
                    <a:pt x="62" y="276"/>
                  </a:cubicBezTo>
                  <a:cubicBezTo>
                    <a:pt x="62" y="273"/>
                    <a:pt x="62" y="269"/>
                    <a:pt x="61" y="265"/>
                  </a:cubicBezTo>
                  <a:cubicBezTo>
                    <a:pt x="60" y="259"/>
                    <a:pt x="60" y="252"/>
                    <a:pt x="62" y="246"/>
                  </a:cubicBezTo>
                  <a:cubicBezTo>
                    <a:pt x="62" y="242"/>
                    <a:pt x="64" y="239"/>
                    <a:pt x="65" y="236"/>
                  </a:cubicBezTo>
                  <a:cubicBezTo>
                    <a:pt x="66" y="233"/>
                    <a:pt x="65" y="230"/>
                    <a:pt x="66" y="227"/>
                  </a:cubicBezTo>
                  <a:cubicBezTo>
                    <a:pt x="68" y="222"/>
                    <a:pt x="73" y="220"/>
                    <a:pt x="76" y="217"/>
                  </a:cubicBezTo>
                  <a:cubicBezTo>
                    <a:pt x="88" y="208"/>
                    <a:pt x="93" y="190"/>
                    <a:pt x="87" y="176"/>
                  </a:cubicBezTo>
                  <a:cubicBezTo>
                    <a:pt x="85" y="172"/>
                    <a:pt x="83" y="169"/>
                    <a:pt x="83" y="166"/>
                  </a:cubicBezTo>
                  <a:cubicBezTo>
                    <a:pt x="82" y="161"/>
                    <a:pt x="84" y="155"/>
                    <a:pt x="86" y="151"/>
                  </a:cubicBezTo>
                  <a:cubicBezTo>
                    <a:pt x="93" y="140"/>
                    <a:pt x="103" y="132"/>
                    <a:pt x="114" y="127"/>
                  </a:cubicBezTo>
                  <a:cubicBezTo>
                    <a:pt x="121" y="125"/>
                    <a:pt x="129" y="124"/>
                    <a:pt x="135" y="119"/>
                  </a:cubicBezTo>
                  <a:cubicBezTo>
                    <a:pt x="146" y="110"/>
                    <a:pt x="146" y="95"/>
                    <a:pt x="137" y="83"/>
                  </a:cubicBezTo>
                  <a:close/>
                </a:path>
              </a:pathLst>
            </a:custGeom>
            <a:solidFill>
              <a:schemeClr val="accent5"/>
            </a:solidFill>
            <a:ln w="6350">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89" name="Freeform 37">
              <a:extLst>
                <a:ext uri="{FF2B5EF4-FFF2-40B4-BE49-F238E27FC236}">
                  <a16:creationId xmlns:a16="http://schemas.microsoft.com/office/drawing/2014/main" id="{350EEF83-9498-E538-EE39-B59306763EBA}"/>
                </a:ext>
              </a:extLst>
            </p:cNvPr>
            <p:cNvSpPr>
              <a:spLocks/>
            </p:cNvSpPr>
            <p:nvPr/>
          </p:nvSpPr>
          <p:spPr bwMode="gray">
            <a:xfrm>
              <a:off x="1968108" y="5598954"/>
              <a:ext cx="152628" cy="98677"/>
            </a:xfrm>
            <a:custGeom>
              <a:avLst/>
              <a:gdLst>
                <a:gd name="T0" fmla="*/ 20 w 114"/>
                <a:gd name="T1" fmla="*/ 24 h 71"/>
                <a:gd name="T2" fmla="*/ 40 w 114"/>
                <a:gd name="T3" fmla="*/ 10 h 71"/>
                <a:gd name="T4" fmla="*/ 82 w 114"/>
                <a:gd name="T5" fmla="*/ 7 h 71"/>
                <a:gd name="T6" fmla="*/ 86 w 114"/>
                <a:gd name="T7" fmla="*/ 12 h 71"/>
                <a:gd name="T8" fmla="*/ 94 w 114"/>
                <a:gd name="T9" fmla="*/ 11 h 71"/>
                <a:gd name="T10" fmla="*/ 98 w 114"/>
                <a:gd name="T11" fmla="*/ 17 h 71"/>
                <a:gd name="T12" fmla="*/ 101 w 114"/>
                <a:gd name="T13" fmla="*/ 23 h 71"/>
                <a:gd name="T14" fmla="*/ 112 w 114"/>
                <a:gd name="T15" fmla="*/ 24 h 71"/>
                <a:gd name="T16" fmla="*/ 110 w 114"/>
                <a:gd name="T17" fmla="*/ 37 h 71"/>
                <a:gd name="T18" fmla="*/ 101 w 114"/>
                <a:gd name="T19" fmla="*/ 39 h 71"/>
                <a:gd name="T20" fmla="*/ 98 w 114"/>
                <a:gd name="T21" fmla="*/ 53 h 71"/>
                <a:gd name="T22" fmla="*/ 92 w 114"/>
                <a:gd name="T23" fmla="*/ 64 h 71"/>
                <a:gd name="T24" fmla="*/ 88 w 114"/>
                <a:gd name="T25" fmla="*/ 64 h 71"/>
                <a:gd name="T26" fmla="*/ 86 w 114"/>
                <a:gd name="T27" fmla="*/ 69 h 71"/>
                <a:gd name="T28" fmla="*/ 83 w 114"/>
                <a:gd name="T29" fmla="*/ 70 h 71"/>
                <a:gd name="T30" fmla="*/ 66 w 114"/>
                <a:gd name="T31" fmla="*/ 71 h 71"/>
                <a:gd name="T32" fmla="*/ 61 w 114"/>
                <a:gd name="T33" fmla="*/ 70 h 71"/>
                <a:gd name="T34" fmla="*/ 57 w 114"/>
                <a:gd name="T35" fmla="*/ 68 h 71"/>
                <a:gd name="T36" fmla="*/ 19 w 114"/>
                <a:gd name="T37" fmla="*/ 44 h 71"/>
                <a:gd name="T38" fmla="*/ 3 w 114"/>
                <a:gd name="T39" fmla="*/ 34 h 71"/>
                <a:gd name="T40" fmla="*/ 20 w 114"/>
                <a:gd name="T41" fmla="*/ 2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71">
                  <a:moveTo>
                    <a:pt x="20" y="24"/>
                  </a:moveTo>
                  <a:cubicBezTo>
                    <a:pt x="28" y="21"/>
                    <a:pt x="33" y="14"/>
                    <a:pt x="40" y="10"/>
                  </a:cubicBezTo>
                  <a:cubicBezTo>
                    <a:pt x="52" y="1"/>
                    <a:pt x="68" y="0"/>
                    <a:pt x="82" y="7"/>
                  </a:cubicBezTo>
                  <a:cubicBezTo>
                    <a:pt x="81" y="9"/>
                    <a:pt x="83" y="12"/>
                    <a:pt x="86" y="12"/>
                  </a:cubicBezTo>
                  <a:cubicBezTo>
                    <a:pt x="89" y="13"/>
                    <a:pt x="91" y="12"/>
                    <a:pt x="94" y="11"/>
                  </a:cubicBezTo>
                  <a:cubicBezTo>
                    <a:pt x="93" y="13"/>
                    <a:pt x="96" y="15"/>
                    <a:pt x="98" y="17"/>
                  </a:cubicBezTo>
                  <a:cubicBezTo>
                    <a:pt x="101" y="18"/>
                    <a:pt x="103" y="21"/>
                    <a:pt x="101" y="23"/>
                  </a:cubicBezTo>
                  <a:cubicBezTo>
                    <a:pt x="104" y="24"/>
                    <a:pt x="108" y="24"/>
                    <a:pt x="112" y="24"/>
                  </a:cubicBezTo>
                  <a:cubicBezTo>
                    <a:pt x="113" y="29"/>
                    <a:pt x="114" y="35"/>
                    <a:pt x="110" y="37"/>
                  </a:cubicBezTo>
                  <a:cubicBezTo>
                    <a:pt x="107" y="39"/>
                    <a:pt x="104" y="38"/>
                    <a:pt x="101" y="39"/>
                  </a:cubicBezTo>
                  <a:cubicBezTo>
                    <a:pt x="97" y="41"/>
                    <a:pt x="98" y="48"/>
                    <a:pt x="98" y="53"/>
                  </a:cubicBezTo>
                  <a:cubicBezTo>
                    <a:pt x="99" y="58"/>
                    <a:pt x="97" y="65"/>
                    <a:pt x="92" y="64"/>
                  </a:cubicBezTo>
                  <a:cubicBezTo>
                    <a:pt x="91" y="64"/>
                    <a:pt x="89" y="64"/>
                    <a:pt x="88" y="64"/>
                  </a:cubicBezTo>
                  <a:cubicBezTo>
                    <a:pt x="87" y="65"/>
                    <a:pt x="87" y="67"/>
                    <a:pt x="86" y="69"/>
                  </a:cubicBezTo>
                  <a:cubicBezTo>
                    <a:pt x="85" y="70"/>
                    <a:pt x="84" y="70"/>
                    <a:pt x="83" y="70"/>
                  </a:cubicBezTo>
                  <a:cubicBezTo>
                    <a:pt x="77" y="71"/>
                    <a:pt x="72" y="71"/>
                    <a:pt x="66" y="71"/>
                  </a:cubicBezTo>
                  <a:cubicBezTo>
                    <a:pt x="64" y="71"/>
                    <a:pt x="62" y="71"/>
                    <a:pt x="61" y="70"/>
                  </a:cubicBezTo>
                  <a:cubicBezTo>
                    <a:pt x="59" y="70"/>
                    <a:pt x="58" y="69"/>
                    <a:pt x="57" y="68"/>
                  </a:cubicBezTo>
                  <a:cubicBezTo>
                    <a:pt x="45" y="58"/>
                    <a:pt x="34" y="45"/>
                    <a:pt x="19" y="44"/>
                  </a:cubicBezTo>
                  <a:cubicBezTo>
                    <a:pt x="13" y="44"/>
                    <a:pt x="0" y="44"/>
                    <a:pt x="3" y="34"/>
                  </a:cubicBezTo>
                  <a:cubicBezTo>
                    <a:pt x="4" y="28"/>
                    <a:pt x="16" y="26"/>
                    <a:pt x="20" y="24"/>
                  </a:cubicBezTo>
                  <a:close/>
                </a:path>
              </a:pathLst>
            </a:custGeom>
            <a:solidFill>
              <a:schemeClr val="accent5"/>
            </a:solidFill>
            <a:ln w="6350">
              <a:solidFill>
                <a:schemeClr val="accent5"/>
              </a:solid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ato"/>
                <a:ea typeface="+mn-ea"/>
                <a:cs typeface="+mn-cs"/>
              </a:endParaRPr>
            </a:p>
          </p:txBody>
        </p:sp>
        <p:sp>
          <p:nvSpPr>
            <p:cNvPr id="190" name="Freeform: Shape 189">
              <a:extLst>
                <a:ext uri="{FF2B5EF4-FFF2-40B4-BE49-F238E27FC236}">
                  <a16:creationId xmlns:a16="http://schemas.microsoft.com/office/drawing/2014/main" id="{892FF6BA-453A-2908-3259-C023AF86D51B}"/>
                </a:ext>
              </a:extLst>
            </p:cNvPr>
            <p:cNvSpPr/>
            <p:nvPr/>
          </p:nvSpPr>
          <p:spPr>
            <a:xfrm>
              <a:off x="1425513" y="3220519"/>
              <a:ext cx="493066" cy="609570"/>
            </a:xfrm>
            <a:custGeom>
              <a:avLst/>
              <a:gdLst>
                <a:gd name="connsiteX0" fmla="*/ 0 w 472440"/>
                <a:gd name="connsiteY0" fmla="*/ 594360 h 594360"/>
                <a:gd name="connsiteX1" fmla="*/ 309880 w 472440"/>
                <a:gd name="connsiteY1" fmla="*/ 218440 h 594360"/>
                <a:gd name="connsiteX2" fmla="*/ 284480 w 472440"/>
                <a:gd name="connsiteY2" fmla="*/ 157480 h 594360"/>
                <a:gd name="connsiteX3" fmla="*/ 472440 w 472440"/>
                <a:gd name="connsiteY3" fmla="*/ 0 h 594360"/>
              </a:gdLst>
              <a:ahLst/>
              <a:cxnLst>
                <a:cxn ang="0">
                  <a:pos x="connsiteX0" y="connsiteY0"/>
                </a:cxn>
                <a:cxn ang="0">
                  <a:pos x="connsiteX1" y="connsiteY1"/>
                </a:cxn>
                <a:cxn ang="0">
                  <a:pos x="connsiteX2" y="connsiteY2"/>
                </a:cxn>
                <a:cxn ang="0">
                  <a:pos x="connsiteX3" y="connsiteY3"/>
                </a:cxn>
              </a:cxnLst>
              <a:rect l="l" t="t" r="r" b="b"/>
              <a:pathLst>
                <a:path w="472440" h="594360">
                  <a:moveTo>
                    <a:pt x="0" y="594360"/>
                  </a:moveTo>
                  <a:cubicBezTo>
                    <a:pt x="131233" y="442806"/>
                    <a:pt x="262467" y="291253"/>
                    <a:pt x="309880" y="218440"/>
                  </a:cubicBezTo>
                  <a:cubicBezTo>
                    <a:pt x="357293" y="145627"/>
                    <a:pt x="257387" y="193887"/>
                    <a:pt x="284480" y="157480"/>
                  </a:cubicBezTo>
                  <a:cubicBezTo>
                    <a:pt x="311573" y="121073"/>
                    <a:pt x="448733" y="70273"/>
                    <a:pt x="472440" y="0"/>
                  </a:cubicBezTo>
                </a:path>
              </a:pathLst>
            </a:custGeom>
            <a:noFill/>
            <a:ln w="28575">
              <a:solidFill>
                <a:srgbClr val="C00000"/>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205" name="Freeform: Shape 204">
              <a:extLst>
                <a:ext uri="{FF2B5EF4-FFF2-40B4-BE49-F238E27FC236}">
                  <a16:creationId xmlns:a16="http://schemas.microsoft.com/office/drawing/2014/main" id="{080AFAE6-D7D9-F0DE-F0EF-8ECB31683771}"/>
                </a:ext>
              </a:extLst>
            </p:cNvPr>
            <p:cNvSpPr/>
            <p:nvPr/>
          </p:nvSpPr>
          <p:spPr>
            <a:xfrm>
              <a:off x="1150895" y="4432146"/>
              <a:ext cx="1450807" cy="453699"/>
            </a:xfrm>
            <a:custGeom>
              <a:avLst/>
              <a:gdLst>
                <a:gd name="connsiteX0" fmla="*/ 0 w 1481666"/>
                <a:gd name="connsiteY0" fmla="*/ 454531 h 463241"/>
                <a:gd name="connsiteX1" fmla="*/ 88900 w 1481666"/>
                <a:gd name="connsiteY1" fmla="*/ 458764 h 463241"/>
                <a:gd name="connsiteX2" fmla="*/ 338666 w 1481666"/>
                <a:gd name="connsiteY2" fmla="*/ 399498 h 463241"/>
                <a:gd name="connsiteX3" fmla="*/ 605366 w 1481666"/>
                <a:gd name="connsiteY3" fmla="*/ 128564 h 463241"/>
                <a:gd name="connsiteX4" fmla="*/ 846666 w 1481666"/>
                <a:gd name="connsiteY4" fmla="*/ 5798 h 463241"/>
                <a:gd name="connsiteX5" fmla="*/ 1164166 w 1481666"/>
                <a:gd name="connsiteY5" fmla="*/ 18498 h 463241"/>
                <a:gd name="connsiteX6" fmla="*/ 1481666 w 1481666"/>
                <a:gd name="connsiteY6" fmla="*/ 26964 h 46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1666" h="463241">
                  <a:moveTo>
                    <a:pt x="0" y="454531"/>
                  </a:moveTo>
                  <a:cubicBezTo>
                    <a:pt x="16228" y="461233"/>
                    <a:pt x="32456" y="467936"/>
                    <a:pt x="88900" y="458764"/>
                  </a:cubicBezTo>
                  <a:cubicBezTo>
                    <a:pt x="145344" y="449592"/>
                    <a:pt x="252588" y="454531"/>
                    <a:pt x="338666" y="399498"/>
                  </a:cubicBezTo>
                  <a:cubicBezTo>
                    <a:pt x="424744" y="344465"/>
                    <a:pt x="520699" y="194181"/>
                    <a:pt x="605366" y="128564"/>
                  </a:cubicBezTo>
                  <a:cubicBezTo>
                    <a:pt x="690033" y="62947"/>
                    <a:pt x="753533" y="24142"/>
                    <a:pt x="846666" y="5798"/>
                  </a:cubicBezTo>
                  <a:cubicBezTo>
                    <a:pt x="939799" y="-12546"/>
                    <a:pt x="1164166" y="18498"/>
                    <a:pt x="1164166" y="18498"/>
                  </a:cubicBezTo>
                  <a:cubicBezTo>
                    <a:pt x="1269999" y="22026"/>
                    <a:pt x="1408288" y="36136"/>
                    <a:pt x="1481666" y="26964"/>
                  </a:cubicBezTo>
                </a:path>
              </a:pathLst>
            </a:custGeom>
            <a:noFill/>
            <a:ln w="28575">
              <a:solidFill>
                <a:srgbClr val="C00000"/>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206" name="Oval 205">
              <a:extLst>
                <a:ext uri="{FF2B5EF4-FFF2-40B4-BE49-F238E27FC236}">
                  <a16:creationId xmlns:a16="http://schemas.microsoft.com/office/drawing/2014/main" id="{F5209312-87FA-B31A-E7FA-9E11CC8CDD4B}"/>
                </a:ext>
              </a:extLst>
            </p:cNvPr>
            <p:cNvSpPr/>
            <p:nvPr/>
          </p:nvSpPr>
          <p:spPr>
            <a:xfrm>
              <a:off x="1936489" y="2870325"/>
              <a:ext cx="415006" cy="415006"/>
            </a:xfrm>
            <a:prstGeom prst="ellipse">
              <a:avLst/>
            </a:prstGeom>
            <a:solidFill>
              <a:srgbClr val="9F3C1C"/>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sz="900" b="1">
                  <a:solidFill>
                    <a:schemeClr val="bg1"/>
                  </a:solidFill>
                </a:rPr>
                <a:t>B6</a:t>
              </a:r>
            </a:p>
          </p:txBody>
        </p:sp>
        <p:sp>
          <p:nvSpPr>
            <p:cNvPr id="207" name="Oval 206">
              <a:extLst>
                <a:ext uri="{FF2B5EF4-FFF2-40B4-BE49-F238E27FC236}">
                  <a16:creationId xmlns:a16="http://schemas.microsoft.com/office/drawing/2014/main" id="{60B7AEC5-00ED-AE44-517E-1AC664FE54E9}"/>
                </a:ext>
              </a:extLst>
            </p:cNvPr>
            <p:cNvSpPr/>
            <p:nvPr/>
          </p:nvSpPr>
          <p:spPr>
            <a:xfrm>
              <a:off x="2577758" y="4065702"/>
              <a:ext cx="415006" cy="415006"/>
            </a:xfrm>
            <a:prstGeom prst="ellipse">
              <a:avLst/>
            </a:prstGeom>
            <a:solidFill>
              <a:srgbClr val="4C6C9C"/>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sz="900" b="1">
                  <a:solidFill>
                    <a:schemeClr val="bg1"/>
                  </a:solidFill>
                </a:rPr>
                <a:t>B8</a:t>
              </a:r>
            </a:p>
          </p:txBody>
        </p:sp>
      </p:grpSp>
      <p:sp>
        <p:nvSpPr>
          <p:cNvPr id="321" name="Rectangle 320">
            <a:extLst>
              <a:ext uri="{FF2B5EF4-FFF2-40B4-BE49-F238E27FC236}">
                <a16:creationId xmlns:a16="http://schemas.microsoft.com/office/drawing/2014/main" id="{A93FAA99-1A1D-8536-85B9-6813318F3AAD}"/>
              </a:ext>
            </a:extLst>
          </p:cNvPr>
          <p:cNvSpPr/>
          <p:nvPr/>
        </p:nvSpPr>
        <p:spPr>
          <a:xfrm>
            <a:off x="11172825" y="3785996"/>
            <a:ext cx="565125" cy="172722"/>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spcBef>
                <a:spcPts val="600"/>
              </a:spcBef>
            </a:pPr>
            <a:r>
              <a:rPr lang="en-GB" sz="900" b="1">
                <a:solidFill>
                  <a:schemeClr val="tx1"/>
                </a:solidFill>
              </a:rPr>
              <a:t>Illustrative</a:t>
            </a:r>
          </a:p>
        </p:txBody>
      </p:sp>
      <p:sp>
        <p:nvSpPr>
          <p:cNvPr id="322" name="TextBox 321">
            <a:extLst>
              <a:ext uri="{FF2B5EF4-FFF2-40B4-BE49-F238E27FC236}">
                <a16:creationId xmlns:a16="http://schemas.microsoft.com/office/drawing/2014/main" id="{7F83D1BE-3CC4-B7A2-27F7-626F4E034295}"/>
              </a:ext>
            </a:extLst>
          </p:cNvPr>
          <p:cNvSpPr txBox="1"/>
          <p:nvPr/>
        </p:nvSpPr>
        <p:spPr>
          <a:xfrm>
            <a:off x="1783249" y="1614716"/>
            <a:ext cx="3973231" cy="402167"/>
          </a:xfrm>
          <a:prstGeom prst="rect">
            <a:avLst/>
          </a:prstGeom>
          <a:solidFill>
            <a:srgbClr val="FFFAF0"/>
          </a:solidFill>
          <a:ln>
            <a:noFill/>
          </a:ln>
        </p:spPr>
        <p:txBody>
          <a:bodyPr wrap="square" lIns="72000" tIns="0" rIns="0" bIns="0" rtlCol="0" anchor="ctr" anchorCtr="0">
            <a:noAutofit/>
          </a:bodyPr>
          <a:lstStyle/>
          <a:p>
            <a:endParaRPr lang="en-GB" sz="1100"/>
          </a:p>
        </p:txBody>
      </p:sp>
      <p:sp>
        <p:nvSpPr>
          <p:cNvPr id="323" name="TextBox 322">
            <a:extLst>
              <a:ext uri="{FF2B5EF4-FFF2-40B4-BE49-F238E27FC236}">
                <a16:creationId xmlns:a16="http://schemas.microsoft.com/office/drawing/2014/main" id="{53DB6879-FCDB-CC5D-F49D-A2E13DFBF613}"/>
              </a:ext>
            </a:extLst>
          </p:cNvPr>
          <p:cNvSpPr txBox="1"/>
          <p:nvPr/>
        </p:nvSpPr>
        <p:spPr>
          <a:xfrm>
            <a:off x="1774522" y="2124963"/>
            <a:ext cx="3981957" cy="402167"/>
          </a:xfrm>
          <a:prstGeom prst="rect">
            <a:avLst/>
          </a:prstGeom>
          <a:solidFill>
            <a:srgbClr val="FFFAF0"/>
          </a:solidFill>
          <a:ln>
            <a:noFill/>
          </a:ln>
        </p:spPr>
        <p:txBody>
          <a:bodyPr wrap="square" lIns="72000" tIns="0" rIns="0" bIns="0" rtlCol="0" anchor="ctr" anchorCtr="0">
            <a:noAutofit/>
          </a:bodyPr>
          <a:lstStyle/>
          <a:p>
            <a:pPr marL="1350" lvl="1"/>
            <a:endParaRPr lang="en-GB" sz="1100"/>
          </a:p>
        </p:txBody>
      </p:sp>
      <p:sp>
        <p:nvSpPr>
          <p:cNvPr id="324" name="TextBox 323">
            <a:extLst>
              <a:ext uri="{FF2B5EF4-FFF2-40B4-BE49-F238E27FC236}">
                <a16:creationId xmlns:a16="http://schemas.microsoft.com/office/drawing/2014/main" id="{15924499-DFE3-C8A8-212C-D5A707048F1D}"/>
              </a:ext>
            </a:extLst>
          </p:cNvPr>
          <p:cNvSpPr txBox="1"/>
          <p:nvPr/>
        </p:nvSpPr>
        <p:spPr>
          <a:xfrm>
            <a:off x="1771998" y="2634049"/>
            <a:ext cx="3984481" cy="403200"/>
          </a:xfrm>
          <a:prstGeom prst="rect">
            <a:avLst/>
          </a:prstGeom>
          <a:solidFill>
            <a:srgbClr val="FFFAF0"/>
          </a:solidFill>
          <a:ln>
            <a:noFill/>
          </a:ln>
        </p:spPr>
        <p:txBody>
          <a:bodyPr wrap="square" lIns="72000" tIns="0" rIns="0" bIns="0" rtlCol="0" anchor="ctr" anchorCtr="0">
            <a:noAutofit/>
          </a:bodyPr>
          <a:lstStyle/>
          <a:p>
            <a:pPr>
              <a:spcBef>
                <a:spcPts val="600"/>
              </a:spcBef>
            </a:pPr>
            <a:endParaRPr lang="en-GB" sz="1100"/>
          </a:p>
        </p:txBody>
      </p:sp>
      <p:sp>
        <p:nvSpPr>
          <p:cNvPr id="325" name="TextBox 324">
            <a:extLst>
              <a:ext uri="{FF2B5EF4-FFF2-40B4-BE49-F238E27FC236}">
                <a16:creationId xmlns:a16="http://schemas.microsoft.com/office/drawing/2014/main" id="{2C99A55A-D2BD-8183-6767-442EE5409848}"/>
              </a:ext>
            </a:extLst>
          </p:cNvPr>
          <p:cNvSpPr txBox="1"/>
          <p:nvPr/>
        </p:nvSpPr>
        <p:spPr>
          <a:xfrm>
            <a:off x="1770683" y="3151622"/>
            <a:ext cx="3985795" cy="493200"/>
          </a:xfrm>
          <a:prstGeom prst="rect">
            <a:avLst/>
          </a:prstGeom>
          <a:solidFill>
            <a:srgbClr val="FFFAF0"/>
          </a:solidFill>
          <a:ln>
            <a:noFill/>
          </a:ln>
        </p:spPr>
        <p:txBody>
          <a:bodyPr wrap="square" lIns="72000" tIns="0" rIns="0" bIns="0" rtlCol="0" anchor="ctr" anchorCtr="0">
            <a:noAutofit/>
          </a:bodyPr>
          <a:lstStyle/>
          <a:p>
            <a:pPr>
              <a:spcBef>
                <a:spcPts val="600"/>
              </a:spcBef>
            </a:pPr>
            <a:endParaRPr lang="en-GB" sz="1100"/>
          </a:p>
        </p:txBody>
      </p:sp>
      <p:sp>
        <p:nvSpPr>
          <p:cNvPr id="8" name="Freeform: Shape 7">
            <a:extLst>
              <a:ext uri="{FF2B5EF4-FFF2-40B4-BE49-F238E27FC236}">
                <a16:creationId xmlns:a16="http://schemas.microsoft.com/office/drawing/2014/main" id="{582262A3-8790-EAF4-027D-45F0B8A7B15C}"/>
              </a:ext>
            </a:extLst>
          </p:cNvPr>
          <p:cNvSpPr/>
          <p:nvPr/>
        </p:nvSpPr>
        <p:spPr>
          <a:xfrm>
            <a:off x="4184578" y="4049505"/>
            <a:ext cx="1567979" cy="2382268"/>
          </a:xfrm>
          <a:custGeom>
            <a:avLst/>
            <a:gdLst>
              <a:gd name="connsiteX0" fmla="*/ 0 w 383664"/>
              <a:gd name="connsiteY0" fmla="*/ 38366 h 2103557"/>
              <a:gd name="connsiteX1" fmla="*/ 38366 w 383664"/>
              <a:gd name="connsiteY1" fmla="*/ 0 h 2103557"/>
              <a:gd name="connsiteX2" fmla="*/ 345298 w 383664"/>
              <a:gd name="connsiteY2" fmla="*/ 0 h 2103557"/>
              <a:gd name="connsiteX3" fmla="*/ 383664 w 383664"/>
              <a:gd name="connsiteY3" fmla="*/ 38366 h 2103557"/>
              <a:gd name="connsiteX4" fmla="*/ 383664 w 383664"/>
              <a:gd name="connsiteY4" fmla="*/ 2065191 h 2103557"/>
              <a:gd name="connsiteX5" fmla="*/ 345298 w 383664"/>
              <a:gd name="connsiteY5" fmla="*/ 2103557 h 2103557"/>
              <a:gd name="connsiteX6" fmla="*/ 38366 w 383664"/>
              <a:gd name="connsiteY6" fmla="*/ 2103557 h 2103557"/>
              <a:gd name="connsiteX7" fmla="*/ 0 w 383664"/>
              <a:gd name="connsiteY7" fmla="*/ 2065191 h 2103557"/>
              <a:gd name="connsiteX8" fmla="*/ 0 w 383664"/>
              <a:gd name="connsiteY8" fmla="*/ 38366 h 210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664" h="2103557">
                <a:moveTo>
                  <a:pt x="0" y="38366"/>
                </a:moveTo>
                <a:cubicBezTo>
                  <a:pt x="0" y="17177"/>
                  <a:pt x="17177" y="0"/>
                  <a:pt x="38366" y="0"/>
                </a:cubicBezTo>
                <a:lnTo>
                  <a:pt x="345298" y="0"/>
                </a:lnTo>
                <a:cubicBezTo>
                  <a:pt x="366487" y="0"/>
                  <a:pt x="383664" y="17177"/>
                  <a:pt x="383664" y="38366"/>
                </a:cubicBezTo>
                <a:lnTo>
                  <a:pt x="383664" y="2065191"/>
                </a:lnTo>
                <a:cubicBezTo>
                  <a:pt x="383664" y="2086380"/>
                  <a:pt x="366487" y="2103557"/>
                  <a:pt x="345298" y="2103557"/>
                </a:cubicBezTo>
                <a:lnTo>
                  <a:pt x="38366" y="2103557"/>
                </a:lnTo>
                <a:cubicBezTo>
                  <a:pt x="17177" y="2103557"/>
                  <a:pt x="0" y="2086380"/>
                  <a:pt x="0" y="2065191"/>
                </a:cubicBezTo>
                <a:lnTo>
                  <a:pt x="0" y="38366"/>
                </a:lnTo>
                <a:close/>
              </a:path>
            </a:pathLst>
          </a:custGeom>
          <a:solidFill>
            <a:srgbClr val="FFFAF0"/>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0" tIns="72000" rIns="0" bIns="0" numCol="1" spcCol="1270" anchor="t" anchorCtr="0">
            <a:noAutofit/>
          </a:bodyPr>
          <a:lstStyle/>
          <a:p>
            <a:pPr algn="ctr">
              <a:lnSpc>
                <a:spcPct val="90000"/>
              </a:lnSpc>
              <a:spcBef>
                <a:spcPct val="0"/>
              </a:spcBef>
              <a:spcAft>
                <a:spcPct val="35000"/>
              </a:spcAft>
            </a:pPr>
            <a:r>
              <a:rPr lang="en-US" sz="1100" b="1">
                <a:solidFill>
                  <a:schemeClr val="tx1"/>
                </a:solidFill>
              </a:rPr>
              <a:t>Advantages/Outcomes</a:t>
            </a:r>
          </a:p>
        </p:txBody>
      </p:sp>
      <p:grpSp>
        <p:nvGrpSpPr>
          <p:cNvPr id="330" name="Group 329">
            <a:extLst>
              <a:ext uri="{FF2B5EF4-FFF2-40B4-BE49-F238E27FC236}">
                <a16:creationId xmlns:a16="http://schemas.microsoft.com/office/drawing/2014/main" id="{A3B6F28A-A679-407B-ED9B-D44EBFDE7652}"/>
              </a:ext>
            </a:extLst>
          </p:cNvPr>
          <p:cNvGrpSpPr/>
          <p:nvPr/>
        </p:nvGrpSpPr>
        <p:grpSpPr>
          <a:xfrm>
            <a:off x="513078" y="4504407"/>
            <a:ext cx="5179345" cy="1872000"/>
            <a:chOff x="513078" y="4284000"/>
            <a:chExt cx="5179345" cy="1872000"/>
          </a:xfrm>
        </p:grpSpPr>
        <p:cxnSp>
          <p:nvCxnSpPr>
            <p:cNvPr id="229" name="Straight Connector 228">
              <a:extLst>
                <a:ext uri="{FF2B5EF4-FFF2-40B4-BE49-F238E27FC236}">
                  <a16:creationId xmlns:a16="http://schemas.microsoft.com/office/drawing/2014/main" id="{852E2C88-AFE9-B894-DC42-A41AB6DEA141}"/>
                </a:ext>
              </a:extLst>
            </p:cNvPr>
            <p:cNvCxnSpPr>
              <a:cxnSpLocks/>
              <a:stCxn id="42" idx="2"/>
              <a:endCxn id="100" idx="7"/>
            </p:cNvCxnSpPr>
            <p:nvPr/>
          </p:nvCxnSpPr>
          <p:spPr>
            <a:xfrm flipV="1">
              <a:off x="942937" y="5112000"/>
              <a:ext cx="40745" cy="133475"/>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F5C46921-C545-313D-6CBA-85AB983769E3}"/>
                </a:ext>
              </a:extLst>
            </p:cNvPr>
            <p:cNvCxnSpPr>
              <a:cxnSpLocks/>
              <a:stCxn id="42" idx="2"/>
              <a:endCxn id="218" idx="0"/>
            </p:cNvCxnSpPr>
            <p:nvPr/>
          </p:nvCxnSpPr>
          <p:spPr>
            <a:xfrm>
              <a:off x="942937" y="5245475"/>
              <a:ext cx="40745" cy="82525"/>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F5728B96-0FFE-E983-2A95-5F7F80B87AF9}"/>
                </a:ext>
              </a:extLst>
            </p:cNvPr>
            <p:cNvCxnSpPr>
              <a:cxnSpLocks/>
              <a:stCxn id="100" idx="3"/>
              <a:endCxn id="210" idx="6"/>
            </p:cNvCxnSpPr>
            <p:nvPr/>
          </p:nvCxnSpPr>
          <p:spPr>
            <a:xfrm flipV="1">
              <a:off x="1883682" y="4644000"/>
              <a:ext cx="163747" cy="180000"/>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sp>
          <p:nvSpPr>
            <p:cNvPr id="42" name="Freeform: Shape 41">
              <a:extLst>
                <a:ext uri="{FF2B5EF4-FFF2-40B4-BE49-F238E27FC236}">
                  <a16:creationId xmlns:a16="http://schemas.microsoft.com/office/drawing/2014/main" id="{901135C3-607B-121C-AF77-C42F2393A313}"/>
                </a:ext>
              </a:extLst>
            </p:cNvPr>
            <p:cNvSpPr/>
            <p:nvPr/>
          </p:nvSpPr>
          <p:spPr>
            <a:xfrm>
              <a:off x="513078" y="5037657"/>
              <a:ext cx="429859" cy="415636"/>
            </a:xfrm>
            <a:custGeom>
              <a:avLst/>
              <a:gdLst>
                <a:gd name="connsiteX0" fmla="*/ 0 w 415636"/>
                <a:gd name="connsiteY0" fmla="*/ 207818 h 415636"/>
                <a:gd name="connsiteX1" fmla="*/ 207818 w 415636"/>
                <a:gd name="connsiteY1" fmla="*/ 0 h 415636"/>
                <a:gd name="connsiteX2" fmla="*/ 415636 w 415636"/>
                <a:gd name="connsiteY2" fmla="*/ 207818 h 415636"/>
                <a:gd name="connsiteX3" fmla="*/ 207818 w 415636"/>
                <a:gd name="connsiteY3" fmla="*/ 415636 h 415636"/>
                <a:gd name="connsiteX4" fmla="*/ 0 w 415636"/>
                <a:gd name="connsiteY4" fmla="*/ 207818 h 415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636" h="415636">
                  <a:moveTo>
                    <a:pt x="0" y="207818"/>
                  </a:moveTo>
                  <a:cubicBezTo>
                    <a:pt x="0" y="93043"/>
                    <a:pt x="93043" y="0"/>
                    <a:pt x="207818" y="0"/>
                  </a:cubicBezTo>
                  <a:cubicBezTo>
                    <a:pt x="322593" y="0"/>
                    <a:pt x="415636" y="93043"/>
                    <a:pt x="415636" y="207818"/>
                  </a:cubicBezTo>
                  <a:cubicBezTo>
                    <a:pt x="415636" y="322593"/>
                    <a:pt x="322593" y="415636"/>
                    <a:pt x="207818" y="415636"/>
                  </a:cubicBezTo>
                  <a:cubicBezTo>
                    <a:pt x="93043" y="415636"/>
                    <a:pt x="0" y="322593"/>
                    <a:pt x="0" y="20781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758" tIns="69758" rIns="69758" bIns="69758" numCol="1" spcCol="1270" anchor="ctr" anchorCtr="0">
              <a:noAutofit/>
            </a:bodyPr>
            <a:lstStyle/>
            <a:p>
              <a:pPr marL="0" lvl="0" indent="0" algn="ctr" defTabSz="622300">
                <a:lnSpc>
                  <a:spcPct val="90000"/>
                </a:lnSpc>
                <a:spcBef>
                  <a:spcPct val="0"/>
                </a:spcBef>
                <a:spcAft>
                  <a:spcPct val="35000"/>
                </a:spcAft>
                <a:buNone/>
              </a:pPr>
              <a:endParaRPr lang="en-GB" sz="1400" kern="1200"/>
            </a:p>
          </p:txBody>
        </p:sp>
        <p:sp>
          <p:nvSpPr>
            <p:cNvPr id="100" name="Freeform: Shape 99">
              <a:extLst>
                <a:ext uri="{FF2B5EF4-FFF2-40B4-BE49-F238E27FC236}">
                  <a16:creationId xmlns:a16="http://schemas.microsoft.com/office/drawing/2014/main" id="{8FDACA03-05EC-0A63-EDED-EF66E1F936D1}"/>
                </a:ext>
              </a:extLst>
            </p:cNvPr>
            <p:cNvSpPr/>
            <p:nvPr/>
          </p:nvSpPr>
          <p:spPr>
            <a:xfrm>
              <a:off x="983682" y="4788000"/>
              <a:ext cx="900000" cy="360000"/>
            </a:xfrm>
            <a:custGeom>
              <a:avLst/>
              <a:gdLst>
                <a:gd name="connsiteX0" fmla="*/ 0 w 748233"/>
                <a:gd name="connsiteY0" fmla="*/ 34011 h 340106"/>
                <a:gd name="connsiteX1" fmla="*/ 34011 w 748233"/>
                <a:gd name="connsiteY1" fmla="*/ 0 h 340106"/>
                <a:gd name="connsiteX2" fmla="*/ 714222 w 748233"/>
                <a:gd name="connsiteY2" fmla="*/ 0 h 340106"/>
                <a:gd name="connsiteX3" fmla="*/ 748233 w 748233"/>
                <a:gd name="connsiteY3" fmla="*/ 34011 h 340106"/>
                <a:gd name="connsiteX4" fmla="*/ 748233 w 748233"/>
                <a:gd name="connsiteY4" fmla="*/ 306095 h 340106"/>
                <a:gd name="connsiteX5" fmla="*/ 714222 w 748233"/>
                <a:gd name="connsiteY5" fmla="*/ 340106 h 340106"/>
                <a:gd name="connsiteX6" fmla="*/ 34011 w 748233"/>
                <a:gd name="connsiteY6" fmla="*/ 340106 h 340106"/>
                <a:gd name="connsiteX7" fmla="*/ 0 w 748233"/>
                <a:gd name="connsiteY7" fmla="*/ 306095 h 340106"/>
                <a:gd name="connsiteX8" fmla="*/ 0 w 748233"/>
                <a:gd name="connsiteY8" fmla="*/ 34011 h 3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233" h="340106">
                  <a:moveTo>
                    <a:pt x="0" y="34011"/>
                  </a:moveTo>
                  <a:cubicBezTo>
                    <a:pt x="0" y="15227"/>
                    <a:pt x="15227" y="0"/>
                    <a:pt x="34011" y="0"/>
                  </a:cubicBezTo>
                  <a:lnTo>
                    <a:pt x="714222" y="0"/>
                  </a:lnTo>
                  <a:cubicBezTo>
                    <a:pt x="733006" y="0"/>
                    <a:pt x="748233" y="15227"/>
                    <a:pt x="748233" y="34011"/>
                  </a:cubicBezTo>
                  <a:lnTo>
                    <a:pt x="748233" y="306095"/>
                  </a:lnTo>
                  <a:cubicBezTo>
                    <a:pt x="748233" y="324879"/>
                    <a:pt x="733006" y="340106"/>
                    <a:pt x="714222" y="340106"/>
                  </a:cubicBezTo>
                  <a:lnTo>
                    <a:pt x="34011" y="340106"/>
                  </a:lnTo>
                  <a:cubicBezTo>
                    <a:pt x="15227" y="340106"/>
                    <a:pt x="0" y="324879"/>
                    <a:pt x="0" y="306095"/>
                  </a:cubicBezTo>
                  <a:lnTo>
                    <a:pt x="0" y="3401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11" tIns="16311" rIns="16311" bIns="16311" numCol="1" spcCol="1270" anchor="ctr" anchorCtr="0">
              <a:noAutofit/>
            </a:bodyPr>
            <a:lstStyle/>
            <a:p>
              <a:pPr marL="0" lvl="0" indent="0" algn="ctr" defTabSz="444500">
                <a:lnSpc>
                  <a:spcPct val="90000"/>
                </a:lnSpc>
                <a:spcBef>
                  <a:spcPct val="0"/>
                </a:spcBef>
                <a:spcAft>
                  <a:spcPct val="35000"/>
                </a:spcAft>
                <a:buNone/>
              </a:pPr>
              <a:endParaRPr lang="en-GB" sz="1000" kern="1200"/>
            </a:p>
          </p:txBody>
        </p:sp>
        <p:sp>
          <p:nvSpPr>
            <p:cNvPr id="210" name="Freeform: Shape 209">
              <a:extLst>
                <a:ext uri="{FF2B5EF4-FFF2-40B4-BE49-F238E27FC236}">
                  <a16:creationId xmlns:a16="http://schemas.microsoft.com/office/drawing/2014/main" id="{AC584A21-363E-3204-E7AF-1F3F466BF60B}"/>
                </a:ext>
              </a:extLst>
            </p:cNvPr>
            <p:cNvSpPr/>
            <p:nvPr/>
          </p:nvSpPr>
          <p:spPr>
            <a:xfrm>
              <a:off x="2011429" y="4284000"/>
              <a:ext cx="900000" cy="360000"/>
            </a:xfrm>
            <a:custGeom>
              <a:avLst/>
              <a:gdLst>
                <a:gd name="connsiteX0" fmla="*/ 0 w 850265"/>
                <a:gd name="connsiteY0" fmla="*/ 34011 h 340106"/>
                <a:gd name="connsiteX1" fmla="*/ 34011 w 850265"/>
                <a:gd name="connsiteY1" fmla="*/ 0 h 340106"/>
                <a:gd name="connsiteX2" fmla="*/ 816254 w 850265"/>
                <a:gd name="connsiteY2" fmla="*/ 0 h 340106"/>
                <a:gd name="connsiteX3" fmla="*/ 850265 w 850265"/>
                <a:gd name="connsiteY3" fmla="*/ 34011 h 340106"/>
                <a:gd name="connsiteX4" fmla="*/ 850265 w 850265"/>
                <a:gd name="connsiteY4" fmla="*/ 306095 h 340106"/>
                <a:gd name="connsiteX5" fmla="*/ 816254 w 850265"/>
                <a:gd name="connsiteY5" fmla="*/ 340106 h 340106"/>
                <a:gd name="connsiteX6" fmla="*/ 34011 w 850265"/>
                <a:gd name="connsiteY6" fmla="*/ 340106 h 340106"/>
                <a:gd name="connsiteX7" fmla="*/ 0 w 850265"/>
                <a:gd name="connsiteY7" fmla="*/ 306095 h 340106"/>
                <a:gd name="connsiteX8" fmla="*/ 0 w 850265"/>
                <a:gd name="connsiteY8" fmla="*/ 34011 h 3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65" h="340106">
                  <a:moveTo>
                    <a:pt x="0" y="34011"/>
                  </a:moveTo>
                  <a:cubicBezTo>
                    <a:pt x="0" y="15227"/>
                    <a:pt x="15227" y="0"/>
                    <a:pt x="34011" y="0"/>
                  </a:cubicBezTo>
                  <a:lnTo>
                    <a:pt x="816254" y="0"/>
                  </a:lnTo>
                  <a:cubicBezTo>
                    <a:pt x="835038" y="0"/>
                    <a:pt x="850265" y="15227"/>
                    <a:pt x="850265" y="34011"/>
                  </a:cubicBezTo>
                  <a:lnTo>
                    <a:pt x="850265" y="306095"/>
                  </a:lnTo>
                  <a:cubicBezTo>
                    <a:pt x="850265" y="324879"/>
                    <a:pt x="835038" y="340106"/>
                    <a:pt x="816254" y="340106"/>
                  </a:cubicBezTo>
                  <a:lnTo>
                    <a:pt x="34011" y="340106"/>
                  </a:lnTo>
                  <a:cubicBezTo>
                    <a:pt x="15227" y="340106"/>
                    <a:pt x="0" y="324879"/>
                    <a:pt x="0" y="306095"/>
                  </a:cubicBezTo>
                  <a:lnTo>
                    <a:pt x="0" y="3401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11" tIns="16311" rIns="16311" bIns="16311" numCol="1" spcCol="1270" anchor="ctr" anchorCtr="0">
              <a:noAutofit/>
            </a:bodyPr>
            <a:lstStyle/>
            <a:p>
              <a:pPr marL="0" lvl="0" indent="0" algn="ctr" defTabSz="444500">
                <a:lnSpc>
                  <a:spcPct val="90000"/>
                </a:lnSpc>
                <a:spcBef>
                  <a:spcPct val="0"/>
                </a:spcBef>
                <a:spcAft>
                  <a:spcPct val="35000"/>
                </a:spcAft>
                <a:buNone/>
              </a:pPr>
              <a:endParaRPr lang="en-GB" sz="1000" kern="1200"/>
            </a:p>
          </p:txBody>
        </p:sp>
        <p:sp>
          <p:nvSpPr>
            <p:cNvPr id="212" name="Freeform: Shape 211">
              <a:extLst>
                <a:ext uri="{FF2B5EF4-FFF2-40B4-BE49-F238E27FC236}">
                  <a16:creationId xmlns:a16="http://schemas.microsoft.com/office/drawing/2014/main" id="{D3C5836F-9BE2-C1D0-1D3D-A80D0B77CD00}"/>
                </a:ext>
              </a:extLst>
            </p:cNvPr>
            <p:cNvSpPr/>
            <p:nvPr/>
          </p:nvSpPr>
          <p:spPr>
            <a:xfrm>
              <a:off x="2991942" y="4788000"/>
              <a:ext cx="1116000" cy="360000"/>
            </a:xfrm>
            <a:custGeom>
              <a:avLst/>
              <a:gdLst>
                <a:gd name="connsiteX0" fmla="*/ 0 w 820615"/>
                <a:gd name="connsiteY0" fmla="*/ 32825 h 328245"/>
                <a:gd name="connsiteX1" fmla="*/ 32825 w 820615"/>
                <a:gd name="connsiteY1" fmla="*/ 0 h 328245"/>
                <a:gd name="connsiteX2" fmla="*/ 787791 w 820615"/>
                <a:gd name="connsiteY2" fmla="*/ 0 h 328245"/>
                <a:gd name="connsiteX3" fmla="*/ 820616 w 820615"/>
                <a:gd name="connsiteY3" fmla="*/ 32825 h 328245"/>
                <a:gd name="connsiteX4" fmla="*/ 820615 w 820615"/>
                <a:gd name="connsiteY4" fmla="*/ 295421 h 328245"/>
                <a:gd name="connsiteX5" fmla="*/ 787790 w 820615"/>
                <a:gd name="connsiteY5" fmla="*/ 328246 h 328245"/>
                <a:gd name="connsiteX6" fmla="*/ 32825 w 820615"/>
                <a:gd name="connsiteY6" fmla="*/ 328245 h 328245"/>
                <a:gd name="connsiteX7" fmla="*/ 0 w 820615"/>
                <a:gd name="connsiteY7" fmla="*/ 295420 h 328245"/>
                <a:gd name="connsiteX8" fmla="*/ 0 w 820615"/>
                <a:gd name="connsiteY8" fmla="*/ 32825 h 32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0615" h="328245">
                  <a:moveTo>
                    <a:pt x="0" y="32825"/>
                  </a:moveTo>
                  <a:cubicBezTo>
                    <a:pt x="0" y="14696"/>
                    <a:pt x="14696" y="0"/>
                    <a:pt x="32825" y="0"/>
                  </a:cubicBezTo>
                  <a:lnTo>
                    <a:pt x="787791" y="0"/>
                  </a:lnTo>
                  <a:cubicBezTo>
                    <a:pt x="805920" y="0"/>
                    <a:pt x="820616" y="14696"/>
                    <a:pt x="820616" y="32825"/>
                  </a:cubicBezTo>
                  <a:cubicBezTo>
                    <a:pt x="820616" y="120357"/>
                    <a:pt x="820615" y="207889"/>
                    <a:pt x="820615" y="295421"/>
                  </a:cubicBezTo>
                  <a:cubicBezTo>
                    <a:pt x="820615" y="313550"/>
                    <a:pt x="805919" y="328246"/>
                    <a:pt x="787790" y="328246"/>
                  </a:cubicBezTo>
                  <a:lnTo>
                    <a:pt x="32825" y="328245"/>
                  </a:lnTo>
                  <a:cubicBezTo>
                    <a:pt x="14696" y="328245"/>
                    <a:pt x="0" y="313549"/>
                    <a:pt x="0" y="295420"/>
                  </a:cubicBezTo>
                  <a:lnTo>
                    <a:pt x="0" y="3282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64" tIns="15964" rIns="15964" bIns="15964" numCol="1" spcCol="1270" anchor="ctr" anchorCtr="0">
              <a:noAutofit/>
            </a:bodyPr>
            <a:lstStyle/>
            <a:p>
              <a:pPr marL="0" lvl="0" indent="0" algn="ctr" defTabSz="444500">
                <a:lnSpc>
                  <a:spcPct val="90000"/>
                </a:lnSpc>
                <a:spcBef>
                  <a:spcPct val="0"/>
                </a:spcBef>
                <a:spcAft>
                  <a:spcPct val="35000"/>
                </a:spcAft>
                <a:buNone/>
              </a:pPr>
              <a:endParaRPr lang="en-GB" sz="1000" kern="1200"/>
            </a:p>
          </p:txBody>
        </p:sp>
        <p:sp>
          <p:nvSpPr>
            <p:cNvPr id="215" name="Freeform: Shape 214">
              <a:extLst>
                <a:ext uri="{FF2B5EF4-FFF2-40B4-BE49-F238E27FC236}">
                  <a16:creationId xmlns:a16="http://schemas.microsoft.com/office/drawing/2014/main" id="{76404101-9983-28E5-4F3C-09B7A8B4A096}"/>
                </a:ext>
              </a:extLst>
            </p:cNvPr>
            <p:cNvSpPr/>
            <p:nvPr/>
          </p:nvSpPr>
          <p:spPr>
            <a:xfrm>
              <a:off x="4232652" y="4356000"/>
              <a:ext cx="1459771" cy="360000"/>
            </a:xfrm>
            <a:custGeom>
              <a:avLst/>
              <a:gdLst>
                <a:gd name="connsiteX0" fmla="*/ 0 w 971999"/>
                <a:gd name="connsiteY0" fmla="*/ 36000 h 360000"/>
                <a:gd name="connsiteX1" fmla="*/ 36000 w 971999"/>
                <a:gd name="connsiteY1" fmla="*/ 0 h 360000"/>
                <a:gd name="connsiteX2" fmla="*/ 935999 w 971999"/>
                <a:gd name="connsiteY2" fmla="*/ 0 h 360000"/>
                <a:gd name="connsiteX3" fmla="*/ 971999 w 971999"/>
                <a:gd name="connsiteY3" fmla="*/ 36000 h 360000"/>
                <a:gd name="connsiteX4" fmla="*/ 971999 w 971999"/>
                <a:gd name="connsiteY4" fmla="*/ 324000 h 360000"/>
                <a:gd name="connsiteX5" fmla="*/ 935999 w 971999"/>
                <a:gd name="connsiteY5" fmla="*/ 360000 h 360000"/>
                <a:gd name="connsiteX6" fmla="*/ 36000 w 971999"/>
                <a:gd name="connsiteY6" fmla="*/ 360000 h 360000"/>
                <a:gd name="connsiteX7" fmla="*/ 0 w 971999"/>
                <a:gd name="connsiteY7" fmla="*/ 324000 h 360000"/>
                <a:gd name="connsiteX8" fmla="*/ 0 w 971999"/>
                <a:gd name="connsiteY8" fmla="*/ 36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999" h="360000">
                  <a:moveTo>
                    <a:pt x="0" y="36000"/>
                  </a:moveTo>
                  <a:cubicBezTo>
                    <a:pt x="0" y="16118"/>
                    <a:pt x="16118" y="0"/>
                    <a:pt x="36000" y="0"/>
                  </a:cubicBezTo>
                  <a:lnTo>
                    <a:pt x="935999" y="0"/>
                  </a:lnTo>
                  <a:cubicBezTo>
                    <a:pt x="955881" y="0"/>
                    <a:pt x="971999" y="16118"/>
                    <a:pt x="971999" y="36000"/>
                  </a:cubicBezTo>
                  <a:lnTo>
                    <a:pt x="971999" y="324000"/>
                  </a:lnTo>
                  <a:cubicBezTo>
                    <a:pt x="971999" y="343882"/>
                    <a:pt x="955881" y="360000"/>
                    <a:pt x="935999" y="360000"/>
                  </a:cubicBezTo>
                  <a:lnTo>
                    <a:pt x="36000" y="360000"/>
                  </a:lnTo>
                  <a:cubicBezTo>
                    <a:pt x="16118" y="360000"/>
                    <a:pt x="0" y="343882"/>
                    <a:pt x="0" y="324000"/>
                  </a:cubicBezTo>
                  <a:lnTo>
                    <a:pt x="0" y="3600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894" tIns="16894" rIns="16894" bIns="16894" numCol="1" spcCol="1270" anchor="ctr" anchorCtr="0">
              <a:noAutofit/>
            </a:bodyPr>
            <a:lstStyle/>
            <a:p>
              <a:pPr marL="0" lvl="0" indent="0" algn="ctr" defTabSz="444500">
                <a:lnSpc>
                  <a:spcPct val="90000"/>
                </a:lnSpc>
                <a:spcBef>
                  <a:spcPct val="0"/>
                </a:spcBef>
                <a:spcAft>
                  <a:spcPct val="35000"/>
                </a:spcAft>
                <a:buNone/>
              </a:pPr>
              <a:endParaRPr lang="en-GB" sz="1000" kern="1200"/>
            </a:p>
          </p:txBody>
        </p:sp>
        <p:sp>
          <p:nvSpPr>
            <p:cNvPr id="218" name="Freeform: Shape 217">
              <a:extLst>
                <a:ext uri="{FF2B5EF4-FFF2-40B4-BE49-F238E27FC236}">
                  <a16:creationId xmlns:a16="http://schemas.microsoft.com/office/drawing/2014/main" id="{D7E9DC49-535B-37F0-5BCB-5D078AFB2D76}"/>
                </a:ext>
              </a:extLst>
            </p:cNvPr>
            <p:cNvSpPr/>
            <p:nvPr/>
          </p:nvSpPr>
          <p:spPr>
            <a:xfrm>
              <a:off x="983682" y="5292000"/>
              <a:ext cx="900000" cy="360000"/>
            </a:xfrm>
            <a:custGeom>
              <a:avLst/>
              <a:gdLst>
                <a:gd name="connsiteX0" fmla="*/ 0 w 748233"/>
                <a:gd name="connsiteY0" fmla="*/ 34011 h 340106"/>
                <a:gd name="connsiteX1" fmla="*/ 34011 w 748233"/>
                <a:gd name="connsiteY1" fmla="*/ 0 h 340106"/>
                <a:gd name="connsiteX2" fmla="*/ 714222 w 748233"/>
                <a:gd name="connsiteY2" fmla="*/ 0 h 340106"/>
                <a:gd name="connsiteX3" fmla="*/ 748233 w 748233"/>
                <a:gd name="connsiteY3" fmla="*/ 34011 h 340106"/>
                <a:gd name="connsiteX4" fmla="*/ 748233 w 748233"/>
                <a:gd name="connsiteY4" fmla="*/ 306095 h 340106"/>
                <a:gd name="connsiteX5" fmla="*/ 714222 w 748233"/>
                <a:gd name="connsiteY5" fmla="*/ 340106 h 340106"/>
                <a:gd name="connsiteX6" fmla="*/ 34011 w 748233"/>
                <a:gd name="connsiteY6" fmla="*/ 340106 h 340106"/>
                <a:gd name="connsiteX7" fmla="*/ 0 w 748233"/>
                <a:gd name="connsiteY7" fmla="*/ 306095 h 340106"/>
                <a:gd name="connsiteX8" fmla="*/ 0 w 748233"/>
                <a:gd name="connsiteY8" fmla="*/ 34011 h 34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233" h="340106">
                  <a:moveTo>
                    <a:pt x="0" y="34011"/>
                  </a:moveTo>
                  <a:cubicBezTo>
                    <a:pt x="0" y="15227"/>
                    <a:pt x="15227" y="0"/>
                    <a:pt x="34011" y="0"/>
                  </a:cubicBezTo>
                  <a:lnTo>
                    <a:pt x="714222" y="0"/>
                  </a:lnTo>
                  <a:cubicBezTo>
                    <a:pt x="733006" y="0"/>
                    <a:pt x="748233" y="15227"/>
                    <a:pt x="748233" y="34011"/>
                  </a:cubicBezTo>
                  <a:lnTo>
                    <a:pt x="748233" y="306095"/>
                  </a:lnTo>
                  <a:cubicBezTo>
                    <a:pt x="748233" y="324879"/>
                    <a:pt x="733006" y="340106"/>
                    <a:pt x="714222" y="340106"/>
                  </a:cubicBezTo>
                  <a:lnTo>
                    <a:pt x="34011" y="340106"/>
                  </a:lnTo>
                  <a:cubicBezTo>
                    <a:pt x="15227" y="340106"/>
                    <a:pt x="0" y="324879"/>
                    <a:pt x="0" y="306095"/>
                  </a:cubicBezTo>
                  <a:lnTo>
                    <a:pt x="0" y="3401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11" tIns="16311" rIns="16311" bIns="16311" numCol="1" spcCol="1270" anchor="ctr" anchorCtr="0">
              <a:noAutofit/>
            </a:bodyPr>
            <a:lstStyle/>
            <a:p>
              <a:pPr marL="0" lvl="0" indent="0" algn="ctr" defTabSz="444500">
                <a:lnSpc>
                  <a:spcPct val="90000"/>
                </a:lnSpc>
                <a:spcBef>
                  <a:spcPct val="0"/>
                </a:spcBef>
                <a:spcAft>
                  <a:spcPct val="35000"/>
                </a:spcAft>
                <a:buNone/>
              </a:pPr>
              <a:endParaRPr lang="en-GB" sz="1000" kern="1200"/>
            </a:p>
          </p:txBody>
        </p:sp>
        <p:sp>
          <p:nvSpPr>
            <p:cNvPr id="220" name="Freeform: Shape 219">
              <a:extLst>
                <a:ext uri="{FF2B5EF4-FFF2-40B4-BE49-F238E27FC236}">
                  <a16:creationId xmlns:a16="http://schemas.microsoft.com/office/drawing/2014/main" id="{0E56F82C-168E-9F85-5A5C-F64DB2D256F5}"/>
                </a:ext>
              </a:extLst>
            </p:cNvPr>
            <p:cNvSpPr/>
            <p:nvPr/>
          </p:nvSpPr>
          <p:spPr>
            <a:xfrm>
              <a:off x="2991942" y="5292000"/>
              <a:ext cx="1116000" cy="545198"/>
            </a:xfrm>
            <a:custGeom>
              <a:avLst/>
              <a:gdLst>
                <a:gd name="connsiteX0" fmla="*/ 0 w 1039556"/>
                <a:gd name="connsiteY0" fmla="*/ 29744 h 297435"/>
                <a:gd name="connsiteX1" fmla="*/ 29744 w 1039556"/>
                <a:gd name="connsiteY1" fmla="*/ 0 h 297435"/>
                <a:gd name="connsiteX2" fmla="*/ 1009813 w 1039556"/>
                <a:gd name="connsiteY2" fmla="*/ 0 h 297435"/>
                <a:gd name="connsiteX3" fmla="*/ 1039557 w 1039556"/>
                <a:gd name="connsiteY3" fmla="*/ 29744 h 297435"/>
                <a:gd name="connsiteX4" fmla="*/ 1039556 w 1039556"/>
                <a:gd name="connsiteY4" fmla="*/ 267692 h 297435"/>
                <a:gd name="connsiteX5" fmla="*/ 1009812 w 1039556"/>
                <a:gd name="connsiteY5" fmla="*/ 297436 h 297435"/>
                <a:gd name="connsiteX6" fmla="*/ 29744 w 1039556"/>
                <a:gd name="connsiteY6" fmla="*/ 297435 h 297435"/>
                <a:gd name="connsiteX7" fmla="*/ 0 w 1039556"/>
                <a:gd name="connsiteY7" fmla="*/ 267691 h 297435"/>
                <a:gd name="connsiteX8" fmla="*/ 0 w 1039556"/>
                <a:gd name="connsiteY8" fmla="*/ 29744 h 2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9556" h="297435">
                  <a:moveTo>
                    <a:pt x="0" y="29744"/>
                  </a:moveTo>
                  <a:cubicBezTo>
                    <a:pt x="0" y="13317"/>
                    <a:pt x="13317" y="0"/>
                    <a:pt x="29744" y="0"/>
                  </a:cubicBezTo>
                  <a:lnTo>
                    <a:pt x="1009813" y="0"/>
                  </a:lnTo>
                  <a:cubicBezTo>
                    <a:pt x="1026240" y="0"/>
                    <a:pt x="1039557" y="13317"/>
                    <a:pt x="1039557" y="29744"/>
                  </a:cubicBezTo>
                  <a:cubicBezTo>
                    <a:pt x="1039557" y="109060"/>
                    <a:pt x="1039556" y="188376"/>
                    <a:pt x="1039556" y="267692"/>
                  </a:cubicBezTo>
                  <a:cubicBezTo>
                    <a:pt x="1039556" y="284119"/>
                    <a:pt x="1026239" y="297436"/>
                    <a:pt x="1009812" y="297436"/>
                  </a:cubicBezTo>
                  <a:lnTo>
                    <a:pt x="29744" y="297435"/>
                  </a:lnTo>
                  <a:cubicBezTo>
                    <a:pt x="13317" y="297435"/>
                    <a:pt x="0" y="284118"/>
                    <a:pt x="0" y="267691"/>
                  </a:cubicBezTo>
                  <a:lnTo>
                    <a:pt x="0" y="2974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062" tIns="15062" rIns="15062" bIns="15062" numCol="1" spcCol="1270" anchor="ctr" anchorCtr="0">
              <a:noAutofit/>
            </a:bodyPr>
            <a:lstStyle/>
            <a:p>
              <a:pPr marL="0" lvl="0" indent="0" algn="ctr" defTabSz="444500">
                <a:lnSpc>
                  <a:spcPct val="90000"/>
                </a:lnSpc>
                <a:spcBef>
                  <a:spcPct val="0"/>
                </a:spcBef>
                <a:spcAft>
                  <a:spcPct val="35000"/>
                </a:spcAft>
                <a:buNone/>
              </a:pPr>
              <a:endParaRPr lang="en-GB" sz="1000" kern="1200"/>
            </a:p>
          </p:txBody>
        </p:sp>
        <p:sp>
          <p:nvSpPr>
            <p:cNvPr id="222" name="Freeform: Shape 221">
              <a:extLst>
                <a:ext uri="{FF2B5EF4-FFF2-40B4-BE49-F238E27FC236}">
                  <a16:creationId xmlns:a16="http://schemas.microsoft.com/office/drawing/2014/main" id="{00C0811F-2158-4A18-6D20-8B6CBFE2AE2E}"/>
                </a:ext>
              </a:extLst>
            </p:cNvPr>
            <p:cNvSpPr/>
            <p:nvPr/>
          </p:nvSpPr>
          <p:spPr>
            <a:xfrm>
              <a:off x="4232497" y="5724000"/>
              <a:ext cx="1459771" cy="360000"/>
            </a:xfrm>
            <a:custGeom>
              <a:avLst/>
              <a:gdLst>
                <a:gd name="connsiteX0" fmla="*/ 0 w 965483"/>
                <a:gd name="connsiteY0" fmla="*/ 35759 h 357586"/>
                <a:gd name="connsiteX1" fmla="*/ 35759 w 965483"/>
                <a:gd name="connsiteY1" fmla="*/ 0 h 357586"/>
                <a:gd name="connsiteX2" fmla="*/ 929724 w 965483"/>
                <a:gd name="connsiteY2" fmla="*/ 0 h 357586"/>
                <a:gd name="connsiteX3" fmla="*/ 965483 w 965483"/>
                <a:gd name="connsiteY3" fmla="*/ 35759 h 357586"/>
                <a:gd name="connsiteX4" fmla="*/ 965483 w 965483"/>
                <a:gd name="connsiteY4" fmla="*/ 321827 h 357586"/>
                <a:gd name="connsiteX5" fmla="*/ 929724 w 965483"/>
                <a:gd name="connsiteY5" fmla="*/ 357586 h 357586"/>
                <a:gd name="connsiteX6" fmla="*/ 35759 w 965483"/>
                <a:gd name="connsiteY6" fmla="*/ 357586 h 357586"/>
                <a:gd name="connsiteX7" fmla="*/ 0 w 965483"/>
                <a:gd name="connsiteY7" fmla="*/ 321827 h 357586"/>
                <a:gd name="connsiteX8" fmla="*/ 0 w 965483"/>
                <a:gd name="connsiteY8" fmla="*/ 35759 h 35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483" h="357586">
                  <a:moveTo>
                    <a:pt x="0" y="35759"/>
                  </a:moveTo>
                  <a:cubicBezTo>
                    <a:pt x="0" y="16010"/>
                    <a:pt x="16010" y="0"/>
                    <a:pt x="35759" y="0"/>
                  </a:cubicBezTo>
                  <a:lnTo>
                    <a:pt x="929724" y="0"/>
                  </a:lnTo>
                  <a:cubicBezTo>
                    <a:pt x="949473" y="0"/>
                    <a:pt x="965483" y="16010"/>
                    <a:pt x="965483" y="35759"/>
                  </a:cubicBezTo>
                  <a:lnTo>
                    <a:pt x="965483" y="321827"/>
                  </a:lnTo>
                  <a:cubicBezTo>
                    <a:pt x="965483" y="341576"/>
                    <a:pt x="949473" y="357586"/>
                    <a:pt x="929724" y="357586"/>
                  </a:cubicBezTo>
                  <a:lnTo>
                    <a:pt x="35759" y="357586"/>
                  </a:lnTo>
                  <a:cubicBezTo>
                    <a:pt x="16010" y="357586"/>
                    <a:pt x="0" y="341576"/>
                    <a:pt x="0" y="321827"/>
                  </a:cubicBezTo>
                  <a:lnTo>
                    <a:pt x="0" y="357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823" tIns="16823" rIns="16823" bIns="16823" numCol="1" spcCol="1270" anchor="ctr" anchorCtr="0">
              <a:noAutofit/>
            </a:bodyPr>
            <a:lstStyle/>
            <a:p>
              <a:pPr marL="0" lvl="0" indent="0" algn="ctr" defTabSz="444500">
                <a:lnSpc>
                  <a:spcPct val="90000"/>
                </a:lnSpc>
                <a:spcBef>
                  <a:spcPct val="0"/>
                </a:spcBef>
                <a:spcAft>
                  <a:spcPct val="35000"/>
                </a:spcAft>
                <a:buNone/>
              </a:pPr>
              <a:endParaRPr lang="en-GB" sz="1000" kern="1200"/>
            </a:p>
          </p:txBody>
        </p:sp>
        <p:sp>
          <p:nvSpPr>
            <p:cNvPr id="224" name="Freeform: Shape 223">
              <a:extLst>
                <a:ext uri="{FF2B5EF4-FFF2-40B4-BE49-F238E27FC236}">
                  <a16:creationId xmlns:a16="http://schemas.microsoft.com/office/drawing/2014/main" id="{27BC7D30-5205-83EB-A575-792D3A23CC3C}"/>
                </a:ext>
              </a:extLst>
            </p:cNvPr>
            <p:cNvSpPr/>
            <p:nvPr/>
          </p:nvSpPr>
          <p:spPr>
            <a:xfrm>
              <a:off x="2011429" y="5796000"/>
              <a:ext cx="900000" cy="360000"/>
            </a:xfrm>
            <a:custGeom>
              <a:avLst/>
              <a:gdLst>
                <a:gd name="connsiteX0" fmla="*/ 0 w 1170762"/>
                <a:gd name="connsiteY0" fmla="*/ 31972 h 319720"/>
                <a:gd name="connsiteX1" fmla="*/ 31972 w 1170762"/>
                <a:gd name="connsiteY1" fmla="*/ 0 h 319720"/>
                <a:gd name="connsiteX2" fmla="*/ 1138790 w 1170762"/>
                <a:gd name="connsiteY2" fmla="*/ 0 h 319720"/>
                <a:gd name="connsiteX3" fmla="*/ 1170762 w 1170762"/>
                <a:gd name="connsiteY3" fmla="*/ 31972 h 319720"/>
                <a:gd name="connsiteX4" fmla="*/ 1170762 w 1170762"/>
                <a:gd name="connsiteY4" fmla="*/ 287748 h 319720"/>
                <a:gd name="connsiteX5" fmla="*/ 1138790 w 1170762"/>
                <a:gd name="connsiteY5" fmla="*/ 319720 h 319720"/>
                <a:gd name="connsiteX6" fmla="*/ 31972 w 1170762"/>
                <a:gd name="connsiteY6" fmla="*/ 319720 h 319720"/>
                <a:gd name="connsiteX7" fmla="*/ 0 w 1170762"/>
                <a:gd name="connsiteY7" fmla="*/ 287748 h 319720"/>
                <a:gd name="connsiteX8" fmla="*/ 0 w 1170762"/>
                <a:gd name="connsiteY8" fmla="*/ 31972 h 31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0762" h="319720">
                  <a:moveTo>
                    <a:pt x="0" y="31972"/>
                  </a:moveTo>
                  <a:cubicBezTo>
                    <a:pt x="0" y="14314"/>
                    <a:pt x="14314" y="0"/>
                    <a:pt x="31972" y="0"/>
                  </a:cubicBezTo>
                  <a:lnTo>
                    <a:pt x="1138790" y="0"/>
                  </a:lnTo>
                  <a:cubicBezTo>
                    <a:pt x="1156448" y="0"/>
                    <a:pt x="1170762" y="14314"/>
                    <a:pt x="1170762" y="31972"/>
                  </a:cubicBezTo>
                  <a:lnTo>
                    <a:pt x="1170762" y="287748"/>
                  </a:lnTo>
                  <a:cubicBezTo>
                    <a:pt x="1170762" y="305406"/>
                    <a:pt x="1156448" y="319720"/>
                    <a:pt x="1138790" y="319720"/>
                  </a:cubicBezTo>
                  <a:lnTo>
                    <a:pt x="31972" y="319720"/>
                  </a:lnTo>
                  <a:cubicBezTo>
                    <a:pt x="14314" y="319720"/>
                    <a:pt x="0" y="305406"/>
                    <a:pt x="0" y="287748"/>
                  </a:cubicBezTo>
                  <a:lnTo>
                    <a:pt x="0" y="3197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714" tIns="15714" rIns="15714" bIns="15714" numCol="1" spcCol="1270" anchor="ctr" anchorCtr="0">
              <a:noAutofit/>
            </a:bodyPr>
            <a:lstStyle/>
            <a:p>
              <a:pPr marL="0" lvl="0" indent="0" algn="ctr" defTabSz="444500">
                <a:lnSpc>
                  <a:spcPct val="90000"/>
                </a:lnSpc>
                <a:spcBef>
                  <a:spcPct val="0"/>
                </a:spcBef>
                <a:spcAft>
                  <a:spcPct val="35000"/>
                </a:spcAft>
                <a:buNone/>
              </a:pPr>
              <a:endParaRPr lang="en-GB" sz="1000" kern="1200"/>
            </a:p>
          </p:txBody>
        </p:sp>
        <p:cxnSp>
          <p:nvCxnSpPr>
            <p:cNvPr id="239" name="Straight Connector 238">
              <a:extLst>
                <a:ext uri="{FF2B5EF4-FFF2-40B4-BE49-F238E27FC236}">
                  <a16:creationId xmlns:a16="http://schemas.microsoft.com/office/drawing/2014/main" id="{37F98023-6485-681A-12F4-EB783FF91259}"/>
                </a:ext>
              </a:extLst>
            </p:cNvPr>
            <p:cNvCxnSpPr>
              <a:cxnSpLocks/>
              <a:stCxn id="218" idx="4"/>
              <a:endCxn id="224" idx="1"/>
            </p:cNvCxnSpPr>
            <p:nvPr/>
          </p:nvCxnSpPr>
          <p:spPr>
            <a:xfrm>
              <a:off x="1883682" y="5616000"/>
              <a:ext cx="152325" cy="180000"/>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sp>
          <p:nvSpPr>
            <p:cNvPr id="247" name="Freeform: Shape 246">
              <a:extLst>
                <a:ext uri="{FF2B5EF4-FFF2-40B4-BE49-F238E27FC236}">
                  <a16:creationId xmlns:a16="http://schemas.microsoft.com/office/drawing/2014/main" id="{84784B3A-4548-409B-80FE-ACFD847AB5F0}"/>
                </a:ext>
              </a:extLst>
            </p:cNvPr>
            <p:cNvSpPr/>
            <p:nvPr/>
          </p:nvSpPr>
          <p:spPr>
            <a:xfrm>
              <a:off x="4232652" y="5040000"/>
              <a:ext cx="1459771" cy="360000"/>
            </a:xfrm>
            <a:custGeom>
              <a:avLst/>
              <a:gdLst>
                <a:gd name="connsiteX0" fmla="*/ 0 w 971999"/>
                <a:gd name="connsiteY0" fmla="*/ 36000 h 360000"/>
                <a:gd name="connsiteX1" fmla="*/ 36000 w 971999"/>
                <a:gd name="connsiteY1" fmla="*/ 0 h 360000"/>
                <a:gd name="connsiteX2" fmla="*/ 935999 w 971999"/>
                <a:gd name="connsiteY2" fmla="*/ 0 h 360000"/>
                <a:gd name="connsiteX3" fmla="*/ 971999 w 971999"/>
                <a:gd name="connsiteY3" fmla="*/ 36000 h 360000"/>
                <a:gd name="connsiteX4" fmla="*/ 971999 w 971999"/>
                <a:gd name="connsiteY4" fmla="*/ 324000 h 360000"/>
                <a:gd name="connsiteX5" fmla="*/ 935999 w 971999"/>
                <a:gd name="connsiteY5" fmla="*/ 360000 h 360000"/>
                <a:gd name="connsiteX6" fmla="*/ 36000 w 971999"/>
                <a:gd name="connsiteY6" fmla="*/ 360000 h 360000"/>
                <a:gd name="connsiteX7" fmla="*/ 0 w 971999"/>
                <a:gd name="connsiteY7" fmla="*/ 324000 h 360000"/>
                <a:gd name="connsiteX8" fmla="*/ 0 w 971999"/>
                <a:gd name="connsiteY8" fmla="*/ 36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999" h="360000">
                  <a:moveTo>
                    <a:pt x="0" y="36000"/>
                  </a:moveTo>
                  <a:cubicBezTo>
                    <a:pt x="0" y="16118"/>
                    <a:pt x="16118" y="0"/>
                    <a:pt x="36000" y="0"/>
                  </a:cubicBezTo>
                  <a:lnTo>
                    <a:pt x="935999" y="0"/>
                  </a:lnTo>
                  <a:cubicBezTo>
                    <a:pt x="955881" y="0"/>
                    <a:pt x="971999" y="16118"/>
                    <a:pt x="971999" y="36000"/>
                  </a:cubicBezTo>
                  <a:lnTo>
                    <a:pt x="971999" y="324000"/>
                  </a:lnTo>
                  <a:cubicBezTo>
                    <a:pt x="971999" y="343882"/>
                    <a:pt x="955881" y="360000"/>
                    <a:pt x="935999" y="360000"/>
                  </a:cubicBezTo>
                  <a:lnTo>
                    <a:pt x="36000" y="360000"/>
                  </a:lnTo>
                  <a:cubicBezTo>
                    <a:pt x="16118" y="360000"/>
                    <a:pt x="0" y="343882"/>
                    <a:pt x="0" y="324000"/>
                  </a:cubicBezTo>
                  <a:lnTo>
                    <a:pt x="0" y="3600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894" tIns="16894" rIns="16894" bIns="16894" numCol="1" spcCol="1270" anchor="ctr" anchorCtr="0">
              <a:noAutofit/>
            </a:bodyPr>
            <a:lstStyle/>
            <a:p>
              <a:pPr marL="0" lvl="0" indent="0" algn="ctr" defTabSz="444500">
                <a:lnSpc>
                  <a:spcPct val="90000"/>
                </a:lnSpc>
                <a:spcBef>
                  <a:spcPct val="0"/>
                </a:spcBef>
                <a:spcAft>
                  <a:spcPct val="35000"/>
                </a:spcAft>
                <a:buNone/>
              </a:pPr>
              <a:endParaRPr lang="en-GB" sz="1000" kern="1200"/>
            </a:p>
          </p:txBody>
        </p:sp>
        <p:cxnSp>
          <p:nvCxnSpPr>
            <p:cNvPr id="252" name="Straight Connector 251">
              <a:extLst>
                <a:ext uri="{FF2B5EF4-FFF2-40B4-BE49-F238E27FC236}">
                  <a16:creationId xmlns:a16="http://schemas.microsoft.com/office/drawing/2014/main" id="{B1E0C580-C48A-B9A6-FDAF-B1730C941749}"/>
                </a:ext>
              </a:extLst>
            </p:cNvPr>
            <p:cNvCxnSpPr>
              <a:cxnSpLocks/>
              <a:stCxn id="100" idx="4"/>
              <a:endCxn id="212" idx="7"/>
            </p:cNvCxnSpPr>
            <p:nvPr/>
          </p:nvCxnSpPr>
          <p:spPr>
            <a:xfrm flipV="1">
              <a:off x="1883682" y="5111999"/>
              <a:ext cx="1108260" cy="1"/>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DE35FF41-66B9-3549-1FB8-41FF940E99E8}"/>
                </a:ext>
              </a:extLst>
            </p:cNvPr>
            <p:cNvCxnSpPr>
              <a:cxnSpLocks/>
              <a:stCxn id="218" idx="3"/>
              <a:endCxn id="220" idx="0"/>
            </p:cNvCxnSpPr>
            <p:nvPr/>
          </p:nvCxnSpPr>
          <p:spPr>
            <a:xfrm>
              <a:off x="1883682" y="5328000"/>
              <a:ext cx="1108260" cy="18521"/>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5063917A-4CB4-4D2C-E2A8-05FAB8F96247}"/>
                </a:ext>
              </a:extLst>
            </p:cNvPr>
            <p:cNvCxnSpPr>
              <a:cxnSpLocks/>
              <a:stCxn id="212" idx="4"/>
              <a:endCxn id="247" idx="0"/>
            </p:cNvCxnSpPr>
            <p:nvPr/>
          </p:nvCxnSpPr>
          <p:spPr>
            <a:xfrm flipV="1">
              <a:off x="4107942" y="5076000"/>
              <a:ext cx="124710" cy="36001"/>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C06CF39A-24F8-A34B-8470-0090C7A71E34}"/>
                </a:ext>
              </a:extLst>
            </p:cNvPr>
            <p:cNvCxnSpPr>
              <a:cxnSpLocks/>
              <a:stCxn id="220" idx="3"/>
              <a:endCxn id="247" idx="7"/>
            </p:cNvCxnSpPr>
            <p:nvPr/>
          </p:nvCxnSpPr>
          <p:spPr>
            <a:xfrm>
              <a:off x="4107943" y="5346521"/>
              <a:ext cx="124709" cy="17479"/>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26CC63D6-C35E-6725-7DA1-781D01D6D436}"/>
                </a:ext>
              </a:extLst>
            </p:cNvPr>
            <p:cNvCxnSpPr>
              <a:cxnSpLocks/>
              <a:stCxn id="210" idx="5"/>
              <a:endCxn id="212" idx="0"/>
            </p:cNvCxnSpPr>
            <p:nvPr/>
          </p:nvCxnSpPr>
          <p:spPr>
            <a:xfrm>
              <a:off x="2875429" y="4644000"/>
              <a:ext cx="116513" cy="180001"/>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3717940A-42E9-3D65-3E2C-415C7048CCB8}"/>
                </a:ext>
              </a:extLst>
            </p:cNvPr>
            <p:cNvCxnSpPr>
              <a:cxnSpLocks/>
              <a:stCxn id="224" idx="2"/>
              <a:endCxn id="220" idx="7"/>
            </p:cNvCxnSpPr>
            <p:nvPr/>
          </p:nvCxnSpPr>
          <p:spPr>
            <a:xfrm flipV="1">
              <a:off x="2886851" y="5782677"/>
              <a:ext cx="105091" cy="13323"/>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C93993BB-79D4-0E77-EB5C-384897220C60}"/>
                </a:ext>
              </a:extLst>
            </p:cNvPr>
            <p:cNvCxnSpPr>
              <a:cxnSpLocks/>
              <a:stCxn id="212" idx="3"/>
              <a:endCxn id="215" idx="7"/>
            </p:cNvCxnSpPr>
            <p:nvPr/>
          </p:nvCxnSpPr>
          <p:spPr>
            <a:xfrm flipV="1">
              <a:off x="4107943" y="4680000"/>
              <a:ext cx="124709" cy="144001"/>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D749FA97-3C0F-D89B-15A4-A3AD953BD418}"/>
                </a:ext>
              </a:extLst>
            </p:cNvPr>
            <p:cNvCxnSpPr>
              <a:cxnSpLocks/>
              <a:stCxn id="220" idx="4"/>
              <a:endCxn id="222" idx="0"/>
            </p:cNvCxnSpPr>
            <p:nvPr/>
          </p:nvCxnSpPr>
          <p:spPr>
            <a:xfrm flipV="1">
              <a:off x="4107942" y="5760000"/>
              <a:ext cx="124555" cy="22679"/>
            </a:xfrm>
            <a:prstGeom prst="line">
              <a:avLst/>
            </a:prstGeom>
            <a:ln>
              <a:solidFill>
                <a:srgbClr val="F59E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6195575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50B0DC-CFA3-CE08-2BB5-0126CF6EF2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Object 10" hidden="1">
                        <a:extLst>
                          <a:ext uri="{FF2B5EF4-FFF2-40B4-BE49-F238E27FC236}">
                            <a16:creationId xmlns:a16="http://schemas.microsoft.com/office/drawing/2014/main" id="{3550B0DC-CFA3-CE08-2BB5-0126CF6EF2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25C701B6-38C0-6246-17C9-501EF039DF40}"/>
              </a:ext>
            </a:extLst>
          </p:cNvPr>
          <p:cNvSpPr>
            <a:spLocks noGrp="1"/>
          </p:cNvSpPr>
          <p:nvPr>
            <p:ph type="body" sz="quarter" idx="22"/>
          </p:nvPr>
        </p:nvSpPr>
        <p:spPr>
          <a:xfrm>
            <a:off x="381001" y="6715169"/>
            <a:ext cx="1455527" cy="110800"/>
          </a:xfrm>
        </p:spPr>
        <p:txBody>
          <a:bodyPr/>
          <a:lstStyle/>
          <a:p>
            <a:r>
              <a:rPr lang="de-DE"/>
              <a:t>Source: Aurora Energy Research</a:t>
            </a:r>
          </a:p>
        </p:txBody>
      </p:sp>
      <p:sp>
        <p:nvSpPr>
          <p:cNvPr id="4" name="Title 3">
            <a:extLst>
              <a:ext uri="{FF2B5EF4-FFF2-40B4-BE49-F238E27FC236}">
                <a16:creationId xmlns:a16="http://schemas.microsoft.com/office/drawing/2014/main" id="{3783ED83-C219-C05A-F784-7805F028CDA1}"/>
              </a:ext>
            </a:extLst>
          </p:cNvPr>
          <p:cNvSpPr>
            <a:spLocks noGrp="1"/>
          </p:cNvSpPr>
          <p:nvPr>
            <p:ph type="title"/>
          </p:nvPr>
        </p:nvSpPr>
        <p:spPr>
          <a:xfrm>
            <a:off x="1061051" y="411856"/>
            <a:ext cx="8186643" cy="609398"/>
          </a:xfrm>
        </p:spPr>
        <p:txBody>
          <a:bodyPr vert="horz"/>
          <a:lstStyle/>
          <a:p>
            <a:r>
              <a:rPr lang="en-GB"/>
              <a:t>Multiple strategies are viable for battery storage, with trade-offs between near-term cost and long-term technical complexity</a:t>
            </a:r>
            <a:endParaRPr lang="de-DE"/>
          </a:p>
        </p:txBody>
      </p:sp>
      <p:sp>
        <p:nvSpPr>
          <p:cNvPr id="9" name="Text Placeholder 8">
            <a:extLst>
              <a:ext uri="{FF2B5EF4-FFF2-40B4-BE49-F238E27FC236}">
                <a16:creationId xmlns:a16="http://schemas.microsoft.com/office/drawing/2014/main" id="{76AED6EC-2B69-0774-E5F6-36B5BF8B5580}"/>
              </a:ext>
            </a:extLst>
          </p:cNvPr>
          <p:cNvSpPr>
            <a:spLocks noGrp="1"/>
          </p:cNvSpPr>
          <p:nvPr>
            <p:ph type="body" sz="quarter" idx="32"/>
          </p:nvPr>
        </p:nvSpPr>
        <p:spPr/>
        <p:txBody>
          <a:bodyPr/>
          <a:lstStyle/>
          <a:p>
            <a:endParaRPr lang="de-DE"/>
          </a:p>
        </p:txBody>
      </p:sp>
      <p:sp>
        <p:nvSpPr>
          <p:cNvPr id="23" name="TextBox 22">
            <a:extLst>
              <a:ext uri="{FF2B5EF4-FFF2-40B4-BE49-F238E27FC236}">
                <a16:creationId xmlns:a16="http://schemas.microsoft.com/office/drawing/2014/main" id="{95F43238-1F1D-7BE5-F11D-3B53DAE9BE1B}"/>
              </a:ext>
            </a:extLst>
          </p:cNvPr>
          <p:cNvSpPr txBox="1"/>
          <p:nvPr/>
        </p:nvSpPr>
        <p:spPr>
          <a:xfrm>
            <a:off x="396000" y="2412000"/>
            <a:ext cx="860449" cy="184667"/>
          </a:xfrm>
          <a:prstGeom prst="rect">
            <a:avLst/>
          </a:prstGeom>
          <a:noFill/>
          <a:ln>
            <a:noFill/>
          </a:ln>
        </p:spPr>
        <p:txBody>
          <a:bodyPr wrap="square" lIns="0" tIns="0" rIns="0" bIns="0" rtlCol="0" anchor="t" anchorCtr="0">
            <a:noAutofit/>
          </a:bodyPr>
          <a:lstStyle/>
          <a:p>
            <a:pPr algn="r">
              <a:spcBef>
                <a:spcPts val="600"/>
              </a:spcBef>
            </a:pPr>
            <a:r>
              <a:rPr lang="en-GB" sz="1200" b="1"/>
              <a:t>Advantages</a:t>
            </a:r>
          </a:p>
        </p:txBody>
      </p:sp>
      <p:sp>
        <p:nvSpPr>
          <p:cNvPr id="28" name="TextBox 27">
            <a:extLst>
              <a:ext uri="{FF2B5EF4-FFF2-40B4-BE49-F238E27FC236}">
                <a16:creationId xmlns:a16="http://schemas.microsoft.com/office/drawing/2014/main" id="{502CADEE-F181-2EF6-A28C-E02B10C0A4E3}"/>
              </a:ext>
            </a:extLst>
          </p:cNvPr>
          <p:cNvSpPr txBox="1"/>
          <p:nvPr/>
        </p:nvSpPr>
        <p:spPr>
          <a:xfrm>
            <a:off x="1465199" y="2412000"/>
            <a:ext cx="2376000" cy="1656000"/>
          </a:xfrm>
          <a:prstGeom prst="rect">
            <a:avLst/>
          </a:prstGeom>
          <a:solidFill>
            <a:srgbClr val="C7E6A4"/>
          </a:solidFill>
          <a:ln>
            <a:noFill/>
          </a:ln>
        </p:spPr>
        <p:txBody>
          <a:bodyPr wrap="square" lIns="7200" tIns="0" rIns="0" bIns="0" rtlCol="0" anchor="ctr" anchorCtr="0">
            <a:noAutofit/>
          </a:bodyPr>
          <a:lstStyle/>
          <a:p>
            <a:pPr marL="171450" indent="-171450">
              <a:buFont typeface="Arial" panose="020B0604020202020204" pitchFamily="34" charset="0"/>
              <a:buChar char="•"/>
            </a:pPr>
            <a:endParaRPr lang="en-GB" sz="1200"/>
          </a:p>
        </p:txBody>
      </p:sp>
      <p:sp>
        <p:nvSpPr>
          <p:cNvPr id="17" name="TextBox 16">
            <a:extLst>
              <a:ext uri="{FF2B5EF4-FFF2-40B4-BE49-F238E27FC236}">
                <a16:creationId xmlns:a16="http://schemas.microsoft.com/office/drawing/2014/main" id="{3905A8B2-0299-8F75-7AD0-180FC1FC9CAC}"/>
              </a:ext>
            </a:extLst>
          </p:cNvPr>
          <p:cNvSpPr txBox="1"/>
          <p:nvPr/>
        </p:nvSpPr>
        <p:spPr>
          <a:xfrm>
            <a:off x="1466150" y="4139999"/>
            <a:ext cx="2376000" cy="828000"/>
          </a:xfrm>
          <a:prstGeom prst="rect">
            <a:avLst/>
          </a:prstGeom>
          <a:solidFill>
            <a:srgbClr val="FF7F7F"/>
          </a:solidFill>
          <a:ln>
            <a:noFill/>
          </a:ln>
        </p:spPr>
        <p:txBody>
          <a:bodyPr wrap="square" lIns="7200" tIns="0" rIns="0" bIns="0" rtlCol="0" anchor="ctr" anchorCtr="0">
            <a:noAutofit/>
          </a:bodyPr>
          <a:lstStyle/>
          <a:p>
            <a:pPr marL="171450" indent="-171450">
              <a:buFont typeface="Arial" panose="020B0604020202020204" pitchFamily="34" charset="0"/>
              <a:buChar char="•"/>
            </a:pPr>
            <a:endParaRPr lang="en-GB" sz="1200"/>
          </a:p>
        </p:txBody>
      </p:sp>
      <p:sp>
        <p:nvSpPr>
          <p:cNvPr id="21" name="TextBox 20">
            <a:extLst>
              <a:ext uri="{FF2B5EF4-FFF2-40B4-BE49-F238E27FC236}">
                <a16:creationId xmlns:a16="http://schemas.microsoft.com/office/drawing/2014/main" id="{9447619E-6707-526D-52CD-DEE7BB40A87B}"/>
              </a:ext>
            </a:extLst>
          </p:cNvPr>
          <p:cNvSpPr txBox="1"/>
          <p:nvPr/>
        </p:nvSpPr>
        <p:spPr>
          <a:xfrm>
            <a:off x="396000" y="4139999"/>
            <a:ext cx="860449" cy="253254"/>
          </a:xfrm>
          <a:prstGeom prst="rect">
            <a:avLst/>
          </a:prstGeom>
          <a:noFill/>
          <a:ln>
            <a:noFill/>
          </a:ln>
        </p:spPr>
        <p:txBody>
          <a:bodyPr wrap="square" lIns="0" tIns="0" rIns="0" bIns="0" rtlCol="0" anchor="t" anchorCtr="0">
            <a:noAutofit/>
          </a:bodyPr>
          <a:lstStyle/>
          <a:p>
            <a:pPr algn="r">
              <a:spcBef>
                <a:spcPts val="600"/>
              </a:spcBef>
            </a:pPr>
            <a:r>
              <a:rPr lang="en-GB" sz="1200" b="1"/>
              <a:t>Risks</a:t>
            </a:r>
          </a:p>
          <a:p>
            <a:pPr marL="0" indent="0" algn="r">
              <a:spcBef>
                <a:spcPts val="600"/>
              </a:spcBef>
              <a:buFont typeface="Wingdings" panose="05000000000000000000" pitchFamily="2" charset="2"/>
              <a:buNone/>
            </a:pPr>
            <a:endParaRPr lang="en-GB" sz="1200" b="1"/>
          </a:p>
        </p:txBody>
      </p:sp>
      <p:sp>
        <p:nvSpPr>
          <p:cNvPr id="48" name="TextBox 47">
            <a:extLst>
              <a:ext uri="{FF2B5EF4-FFF2-40B4-BE49-F238E27FC236}">
                <a16:creationId xmlns:a16="http://schemas.microsoft.com/office/drawing/2014/main" id="{39779060-6FA3-9A6C-0202-970BD86F307C}"/>
              </a:ext>
            </a:extLst>
          </p:cNvPr>
          <p:cNvSpPr txBox="1"/>
          <p:nvPr/>
        </p:nvSpPr>
        <p:spPr>
          <a:xfrm>
            <a:off x="3913200" y="2412000"/>
            <a:ext cx="2376000" cy="1654680"/>
          </a:xfrm>
          <a:prstGeom prst="rect">
            <a:avLst/>
          </a:prstGeom>
          <a:solidFill>
            <a:srgbClr val="C7E6A4"/>
          </a:solidFill>
          <a:ln>
            <a:noFill/>
          </a:ln>
        </p:spPr>
        <p:txBody>
          <a:bodyPr wrap="square" lIns="7200" tIns="0" rIns="0" bIns="0" rtlCol="0" anchor="ctr" anchorCtr="0">
            <a:noAutofit/>
          </a:bodyPr>
          <a:lstStyle/>
          <a:p>
            <a:pPr marL="171450" indent="-171450">
              <a:buFont typeface="Arial" panose="020B0604020202020204" pitchFamily="34" charset="0"/>
              <a:buChar char="•"/>
            </a:pPr>
            <a:endParaRPr lang="en-GB" sz="1200"/>
          </a:p>
        </p:txBody>
      </p:sp>
      <p:sp>
        <p:nvSpPr>
          <p:cNvPr id="49" name="TextBox 48">
            <a:extLst>
              <a:ext uri="{FF2B5EF4-FFF2-40B4-BE49-F238E27FC236}">
                <a16:creationId xmlns:a16="http://schemas.microsoft.com/office/drawing/2014/main" id="{CAB704FA-0BB5-19F9-EAAB-984EF99780C2}"/>
              </a:ext>
            </a:extLst>
          </p:cNvPr>
          <p:cNvSpPr txBox="1"/>
          <p:nvPr/>
        </p:nvSpPr>
        <p:spPr>
          <a:xfrm>
            <a:off x="3912149" y="4140000"/>
            <a:ext cx="2376000" cy="828000"/>
          </a:xfrm>
          <a:prstGeom prst="rect">
            <a:avLst/>
          </a:prstGeom>
          <a:solidFill>
            <a:srgbClr val="FF7F7F"/>
          </a:solidFill>
          <a:ln>
            <a:noFill/>
          </a:ln>
        </p:spPr>
        <p:txBody>
          <a:bodyPr wrap="square" lIns="7200" tIns="0" rIns="0" bIns="0" rtlCol="0" anchor="ctr" anchorCtr="0">
            <a:noAutofit/>
          </a:bodyPr>
          <a:lstStyle/>
          <a:p>
            <a:pPr marL="171450" indent="-171450">
              <a:spcBef>
                <a:spcPts val="600"/>
              </a:spcBef>
              <a:buFont typeface="Arial" panose="020B0604020202020204" pitchFamily="34" charset="0"/>
              <a:buChar char="•"/>
            </a:pPr>
            <a:endParaRPr lang="en-GB" sz="1200"/>
          </a:p>
        </p:txBody>
      </p:sp>
      <p:sp>
        <p:nvSpPr>
          <p:cNvPr id="6" name="TextBox 5">
            <a:extLst>
              <a:ext uri="{FF2B5EF4-FFF2-40B4-BE49-F238E27FC236}">
                <a16:creationId xmlns:a16="http://schemas.microsoft.com/office/drawing/2014/main" id="{BCE3231C-AEAC-2B46-5182-21835E525ADB}"/>
              </a:ext>
            </a:extLst>
          </p:cNvPr>
          <p:cNvSpPr txBox="1"/>
          <p:nvPr/>
        </p:nvSpPr>
        <p:spPr>
          <a:xfrm>
            <a:off x="396000" y="5040000"/>
            <a:ext cx="860449" cy="253255"/>
          </a:xfrm>
          <a:prstGeom prst="rect">
            <a:avLst/>
          </a:prstGeom>
          <a:noFill/>
          <a:ln>
            <a:noFill/>
          </a:ln>
        </p:spPr>
        <p:txBody>
          <a:bodyPr wrap="square" lIns="0" tIns="72000" rIns="0" bIns="0" rtlCol="0" anchor="t" anchorCtr="0">
            <a:noAutofit/>
          </a:bodyPr>
          <a:lstStyle/>
          <a:p>
            <a:pPr algn="r">
              <a:spcBef>
                <a:spcPts val="600"/>
              </a:spcBef>
            </a:pPr>
            <a:r>
              <a:rPr lang="en-GB" sz="1200" b="1"/>
              <a:t>Applications</a:t>
            </a:r>
          </a:p>
          <a:p>
            <a:pPr marL="0" indent="0">
              <a:spcBef>
                <a:spcPts val="600"/>
              </a:spcBef>
              <a:buFont typeface="Wingdings" panose="05000000000000000000" pitchFamily="2" charset="2"/>
              <a:buNone/>
            </a:pPr>
            <a:endParaRPr lang="en-GB" sz="1200" b="1"/>
          </a:p>
        </p:txBody>
      </p:sp>
      <p:grpSp>
        <p:nvGrpSpPr>
          <p:cNvPr id="15" name="Group 14">
            <a:extLst>
              <a:ext uri="{FF2B5EF4-FFF2-40B4-BE49-F238E27FC236}">
                <a16:creationId xmlns:a16="http://schemas.microsoft.com/office/drawing/2014/main" id="{FCB1962C-9265-345C-ABE0-C9AD29CACA7F}"/>
              </a:ext>
            </a:extLst>
          </p:cNvPr>
          <p:cNvGrpSpPr/>
          <p:nvPr/>
        </p:nvGrpSpPr>
        <p:grpSpPr>
          <a:xfrm>
            <a:off x="1466151" y="1764128"/>
            <a:ext cx="2376000" cy="576000"/>
            <a:chOff x="1240100" y="1911689"/>
            <a:chExt cx="2312995" cy="576000"/>
          </a:xfrm>
        </p:grpSpPr>
        <p:grpSp>
          <p:nvGrpSpPr>
            <p:cNvPr id="12" name="Group 11">
              <a:extLst>
                <a:ext uri="{FF2B5EF4-FFF2-40B4-BE49-F238E27FC236}">
                  <a16:creationId xmlns:a16="http://schemas.microsoft.com/office/drawing/2014/main" id="{9CBB0AC0-0049-0430-E717-7B5F6B2F0A3B}"/>
                </a:ext>
              </a:extLst>
            </p:cNvPr>
            <p:cNvGrpSpPr/>
            <p:nvPr/>
          </p:nvGrpSpPr>
          <p:grpSpPr>
            <a:xfrm>
              <a:off x="1240100" y="1911689"/>
              <a:ext cx="2312995" cy="576000"/>
              <a:chOff x="1240100" y="1911689"/>
              <a:chExt cx="2312995" cy="576000"/>
            </a:xfrm>
          </p:grpSpPr>
          <p:sp>
            <p:nvSpPr>
              <p:cNvPr id="2" name="Textplatzhalter 5">
                <a:extLst>
                  <a:ext uri="{FF2B5EF4-FFF2-40B4-BE49-F238E27FC236}">
                    <a16:creationId xmlns:a16="http://schemas.microsoft.com/office/drawing/2014/main" id="{2CFC161D-0BF3-3B84-D283-16A1EAAC6834}"/>
                  </a:ext>
                </a:extLst>
              </p:cNvPr>
              <p:cNvSpPr txBox="1">
                <a:spLocks/>
              </p:cNvSpPr>
              <p:nvPr/>
            </p:nvSpPr>
            <p:spPr>
              <a:xfrm>
                <a:off x="1473662" y="1911689"/>
                <a:ext cx="2079433" cy="576000"/>
              </a:xfrm>
              <a:prstGeom prst="roundRect">
                <a:avLst/>
              </a:prstGeom>
              <a:solidFill>
                <a:schemeClr val="accent2"/>
              </a:solidFill>
              <a:ln>
                <a:noFill/>
              </a:ln>
            </p:spPr>
            <p:txBody>
              <a:bodyPr vert="horz" wrap="square" lIns="72000" tIns="0" rIns="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360000"/>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 Oversize</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Oval 2">
                <a:extLst>
                  <a:ext uri="{FF2B5EF4-FFF2-40B4-BE49-F238E27FC236}">
                    <a16:creationId xmlns:a16="http://schemas.microsoft.com/office/drawing/2014/main" id="{AE722B2A-A548-B207-4795-C9116F5B3FBB}"/>
                  </a:ext>
                </a:extLst>
              </p:cNvPr>
              <p:cNvSpPr/>
              <p:nvPr/>
            </p:nvSpPr>
            <p:spPr>
              <a:xfrm>
                <a:off x="1240100" y="1926393"/>
                <a:ext cx="545669" cy="557608"/>
              </a:xfrm>
              <a:prstGeom prst="ellipse">
                <a:avLst/>
              </a:prstGeom>
              <a:solidFill>
                <a:schemeClr val="bg1"/>
              </a:solidFill>
              <a:ln w="1905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pic>
          <p:nvPicPr>
            <p:cNvPr id="10" name="Picture 9" descr="A black background with a black square&#10;&#10;Description automatically generated with medium confidence">
              <a:extLst>
                <a:ext uri="{FF2B5EF4-FFF2-40B4-BE49-F238E27FC236}">
                  <a16:creationId xmlns:a16="http://schemas.microsoft.com/office/drawing/2014/main" id="{B2C5B661-4A77-2A4A-C36C-72C540CA91DF}"/>
                </a:ext>
              </a:extLst>
            </p:cNvPr>
            <p:cNvPicPr>
              <a:picLocks noChangeAspect="1"/>
            </p:cNvPicPr>
            <p:nvPr/>
          </p:nvPicPr>
          <p:blipFill>
            <a:blip r:embed="rId6"/>
            <a:stretch>
              <a:fillRect/>
            </a:stretch>
          </p:blipFill>
          <p:spPr>
            <a:xfrm>
              <a:off x="1346151" y="2033337"/>
              <a:ext cx="334300" cy="334300"/>
            </a:xfrm>
            <a:prstGeom prst="rect">
              <a:avLst/>
            </a:prstGeom>
            <a:ln>
              <a:solidFill>
                <a:schemeClr val="bg1"/>
              </a:solidFill>
            </a:ln>
          </p:spPr>
        </p:pic>
      </p:grpSp>
      <p:sp>
        <p:nvSpPr>
          <p:cNvPr id="51" name="TextBox 50">
            <a:extLst>
              <a:ext uri="{FF2B5EF4-FFF2-40B4-BE49-F238E27FC236}">
                <a16:creationId xmlns:a16="http://schemas.microsoft.com/office/drawing/2014/main" id="{1D1BC044-F945-9FC5-DEEF-39F88B354F70}"/>
              </a:ext>
            </a:extLst>
          </p:cNvPr>
          <p:cNvSpPr txBox="1"/>
          <p:nvPr/>
        </p:nvSpPr>
        <p:spPr>
          <a:xfrm>
            <a:off x="6699600" y="2411999"/>
            <a:ext cx="2376000" cy="1656000"/>
          </a:xfrm>
          <a:prstGeom prst="rect">
            <a:avLst/>
          </a:prstGeom>
          <a:solidFill>
            <a:srgbClr val="C7E6A4"/>
          </a:solidFill>
          <a:ln>
            <a:noFill/>
          </a:ln>
        </p:spPr>
        <p:txBody>
          <a:bodyPr wrap="square" lIns="7200" tIns="0" rIns="0" bIns="0" rtlCol="0" anchor="ctr" anchorCtr="0">
            <a:noAutofit/>
          </a:bodyPr>
          <a:lstStyle/>
          <a:p>
            <a:pPr marL="171450" indent="-171450">
              <a:buFont typeface="Arial" panose="020B0604020202020204" pitchFamily="34" charset="0"/>
              <a:buChar char="•"/>
            </a:pPr>
            <a:endParaRPr lang="en-US" sz="1200"/>
          </a:p>
        </p:txBody>
      </p:sp>
      <p:sp>
        <p:nvSpPr>
          <p:cNvPr id="52" name="TextBox 51">
            <a:extLst>
              <a:ext uri="{FF2B5EF4-FFF2-40B4-BE49-F238E27FC236}">
                <a16:creationId xmlns:a16="http://schemas.microsoft.com/office/drawing/2014/main" id="{5DD179C9-38F6-51B7-ABAA-E449012B141B}"/>
              </a:ext>
            </a:extLst>
          </p:cNvPr>
          <p:cNvSpPr txBox="1"/>
          <p:nvPr/>
        </p:nvSpPr>
        <p:spPr>
          <a:xfrm>
            <a:off x="6699600" y="4139999"/>
            <a:ext cx="2376000" cy="828000"/>
          </a:xfrm>
          <a:prstGeom prst="rect">
            <a:avLst/>
          </a:prstGeom>
          <a:solidFill>
            <a:srgbClr val="FF7F7F"/>
          </a:solidFill>
          <a:ln>
            <a:noFill/>
          </a:ln>
        </p:spPr>
        <p:txBody>
          <a:bodyPr wrap="square" lIns="7200" tIns="0" rIns="0" bIns="0" rtlCol="0" anchor="ctr" anchorCtr="0">
            <a:noAutofit/>
          </a:bodyPr>
          <a:lstStyle/>
          <a:p>
            <a:pPr marL="171450" indent="-171450">
              <a:spcBef>
                <a:spcPts val="600"/>
              </a:spcBef>
              <a:buFont typeface="Arial" panose="020B0604020202020204" pitchFamily="34" charset="0"/>
              <a:buChar char="•"/>
            </a:pPr>
            <a:endParaRPr lang="en-GB" sz="1200"/>
          </a:p>
        </p:txBody>
      </p:sp>
      <p:sp>
        <p:nvSpPr>
          <p:cNvPr id="53" name="TextBox 52">
            <a:extLst>
              <a:ext uri="{FF2B5EF4-FFF2-40B4-BE49-F238E27FC236}">
                <a16:creationId xmlns:a16="http://schemas.microsoft.com/office/drawing/2014/main" id="{1CCB3F76-2A82-D1C6-AF8B-B3857EA11FD6}"/>
              </a:ext>
            </a:extLst>
          </p:cNvPr>
          <p:cNvSpPr txBox="1"/>
          <p:nvPr/>
        </p:nvSpPr>
        <p:spPr>
          <a:xfrm>
            <a:off x="9147600" y="2411999"/>
            <a:ext cx="2376000" cy="1656000"/>
          </a:xfrm>
          <a:prstGeom prst="rect">
            <a:avLst/>
          </a:prstGeom>
          <a:solidFill>
            <a:srgbClr val="C7E6A4"/>
          </a:solidFill>
          <a:ln>
            <a:noFill/>
          </a:ln>
        </p:spPr>
        <p:txBody>
          <a:bodyPr wrap="square" lIns="7200" tIns="0" rIns="0" bIns="0" rtlCol="0" anchor="ctr" anchorCtr="0">
            <a:noAutofit/>
          </a:bodyPr>
          <a:lstStyle/>
          <a:p>
            <a:pPr marL="171450" indent="-171450">
              <a:buFont typeface="Arial" panose="020B0604020202020204" pitchFamily="34" charset="0"/>
              <a:buChar char="•"/>
            </a:pPr>
            <a:endParaRPr lang="en-GB" sz="1200"/>
          </a:p>
        </p:txBody>
      </p:sp>
      <p:sp>
        <p:nvSpPr>
          <p:cNvPr id="54" name="TextBox 53">
            <a:extLst>
              <a:ext uri="{FF2B5EF4-FFF2-40B4-BE49-F238E27FC236}">
                <a16:creationId xmlns:a16="http://schemas.microsoft.com/office/drawing/2014/main" id="{EB384EBA-DBC9-FF63-EBCC-6A85A7DCAACD}"/>
              </a:ext>
            </a:extLst>
          </p:cNvPr>
          <p:cNvSpPr txBox="1"/>
          <p:nvPr/>
        </p:nvSpPr>
        <p:spPr>
          <a:xfrm>
            <a:off x="9147600" y="4139999"/>
            <a:ext cx="2376000" cy="828000"/>
          </a:xfrm>
          <a:prstGeom prst="rect">
            <a:avLst/>
          </a:prstGeom>
          <a:solidFill>
            <a:srgbClr val="FF7F7F"/>
          </a:solidFill>
          <a:ln>
            <a:noFill/>
          </a:ln>
        </p:spPr>
        <p:txBody>
          <a:bodyPr wrap="square" lIns="7200" tIns="0" rIns="0" bIns="0" rtlCol="0" anchor="ctr" anchorCtr="0">
            <a:noAutofit/>
          </a:bodyPr>
          <a:lstStyle/>
          <a:p>
            <a:pPr marL="171450" indent="-171450">
              <a:spcBef>
                <a:spcPts val="600"/>
              </a:spcBef>
              <a:buFont typeface="Arial" panose="020B0604020202020204" pitchFamily="34" charset="0"/>
              <a:buChar char="•"/>
            </a:pPr>
            <a:endParaRPr lang="en-GB" sz="1200"/>
          </a:p>
        </p:txBody>
      </p:sp>
      <p:grpSp>
        <p:nvGrpSpPr>
          <p:cNvPr id="57" name="Group 56">
            <a:extLst>
              <a:ext uri="{FF2B5EF4-FFF2-40B4-BE49-F238E27FC236}">
                <a16:creationId xmlns:a16="http://schemas.microsoft.com/office/drawing/2014/main" id="{2AA9B2A0-3159-8A9A-6A10-E68E469D6222}"/>
              </a:ext>
            </a:extLst>
          </p:cNvPr>
          <p:cNvGrpSpPr/>
          <p:nvPr/>
        </p:nvGrpSpPr>
        <p:grpSpPr>
          <a:xfrm>
            <a:off x="6699600" y="1764000"/>
            <a:ext cx="2376000" cy="576000"/>
            <a:chOff x="3902271" y="1914898"/>
            <a:chExt cx="2300602" cy="576000"/>
          </a:xfrm>
        </p:grpSpPr>
        <p:grpSp>
          <p:nvGrpSpPr>
            <p:cNvPr id="19" name="Group 18">
              <a:extLst>
                <a:ext uri="{FF2B5EF4-FFF2-40B4-BE49-F238E27FC236}">
                  <a16:creationId xmlns:a16="http://schemas.microsoft.com/office/drawing/2014/main" id="{2CF06372-19DF-2013-7307-55994115D003}"/>
                </a:ext>
              </a:extLst>
            </p:cNvPr>
            <p:cNvGrpSpPr/>
            <p:nvPr/>
          </p:nvGrpSpPr>
          <p:grpSpPr>
            <a:xfrm>
              <a:off x="3902271" y="1914898"/>
              <a:ext cx="2300602" cy="576000"/>
              <a:chOff x="1223008" y="1912472"/>
              <a:chExt cx="2300602" cy="576000"/>
            </a:xfrm>
          </p:grpSpPr>
          <p:sp>
            <p:nvSpPr>
              <p:cNvPr id="25" name="Textplatzhalter 5">
                <a:extLst>
                  <a:ext uri="{FF2B5EF4-FFF2-40B4-BE49-F238E27FC236}">
                    <a16:creationId xmlns:a16="http://schemas.microsoft.com/office/drawing/2014/main" id="{8209F31A-D89F-A154-6EC7-4A92BDF8D925}"/>
                  </a:ext>
                </a:extLst>
              </p:cNvPr>
              <p:cNvSpPr txBox="1">
                <a:spLocks/>
              </p:cNvSpPr>
              <p:nvPr/>
            </p:nvSpPr>
            <p:spPr>
              <a:xfrm>
                <a:off x="1448639" y="1912472"/>
                <a:ext cx="2074971" cy="576000"/>
              </a:xfrm>
              <a:prstGeom prst="roundRect">
                <a:avLst/>
              </a:prstGeom>
              <a:solidFill>
                <a:schemeClr val="accent2"/>
              </a:solidFill>
              <a:ln>
                <a:noFill/>
              </a:ln>
            </p:spPr>
            <p:txBody>
              <a:bodyPr vert="horz" wrap="square" lIns="72000" tIns="0" rIns="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360000"/>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 Augmen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7" name="Oval 26">
                <a:extLst>
                  <a:ext uri="{FF2B5EF4-FFF2-40B4-BE49-F238E27FC236}">
                    <a16:creationId xmlns:a16="http://schemas.microsoft.com/office/drawing/2014/main" id="{644886B4-1790-11FB-E55A-650B48D69A01}"/>
                  </a:ext>
                </a:extLst>
              </p:cNvPr>
              <p:cNvSpPr/>
              <p:nvPr/>
            </p:nvSpPr>
            <p:spPr>
              <a:xfrm>
                <a:off x="1223008" y="1922023"/>
                <a:ext cx="545669" cy="557608"/>
              </a:xfrm>
              <a:prstGeom prst="ellipse">
                <a:avLst/>
              </a:prstGeom>
              <a:solidFill>
                <a:schemeClr val="bg1"/>
              </a:solidFill>
              <a:ln w="1905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pic>
          <p:nvPicPr>
            <p:cNvPr id="56" name="Picture 55" descr="A black and white symbol with arrows&#10;&#10;Description automatically generated">
              <a:extLst>
                <a:ext uri="{FF2B5EF4-FFF2-40B4-BE49-F238E27FC236}">
                  <a16:creationId xmlns:a16="http://schemas.microsoft.com/office/drawing/2014/main" id="{08FEAB10-1420-1EF3-91D6-8655814194E2}"/>
                </a:ext>
              </a:extLst>
            </p:cNvPr>
            <p:cNvPicPr>
              <a:picLocks noChangeAspect="1"/>
            </p:cNvPicPr>
            <p:nvPr/>
          </p:nvPicPr>
          <p:blipFill>
            <a:blip r:embed="rId7"/>
            <a:stretch>
              <a:fillRect/>
            </a:stretch>
          </p:blipFill>
          <p:spPr>
            <a:xfrm>
              <a:off x="4000645" y="2030991"/>
              <a:ext cx="348922" cy="348922"/>
            </a:xfrm>
            <a:prstGeom prst="rect">
              <a:avLst/>
            </a:prstGeom>
          </p:spPr>
        </p:pic>
      </p:grpSp>
      <p:grpSp>
        <p:nvGrpSpPr>
          <p:cNvPr id="72" name="Group 71">
            <a:extLst>
              <a:ext uri="{FF2B5EF4-FFF2-40B4-BE49-F238E27FC236}">
                <a16:creationId xmlns:a16="http://schemas.microsoft.com/office/drawing/2014/main" id="{15824CED-720D-BE38-E744-D91A3D881368}"/>
              </a:ext>
            </a:extLst>
          </p:cNvPr>
          <p:cNvGrpSpPr/>
          <p:nvPr/>
        </p:nvGrpSpPr>
        <p:grpSpPr>
          <a:xfrm>
            <a:off x="9147600" y="1764000"/>
            <a:ext cx="2376000" cy="576000"/>
            <a:chOff x="9237872" y="1896118"/>
            <a:chExt cx="2311200" cy="576000"/>
          </a:xfrm>
        </p:grpSpPr>
        <p:grpSp>
          <p:nvGrpSpPr>
            <p:cNvPr id="30" name="Group 29">
              <a:extLst>
                <a:ext uri="{FF2B5EF4-FFF2-40B4-BE49-F238E27FC236}">
                  <a16:creationId xmlns:a16="http://schemas.microsoft.com/office/drawing/2014/main" id="{C1F0EAF9-7388-48F7-8E98-9E66C768F21F}"/>
                </a:ext>
              </a:extLst>
            </p:cNvPr>
            <p:cNvGrpSpPr/>
            <p:nvPr/>
          </p:nvGrpSpPr>
          <p:grpSpPr>
            <a:xfrm>
              <a:off x="9237872" y="1896118"/>
              <a:ext cx="2311200" cy="576000"/>
              <a:chOff x="1126524" y="1903631"/>
              <a:chExt cx="2311200" cy="576000"/>
            </a:xfrm>
          </p:grpSpPr>
          <p:sp>
            <p:nvSpPr>
              <p:cNvPr id="32" name="Textplatzhalter 5">
                <a:extLst>
                  <a:ext uri="{FF2B5EF4-FFF2-40B4-BE49-F238E27FC236}">
                    <a16:creationId xmlns:a16="http://schemas.microsoft.com/office/drawing/2014/main" id="{F3347633-E71E-728D-CD70-6335C9D23A8F}"/>
                  </a:ext>
                </a:extLst>
              </p:cNvPr>
              <p:cNvSpPr txBox="1">
                <a:spLocks/>
              </p:cNvSpPr>
              <p:nvPr/>
            </p:nvSpPr>
            <p:spPr>
              <a:xfrm>
                <a:off x="1333715" y="1903631"/>
                <a:ext cx="2104009" cy="576000"/>
              </a:xfrm>
              <a:prstGeom prst="roundRect">
                <a:avLst/>
              </a:prstGeom>
              <a:solidFill>
                <a:srgbClr val="C1CEE1"/>
              </a:solidFill>
              <a:ln>
                <a:noFill/>
              </a:ln>
            </p:spPr>
            <p:txBody>
              <a:bodyPr vert="horz" wrap="square" lIns="72000" tIns="0" rIns="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360000"/>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 Repow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Oval 32">
                <a:extLst>
                  <a:ext uri="{FF2B5EF4-FFF2-40B4-BE49-F238E27FC236}">
                    <a16:creationId xmlns:a16="http://schemas.microsoft.com/office/drawing/2014/main" id="{C19B8198-C6D0-1944-864E-351D4917BEDD}"/>
                  </a:ext>
                </a:extLst>
              </p:cNvPr>
              <p:cNvSpPr/>
              <p:nvPr/>
            </p:nvSpPr>
            <p:spPr>
              <a:xfrm>
                <a:off x="1126524" y="1903631"/>
                <a:ext cx="545669" cy="557608"/>
              </a:xfrm>
              <a:prstGeom prst="ellipse">
                <a:avLst/>
              </a:prstGeom>
              <a:solidFill>
                <a:schemeClr val="bg1"/>
              </a:solidFill>
              <a:ln w="1905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pic>
          <p:nvPicPr>
            <p:cNvPr id="71" name="Picture 70" descr="A black background with a black square&#10;&#10;Description automatically generated with medium confidence">
              <a:extLst>
                <a:ext uri="{FF2B5EF4-FFF2-40B4-BE49-F238E27FC236}">
                  <a16:creationId xmlns:a16="http://schemas.microsoft.com/office/drawing/2014/main" id="{7A5C9A56-E7E0-3684-76D7-BDE38289F87A}"/>
                </a:ext>
              </a:extLst>
            </p:cNvPr>
            <p:cNvPicPr>
              <a:picLocks noChangeAspect="1"/>
            </p:cNvPicPr>
            <p:nvPr/>
          </p:nvPicPr>
          <p:blipFill>
            <a:blip r:embed="rId8"/>
            <a:stretch>
              <a:fillRect/>
            </a:stretch>
          </p:blipFill>
          <p:spPr>
            <a:xfrm>
              <a:off x="9285147" y="1933957"/>
              <a:ext cx="454731" cy="454731"/>
            </a:xfrm>
            <a:prstGeom prst="rect">
              <a:avLst/>
            </a:prstGeom>
          </p:spPr>
        </p:pic>
      </p:grpSp>
      <p:grpSp>
        <p:nvGrpSpPr>
          <p:cNvPr id="77" name="Group 76">
            <a:extLst>
              <a:ext uri="{FF2B5EF4-FFF2-40B4-BE49-F238E27FC236}">
                <a16:creationId xmlns:a16="http://schemas.microsoft.com/office/drawing/2014/main" id="{D47EB7C5-44AF-4F2E-6998-CFDD8F432C52}"/>
              </a:ext>
            </a:extLst>
          </p:cNvPr>
          <p:cNvGrpSpPr/>
          <p:nvPr/>
        </p:nvGrpSpPr>
        <p:grpSpPr>
          <a:xfrm>
            <a:off x="3912020" y="1764000"/>
            <a:ext cx="2376000" cy="576000"/>
            <a:chOff x="6647178" y="1923489"/>
            <a:chExt cx="2311649" cy="576000"/>
          </a:xfrm>
        </p:grpSpPr>
        <p:grpSp>
          <p:nvGrpSpPr>
            <p:cNvPr id="35" name="Group 34">
              <a:extLst>
                <a:ext uri="{FF2B5EF4-FFF2-40B4-BE49-F238E27FC236}">
                  <a16:creationId xmlns:a16="http://schemas.microsoft.com/office/drawing/2014/main" id="{2040B84E-E4FC-6DB5-5ACA-63A015C857B1}"/>
                </a:ext>
              </a:extLst>
            </p:cNvPr>
            <p:cNvGrpSpPr/>
            <p:nvPr/>
          </p:nvGrpSpPr>
          <p:grpSpPr>
            <a:xfrm>
              <a:off x="6647178" y="1923489"/>
              <a:ext cx="2311649" cy="576000"/>
              <a:chOff x="1241448" y="1911689"/>
              <a:chExt cx="2311649" cy="576000"/>
            </a:xfrm>
          </p:grpSpPr>
          <p:sp>
            <p:nvSpPr>
              <p:cNvPr id="40" name="Textplatzhalter 5">
                <a:extLst>
                  <a:ext uri="{FF2B5EF4-FFF2-40B4-BE49-F238E27FC236}">
                    <a16:creationId xmlns:a16="http://schemas.microsoft.com/office/drawing/2014/main" id="{65AC6B51-57E6-958B-2A01-B9565BACF3AF}"/>
                  </a:ext>
                </a:extLst>
              </p:cNvPr>
              <p:cNvSpPr txBox="1">
                <a:spLocks/>
              </p:cNvSpPr>
              <p:nvPr/>
            </p:nvSpPr>
            <p:spPr>
              <a:xfrm>
                <a:off x="1473663" y="1911689"/>
                <a:ext cx="2079434" cy="576000"/>
              </a:xfrm>
              <a:prstGeom prst="roundRect">
                <a:avLst/>
              </a:prstGeom>
              <a:solidFill>
                <a:schemeClr val="accent2"/>
              </a:solidFill>
              <a:ln>
                <a:noFill/>
              </a:ln>
            </p:spPr>
            <p:txBody>
              <a:bodyPr vert="horz" wrap="square" lIns="72000" tIns="0" rIns="0" bIns="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360000"/>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 Reduce </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3" name="Oval 42">
                <a:extLst>
                  <a:ext uri="{FF2B5EF4-FFF2-40B4-BE49-F238E27FC236}">
                    <a16:creationId xmlns:a16="http://schemas.microsoft.com/office/drawing/2014/main" id="{2F8A4AC1-18E0-76A1-B3AE-0119AD9AFB50}"/>
                  </a:ext>
                </a:extLst>
              </p:cNvPr>
              <p:cNvSpPr/>
              <p:nvPr/>
            </p:nvSpPr>
            <p:spPr>
              <a:xfrm>
                <a:off x="1241448" y="1921240"/>
                <a:ext cx="545669" cy="557608"/>
              </a:xfrm>
              <a:prstGeom prst="ellipse">
                <a:avLst/>
              </a:prstGeom>
              <a:solidFill>
                <a:schemeClr val="bg1"/>
              </a:solidFill>
              <a:ln w="1905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pic>
          <p:nvPicPr>
            <p:cNvPr id="76" name="Picture 75" descr="A black background with a black square&#10;&#10;Description automatically generated with medium confidence">
              <a:extLst>
                <a:ext uri="{FF2B5EF4-FFF2-40B4-BE49-F238E27FC236}">
                  <a16:creationId xmlns:a16="http://schemas.microsoft.com/office/drawing/2014/main" id="{7245827F-1B92-D7E4-5A40-119021691ABC}"/>
                </a:ext>
              </a:extLst>
            </p:cNvPr>
            <p:cNvPicPr>
              <a:picLocks noChangeAspect="1"/>
            </p:cNvPicPr>
            <p:nvPr/>
          </p:nvPicPr>
          <p:blipFill>
            <a:blip r:embed="rId9"/>
            <a:stretch>
              <a:fillRect/>
            </a:stretch>
          </p:blipFill>
          <p:spPr>
            <a:xfrm>
              <a:off x="6757028" y="2050638"/>
              <a:ext cx="325968" cy="325968"/>
            </a:xfrm>
            <a:prstGeom prst="rect">
              <a:avLst/>
            </a:prstGeom>
          </p:spPr>
        </p:pic>
      </p:grpSp>
      <p:sp>
        <p:nvSpPr>
          <p:cNvPr id="96" name="Rectangle: Rounded Corners 95">
            <a:extLst>
              <a:ext uri="{FF2B5EF4-FFF2-40B4-BE49-F238E27FC236}">
                <a16:creationId xmlns:a16="http://schemas.microsoft.com/office/drawing/2014/main" id="{ACD8554B-707F-1096-1FA1-072E2F068D2A}"/>
              </a:ext>
            </a:extLst>
          </p:cNvPr>
          <p:cNvSpPr/>
          <p:nvPr/>
        </p:nvSpPr>
        <p:spPr>
          <a:xfrm>
            <a:off x="1342681" y="1280627"/>
            <a:ext cx="5022000" cy="323669"/>
          </a:xfrm>
          <a:prstGeom prst="roundRect">
            <a:avLst/>
          </a:prstGeom>
          <a:solidFill>
            <a:schemeClr val="accent2"/>
          </a:solidFill>
          <a:ln w="285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Managing Degradation</a:t>
            </a:r>
          </a:p>
        </p:txBody>
      </p:sp>
      <p:sp>
        <p:nvSpPr>
          <p:cNvPr id="97" name="Rectangle: Rounded Corners 96">
            <a:extLst>
              <a:ext uri="{FF2B5EF4-FFF2-40B4-BE49-F238E27FC236}">
                <a16:creationId xmlns:a16="http://schemas.microsoft.com/office/drawing/2014/main" id="{95C2DC8E-A00A-4D49-A2C7-E3093AB92658}"/>
              </a:ext>
            </a:extLst>
          </p:cNvPr>
          <p:cNvSpPr/>
          <p:nvPr/>
        </p:nvSpPr>
        <p:spPr>
          <a:xfrm>
            <a:off x="6563557" y="1282375"/>
            <a:ext cx="5022000" cy="312089"/>
          </a:xfrm>
          <a:prstGeom prst="roundRect">
            <a:avLst/>
          </a:prstGeom>
          <a:solidFill>
            <a:schemeClr val="accent2"/>
          </a:solidFill>
          <a:ln w="285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Managing Degradation and Revenue Resets</a:t>
            </a:r>
          </a:p>
        </p:txBody>
      </p:sp>
      <p:sp>
        <p:nvSpPr>
          <p:cNvPr id="103" name="TextBox 102">
            <a:extLst>
              <a:ext uri="{FF2B5EF4-FFF2-40B4-BE49-F238E27FC236}">
                <a16:creationId xmlns:a16="http://schemas.microsoft.com/office/drawing/2014/main" id="{5F4CD06F-5634-A5FF-636A-E2E70A38A848}"/>
              </a:ext>
            </a:extLst>
          </p:cNvPr>
          <p:cNvSpPr txBox="1"/>
          <p:nvPr/>
        </p:nvSpPr>
        <p:spPr>
          <a:xfrm>
            <a:off x="1465200" y="5039999"/>
            <a:ext cx="4822820" cy="936000"/>
          </a:xfrm>
          <a:prstGeom prst="rect">
            <a:avLst/>
          </a:prstGeom>
          <a:solidFill>
            <a:schemeClr val="bg1">
              <a:lumMod val="85000"/>
            </a:schemeClr>
          </a:solidFill>
          <a:ln>
            <a:noFill/>
          </a:ln>
        </p:spPr>
        <p:txBody>
          <a:bodyPr wrap="square" lIns="72000" tIns="72000" rIns="0" bIns="0" rtlCol="0" anchor="t" anchorCtr="0">
            <a:noAutofit/>
          </a:bodyPr>
          <a:lstStyle/>
          <a:p>
            <a:pPr marL="720000" lvl="1" indent="-171450" defTabSz="180000">
              <a:spcBef>
                <a:spcPts val="600"/>
              </a:spcBef>
              <a:buFont typeface="Arial" panose="020B0604020202020204" pitchFamily="34" charset="0"/>
              <a:buChar char="•"/>
            </a:pPr>
            <a:endParaRPr lang="en-GB" sz="1200"/>
          </a:p>
        </p:txBody>
      </p:sp>
      <p:sp>
        <p:nvSpPr>
          <p:cNvPr id="105" name="TextBox 104">
            <a:extLst>
              <a:ext uri="{FF2B5EF4-FFF2-40B4-BE49-F238E27FC236}">
                <a16:creationId xmlns:a16="http://schemas.microsoft.com/office/drawing/2014/main" id="{1AB7FDF2-B8CC-5131-70C0-E471328A7E51}"/>
              </a:ext>
            </a:extLst>
          </p:cNvPr>
          <p:cNvSpPr txBox="1"/>
          <p:nvPr/>
        </p:nvSpPr>
        <p:spPr>
          <a:xfrm>
            <a:off x="6699600" y="5040000"/>
            <a:ext cx="4824000" cy="936000"/>
          </a:xfrm>
          <a:prstGeom prst="rect">
            <a:avLst/>
          </a:prstGeom>
          <a:solidFill>
            <a:schemeClr val="bg1">
              <a:lumMod val="85000"/>
            </a:schemeClr>
          </a:solidFill>
          <a:ln>
            <a:noFill/>
          </a:ln>
        </p:spPr>
        <p:txBody>
          <a:bodyPr wrap="square" lIns="72000" tIns="72000" rIns="0" bIns="0" rtlCol="0" anchor="t" anchorCtr="0">
            <a:noAutofit/>
          </a:bodyPr>
          <a:lstStyle/>
          <a:p>
            <a:pPr marL="720000" lvl="1" indent="-171450" defTabSz="180000">
              <a:spcBef>
                <a:spcPts val="600"/>
              </a:spcBef>
              <a:buFont typeface="Arial" panose="020B0604020202020204" pitchFamily="34" charset="0"/>
              <a:buChar char="•"/>
            </a:pPr>
            <a:endParaRPr lang="en-GB" sz="1200"/>
          </a:p>
        </p:txBody>
      </p:sp>
      <p:sp>
        <p:nvSpPr>
          <p:cNvPr id="114" name="Rectangle: Rounded Corners 113">
            <a:extLst>
              <a:ext uri="{FF2B5EF4-FFF2-40B4-BE49-F238E27FC236}">
                <a16:creationId xmlns:a16="http://schemas.microsoft.com/office/drawing/2014/main" id="{58811F1F-0B6D-B988-41F2-31332D4A6DD8}"/>
              </a:ext>
            </a:extLst>
          </p:cNvPr>
          <p:cNvSpPr/>
          <p:nvPr/>
        </p:nvSpPr>
        <p:spPr>
          <a:xfrm>
            <a:off x="1342681" y="1700213"/>
            <a:ext cx="5022000" cy="4353896"/>
          </a:xfrm>
          <a:prstGeom prst="roundRect">
            <a:avLst>
              <a:gd name="adj" fmla="val 986"/>
            </a:avLst>
          </a:prstGeom>
          <a:noFill/>
          <a:ln w="285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GB" sz="1200">
              <a:solidFill>
                <a:schemeClr val="tx1"/>
              </a:solidFill>
            </a:endParaRPr>
          </a:p>
        </p:txBody>
      </p:sp>
      <p:sp>
        <p:nvSpPr>
          <p:cNvPr id="115" name="Rectangle: Rounded Corners 114">
            <a:extLst>
              <a:ext uri="{FF2B5EF4-FFF2-40B4-BE49-F238E27FC236}">
                <a16:creationId xmlns:a16="http://schemas.microsoft.com/office/drawing/2014/main" id="{793390B3-2298-F8E3-4709-E0EDED1CBB63}"/>
              </a:ext>
            </a:extLst>
          </p:cNvPr>
          <p:cNvSpPr/>
          <p:nvPr/>
        </p:nvSpPr>
        <p:spPr>
          <a:xfrm>
            <a:off x="6576890" y="1700213"/>
            <a:ext cx="5022000" cy="4353896"/>
          </a:xfrm>
          <a:prstGeom prst="roundRect">
            <a:avLst>
              <a:gd name="adj" fmla="val 986"/>
            </a:avLst>
          </a:prstGeom>
          <a:noFill/>
          <a:ln w="285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GB" sz="1200">
              <a:solidFill>
                <a:schemeClr val="tx1"/>
              </a:solidFill>
            </a:endParaRPr>
          </a:p>
        </p:txBody>
      </p:sp>
      <p:sp>
        <p:nvSpPr>
          <p:cNvPr id="13" name="Oval 12">
            <a:extLst>
              <a:ext uri="{FF2B5EF4-FFF2-40B4-BE49-F238E27FC236}">
                <a16:creationId xmlns:a16="http://schemas.microsoft.com/office/drawing/2014/main" id="{1FE393ED-D41E-7B81-74B4-0D2D7AE61BC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14" name="Text Placeholder 3">
            <a:extLst>
              <a:ext uri="{FF2B5EF4-FFF2-40B4-BE49-F238E27FC236}">
                <a16:creationId xmlns:a16="http://schemas.microsoft.com/office/drawing/2014/main" id="{A406800C-48EB-4B42-8B86-72CC01A8829C}"/>
              </a:ext>
            </a:extLst>
          </p:cNvPr>
          <p:cNvSpPr txBox="1">
            <a:spLocks/>
          </p:cNvSpPr>
          <p:nvPr/>
        </p:nvSpPr>
        <p:spPr>
          <a:xfrm>
            <a:off x="381599" y="79401"/>
            <a:ext cx="1468672"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roject economics</a:t>
            </a:r>
          </a:p>
        </p:txBody>
      </p:sp>
      <p:sp>
        <p:nvSpPr>
          <p:cNvPr id="20" name="Diamond 19">
            <a:extLst>
              <a:ext uri="{FF2B5EF4-FFF2-40B4-BE49-F238E27FC236}">
                <a16:creationId xmlns:a16="http://schemas.microsoft.com/office/drawing/2014/main" id="{C62A9C28-81AB-B7DB-2A04-96FA5B1A1A7A}"/>
              </a:ext>
            </a:extLst>
          </p:cNvPr>
          <p:cNvSpPr/>
          <p:nvPr/>
        </p:nvSpPr>
        <p:spPr>
          <a:xfrm>
            <a:off x="363378" y="411856"/>
            <a:ext cx="540000" cy="5400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b="1">
                <a:solidFill>
                  <a:schemeClr val="tx1"/>
                </a:solidFill>
              </a:rPr>
              <a:t>1</a:t>
            </a:r>
          </a:p>
        </p:txBody>
      </p:sp>
    </p:spTree>
    <p:extLst>
      <p:ext uri="{BB962C8B-B14F-4D97-AF65-F5344CB8AC3E}">
        <p14:creationId xmlns:p14="http://schemas.microsoft.com/office/powerpoint/2010/main" val="52979266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504E19-9954-6CF0-1F08-BD295F24B056}"/>
              </a:ext>
            </a:extLst>
          </p:cNvPr>
          <p:cNvGraphicFramePr>
            <a:graphicFrameLocks noChangeAspect="1"/>
          </p:cNvGraphicFramePr>
          <p:nvPr>
            <p:custDataLst>
              <p:tags r:id="rId1"/>
            </p:custDataLst>
            <p:extLst>
              <p:ext uri="{D42A27DB-BD31-4B8C-83A1-F6EECF244321}">
                <p14:modId xmlns:p14="http://schemas.microsoft.com/office/powerpoint/2010/main" val="417075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1" imgW="395" imgH="394" progId="TCLayout.ActiveDocument.1">
                  <p:embed/>
                </p:oleObj>
              </mc:Choice>
              <mc:Fallback>
                <p:oleObj name="think-cell Slide" r:id="rId101" imgW="395" imgH="394" progId="TCLayout.ActiveDocument.1">
                  <p:embed/>
                  <p:pic>
                    <p:nvPicPr>
                      <p:cNvPr id="9" name="Object 8" hidden="1">
                        <a:extLst>
                          <a:ext uri="{FF2B5EF4-FFF2-40B4-BE49-F238E27FC236}">
                            <a16:creationId xmlns:a16="http://schemas.microsoft.com/office/drawing/2014/main" id="{6D504E19-9954-6CF0-1F08-BD295F24B056}"/>
                          </a:ext>
                        </a:extLst>
                      </p:cNvPr>
                      <p:cNvPicPr/>
                      <p:nvPr/>
                    </p:nvPicPr>
                    <p:blipFill>
                      <a:blip r:embed="rId102"/>
                      <a:stretch>
                        <a:fillRect/>
                      </a:stretch>
                    </p:blipFill>
                    <p:spPr>
                      <a:xfrm>
                        <a:off x="1588" y="1588"/>
                        <a:ext cx="1588" cy="1588"/>
                      </a:xfrm>
                      <a:prstGeom prst="rect">
                        <a:avLst/>
                      </a:prstGeom>
                    </p:spPr>
                  </p:pic>
                </p:oleObj>
              </mc:Fallback>
            </mc:AlternateContent>
          </a:graphicData>
        </a:graphic>
      </p:graphicFrame>
      <p:graphicFrame>
        <p:nvGraphicFramePr>
          <p:cNvPr id="509" name="Tabelle 7">
            <a:extLst>
              <a:ext uri="{FF2B5EF4-FFF2-40B4-BE49-F238E27FC236}">
                <a16:creationId xmlns:a16="http://schemas.microsoft.com/office/drawing/2014/main" id="{C33F19B4-A399-DB0C-8A23-C7ECC34E3E85}"/>
              </a:ext>
            </a:extLst>
          </p:cNvPr>
          <p:cNvGraphicFramePr>
            <a:graphicFrameLocks noGrp="1"/>
          </p:cNvGraphicFramePr>
          <p:nvPr>
            <p:custDataLst>
              <p:tags r:id="rId2"/>
            </p:custDataLst>
            <p:extLst>
              <p:ext uri="{D42A27DB-BD31-4B8C-83A1-F6EECF244321}">
                <p14:modId xmlns:p14="http://schemas.microsoft.com/office/powerpoint/2010/main" val="1910856710"/>
              </p:ext>
            </p:extLst>
          </p:nvPr>
        </p:nvGraphicFramePr>
        <p:xfrm>
          <a:off x="371868" y="3917951"/>
          <a:ext cx="5389400" cy="2151648"/>
        </p:xfrm>
        <a:graphic>
          <a:graphicData uri="http://schemas.openxmlformats.org/drawingml/2006/table">
            <a:tbl>
              <a:tblPr firstRow="1" bandRow="1">
                <a:effectLst/>
                <a:tableStyleId>{5C22544A-7EE6-4342-B048-85BDC9FD1C3A}</a:tableStyleId>
              </a:tblPr>
              <a:tblGrid>
                <a:gridCol w="25400">
                  <a:extLst>
                    <a:ext uri="{9D8B030D-6E8A-4147-A177-3AD203B41FA5}">
                      <a16:colId xmlns:a16="http://schemas.microsoft.com/office/drawing/2014/main" val="2133620686"/>
                    </a:ext>
                  </a:extLst>
                </a:gridCol>
                <a:gridCol w="360000">
                  <a:extLst>
                    <a:ext uri="{9D8B030D-6E8A-4147-A177-3AD203B41FA5}">
                      <a16:colId xmlns:a16="http://schemas.microsoft.com/office/drawing/2014/main" val="961236343"/>
                    </a:ext>
                  </a:extLst>
                </a:gridCol>
                <a:gridCol w="2443132">
                  <a:extLst>
                    <a:ext uri="{9D8B030D-6E8A-4147-A177-3AD203B41FA5}">
                      <a16:colId xmlns:a16="http://schemas.microsoft.com/office/drawing/2014/main" val="557987621"/>
                    </a:ext>
                  </a:extLst>
                </a:gridCol>
                <a:gridCol w="2560868">
                  <a:extLst>
                    <a:ext uri="{9D8B030D-6E8A-4147-A177-3AD203B41FA5}">
                      <a16:colId xmlns:a16="http://schemas.microsoft.com/office/drawing/2014/main" val="2503764876"/>
                    </a:ext>
                  </a:extLst>
                </a:gridCol>
              </a:tblGrid>
              <a:tr h="220305">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GB" sz="1000">
                          <a:solidFill>
                            <a:srgbClr val="7A7A7A"/>
                          </a:solidFill>
                          <a:highlight>
                            <a:srgbClr val="7A7A7A"/>
                          </a:highlight>
                          <a:latin typeface="+mn-lt"/>
                        </a:rPr>
                        <a:t>XX</a:t>
                      </a: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F4FF"/>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GB" sz="1000">
                          <a:solidFill>
                            <a:srgbClr val="7A7A7A"/>
                          </a:solidFill>
                          <a:highlight>
                            <a:srgbClr val="7A7A7A"/>
                          </a:highlight>
                          <a:latin typeface="+mn-lt"/>
                        </a:rPr>
                        <a:t>XX</a:t>
                      </a: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F4FF"/>
                    </a:solidFill>
                  </a:tcPr>
                </a:tc>
                <a:extLst>
                  <a:ext uri="{0D108BD9-81ED-4DB2-BD59-A6C34878D82A}">
                    <a16:rowId xmlns:a16="http://schemas.microsoft.com/office/drawing/2014/main" val="3761619748"/>
                  </a:ext>
                </a:extLst>
              </a:tr>
              <a:tr h="855519">
                <a:tc>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GB" sz="1200" b="1" i="0" u="none" strike="noStrike">
                          <a:solidFill>
                            <a:sysClr val="windowText" lastClr="000000"/>
                          </a:solidFill>
                          <a:effectLst/>
                          <a:latin typeface="+mn-lt"/>
                        </a:rPr>
                        <a:t>Project IRR</a:t>
                      </a:r>
                      <a:r>
                        <a:rPr lang="en-GB" sz="1200" b="1" i="0" u="none" strike="noStrike" baseline="30000">
                          <a:solidFill>
                            <a:sysClr val="windowText" lastClr="000000"/>
                          </a:solidFill>
                          <a:effectLst/>
                          <a:latin typeface="+mn-lt"/>
                        </a:rPr>
                        <a:t>3</a:t>
                      </a:r>
                    </a:p>
                  </a:txBody>
                  <a:tcPr marL="6350" marR="72000" marT="635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tc rowSpan="2">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1625">
                <a:tc rowSpan="2">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GB" sz="1000">
                          <a:solidFill>
                            <a:srgbClr val="7A7A7A"/>
                          </a:solidFill>
                          <a:highlight>
                            <a:srgbClr val="7A7A7A"/>
                          </a:highlight>
                          <a:latin typeface="+mn-lt"/>
                        </a:rPr>
                        <a:t>XX</a:t>
                      </a: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1F4FF"/>
                    </a:solidFill>
                  </a:tcPr>
                </a:tc>
                <a:tc vMerge="1">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GB" sz="1000">
                          <a:solidFill>
                            <a:srgbClr val="7A7A7A"/>
                          </a:solidFill>
                          <a:highlight>
                            <a:srgbClr val="7A7A7A"/>
                          </a:highlight>
                          <a:latin typeface="+mn-lt"/>
                        </a:rPr>
                        <a:t>XX</a:t>
                      </a: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1F4FF"/>
                    </a:solidFill>
                  </a:tcPr>
                </a:tc>
                <a:extLst>
                  <a:ext uri="{0D108BD9-81ED-4DB2-BD59-A6C34878D82A}">
                    <a16:rowId xmlns:a16="http://schemas.microsoft.com/office/drawing/2014/main" val="761743538"/>
                  </a:ext>
                </a:extLst>
              </a:tr>
              <a:tr h="108680">
                <a:tc vMerge="1">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rowSpan="2">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GB" sz="1000">
                          <a:solidFill>
                            <a:srgbClr val="7A7A7A"/>
                          </a:solidFill>
                          <a:highlight>
                            <a:srgbClr val="7A7A7A"/>
                          </a:highlight>
                          <a:latin typeface="+mn-lt"/>
                        </a:rPr>
                        <a:t>XX</a:t>
                      </a: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1F4FF"/>
                    </a:solidFill>
                  </a:tcPr>
                </a:tc>
                <a:tc rowSpan="2">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GB" sz="1000">
                          <a:solidFill>
                            <a:srgbClr val="7A7A7A"/>
                          </a:solidFill>
                          <a:highlight>
                            <a:srgbClr val="7A7A7A"/>
                          </a:highlight>
                          <a:latin typeface="+mn-lt"/>
                        </a:rPr>
                        <a:t>XX</a:t>
                      </a: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1F4FF"/>
                    </a:solidFill>
                  </a:tcPr>
                </a:tc>
                <a:extLst>
                  <a:ext uri="{0D108BD9-81ED-4DB2-BD59-A6C34878D82A}">
                    <a16:rowId xmlns:a16="http://schemas.microsoft.com/office/drawing/2014/main" val="3293516704"/>
                  </a:ext>
                </a:extLst>
              </a:tr>
              <a:tr h="107950">
                <a:tc rowSpan="2">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400881"/>
                  </a:ext>
                </a:extLst>
              </a:tr>
              <a:tr h="747569">
                <a:tc vMerge="1">
                  <a:txBody>
                    <a:bodyPr/>
                    <a:lstStyle/>
                    <a:p>
                      <a:pPr algn="l" rtl="0">
                        <a:spcBef>
                          <a:spcPts val="0"/>
                        </a:spcBef>
                        <a:spcAft>
                          <a:spcPts val="300"/>
                        </a:spcAft>
                      </a:pPr>
                      <a:endParaRPr lang="en-GB" sz="10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200" b="1" i="0" u="none" strike="noStrike" baseline="30000">
                        <a:solidFill>
                          <a:sysClr val="windowText" lastClr="000000"/>
                        </a:solidFill>
                        <a:effectLst/>
                        <a:latin typeface="+mn-lt"/>
                      </a:endParaRPr>
                    </a:p>
                  </a:txBody>
                  <a:tcPr marL="6350" marR="72000" marT="635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300"/>
                        </a:spcAft>
                        <a:buClrTx/>
                        <a:buSzTx/>
                        <a:buFont typeface="Wingdings" panose="05000000000000000000" pitchFamily="2" charset="2"/>
                        <a:buNone/>
                        <a:tabLst/>
                        <a:defRPr/>
                      </a:pPr>
                      <a:endParaRPr lang="en-GB" sz="1000" b="0" i="0" u="none" strike="noStrike">
                        <a:solidFill>
                          <a:sysClr val="windowText" lastClr="000000"/>
                        </a:solidFill>
                        <a:effectLst/>
                        <a:latin typeface="+mn-lt"/>
                      </a:endParaRPr>
                    </a:p>
                  </a:txBody>
                  <a:tcPr marL="635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3757532"/>
                  </a:ext>
                </a:extLst>
              </a:tr>
            </a:tbl>
          </a:graphicData>
        </a:graphic>
      </p:graphicFrame>
      <p:sp>
        <p:nvSpPr>
          <p:cNvPr id="200" name="Rectangle: Rounded Corners 199">
            <a:extLst>
              <a:ext uri="{FF2B5EF4-FFF2-40B4-BE49-F238E27FC236}">
                <a16:creationId xmlns:a16="http://schemas.microsoft.com/office/drawing/2014/main" id="{8BFBEFC6-C9D4-284E-EC2A-F4C188793419}"/>
              </a:ext>
            </a:extLst>
          </p:cNvPr>
          <p:cNvSpPr/>
          <p:nvPr/>
        </p:nvSpPr>
        <p:spPr>
          <a:xfrm>
            <a:off x="11028362" y="1648314"/>
            <a:ext cx="828675" cy="2209312"/>
          </a:xfrm>
          <a:prstGeom prst="roundRect">
            <a:avLst>
              <a:gd name="adj" fmla="val 9055"/>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1000"/>
              </a:spcAft>
            </a:pPr>
            <a:r>
              <a:rPr lang="en-GB" sz="1100" b="1">
                <a:solidFill>
                  <a:schemeClr val="tx1"/>
                </a:solidFill>
              </a:rPr>
              <a:t>Repower at 63% State-of-Health (in 2036)</a:t>
            </a:r>
          </a:p>
        </p:txBody>
      </p:sp>
      <p:sp>
        <p:nvSpPr>
          <p:cNvPr id="194" name="Rectangle: Rounded Corners 193">
            <a:extLst>
              <a:ext uri="{FF2B5EF4-FFF2-40B4-BE49-F238E27FC236}">
                <a16:creationId xmlns:a16="http://schemas.microsoft.com/office/drawing/2014/main" id="{D598F12D-B6DC-14B0-A53F-1F55470D0648}"/>
              </a:ext>
            </a:extLst>
          </p:cNvPr>
          <p:cNvSpPr/>
          <p:nvPr/>
        </p:nvSpPr>
        <p:spPr>
          <a:xfrm>
            <a:off x="5349875" y="1728232"/>
            <a:ext cx="828675" cy="2129393"/>
          </a:xfrm>
          <a:prstGeom prst="roundRect">
            <a:avLst>
              <a:gd name="adj" fmla="val 9055"/>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1000"/>
              </a:spcAft>
            </a:pPr>
            <a:endParaRPr lang="en-GB" sz="1100" b="1">
              <a:solidFill>
                <a:schemeClr val="tx1"/>
              </a:solidFill>
            </a:endParaRPr>
          </a:p>
          <a:p>
            <a:pPr algn="ctr">
              <a:spcAft>
                <a:spcPts val="1000"/>
              </a:spcAft>
            </a:pPr>
            <a:r>
              <a:rPr lang="en-GB" sz="1100" b="1">
                <a:solidFill>
                  <a:schemeClr val="tx1"/>
                </a:solidFill>
              </a:rPr>
              <a:t>Standard 10-year lifetime</a:t>
            </a:r>
            <a:r>
              <a:rPr lang="en-GB" sz="1100" b="1" baseline="30000">
                <a:solidFill>
                  <a:schemeClr val="tx1"/>
                </a:solidFill>
              </a:rPr>
              <a:t>1</a:t>
            </a:r>
          </a:p>
        </p:txBody>
      </p:sp>
      <p:sp>
        <p:nvSpPr>
          <p:cNvPr id="4" name="Title 3">
            <a:extLst>
              <a:ext uri="{FF2B5EF4-FFF2-40B4-BE49-F238E27FC236}">
                <a16:creationId xmlns:a16="http://schemas.microsoft.com/office/drawing/2014/main" id="{9FE32614-0EC8-78B2-A22C-33605FFA5310}"/>
              </a:ext>
            </a:extLst>
          </p:cNvPr>
          <p:cNvSpPr>
            <a:spLocks noGrp="1"/>
          </p:cNvSpPr>
          <p:nvPr>
            <p:ph type="title"/>
          </p:nvPr>
        </p:nvSpPr>
        <p:spPr>
          <a:xfrm>
            <a:off x="1061999" y="411856"/>
            <a:ext cx="8640265" cy="609398"/>
          </a:xfrm>
        </p:spPr>
        <p:txBody>
          <a:bodyPr vert="horz"/>
          <a:lstStyle/>
          <a:p>
            <a:r>
              <a:rPr lang="en-GB">
                <a:solidFill>
                  <a:schemeClr val="tx1"/>
                </a:solidFill>
              </a:rPr>
              <a:t>Repowering extends the battery lifetime allowing them to capture higher revenues, and potentially increasing profitability </a:t>
            </a:r>
            <a:br>
              <a:rPr lang="en-GB">
                <a:solidFill>
                  <a:schemeClr val="tx1"/>
                </a:solidFill>
              </a:rPr>
            </a:br>
            <a:endParaRPr lang="en-GB"/>
          </a:p>
        </p:txBody>
      </p:sp>
      <p:sp>
        <p:nvSpPr>
          <p:cNvPr id="5" name="Text Placeholder 4">
            <a:extLst>
              <a:ext uri="{FF2B5EF4-FFF2-40B4-BE49-F238E27FC236}">
                <a16:creationId xmlns:a16="http://schemas.microsoft.com/office/drawing/2014/main" id="{5AA49280-3812-1061-EF8B-2DB41235E6C6}"/>
              </a:ext>
            </a:extLst>
          </p:cNvPr>
          <p:cNvSpPr>
            <a:spLocks noGrp="1"/>
          </p:cNvSpPr>
          <p:nvPr>
            <p:ph type="body" sz="quarter" idx="32"/>
          </p:nvPr>
        </p:nvSpPr>
        <p:spPr>
          <a:xfrm>
            <a:off x="381600" y="6474841"/>
            <a:ext cx="11428800" cy="110800"/>
          </a:xfrm>
        </p:spPr>
        <p:txBody>
          <a:bodyPr/>
          <a:lstStyle/>
          <a:p>
            <a:endParaRPr lang="en-GB"/>
          </a:p>
        </p:txBody>
      </p:sp>
      <p:sp>
        <p:nvSpPr>
          <p:cNvPr id="3" name="Text Placeholder 2">
            <a:extLst>
              <a:ext uri="{FF2B5EF4-FFF2-40B4-BE49-F238E27FC236}">
                <a16:creationId xmlns:a16="http://schemas.microsoft.com/office/drawing/2014/main" id="{501FFE25-0B3C-4BDA-7EBC-8CCC3EBAC96D}"/>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7" name="Text Placeholder 6"/>
          <p:cNvSpPr>
            <a:spLocks noGrp="1"/>
          </p:cNvSpPr>
          <p:nvPr>
            <p:ph type="body" sz="quarter" idx="31"/>
          </p:nvPr>
        </p:nvSpPr>
        <p:spPr>
          <a:xfrm>
            <a:off x="381599" y="79401"/>
            <a:ext cx="1468672" cy="184666"/>
          </a:xfrm>
        </p:spPr>
        <p:txBody>
          <a:bodyPr/>
          <a:lstStyle/>
          <a:p>
            <a:r>
              <a:rPr lang="en-GB"/>
              <a:t>	Project economics</a:t>
            </a:r>
          </a:p>
        </p:txBody>
      </p:sp>
      <p:sp>
        <p:nvSpPr>
          <p:cNvPr id="34" name="Oval 3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408" name="Text Placeholder 481">
            <a:extLst>
              <a:ext uri="{FF2B5EF4-FFF2-40B4-BE49-F238E27FC236}">
                <a16:creationId xmlns:a16="http://schemas.microsoft.com/office/drawing/2014/main" id="{2A5BC2A5-83B1-AB0D-0ED6-3FA2089FE907}"/>
              </a:ext>
            </a:extLst>
          </p:cNvPr>
          <p:cNvSpPr txBox="1">
            <a:spLocks/>
          </p:cNvSpPr>
          <p:nvPr/>
        </p:nvSpPr>
        <p:spPr>
          <a:xfrm>
            <a:off x="390524" y="1279526"/>
            <a:ext cx="8348663" cy="369332"/>
          </a:xfrm>
          <a:prstGeom prst="rect">
            <a:avLst/>
          </a:prstGeom>
        </p:spPr>
        <p:txBody>
          <a:bodyPr wrap="square" lIns="0" tIns="0" rIns="0" bIns="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396000">
              <a:spcBef>
                <a:spcPts val="600"/>
              </a:spcBef>
            </a:pPr>
            <a:r>
              <a:rPr lang="en-GB" b="1">
                <a:solidFill>
                  <a:srgbClr val="000000"/>
                </a:solidFill>
                <a:sym typeface="+mj-lt"/>
              </a:rPr>
              <a:t>	Economics for a repowering new-build 1-hour 2 cycle/day battery in </a:t>
            </a:r>
            <a:r>
              <a:rPr lang="en-GB" sz="1200">
                <a:solidFill>
                  <a:srgbClr val="7A7A7A"/>
                </a:solidFill>
                <a:highlight>
                  <a:srgbClr val="7A7A7A"/>
                </a:highlight>
                <a:latin typeface="Lato"/>
              </a:rPr>
              <a:t>XX </a:t>
            </a:r>
            <a:r>
              <a:rPr lang="en-GB" b="1">
                <a:solidFill>
                  <a:srgbClr val="000000"/>
                </a:solidFill>
                <a:sym typeface="+mj-lt"/>
              </a:rPr>
              <a:t>in 2027</a:t>
            </a:r>
            <a:br>
              <a:rPr lang="en-GB" sz="1200" b="1">
                <a:solidFill>
                  <a:srgbClr val="000000"/>
                </a:solidFill>
                <a:sym typeface="+mj-lt"/>
              </a:rPr>
            </a:br>
            <a:r>
              <a:rPr lang="en-GB">
                <a:solidFill>
                  <a:schemeClr val="accent5"/>
                </a:solidFill>
                <a:sym typeface="+mj-lt"/>
              </a:rPr>
              <a:t>€/kW, real 2022</a:t>
            </a:r>
            <a:endParaRPr lang="en-GB" sz="1200" b="0">
              <a:solidFill>
                <a:schemeClr val="accent5"/>
              </a:solidFill>
              <a:sym typeface="+mj-lt"/>
            </a:endParaRPr>
          </a:p>
        </p:txBody>
      </p:sp>
      <p:cxnSp>
        <p:nvCxnSpPr>
          <p:cNvPr id="649" name="Straight Connector 648">
            <a:extLst>
              <a:ext uri="{FF2B5EF4-FFF2-40B4-BE49-F238E27FC236}">
                <a16:creationId xmlns:a16="http://schemas.microsoft.com/office/drawing/2014/main" id="{7649A27A-67F4-EE44-EE1D-EB7918836E04}"/>
              </a:ext>
            </a:extLst>
          </p:cNvPr>
          <p:cNvCxnSpPr/>
          <p:nvPr>
            <p:custDataLst>
              <p:tags r:id="rId3"/>
            </p:custDataLst>
          </p:nvPr>
        </p:nvCxnSpPr>
        <p:spPr bwMode="auto">
          <a:xfrm>
            <a:off x="10937874" y="2232025"/>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6DEC6460-C2D3-95EB-DCFC-392AEF3342BB}"/>
              </a:ext>
            </a:extLst>
          </p:cNvPr>
          <p:cNvCxnSpPr/>
          <p:nvPr>
            <p:custDataLst>
              <p:tags r:id="rId4"/>
            </p:custDataLst>
          </p:nvPr>
        </p:nvCxnSpPr>
        <p:spPr bwMode="auto">
          <a:xfrm>
            <a:off x="946150" y="3282950"/>
            <a:ext cx="31591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3" name="Straight Connector 662">
            <a:extLst>
              <a:ext uri="{FF2B5EF4-FFF2-40B4-BE49-F238E27FC236}">
                <a16:creationId xmlns:a16="http://schemas.microsoft.com/office/drawing/2014/main" id="{FBB3903E-8FE1-F5CF-052C-BA4C82741B1D}"/>
              </a:ext>
            </a:extLst>
          </p:cNvPr>
          <p:cNvCxnSpPr/>
          <p:nvPr>
            <p:custDataLst>
              <p:tags r:id="rId5"/>
            </p:custDataLst>
          </p:nvPr>
        </p:nvCxnSpPr>
        <p:spPr bwMode="auto">
          <a:xfrm>
            <a:off x="10225088" y="2184400"/>
            <a:ext cx="31591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2" name="Straight Connector 661">
            <a:extLst>
              <a:ext uri="{FF2B5EF4-FFF2-40B4-BE49-F238E27FC236}">
                <a16:creationId xmlns:a16="http://schemas.microsoft.com/office/drawing/2014/main" id="{502FB7E9-EF76-3075-15AA-783EC373E707}"/>
              </a:ext>
            </a:extLst>
          </p:cNvPr>
          <p:cNvCxnSpPr/>
          <p:nvPr>
            <p:custDataLst>
              <p:tags r:id="rId6"/>
            </p:custDataLst>
          </p:nvPr>
        </p:nvCxnSpPr>
        <p:spPr bwMode="auto">
          <a:xfrm>
            <a:off x="9510712" y="2162175"/>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1" name="Straight Connector 660">
            <a:extLst>
              <a:ext uri="{FF2B5EF4-FFF2-40B4-BE49-F238E27FC236}">
                <a16:creationId xmlns:a16="http://schemas.microsoft.com/office/drawing/2014/main" id="{3FA7945B-88DF-6E2B-2099-B4F2CDD2C7D8}"/>
              </a:ext>
            </a:extLst>
          </p:cNvPr>
          <p:cNvCxnSpPr/>
          <p:nvPr>
            <p:custDataLst>
              <p:tags r:id="rId7"/>
            </p:custDataLst>
          </p:nvPr>
        </p:nvCxnSpPr>
        <p:spPr bwMode="auto">
          <a:xfrm>
            <a:off x="8797925" y="2249488"/>
            <a:ext cx="31591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0" name="Straight Connector 659">
            <a:extLst>
              <a:ext uri="{FF2B5EF4-FFF2-40B4-BE49-F238E27FC236}">
                <a16:creationId xmlns:a16="http://schemas.microsoft.com/office/drawing/2014/main" id="{AAAD07FC-A9B8-F027-8AF6-A3755739D71C}"/>
              </a:ext>
            </a:extLst>
          </p:cNvPr>
          <p:cNvCxnSpPr/>
          <p:nvPr>
            <p:custDataLst>
              <p:tags r:id="rId8"/>
            </p:custDataLst>
          </p:nvPr>
        </p:nvCxnSpPr>
        <p:spPr bwMode="auto">
          <a:xfrm>
            <a:off x="8083550" y="2262188"/>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5" name="Straight Connector 654">
            <a:extLst>
              <a:ext uri="{FF2B5EF4-FFF2-40B4-BE49-F238E27FC236}">
                <a16:creationId xmlns:a16="http://schemas.microsoft.com/office/drawing/2014/main" id="{92A939E2-5B85-701A-5037-116331C8BBD2}"/>
              </a:ext>
            </a:extLst>
          </p:cNvPr>
          <p:cNvCxnSpPr/>
          <p:nvPr>
            <p:custDataLst>
              <p:tags r:id="rId9"/>
            </p:custDataLst>
          </p:nvPr>
        </p:nvCxnSpPr>
        <p:spPr bwMode="auto">
          <a:xfrm>
            <a:off x="7369174" y="2552700"/>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1" name="Straight Connector 650">
            <a:extLst>
              <a:ext uri="{FF2B5EF4-FFF2-40B4-BE49-F238E27FC236}">
                <a16:creationId xmlns:a16="http://schemas.microsoft.com/office/drawing/2014/main" id="{58F5FFFE-6E6D-A76E-9AD8-AAB679A2C8C4}"/>
              </a:ext>
            </a:extLst>
          </p:cNvPr>
          <p:cNvCxnSpPr/>
          <p:nvPr>
            <p:custDataLst>
              <p:tags r:id="rId10"/>
            </p:custDataLst>
          </p:nvPr>
        </p:nvCxnSpPr>
        <p:spPr bwMode="auto">
          <a:xfrm>
            <a:off x="6656388" y="2460625"/>
            <a:ext cx="31591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8" name="Straight Connector 647">
            <a:extLst>
              <a:ext uri="{FF2B5EF4-FFF2-40B4-BE49-F238E27FC236}">
                <a16:creationId xmlns:a16="http://schemas.microsoft.com/office/drawing/2014/main" id="{F8B27F81-227A-D45B-84B4-DD7D4C2A05B9}"/>
              </a:ext>
            </a:extLst>
          </p:cNvPr>
          <p:cNvCxnSpPr/>
          <p:nvPr>
            <p:custDataLst>
              <p:tags r:id="rId11"/>
            </p:custDataLst>
          </p:nvPr>
        </p:nvCxnSpPr>
        <p:spPr bwMode="auto">
          <a:xfrm>
            <a:off x="5942012" y="2382838"/>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4" name="Straight Connector 653">
            <a:extLst>
              <a:ext uri="{FF2B5EF4-FFF2-40B4-BE49-F238E27FC236}">
                <a16:creationId xmlns:a16="http://schemas.microsoft.com/office/drawing/2014/main" id="{9B2290FA-0963-DF8F-3801-9431CA4E9B00}"/>
              </a:ext>
            </a:extLst>
          </p:cNvPr>
          <p:cNvCxnSpPr/>
          <p:nvPr>
            <p:custDataLst>
              <p:tags r:id="rId12"/>
            </p:custDataLst>
          </p:nvPr>
        </p:nvCxnSpPr>
        <p:spPr bwMode="auto">
          <a:xfrm>
            <a:off x="5227637" y="2382838"/>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9" name="Straight Connector 658">
            <a:extLst>
              <a:ext uri="{FF2B5EF4-FFF2-40B4-BE49-F238E27FC236}">
                <a16:creationId xmlns:a16="http://schemas.microsoft.com/office/drawing/2014/main" id="{7244388D-E4D8-D76E-3505-7C0743D5DB10}"/>
              </a:ext>
            </a:extLst>
          </p:cNvPr>
          <p:cNvCxnSpPr/>
          <p:nvPr>
            <p:custDataLst>
              <p:tags r:id="rId13"/>
            </p:custDataLst>
          </p:nvPr>
        </p:nvCxnSpPr>
        <p:spPr bwMode="auto">
          <a:xfrm>
            <a:off x="4514850" y="2459038"/>
            <a:ext cx="31591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3" name="Straight Connector 652">
            <a:extLst>
              <a:ext uri="{FF2B5EF4-FFF2-40B4-BE49-F238E27FC236}">
                <a16:creationId xmlns:a16="http://schemas.microsoft.com/office/drawing/2014/main" id="{C0562452-17C7-0DA8-7B1B-B0552A5E84F4}"/>
              </a:ext>
            </a:extLst>
          </p:cNvPr>
          <p:cNvCxnSpPr/>
          <p:nvPr>
            <p:custDataLst>
              <p:tags r:id="rId14"/>
            </p:custDataLst>
          </p:nvPr>
        </p:nvCxnSpPr>
        <p:spPr bwMode="auto">
          <a:xfrm>
            <a:off x="3800474" y="2389188"/>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8" name="Straight Connector 657">
            <a:extLst>
              <a:ext uri="{FF2B5EF4-FFF2-40B4-BE49-F238E27FC236}">
                <a16:creationId xmlns:a16="http://schemas.microsoft.com/office/drawing/2014/main" id="{510A9B3C-8107-1DF1-9866-02D9F094084C}"/>
              </a:ext>
            </a:extLst>
          </p:cNvPr>
          <p:cNvCxnSpPr/>
          <p:nvPr>
            <p:custDataLst>
              <p:tags r:id="rId15"/>
            </p:custDataLst>
          </p:nvPr>
        </p:nvCxnSpPr>
        <p:spPr bwMode="auto">
          <a:xfrm>
            <a:off x="3087688" y="2613025"/>
            <a:ext cx="31591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0" name="Straight Connector 649">
            <a:extLst>
              <a:ext uri="{FF2B5EF4-FFF2-40B4-BE49-F238E27FC236}">
                <a16:creationId xmlns:a16="http://schemas.microsoft.com/office/drawing/2014/main" id="{026DE188-BFEA-3421-177A-6EE90277AA73}"/>
              </a:ext>
            </a:extLst>
          </p:cNvPr>
          <p:cNvCxnSpPr/>
          <p:nvPr>
            <p:custDataLst>
              <p:tags r:id="rId16"/>
            </p:custDataLst>
          </p:nvPr>
        </p:nvCxnSpPr>
        <p:spPr bwMode="auto">
          <a:xfrm>
            <a:off x="2373313" y="2832100"/>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7" name="Straight Connector 656">
            <a:extLst>
              <a:ext uri="{FF2B5EF4-FFF2-40B4-BE49-F238E27FC236}">
                <a16:creationId xmlns:a16="http://schemas.microsoft.com/office/drawing/2014/main" id="{EB267A69-F1D5-019E-AC84-0CE67A171710}"/>
              </a:ext>
            </a:extLst>
          </p:cNvPr>
          <p:cNvCxnSpPr/>
          <p:nvPr>
            <p:custDataLst>
              <p:tags r:id="rId17"/>
            </p:custDataLst>
          </p:nvPr>
        </p:nvCxnSpPr>
        <p:spPr bwMode="auto">
          <a:xfrm>
            <a:off x="1658937" y="3578225"/>
            <a:ext cx="3175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1" name="Chart 10">
            <a:extLst>
              <a:ext uri="{FF2B5EF4-FFF2-40B4-BE49-F238E27FC236}">
                <a16:creationId xmlns:a16="http://schemas.microsoft.com/office/drawing/2014/main" id="{03725E05-C2F7-9A9A-4EFA-947A5691AE49}"/>
              </a:ext>
            </a:extLst>
          </p:cNvPr>
          <p:cNvGraphicFramePr/>
          <p:nvPr>
            <p:custDataLst>
              <p:tags r:id="rId18"/>
            </p:custDataLst>
            <p:extLst>
              <p:ext uri="{D42A27DB-BD31-4B8C-83A1-F6EECF244321}">
                <p14:modId xmlns:p14="http://schemas.microsoft.com/office/powerpoint/2010/main" val="3078615903"/>
              </p:ext>
            </p:extLst>
          </p:nvPr>
        </p:nvGraphicFramePr>
        <p:xfrm>
          <a:off x="307975" y="2079625"/>
          <a:ext cx="11585575" cy="1581150"/>
        </p:xfrm>
        <a:graphic>
          <a:graphicData uri="http://schemas.openxmlformats.org/drawingml/2006/chart">
            <c:chart xmlns:c="http://schemas.openxmlformats.org/drawingml/2006/chart" xmlns:r="http://schemas.openxmlformats.org/officeDocument/2006/relationships" r:id="rId103"/>
          </a:graphicData>
        </a:graphic>
      </p:graphicFrame>
      <p:sp>
        <p:nvSpPr>
          <p:cNvPr id="517" name="Rectangle 516">
            <a:extLst>
              <a:ext uri="{FF2B5EF4-FFF2-40B4-BE49-F238E27FC236}">
                <a16:creationId xmlns:a16="http://schemas.microsoft.com/office/drawing/2014/main" id="{987338F9-8945-99D7-F12A-E2D301824FAF}"/>
              </a:ext>
            </a:extLst>
          </p:cNvPr>
          <p:cNvSpPr/>
          <p:nvPr>
            <p:custDataLst>
              <p:tags r:id="rId19"/>
            </p:custDataLst>
          </p:nvPr>
        </p:nvSpPr>
        <p:spPr bwMode="auto">
          <a:xfrm>
            <a:off x="7691437" y="2266950"/>
            <a:ext cx="387350" cy="22225"/>
          </a:xfrm>
          <a:prstGeom prst="rect">
            <a:avLst/>
          </a:prstGeom>
          <a:solidFill>
            <a:schemeClr val="accent2"/>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83" name="Text Placeholder 19">
            <a:extLst>
              <a:ext uri="{FF2B5EF4-FFF2-40B4-BE49-F238E27FC236}">
                <a16:creationId xmlns:a16="http://schemas.microsoft.com/office/drawing/2014/main" id="{F9116733-EFEF-5B90-62A7-6193AD6B207A}"/>
              </a:ext>
            </a:extLst>
          </p:cNvPr>
          <p:cNvSpPr>
            <a:spLocks noGrp="1"/>
          </p:cNvSpPr>
          <p:nvPr>
            <p:custDataLst>
              <p:tags r:id="rId20"/>
            </p:custDataLst>
          </p:nvPr>
        </p:nvSpPr>
        <p:spPr bwMode="auto">
          <a:xfrm>
            <a:off x="565150" y="1966913"/>
            <a:ext cx="365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C76E3D39-B07D-4E8A-A714-0935529F7E64}" type="datetime'C''''''''''''''''''''''''''''a''''p''e''x'''''''''''">
              <a:rPr lang="en-GB" altLang="en-US" sz="1000" smtClean="0">
                <a:ea typeface="+mn-ea"/>
                <a:cs typeface="+mn-cs"/>
              </a:rPr>
              <a:pPr algn="ctr">
                <a:spcBef>
                  <a:spcPct val="0"/>
                </a:spcBef>
                <a:spcAft>
                  <a:spcPct val="0"/>
                </a:spcAft>
              </a:pPr>
              <a:t>Capex</a:t>
            </a:fld>
            <a:endParaRPr lang="en-GB" sz="1000">
              <a:ea typeface="+mn-ea"/>
              <a:cs typeface="+mn-cs"/>
            </a:endParaRPr>
          </a:p>
        </p:txBody>
      </p:sp>
      <p:sp>
        <p:nvSpPr>
          <p:cNvPr id="687" name="Text Placeholder 19">
            <a:extLst>
              <a:ext uri="{FF2B5EF4-FFF2-40B4-BE49-F238E27FC236}">
                <a16:creationId xmlns:a16="http://schemas.microsoft.com/office/drawing/2014/main" id="{12128D47-F2C9-8E7D-8393-0052EB7F1EFB}"/>
              </a:ext>
            </a:extLst>
          </p:cNvPr>
          <p:cNvSpPr>
            <a:spLocks noGrp="1"/>
          </p:cNvSpPr>
          <p:nvPr>
            <p:custDataLst>
              <p:tags r:id="rId21"/>
            </p:custDataLst>
          </p:nvPr>
        </p:nvSpPr>
        <p:spPr bwMode="auto">
          <a:xfrm>
            <a:off x="11318875" y="1966913"/>
            <a:ext cx="271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8426B08B-8021-4CD9-A9E3-FE3AA2421378}" type="datetime'''''''''N''''''''''''P''''''V'''''''">
              <a:rPr lang="en-GB" altLang="en-US" sz="1000" smtClean="0">
                <a:ea typeface="+mn-ea"/>
                <a:cs typeface="+mn-cs"/>
              </a:rPr>
              <a:pPr algn="ctr">
                <a:spcBef>
                  <a:spcPct val="0"/>
                </a:spcBef>
                <a:spcAft>
                  <a:spcPct val="0"/>
                </a:spcAft>
              </a:pPr>
              <a:t>NPV</a:t>
            </a:fld>
            <a:endParaRPr lang="en-GB" sz="1000">
              <a:ea typeface="+mn-ea"/>
              <a:cs typeface="+mn-cs"/>
            </a:endParaRPr>
          </a:p>
        </p:txBody>
      </p:sp>
      <p:sp>
        <p:nvSpPr>
          <p:cNvPr id="682" name="Text Placeholder 19">
            <a:extLst>
              <a:ext uri="{FF2B5EF4-FFF2-40B4-BE49-F238E27FC236}">
                <a16:creationId xmlns:a16="http://schemas.microsoft.com/office/drawing/2014/main" id="{6AD6AEFC-03F6-738D-BDDC-A8F06876970C}"/>
              </a:ext>
            </a:extLst>
          </p:cNvPr>
          <p:cNvSpPr>
            <a:spLocks noGrp="1"/>
          </p:cNvSpPr>
          <p:nvPr>
            <p:custDataLst>
              <p:tags r:id="rId22"/>
            </p:custDataLst>
          </p:nvPr>
        </p:nvSpPr>
        <p:spPr bwMode="auto">
          <a:xfrm>
            <a:off x="9804400" y="1814513"/>
            <a:ext cx="4445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0D8B73DD-5CC0-40B1-9E50-0838C2F8B613}" type="datetime'''G''''''''''ri''''d ''ch''''''''''''''ar''''''''''g''es'''">
              <a:rPr lang="en-GB" altLang="en-US" sz="1000" smtClean="0">
                <a:ea typeface="+mn-ea"/>
                <a:cs typeface="+mn-cs"/>
              </a:rPr>
              <a:pPr algn="ctr">
                <a:spcBef>
                  <a:spcPct val="0"/>
                </a:spcBef>
                <a:spcAft>
                  <a:spcPct val="0"/>
                </a:spcAft>
              </a:pPr>
              <a:t>Grid charges</a:t>
            </a:fld>
            <a:endParaRPr lang="en-GB" sz="1000">
              <a:ea typeface="+mn-ea"/>
              <a:cs typeface="+mn-cs"/>
            </a:endParaRPr>
          </a:p>
        </p:txBody>
      </p:sp>
      <p:sp>
        <p:nvSpPr>
          <p:cNvPr id="688" name="Text Placeholder 19">
            <a:extLst>
              <a:ext uri="{FF2B5EF4-FFF2-40B4-BE49-F238E27FC236}">
                <a16:creationId xmlns:a16="http://schemas.microsoft.com/office/drawing/2014/main" id="{20EAD84C-B51F-606B-D84F-DA75928AB166}"/>
              </a:ext>
            </a:extLst>
          </p:cNvPr>
          <p:cNvSpPr>
            <a:spLocks noGrp="1"/>
          </p:cNvSpPr>
          <p:nvPr>
            <p:custDataLst>
              <p:tags r:id="rId23"/>
            </p:custDataLst>
          </p:nvPr>
        </p:nvSpPr>
        <p:spPr bwMode="auto">
          <a:xfrm>
            <a:off x="9010650" y="1814513"/>
            <a:ext cx="6032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7E20A6E7-DDDE-4F3B-A991-5517ABEC8024}" type="datetime'F''re''q''''''''''''''uen''''c''y'' ''R''''esp''''o''''''nse'">
              <a:rPr lang="en-GB" altLang="en-US" sz="1000" smtClean="0">
                <a:ea typeface="+mn-ea"/>
                <a:cs typeface="+mn-cs"/>
              </a:rPr>
              <a:pPr algn="ctr">
                <a:spcBef>
                  <a:spcPct val="0"/>
                </a:spcBef>
                <a:spcAft>
                  <a:spcPct val="0"/>
                </a:spcAft>
              </a:pPr>
              <a:t>Frequency Response</a:t>
            </a:fld>
            <a:endParaRPr lang="en-GB" sz="1000" baseline="30000">
              <a:ea typeface="+mn-ea"/>
              <a:cs typeface="+mn-cs"/>
            </a:endParaRPr>
          </a:p>
        </p:txBody>
      </p:sp>
      <p:sp>
        <p:nvSpPr>
          <p:cNvPr id="667" name="Text Placeholder 19">
            <a:extLst>
              <a:ext uri="{FF2B5EF4-FFF2-40B4-BE49-F238E27FC236}">
                <a16:creationId xmlns:a16="http://schemas.microsoft.com/office/drawing/2014/main" id="{78B66B2E-FCF1-71F4-A279-1A36F9470C84}"/>
              </a:ext>
            </a:extLst>
          </p:cNvPr>
          <p:cNvSpPr>
            <a:spLocks noGrp="1"/>
          </p:cNvSpPr>
          <p:nvPr>
            <p:custDataLst>
              <p:tags r:id="rId24"/>
            </p:custDataLst>
          </p:nvPr>
        </p:nvSpPr>
        <p:spPr bwMode="auto">
          <a:xfrm>
            <a:off x="8348663" y="1814513"/>
            <a:ext cx="503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5D776437-FD75-4973-9A17-90507E082DC1}" type="datetime'''''''''C''a''''''''pa''ci''t''''''''''y ''M''''''a''r''ket'">
              <a:rPr lang="en-GB" altLang="en-US" sz="1000" smtClean="0">
                <a:ea typeface="+mn-ea"/>
                <a:cs typeface="+mn-cs"/>
              </a:rPr>
              <a:pPr algn="ctr">
                <a:spcBef>
                  <a:spcPct val="0"/>
                </a:spcBef>
                <a:spcAft>
                  <a:spcPct val="0"/>
                </a:spcAft>
              </a:pPr>
              <a:t>Capacity Market</a:t>
            </a:fld>
            <a:endParaRPr lang="en-GB" sz="1000" baseline="30000">
              <a:ea typeface="+mn-ea"/>
              <a:cs typeface="+mn-cs"/>
            </a:endParaRPr>
          </a:p>
        </p:txBody>
      </p:sp>
      <p:sp>
        <p:nvSpPr>
          <p:cNvPr id="681" name="Text Placeholder 19">
            <a:extLst>
              <a:ext uri="{FF2B5EF4-FFF2-40B4-BE49-F238E27FC236}">
                <a16:creationId xmlns:a16="http://schemas.microsoft.com/office/drawing/2014/main" id="{CE18B923-74CC-49A7-7232-36BF7D9D9134}"/>
              </a:ext>
            </a:extLst>
          </p:cNvPr>
          <p:cNvSpPr>
            <a:spLocks noGrp="1"/>
          </p:cNvSpPr>
          <p:nvPr>
            <p:custDataLst>
              <p:tags r:id="rId25"/>
            </p:custDataLst>
          </p:nvPr>
        </p:nvSpPr>
        <p:spPr bwMode="auto">
          <a:xfrm>
            <a:off x="7621588" y="1814513"/>
            <a:ext cx="5270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8FFC182E-C958-4F3C-AB7B-79950A4F631E}" type="datetime'''E''''''''n''e''rg''y'''''' ''''ar''bit''''''ra''g''''''e'">
              <a:rPr lang="en-GB" altLang="en-US" sz="1000" smtClean="0">
                <a:ea typeface="+mn-ea"/>
                <a:cs typeface="+mn-cs"/>
              </a:rPr>
              <a:pPr algn="ctr">
                <a:spcBef>
                  <a:spcPct val="0"/>
                </a:spcBef>
                <a:spcAft>
                  <a:spcPct val="0"/>
                </a:spcAft>
              </a:pPr>
              <a:t>Energy arbitrage</a:t>
            </a:fld>
            <a:endParaRPr lang="en-GB" sz="1000" baseline="30000">
              <a:ea typeface="+mn-ea"/>
              <a:cs typeface="+mn-cs"/>
            </a:endParaRPr>
          </a:p>
        </p:txBody>
      </p:sp>
      <p:sp>
        <p:nvSpPr>
          <p:cNvPr id="689" name="Text Placeholder 19">
            <a:extLst>
              <a:ext uri="{FF2B5EF4-FFF2-40B4-BE49-F238E27FC236}">
                <a16:creationId xmlns:a16="http://schemas.microsoft.com/office/drawing/2014/main" id="{F0D3163E-81DA-3E3A-B96D-18AE204589E3}"/>
              </a:ext>
            </a:extLst>
          </p:cNvPr>
          <p:cNvSpPr>
            <a:spLocks noGrp="1"/>
          </p:cNvSpPr>
          <p:nvPr>
            <p:custDataLst>
              <p:tags r:id="rId26"/>
            </p:custDataLst>
          </p:nvPr>
        </p:nvSpPr>
        <p:spPr bwMode="auto">
          <a:xfrm>
            <a:off x="6997701" y="1966913"/>
            <a:ext cx="346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37E669A8-CF68-4EE7-8E87-ACB3430301CB}" type="datetime'''''''''O''''''''''''P''''''''''''E''''X'''''''''''''''''">
              <a:rPr lang="en-GB" altLang="en-US" sz="1000" smtClean="0">
                <a:ea typeface="+mn-ea"/>
                <a:cs typeface="+mn-cs"/>
              </a:rPr>
              <a:pPr algn="ctr">
                <a:spcBef>
                  <a:spcPct val="0"/>
                </a:spcBef>
                <a:spcAft>
                  <a:spcPct val="0"/>
                </a:spcAft>
              </a:pPr>
              <a:t>OPEX</a:t>
            </a:fld>
            <a:endParaRPr lang="en-GB" sz="1000" baseline="30000">
              <a:ea typeface="+mn-ea"/>
              <a:cs typeface="+mn-cs"/>
            </a:endParaRPr>
          </a:p>
        </p:txBody>
      </p:sp>
      <p:sp>
        <p:nvSpPr>
          <p:cNvPr id="678" name="Text Placeholder 19">
            <a:extLst>
              <a:ext uri="{FF2B5EF4-FFF2-40B4-BE49-F238E27FC236}">
                <a16:creationId xmlns:a16="http://schemas.microsoft.com/office/drawing/2014/main" id="{27C125E1-5406-832E-851F-9DF1354D9BFF}"/>
              </a:ext>
            </a:extLst>
          </p:cNvPr>
          <p:cNvSpPr>
            <a:spLocks noGrp="1"/>
          </p:cNvSpPr>
          <p:nvPr>
            <p:custDataLst>
              <p:tags r:id="rId27"/>
            </p:custDataLst>
          </p:nvPr>
        </p:nvSpPr>
        <p:spPr bwMode="auto">
          <a:xfrm>
            <a:off x="6275388" y="1966913"/>
            <a:ext cx="365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8DFBC70C-690A-4AD5-A737-C5D8DC8F52D3}" type="datetime'''''C''''''''ap''''''''''e''''''''''''''''x'''''''''">
              <a:rPr lang="en-GB" altLang="en-US" sz="1000" smtClean="0">
                <a:ea typeface="+mn-ea"/>
                <a:cs typeface="+mn-cs"/>
              </a:rPr>
              <a:pPr algn="ctr">
                <a:spcBef>
                  <a:spcPct val="0"/>
                </a:spcBef>
                <a:spcAft>
                  <a:spcPct val="0"/>
                </a:spcAft>
              </a:pPr>
              <a:t>Capex</a:t>
            </a:fld>
            <a:endParaRPr lang="en-GB" sz="1000">
              <a:ea typeface="+mn-ea"/>
              <a:cs typeface="+mn-cs"/>
            </a:endParaRPr>
          </a:p>
        </p:txBody>
      </p:sp>
      <p:sp>
        <p:nvSpPr>
          <p:cNvPr id="675" name="Text Placeholder 19">
            <a:extLst>
              <a:ext uri="{FF2B5EF4-FFF2-40B4-BE49-F238E27FC236}">
                <a16:creationId xmlns:a16="http://schemas.microsoft.com/office/drawing/2014/main" id="{F5A2A656-1CDA-86C8-FC02-EF83B6539194}"/>
              </a:ext>
            </a:extLst>
          </p:cNvPr>
          <p:cNvSpPr>
            <a:spLocks noGrp="1"/>
          </p:cNvSpPr>
          <p:nvPr>
            <p:custDataLst>
              <p:tags r:id="rId28"/>
            </p:custDataLst>
          </p:nvPr>
        </p:nvSpPr>
        <p:spPr bwMode="auto">
          <a:xfrm>
            <a:off x="5608638" y="1966913"/>
            <a:ext cx="271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CBCB245A-28D6-43D3-BE58-F26D7C315456}" type="datetime'''''''''''''''''''''N''''''''''''''''P''''''''V'''''">
              <a:rPr lang="en-GB" altLang="en-US" sz="1000" smtClean="0">
                <a:ea typeface="+mn-ea"/>
                <a:cs typeface="+mn-cs"/>
              </a:rPr>
              <a:pPr algn="ctr">
                <a:spcBef>
                  <a:spcPct val="0"/>
                </a:spcBef>
                <a:spcAft>
                  <a:spcPct val="0"/>
                </a:spcAft>
              </a:pPr>
              <a:t>NPV</a:t>
            </a:fld>
            <a:endParaRPr lang="en-GB" sz="1000">
              <a:ea typeface="+mn-ea"/>
              <a:cs typeface="+mn-cs"/>
            </a:endParaRPr>
          </a:p>
        </p:txBody>
      </p:sp>
      <p:sp>
        <p:nvSpPr>
          <p:cNvPr id="674" name="Text Placeholder 19">
            <a:extLst>
              <a:ext uri="{FF2B5EF4-FFF2-40B4-BE49-F238E27FC236}">
                <a16:creationId xmlns:a16="http://schemas.microsoft.com/office/drawing/2014/main" id="{C8A60842-56F7-85B6-A76E-ADC4E7A3AE67}"/>
              </a:ext>
            </a:extLst>
          </p:cNvPr>
          <p:cNvSpPr>
            <a:spLocks noGrp="1"/>
          </p:cNvSpPr>
          <p:nvPr>
            <p:custDataLst>
              <p:tags r:id="rId29"/>
            </p:custDataLst>
          </p:nvPr>
        </p:nvSpPr>
        <p:spPr bwMode="auto">
          <a:xfrm>
            <a:off x="4810125" y="1814513"/>
            <a:ext cx="4381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C3A5F466-B720-4DC5-A003-129433826E8C}" type="datetime'''''''S''a''''''lv''''a''''''''''g''''e'''' ''Val''u''e'''''">
              <a:rPr lang="en-GB" altLang="en-US" sz="1000" smtClean="0">
                <a:ea typeface="+mn-ea"/>
                <a:cs typeface="+mn-cs"/>
              </a:rPr>
              <a:pPr algn="ctr">
                <a:spcBef>
                  <a:spcPct val="0"/>
                </a:spcBef>
                <a:spcAft>
                  <a:spcPct val="0"/>
                </a:spcAft>
              </a:pPr>
              <a:t>Salvage Value</a:t>
            </a:fld>
            <a:endParaRPr lang="en-GB" sz="1000" baseline="30000">
              <a:ea typeface="+mn-ea"/>
              <a:cs typeface="+mn-cs"/>
            </a:endParaRPr>
          </a:p>
        </p:txBody>
      </p:sp>
      <p:sp>
        <p:nvSpPr>
          <p:cNvPr id="669" name="Text Placeholder 19">
            <a:extLst>
              <a:ext uri="{FF2B5EF4-FFF2-40B4-BE49-F238E27FC236}">
                <a16:creationId xmlns:a16="http://schemas.microsoft.com/office/drawing/2014/main" id="{EFBEB758-9E4B-0680-1B91-401900899D19}"/>
              </a:ext>
            </a:extLst>
          </p:cNvPr>
          <p:cNvSpPr>
            <a:spLocks noGrp="1"/>
          </p:cNvSpPr>
          <p:nvPr>
            <p:custDataLst>
              <p:tags r:id="rId30"/>
            </p:custDataLst>
          </p:nvPr>
        </p:nvSpPr>
        <p:spPr bwMode="auto">
          <a:xfrm>
            <a:off x="4094163" y="1814513"/>
            <a:ext cx="4445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71970C71-A1FA-4921-BA62-2E0104A933EA}" type="datetime'G''r''''''''''''''i''d'''''' ''''cha''r''g''''''e''''''s'''''">
              <a:rPr lang="en-GB" altLang="en-US" sz="1000" smtClean="0">
                <a:ea typeface="+mn-ea"/>
                <a:cs typeface="+mn-cs"/>
              </a:rPr>
              <a:pPr algn="ctr">
                <a:spcBef>
                  <a:spcPct val="0"/>
                </a:spcBef>
                <a:spcAft>
                  <a:spcPct val="0"/>
                </a:spcAft>
              </a:pPr>
              <a:t>Grid charges</a:t>
            </a:fld>
            <a:endParaRPr lang="en-GB" sz="1000" baseline="30000">
              <a:ea typeface="+mn-ea"/>
              <a:cs typeface="+mn-cs"/>
            </a:endParaRPr>
          </a:p>
        </p:txBody>
      </p:sp>
      <p:sp>
        <p:nvSpPr>
          <p:cNvPr id="666" name="Text Placeholder 19">
            <a:extLst>
              <a:ext uri="{FF2B5EF4-FFF2-40B4-BE49-F238E27FC236}">
                <a16:creationId xmlns:a16="http://schemas.microsoft.com/office/drawing/2014/main" id="{464DC63A-9DA2-65F8-3B98-96A94ED608DE}"/>
              </a:ext>
            </a:extLst>
          </p:cNvPr>
          <p:cNvSpPr>
            <a:spLocks noGrp="1"/>
          </p:cNvSpPr>
          <p:nvPr>
            <p:custDataLst>
              <p:tags r:id="rId31"/>
            </p:custDataLst>
          </p:nvPr>
        </p:nvSpPr>
        <p:spPr bwMode="auto">
          <a:xfrm>
            <a:off x="3300413" y="1814513"/>
            <a:ext cx="6032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19ED4FFB-89AC-414E-9321-B4B655B7BFD0}" type="datetime'F''''re''q''''''''''''u''e''nc''y'''' Re''s''''pons''''''e'">
              <a:rPr lang="en-GB" altLang="en-US" sz="1000" smtClean="0">
                <a:ea typeface="+mn-ea"/>
                <a:cs typeface="+mn-cs"/>
              </a:rPr>
              <a:pPr algn="ctr">
                <a:spcBef>
                  <a:spcPct val="0"/>
                </a:spcBef>
                <a:spcAft>
                  <a:spcPct val="0"/>
                </a:spcAft>
              </a:pPr>
              <a:t>Frequency Response</a:t>
            </a:fld>
            <a:endParaRPr lang="en-GB" sz="1000" baseline="30000">
              <a:ea typeface="+mn-ea"/>
              <a:cs typeface="+mn-cs"/>
            </a:endParaRPr>
          </a:p>
        </p:txBody>
      </p:sp>
      <p:sp>
        <p:nvSpPr>
          <p:cNvPr id="694" name="Text Placeholder 19">
            <a:extLst>
              <a:ext uri="{FF2B5EF4-FFF2-40B4-BE49-F238E27FC236}">
                <a16:creationId xmlns:a16="http://schemas.microsoft.com/office/drawing/2014/main" id="{3C7E58DB-0C38-EB4D-0DDC-99AF8CC650D1}"/>
              </a:ext>
            </a:extLst>
          </p:cNvPr>
          <p:cNvSpPr>
            <a:spLocks noGrp="1"/>
          </p:cNvSpPr>
          <p:nvPr>
            <p:custDataLst>
              <p:tags r:id="rId32"/>
            </p:custDataLst>
          </p:nvPr>
        </p:nvSpPr>
        <p:spPr bwMode="auto">
          <a:xfrm>
            <a:off x="2638425" y="1814513"/>
            <a:ext cx="503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19B00285-96FC-49C8-8D11-9BB7A30D0C00}" type="datetime'''''Capac''''''i''''t''''y'' ''''M''''''a''''''''''rket'">
              <a:rPr lang="en-GB" altLang="en-US" sz="1000" smtClean="0">
                <a:ea typeface="+mn-ea"/>
                <a:cs typeface="+mn-cs"/>
              </a:rPr>
              <a:pPr algn="ctr">
                <a:spcBef>
                  <a:spcPct val="0"/>
                </a:spcBef>
                <a:spcAft>
                  <a:spcPct val="0"/>
                </a:spcAft>
              </a:pPr>
              <a:t>Capacity Market</a:t>
            </a:fld>
            <a:endParaRPr lang="en-GB" sz="1000" baseline="30000">
              <a:ea typeface="+mn-ea"/>
              <a:cs typeface="+mn-cs"/>
            </a:endParaRPr>
          </a:p>
        </p:txBody>
      </p:sp>
      <p:sp>
        <p:nvSpPr>
          <p:cNvPr id="686" name="Text Placeholder 19">
            <a:extLst>
              <a:ext uri="{FF2B5EF4-FFF2-40B4-BE49-F238E27FC236}">
                <a16:creationId xmlns:a16="http://schemas.microsoft.com/office/drawing/2014/main" id="{150ECFDB-1F2C-F9D3-8ECA-8365AF5AAB31}"/>
              </a:ext>
            </a:extLst>
          </p:cNvPr>
          <p:cNvSpPr>
            <a:spLocks noGrp="1"/>
          </p:cNvSpPr>
          <p:nvPr>
            <p:custDataLst>
              <p:tags r:id="rId33"/>
            </p:custDataLst>
          </p:nvPr>
        </p:nvSpPr>
        <p:spPr bwMode="auto">
          <a:xfrm>
            <a:off x="1911350" y="1814513"/>
            <a:ext cx="5270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6D900DAC-C90D-481A-81C7-1DBE20E3E629}" type="datetime'En''''''''''''''er''''g''''y'''' ''arbitr''''''a''g''''''e'''">
              <a:rPr lang="en-GB" altLang="en-US" sz="1000" smtClean="0">
                <a:ea typeface="+mn-ea"/>
                <a:cs typeface="+mn-cs"/>
              </a:rPr>
              <a:pPr algn="ctr">
                <a:spcBef>
                  <a:spcPct val="0"/>
                </a:spcBef>
                <a:spcAft>
                  <a:spcPct val="0"/>
                </a:spcAft>
              </a:pPr>
              <a:t>Energy arbitrage</a:t>
            </a:fld>
            <a:endParaRPr lang="en-GB" sz="1000" baseline="30000">
              <a:ea typeface="+mn-ea"/>
              <a:cs typeface="+mn-cs"/>
            </a:endParaRPr>
          </a:p>
        </p:txBody>
      </p:sp>
      <p:sp>
        <p:nvSpPr>
          <p:cNvPr id="676" name="Text Placeholder 19">
            <a:extLst>
              <a:ext uri="{FF2B5EF4-FFF2-40B4-BE49-F238E27FC236}">
                <a16:creationId xmlns:a16="http://schemas.microsoft.com/office/drawing/2014/main" id="{204DA22A-910D-8609-BC9F-5450BC6220E3}"/>
              </a:ext>
            </a:extLst>
          </p:cNvPr>
          <p:cNvSpPr>
            <a:spLocks noGrp="1"/>
          </p:cNvSpPr>
          <p:nvPr>
            <p:custDataLst>
              <p:tags r:id="rId34"/>
            </p:custDataLst>
          </p:nvPr>
        </p:nvSpPr>
        <p:spPr bwMode="auto">
          <a:xfrm>
            <a:off x="1287463" y="1966913"/>
            <a:ext cx="346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70EDE2B9-A08A-4172-B30D-652B25476B49}" type="datetime'''''''''''''''''''''''''''''O''''''''''''''''P''''EX'''">
              <a:rPr lang="en-GB" altLang="en-US" sz="1000" smtClean="0">
                <a:ea typeface="+mn-ea"/>
                <a:cs typeface="+mn-cs"/>
              </a:rPr>
              <a:pPr algn="ctr">
                <a:spcBef>
                  <a:spcPct val="0"/>
                </a:spcBef>
                <a:spcAft>
                  <a:spcPct val="0"/>
                </a:spcAft>
              </a:pPr>
              <a:t>OPEX</a:t>
            </a:fld>
            <a:endParaRPr lang="en-GB" sz="1000">
              <a:ea typeface="+mn-ea"/>
              <a:cs typeface="+mn-cs"/>
            </a:endParaRPr>
          </a:p>
        </p:txBody>
      </p:sp>
      <p:sp>
        <p:nvSpPr>
          <p:cNvPr id="698" name="Text Placeholder 19">
            <a:extLst>
              <a:ext uri="{FF2B5EF4-FFF2-40B4-BE49-F238E27FC236}">
                <a16:creationId xmlns:a16="http://schemas.microsoft.com/office/drawing/2014/main" id="{A7B0FAC2-3035-0344-4CAA-C7CC6E9676DD}"/>
              </a:ext>
            </a:extLst>
          </p:cNvPr>
          <p:cNvSpPr>
            <a:spLocks noGrp="1"/>
          </p:cNvSpPr>
          <p:nvPr>
            <p:custDataLst>
              <p:tags r:id="rId35"/>
            </p:custDataLst>
          </p:nvPr>
        </p:nvSpPr>
        <p:spPr bwMode="auto">
          <a:xfrm>
            <a:off x="10520363" y="1814513"/>
            <a:ext cx="4381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EF32270F-F0A9-49FC-B072-FA868567CBDF}" type="datetime'S''''''a''''''''''''''l''''''v''''a''g''''e'''''' Value'''''">
              <a:rPr lang="en-GB" altLang="en-US" sz="1000" smtClean="0">
                <a:ea typeface="+mn-ea"/>
                <a:cs typeface="+mn-cs"/>
              </a:rPr>
              <a:pPr algn="ctr">
                <a:spcBef>
                  <a:spcPct val="0"/>
                </a:spcBef>
                <a:spcAft>
                  <a:spcPct val="0"/>
                </a:spcAft>
              </a:pPr>
              <a:t>Salvage Value</a:t>
            </a:fld>
            <a:endParaRPr lang="en-GB" sz="1000">
              <a:ea typeface="+mn-ea"/>
              <a:cs typeface="+mn-cs"/>
            </a:endParaRPr>
          </a:p>
        </p:txBody>
      </p:sp>
      <p:sp>
        <p:nvSpPr>
          <p:cNvPr id="198" name="Rounded Rectangle 86">
            <a:extLst>
              <a:ext uri="{FF2B5EF4-FFF2-40B4-BE49-F238E27FC236}">
                <a16:creationId xmlns:a16="http://schemas.microsoft.com/office/drawing/2014/main" id="{2B7118B3-609D-E909-D14F-41455E3F3E76}"/>
              </a:ext>
            </a:extLst>
          </p:cNvPr>
          <p:cNvSpPr/>
          <p:nvPr/>
        </p:nvSpPr>
        <p:spPr>
          <a:xfrm>
            <a:off x="5384006" y="3229396"/>
            <a:ext cx="757238" cy="287338"/>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X%</a:t>
            </a:r>
          </a:p>
        </p:txBody>
      </p:sp>
      <p:sp>
        <p:nvSpPr>
          <p:cNvPr id="199" name="Rounded Rectangle 86">
            <a:extLst>
              <a:ext uri="{FF2B5EF4-FFF2-40B4-BE49-F238E27FC236}">
                <a16:creationId xmlns:a16="http://schemas.microsoft.com/office/drawing/2014/main" id="{244C1536-9A4D-B34E-7AF2-F50F929ECD6C}"/>
              </a:ext>
            </a:extLst>
          </p:cNvPr>
          <p:cNvSpPr/>
          <p:nvPr/>
        </p:nvSpPr>
        <p:spPr>
          <a:xfrm>
            <a:off x="5385594" y="3532609"/>
            <a:ext cx="755650" cy="287338"/>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 years</a:t>
            </a:r>
          </a:p>
        </p:txBody>
      </p:sp>
      <p:sp>
        <p:nvSpPr>
          <p:cNvPr id="207" name="Rounded Rectangle 86">
            <a:extLst>
              <a:ext uri="{FF2B5EF4-FFF2-40B4-BE49-F238E27FC236}">
                <a16:creationId xmlns:a16="http://schemas.microsoft.com/office/drawing/2014/main" id="{2747C7D3-01E1-DF74-B8F1-52CD55BDB529}"/>
              </a:ext>
            </a:extLst>
          </p:cNvPr>
          <p:cNvSpPr/>
          <p:nvPr/>
        </p:nvSpPr>
        <p:spPr>
          <a:xfrm>
            <a:off x="11062493" y="3227809"/>
            <a:ext cx="757238" cy="287338"/>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X%</a:t>
            </a:r>
          </a:p>
        </p:txBody>
      </p:sp>
      <p:sp>
        <p:nvSpPr>
          <p:cNvPr id="208" name="Rounded Rectangle 86">
            <a:extLst>
              <a:ext uri="{FF2B5EF4-FFF2-40B4-BE49-F238E27FC236}">
                <a16:creationId xmlns:a16="http://schemas.microsoft.com/office/drawing/2014/main" id="{6E913118-353F-E687-1499-C3E23A294425}"/>
              </a:ext>
            </a:extLst>
          </p:cNvPr>
          <p:cNvSpPr/>
          <p:nvPr/>
        </p:nvSpPr>
        <p:spPr>
          <a:xfrm>
            <a:off x="11064081" y="3534196"/>
            <a:ext cx="755650" cy="287338"/>
          </a:xfrm>
          <a:prstGeom prst="roundRect">
            <a:avLst/>
          </a:prstGeom>
          <a:solidFill>
            <a:schemeClr val="accent3"/>
          </a:solidFill>
          <a:ln w="9525">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2"/>
                </a:solidFill>
              </a:rPr>
              <a:t>X years</a:t>
            </a:r>
          </a:p>
        </p:txBody>
      </p:sp>
      <p:sp>
        <p:nvSpPr>
          <p:cNvPr id="222" name="Flowchart: Process 221">
            <a:extLst>
              <a:ext uri="{FF2B5EF4-FFF2-40B4-BE49-F238E27FC236}">
                <a16:creationId xmlns:a16="http://schemas.microsoft.com/office/drawing/2014/main" id="{351A5CCC-9F3D-1CFF-9E38-1155126F1926}"/>
              </a:ext>
            </a:extLst>
          </p:cNvPr>
          <p:cNvSpPr/>
          <p:nvPr/>
        </p:nvSpPr>
        <p:spPr>
          <a:xfrm>
            <a:off x="6183521" y="3277021"/>
            <a:ext cx="1857960" cy="200025"/>
          </a:xfrm>
          <a:prstGeom prst="flowChartProcess">
            <a:avLst/>
          </a:prstGeom>
          <a:no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spcAft>
                <a:spcPts val="1000"/>
              </a:spcAft>
            </a:pPr>
            <a:r>
              <a:rPr lang="en-GB" sz="1100" b="1">
                <a:solidFill>
                  <a:schemeClr val="tx1"/>
                </a:solidFill>
              </a:rPr>
              <a:t>Unlevered Project IRR</a:t>
            </a:r>
            <a:r>
              <a:rPr lang="en-GB" sz="1100" b="1" baseline="30000">
                <a:solidFill>
                  <a:schemeClr val="tx1"/>
                </a:solidFill>
              </a:rPr>
              <a:t>2</a:t>
            </a:r>
            <a:endParaRPr lang="en-GB" sz="1100" b="1">
              <a:solidFill>
                <a:schemeClr val="tx1"/>
              </a:solidFill>
            </a:endParaRPr>
          </a:p>
        </p:txBody>
      </p:sp>
      <p:sp>
        <p:nvSpPr>
          <p:cNvPr id="224" name="Flowchart: Process 223">
            <a:extLst>
              <a:ext uri="{FF2B5EF4-FFF2-40B4-BE49-F238E27FC236}">
                <a16:creationId xmlns:a16="http://schemas.microsoft.com/office/drawing/2014/main" id="{87478B06-854F-A4CF-B2D3-05FA9307945A}"/>
              </a:ext>
            </a:extLst>
          </p:cNvPr>
          <p:cNvSpPr/>
          <p:nvPr/>
        </p:nvSpPr>
        <p:spPr>
          <a:xfrm>
            <a:off x="6183521" y="3578646"/>
            <a:ext cx="1857960" cy="200025"/>
          </a:xfrm>
          <a:prstGeom prst="flowChartProcess">
            <a:avLst/>
          </a:prstGeom>
          <a:no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spcAft>
                <a:spcPts val="1000"/>
              </a:spcAft>
            </a:pPr>
            <a:r>
              <a:rPr lang="en-GB" sz="1100" b="1">
                <a:solidFill>
                  <a:schemeClr val="tx1"/>
                </a:solidFill>
              </a:rPr>
              <a:t>Payback Period</a:t>
            </a:r>
          </a:p>
        </p:txBody>
      </p:sp>
      <p:sp>
        <p:nvSpPr>
          <p:cNvPr id="18" name="Diamond 17">
            <a:extLst>
              <a:ext uri="{FF2B5EF4-FFF2-40B4-BE49-F238E27FC236}">
                <a16:creationId xmlns:a16="http://schemas.microsoft.com/office/drawing/2014/main" id="{A272A040-3A19-2DBD-4039-D83286B6DCB8}"/>
              </a:ext>
            </a:extLst>
          </p:cNvPr>
          <p:cNvSpPr/>
          <p:nvPr/>
        </p:nvSpPr>
        <p:spPr>
          <a:xfrm>
            <a:off x="363378" y="411856"/>
            <a:ext cx="540000" cy="5400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b="1">
                <a:solidFill>
                  <a:schemeClr val="tx1"/>
                </a:solidFill>
              </a:rPr>
              <a:t>1</a:t>
            </a:r>
          </a:p>
        </p:txBody>
      </p:sp>
      <p:sp>
        <p:nvSpPr>
          <p:cNvPr id="40" name="Rectangle 39">
            <a:extLst>
              <a:ext uri="{FF2B5EF4-FFF2-40B4-BE49-F238E27FC236}">
                <a16:creationId xmlns:a16="http://schemas.microsoft.com/office/drawing/2014/main" id="{1B93208A-49BF-5AE3-3215-E6D9E820C734}"/>
              </a:ext>
            </a:extLst>
          </p:cNvPr>
          <p:cNvSpPr/>
          <p:nvPr/>
        </p:nvSpPr>
        <p:spPr>
          <a:xfrm>
            <a:off x="6438900" y="3964282"/>
            <a:ext cx="5418137" cy="2425507"/>
          </a:xfrm>
          <a:prstGeom prst="rect">
            <a:avLst/>
          </a:prstGeom>
          <a:solidFill>
            <a:schemeClr val="accent5">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algn="l">
              <a:spcBef>
                <a:spcPts val="600"/>
              </a:spcBef>
              <a:buFont typeface="Arial" panose="020B0604020202020204" pitchFamily="34" charset="0"/>
              <a:buChar char="•"/>
            </a:pPr>
            <a:r>
              <a:rPr lang="en-GB" sz="1100">
                <a:solidFill>
                  <a:schemeClr val="tx1"/>
                </a:solidFill>
              </a:rPr>
              <a:t>Repowering can significantly improve the battery business cases of all durations for </a:t>
            </a:r>
            <a:r>
              <a:rPr lang="en-GB" sz="1100">
                <a:solidFill>
                  <a:srgbClr val="7A7A7A"/>
                </a:solidFill>
                <a:highlight>
                  <a:srgbClr val="7A7A7A"/>
                </a:highlight>
                <a:latin typeface="Lato"/>
              </a:rPr>
              <a:t>XX</a:t>
            </a:r>
            <a:r>
              <a:rPr lang="en-GB" sz="1100">
                <a:solidFill>
                  <a:schemeClr val="tx1"/>
                </a:solidFill>
              </a:rPr>
              <a:t>, </a:t>
            </a:r>
            <a:r>
              <a:rPr lang="en-GB" sz="1100">
                <a:solidFill>
                  <a:srgbClr val="7A7A7A"/>
                </a:solidFill>
                <a:highlight>
                  <a:srgbClr val="7A7A7A"/>
                </a:highlight>
                <a:latin typeface="Lato"/>
              </a:rPr>
              <a:t>XX </a:t>
            </a:r>
            <a:r>
              <a:rPr lang="en-GB" sz="1100">
                <a:solidFill>
                  <a:schemeClr val="tx1"/>
                </a:solidFill>
              </a:rPr>
              <a:t>and </a:t>
            </a:r>
            <a:r>
              <a:rPr lang="en-GB" sz="1100">
                <a:solidFill>
                  <a:srgbClr val="7A7A7A"/>
                </a:solidFill>
                <a:highlight>
                  <a:srgbClr val="7A7A7A"/>
                </a:highlight>
                <a:latin typeface="Lato"/>
              </a:rPr>
              <a:t>XX</a:t>
            </a:r>
            <a:r>
              <a:rPr lang="en-GB" sz="1100">
                <a:solidFill>
                  <a:schemeClr val="tx1"/>
                </a:solidFill>
              </a:rPr>
              <a:t>. </a:t>
            </a:r>
          </a:p>
          <a:p>
            <a:pPr marL="171450" indent="-171450" algn="l">
              <a:spcBef>
                <a:spcPts val="600"/>
              </a:spcBef>
              <a:buFont typeface="Arial" panose="020B0604020202020204" pitchFamily="34" charset="0"/>
              <a:buChar char="•"/>
            </a:pPr>
            <a:r>
              <a:rPr lang="en-GB" sz="1100">
                <a:solidFill>
                  <a:schemeClr val="tx1"/>
                </a:solidFill>
              </a:rPr>
              <a:t>By repowering and extending the lifetime of the battery, long-term revenue sources, typically energy arbitrage, become more relevant for the business case.</a:t>
            </a:r>
          </a:p>
          <a:p>
            <a:pPr marL="171450" indent="-171450" algn="l">
              <a:spcBef>
                <a:spcPts val="600"/>
              </a:spcBef>
              <a:buFont typeface="Arial" panose="020B0604020202020204" pitchFamily="34" charset="0"/>
              <a:buChar char="•"/>
            </a:pPr>
            <a:r>
              <a:rPr lang="en-GB" sz="1100">
                <a:solidFill>
                  <a:schemeClr val="tx1"/>
                </a:solidFill>
              </a:rPr>
              <a:t>The high level of energy arbitrage revenues with support from capacity market payments in </a:t>
            </a:r>
            <a:r>
              <a:rPr lang="en-GB" sz="1100">
                <a:solidFill>
                  <a:srgbClr val="7A7A7A"/>
                </a:solidFill>
                <a:highlight>
                  <a:srgbClr val="7A7A7A"/>
                </a:highlight>
                <a:latin typeface="Lato"/>
              </a:rPr>
              <a:t>XX</a:t>
            </a:r>
            <a:r>
              <a:rPr lang="en-GB" sz="1100">
                <a:solidFill>
                  <a:schemeClr val="tx1"/>
                </a:solidFill>
              </a:rPr>
              <a:t>, </a:t>
            </a:r>
            <a:r>
              <a:rPr lang="en-GB" sz="1100">
                <a:solidFill>
                  <a:srgbClr val="7A7A7A"/>
                </a:solidFill>
                <a:highlight>
                  <a:srgbClr val="7A7A7A"/>
                </a:highlight>
                <a:latin typeface="Lato"/>
              </a:rPr>
              <a:t>XX</a:t>
            </a:r>
            <a:r>
              <a:rPr lang="en-GB" sz="1100">
                <a:solidFill>
                  <a:schemeClr val="tx1"/>
                </a:solidFill>
              </a:rPr>
              <a:t> and </a:t>
            </a:r>
            <a:r>
              <a:rPr lang="en-GB" sz="1100">
                <a:solidFill>
                  <a:srgbClr val="7A7A7A"/>
                </a:solidFill>
                <a:highlight>
                  <a:srgbClr val="7A7A7A"/>
                </a:highlight>
                <a:latin typeface="Lato"/>
              </a:rPr>
              <a:t>XX</a:t>
            </a:r>
            <a:r>
              <a:rPr lang="en-GB" sz="1100">
                <a:solidFill>
                  <a:schemeClr val="tx1"/>
                </a:solidFill>
              </a:rPr>
              <a:t> in the long term is enough to offset the repowering investment for all storage durations.</a:t>
            </a:r>
          </a:p>
          <a:p>
            <a:pPr marL="171450" indent="-171450" algn="l">
              <a:spcBef>
                <a:spcPts val="600"/>
              </a:spcBef>
              <a:buFont typeface="Arial" panose="020B0604020202020204" pitchFamily="34" charset="0"/>
              <a:buChar char="•"/>
            </a:pPr>
            <a:r>
              <a:rPr lang="en-GB" sz="1100">
                <a:solidFill>
                  <a:schemeClr val="tx1"/>
                </a:solidFill>
              </a:rPr>
              <a:t>In </a:t>
            </a:r>
            <a:r>
              <a:rPr lang="en-GB" sz="1100">
                <a:solidFill>
                  <a:srgbClr val="7A7A7A"/>
                </a:solidFill>
                <a:highlight>
                  <a:srgbClr val="7A7A7A"/>
                </a:highlight>
                <a:latin typeface="Lato"/>
              </a:rPr>
              <a:t>XX</a:t>
            </a:r>
            <a:r>
              <a:rPr lang="en-GB" sz="1100">
                <a:solidFill>
                  <a:schemeClr val="tx1"/>
                </a:solidFill>
              </a:rPr>
              <a:t>, repowering restores battery capacity allowing for higher trading flexibility, but it reduces the willingness to be reserved in </a:t>
            </a:r>
            <a:r>
              <a:rPr lang="en-GB" sz="1100">
                <a:solidFill>
                  <a:srgbClr val="7A7A7A"/>
                </a:solidFill>
                <a:highlight>
                  <a:srgbClr val="7A7A7A"/>
                </a:highlight>
                <a:latin typeface="Lato"/>
              </a:rPr>
              <a:t>XX </a:t>
            </a:r>
            <a:r>
              <a:rPr lang="en-GB" sz="1100">
                <a:solidFill>
                  <a:schemeClr val="tx1"/>
                </a:solidFill>
              </a:rPr>
              <a:t>due to low prices, shifting to rely more on energy arbitrage revenues from its </a:t>
            </a:r>
            <a:r>
              <a:rPr lang="en-GB" sz="1100">
                <a:solidFill>
                  <a:srgbClr val="7A7A7A"/>
                </a:solidFill>
                <a:highlight>
                  <a:srgbClr val="7A7A7A"/>
                </a:highlight>
                <a:latin typeface="Lato"/>
              </a:rPr>
              <a:t>XX</a:t>
            </a:r>
            <a:r>
              <a:rPr lang="en-GB" sz="1100">
                <a:solidFill>
                  <a:schemeClr val="tx1"/>
                </a:solidFill>
              </a:rPr>
              <a:t>.</a:t>
            </a:r>
          </a:p>
          <a:p>
            <a:pPr marL="171450" indent="-171450">
              <a:spcBef>
                <a:spcPts val="600"/>
              </a:spcBef>
              <a:buFont typeface="Arial" panose="020B0604020202020204" pitchFamily="34" charset="0"/>
              <a:buChar char="•"/>
            </a:pPr>
            <a:r>
              <a:rPr lang="en-GB" sz="1100">
                <a:solidFill>
                  <a:schemeClr val="tx1"/>
                </a:solidFill>
              </a:rPr>
              <a:t>For </a:t>
            </a:r>
            <a:r>
              <a:rPr lang="en-GB" sz="1100">
                <a:solidFill>
                  <a:srgbClr val="7A7A7A"/>
                </a:solidFill>
                <a:highlight>
                  <a:srgbClr val="7A7A7A"/>
                </a:highlight>
                <a:latin typeface="Lato"/>
              </a:rPr>
              <a:t>XX</a:t>
            </a:r>
            <a:r>
              <a:rPr lang="en-GB" sz="1100">
                <a:solidFill>
                  <a:schemeClr val="tx1"/>
                </a:solidFill>
              </a:rPr>
              <a:t> and </a:t>
            </a:r>
            <a:r>
              <a:rPr lang="en-GB" sz="1100">
                <a:solidFill>
                  <a:srgbClr val="7A7A7A"/>
                </a:solidFill>
                <a:highlight>
                  <a:srgbClr val="7A7A7A"/>
                </a:highlight>
                <a:latin typeface="Lato"/>
              </a:rPr>
              <a:t>XX</a:t>
            </a:r>
            <a:r>
              <a:rPr lang="en-GB" sz="1100">
                <a:solidFill>
                  <a:schemeClr val="tx1"/>
                </a:solidFill>
              </a:rPr>
              <a:t>, the incurred repowering capex for 4h batteries, combined with the ongoing storage generation tax, counterbalance the increase of revenues.</a:t>
            </a:r>
          </a:p>
        </p:txBody>
      </p:sp>
      <p:graphicFrame>
        <p:nvGraphicFramePr>
          <p:cNvPr id="476" name="Chart 475">
            <a:extLst>
              <a:ext uri="{FF2B5EF4-FFF2-40B4-BE49-F238E27FC236}">
                <a16:creationId xmlns:a16="http://schemas.microsoft.com/office/drawing/2014/main" id="{DE2DD19E-D92C-1101-40D9-9EC80003E453}"/>
              </a:ext>
            </a:extLst>
          </p:cNvPr>
          <p:cNvGraphicFramePr/>
          <p:nvPr>
            <p:custDataLst>
              <p:tags r:id="rId36"/>
            </p:custDataLst>
            <p:extLst>
              <p:ext uri="{D42A27DB-BD31-4B8C-83A1-F6EECF244321}">
                <p14:modId xmlns:p14="http://schemas.microsoft.com/office/powerpoint/2010/main" val="2262226073"/>
              </p:ext>
            </p:extLst>
          </p:nvPr>
        </p:nvGraphicFramePr>
        <p:xfrm>
          <a:off x="820738" y="4527550"/>
          <a:ext cx="2306637" cy="441325"/>
        </p:xfrm>
        <a:graphic>
          <a:graphicData uri="http://schemas.openxmlformats.org/drawingml/2006/chart">
            <c:chart xmlns:c="http://schemas.openxmlformats.org/drawingml/2006/chart" xmlns:r="http://schemas.openxmlformats.org/officeDocument/2006/relationships" r:id="rId104"/>
          </a:graphicData>
        </a:graphic>
      </p:graphicFrame>
      <p:cxnSp>
        <p:nvCxnSpPr>
          <p:cNvPr id="8" name="Straight Connector 7">
            <a:extLst>
              <a:ext uri="{FF2B5EF4-FFF2-40B4-BE49-F238E27FC236}">
                <a16:creationId xmlns:a16="http://schemas.microsoft.com/office/drawing/2014/main" id="{BCD81B21-815F-C90C-4484-642D873B699C}"/>
              </a:ext>
            </a:extLst>
          </p:cNvPr>
          <p:cNvCxnSpPr/>
          <p:nvPr>
            <p:custDataLst>
              <p:tags r:id="rId37"/>
            </p:custDataLst>
          </p:nvPr>
        </p:nvCxnSpPr>
        <p:spPr bwMode="gray">
          <a:xfrm flipV="1">
            <a:off x="1131888" y="4475163"/>
            <a:ext cx="0" cy="2778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6DD4569-E215-CCEB-048F-6D853776C420}"/>
              </a:ext>
            </a:extLst>
          </p:cNvPr>
          <p:cNvCxnSpPr/>
          <p:nvPr>
            <p:custDataLst>
              <p:tags r:id="rId38"/>
            </p:custDataLst>
          </p:nvPr>
        </p:nvCxnSpPr>
        <p:spPr bwMode="gray">
          <a:xfrm>
            <a:off x="1131888" y="4475163"/>
            <a:ext cx="255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9BA840D0-1721-94A4-0DFA-BE498471892C}"/>
              </a:ext>
            </a:extLst>
          </p:cNvPr>
          <p:cNvCxnSpPr/>
          <p:nvPr>
            <p:custDataLst>
              <p:tags r:id="rId39"/>
            </p:custDataLst>
          </p:nvPr>
        </p:nvCxnSpPr>
        <p:spPr bwMode="gray">
          <a:xfrm>
            <a:off x="1387475" y="4475163"/>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45E78B8-82E0-9CF9-4C85-69886C1CA3C3}"/>
              </a:ext>
            </a:extLst>
          </p:cNvPr>
          <p:cNvCxnSpPr/>
          <p:nvPr>
            <p:custDataLst>
              <p:tags r:id="rId40"/>
            </p:custDataLst>
          </p:nvPr>
        </p:nvCxnSpPr>
        <p:spPr bwMode="gray">
          <a:xfrm flipV="1">
            <a:off x="1846263" y="4371975"/>
            <a:ext cx="0" cy="2651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1B66584-9EB0-ACC1-1B27-95D751C0500C}"/>
              </a:ext>
            </a:extLst>
          </p:cNvPr>
          <p:cNvCxnSpPr/>
          <p:nvPr>
            <p:custDataLst>
              <p:tags r:id="rId41"/>
            </p:custDataLst>
          </p:nvPr>
        </p:nvCxnSpPr>
        <p:spPr bwMode="gray">
          <a:xfrm>
            <a:off x="1846263" y="4371975"/>
            <a:ext cx="255587"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EF76A11C-E56C-5BCD-4078-DBCBE6D29255}"/>
              </a:ext>
            </a:extLst>
          </p:cNvPr>
          <p:cNvCxnSpPr/>
          <p:nvPr>
            <p:custDataLst>
              <p:tags r:id="rId42"/>
            </p:custDataLst>
          </p:nvPr>
        </p:nvCxnSpPr>
        <p:spPr bwMode="gray">
          <a:xfrm>
            <a:off x="2101850" y="4371975"/>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5729E0E-BED5-19C5-8F09-3A1E5022A627}"/>
              </a:ext>
            </a:extLst>
          </p:cNvPr>
          <p:cNvCxnSpPr/>
          <p:nvPr>
            <p:custDataLst>
              <p:tags r:id="rId43"/>
            </p:custDataLst>
          </p:nvPr>
        </p:nvCxnSpPr>
        <p:spPr bwMode="gray">
          <a:xfrm flipV="1">
            <a:off x="2559050" y="4338638"/>
            <a:ext cx="0" cy="23336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FDBFB1D0-305C-29FC-9120-9670FE971511}"/>
              </a:ext>
            </a:extLst>
          </p:cNvPr>
          <p:cNvCxnSpPr/>
          <p:nvPr>
            <p:custDataLst>
              <p:tags r:id="rId44"/>
            </p:custDataLst>
          </p:nvPr>
        </p:nvCxnSpPr>
        <p:spPr bwMode="gray">
          <a:xfrm>
            <a:off x="2559050" y="4338638"/>
            <a:ext cx="255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777A21E-ECAD-D190-16F9-F24EB2F89B85}"/>
              </a:ext>
            </a:extLst>
          </p:cNvPr>
          <p:cNvCxnSpPr/>
          <p:nvPr>
            <p:custDataLst>
              <p:tags r:id="rId45"/>
            </p:custDataLst>
          </p:nvPr>
        </p:nvCxnSpPr>
        <p:spPr bwMode="gray">
          <a:xfrm>
            <a:off x="2814638" y="4338638"/>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 name="Text Placeholder 19">
            <a:extLst>
              <a:ext uri="{FF2B5EF4-FFF2-40B4-BE49-F238E27FC236}">
                <a16:creationId xmlns:a16="http://schemas.microsoft.com/office/drawing/2014/main" id="{D828A01F-7CE3-5BD2-E980-C4A709118DE5}"/>
              </a:ext>
            </a:extLst>
          </p:cNvPr>
          <p:cNvSpPr>
            <a:spLocks noGrp="1"/>
          </p:cNvSpPr>
          <p:nvPr>
            <p:custDataLst>
              <p:tags r:id="rId46"/>
            </p:custDataLst>
          </p:nvPr>
        </p:nvSpPr>
        <p:spPr bwMode="auto">
          <a:xfrm>
            <a:off x="1182688" y="49291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FFACD71-612C-442C-A318-3B12BCE22563}" type="datetime'1h'''''''''''''''''''''''''">
              <a:rPr lang="en-GB" altLang="en-US" sz="1000" smtClean="0">
                <a:ea typeface="+mn-ea"/>
                <a:cs typeface="+mn-cs"/>
              </a:rPr>
              <a:pPr lvl="0" algn="ctr">
                <a:spcBef>
                  <a:spcPct val="0"/>
                </a:spcBef>
                <a:spcAft>
                  <a:spcPct val="0"/>
                </a:spcAft>
              </a:pPr>
              <a:t>1h</a:t>
            </a:fld>
            <a:endParaRPr lang="en-GB" sz="1000">
              <a:ea typeface="+mn-ea"/>
              <a:cs typeface="+mn-cs"/>
            </a:endParaRPr>
          </a:p>
        </p:txBody>
      </p:sp>
      <p:sp>
        <p:nvSpPr>
          <p:cNvPr id="23" name="Text Placeholder 19">
            <a:extLst>
              <a:ext uri="{FF2B5EF4-FFF2-40B4-BE49-F238E27FC236}">
                <a16:creationId xmlns:a16="http://schemas.microsoft.com/office/drawing/2014/main" id="{87264F9B-FEEF-9C4D-FBC9-9FB26D41A4A8}"/>
              </a:ext>
            </a:extLst>
          </p:cNvPr>
          <p:cNvSpPr>
            <a:spLocks noGrp="1"/>
          </p:cNvSpPr>
          <p:nvPr>
            <p:custDataLst>
              <p:tags r:id="rId47"/>
            </p:custDataLst>
          </p:nvPr>
        </p:nvSpPr>
        <p:spPr bwMode="auto">
          <a:xfrm>
            <a:off x="1895475" y="49291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48ABC39-BAC6-40AC-93F7-D9B2D42D2942}" type="datetime'''2''''''h'''''''''">
              <a:rPr lang="en-GB" altLang="en-US" sz="1000" smtClean="0">
                <a:ea typeface="+mn-ea"/>
                <a:cs typeface="+mn-cs"/>
              </a:rPr>
              <a:pPr lvl="0" algn="ctr">
                <a:spcBef>
                  <a:spcPct val="0"/>
                </a:spcBef>
                <a:spcAft>
                  <a:spcPct val="0"/>
                </a:spcAft>
              </a:pPr>
              <a:t>2h</a:t>
            </a:fld>
            <a:endParaRPr lang="en-GB" sz="1000">
              <a:ea typeface="+mn-ea"/>
              <a:cs typeface="+mn-cs"/>
            </a:endParaRPr>
          </a:p>
        </p:txBody>
      </p:sp>
      <p:sp>
        <p:nvSpPr>
          <p:cNvPr id="24" name="Text Placeholder 19">
            <a:extLst>
              <a:ext uri="{FF2B5EF4-FFF2-40B4-BE49-F238E27FC236}">
                <a16:creationId xmlns:a16="http://schemas.microsoft.com/office/drawing/2014/main" id="{773FB700-A283-238A-761E-7FF52AF88F09}"/>
              </a:ext>
            </a:extLst>
          </p:cNvPr>
          <p:cNvSpPr>
            <a:spLocks noGrp="1"/>
          </p:cNvSpPr>
          <p:nvPr>
            <p:custDataLst>
              <p:tags r:id="rId48"/>
            </p:custDataLst>
          </p:nvPr>
        </p:nvSpPr>
        <p:spPr bwMode="auto">
          <a:xfrm>
            <a:off x="2609850" y="49291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DBF3DAA8-F773-4B7F-A9BC-7470C4B0600B}" type="datetime'''4''''''''''''''''''''''''''''''''h'''''''''''''''''''''">
              <a:rPr lang="en-GB" altLang="en-US" sz="1000" smtClean="0">
                <a:ea typeface="+mn-ea"/>
                <a:cs typeface="+mn-cs"/>
              </a:rPr>
              <a:pPr lvl="0" algn="ctr">
                <a:spcBef>
                  <a:spcPct val="0"/>
                </a:spcBef>
                <a:spcAft>
                  <a:spcPct val="0"/>
                </a:spcAft>
              </a:pPr>
              <a:t>4h</a:t>
            </a:fld>
            <a:endParaRPr lang="en-GB" sz="1000">
              <a:ea typeface="+mn-ea"/>
              <a:cs typeface="+mn-cs"/>
            </a:endParaRPr>
          </a:p>
        </p:txBody>
      </p:sp>
      <p:sp>
        <p:nvSpPr>
          <p:cNvPr id="25" name="Text Placeholder 19">
            <a:extLst>
              <a:ext uri="{FF2B5EF4-FFF2-40B4-BE49-F238E27FC236}">
                <a16:creationId xmlns:a16="http://schemas.microsoft.com/office/drawing/2014/main" id="{6F88F1BA-1AFD-AE01-5C2D-82C820474E94}"/>
              </a:ext>
            </a:extLst>
          </p:cNvPr>
          <p:cNvSpPr>
            <a:spLocks noGrp="1"/>
          </p:cNvSpPr>
          <p:nvPr>
            <p:custDataLst>
              <p:tags r:id="rId49"/>
            </p:custDataLst>
          </p:nvPr>
        </p:nvSpPr>
        <p:spPr bwMode="auto">
          <a:xfrm>
            <a:off x="1111251" y="4389438"/>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26" name="Text Placeholder 19">
            <a:extLst>
              <a:ext uri="{FF2B5EF4-FFF2-40B4-BE49-F238E27FC236}">
                <a16:creationId xmlns:a16="http://schemas.microsoft.com/office/drawing/2014/main" id="{F7C19240-633E-1CBB-073C-899946BCF66B}"/>
              </a:ext>
            </a:extLst>
          </p:cNvPr>
          <p:cNvSpPr>
            <a:spLocks noGrp="1"/>
          </p:cNvSpPr>
          <p:nvPr>
            <p:custDataLst>
              <p:tags r:id="rId50"/>
            </p:custDataLst>
          </p:nvPr>
        </p:nvSpPr>
        <p:spPr bwMode="auto">
          <a:xfrm>
            <a:off x="1825626" y="4286250"/>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27" name="Text Placeholder 19">
            <a:extLst>
              <a:ext uri="{FF2B5EF4-FFF2-40B4-BE49-F238E27FC236}">
                <a16:creationId xmlns:a16="http://schemas.microsoft.com/office/drawing/2014/main" id="{0CD8D087-7B48-A8C4-1627-0438E1DBA119}"/>
              </a:ext>
            </a:extLst>
          </p:cNvPr>
          <p:cNvSpPr>
            <a:spLocks noGrp="1"/>
          </p:cNvSpPr>
          <p:nvPr>
            <p:custDataLst>
              <p:tags r:id="rId51"/>
            </p:custDataLst>
          </p:nvPr>
        </p:nvSpPr>
        <p:spPr bwMode="auto">
          <a:xfrm>
            <a:off x="2538413" y="4252913"/>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28" name="Rectangle 27">
            <a:extLst>
              <a:ext uri="{FF2B5EF4-FFF2-40B4-BE49-F238E27FC236}">
                <a16:creationId xmlns:a16="http://schemas.microsoft.com/office/drawing/2014/main" id="{FC102F7C-55D6-052C-C6CF-A8F8E2F1C2CE}"/>
              </a:ext>
            </a:extLst>
          </p:cNvPr>
          <p:cNvSpPr/>
          <p:nvPr>
            <p:custDataLst>
              <p:tags r:id="rId52"/>
            </p:custDataLst>
          </p:nvPr>
        </p:nvSpPr>
        <p:spPr bwMode="auto">
          <a:xfrm>
            <a:off x="414338" y="6254750"/>
            <a:ext cx="179388" cy="133350"/>
          </a:xfrm>
          <a:prstGeom prst="rect">
            <a:avLst/>
          </a:prstGeom>
          <a:solidFill>
            <a:srgbClr val="E1C4E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9" name="Rectangle 28">
            <a:extLst>
              <a:ext uri="{FF2B5EF4-FFF2-40B4-BE49-F238E27FC236}">
                <a16:creationId xmlns:a16="http://schemas.microsoft.com/office/drawing/2014/main" id="{91739A40-64FE-674A-77EE-4ACBA3196A9F}"/>
              </a:ext>
            </a:extLst>
          </p:cNvPr>
          <p:cNvSpPr/>
          <p:nvPr>
            <p:custDataLst>
              <p:tags r:id="rId53"/>
            </p:custDataLst>
          </p:nvPr>
        </p:nvSpPr>
        <p:spPr bwMode="auto">
          <a:xfrm>
            <a:off x="1254125" y="6254750"/>
            <a:ext cx="179388" cy="133350"/>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0" name="Text Placeholder 19">
            <a:extLst>
              <a:ext uri="{FF2B5EF4-FFF2-40B4-BE49-F238E27FC236}">
                <a16:creationId xmlns:a16="http://schemas.microsoft.com/office/drawing/2014/main" id="{7A198CBD-E1E0-FEAF-89CA-B9CE7AE0CA26}"/>
              </a:ext>
            </a:extLst>
          </p:cNvPr>
          <p:cNvSpPr>
            <a:spLocks noGrp="1"/>
          </p:cNvSpPr>
          <p:nvPr>
            <p:custDataLst>
              <p:tags r:id="rId54"/>
            </p:custDataLst>
          </p:nvPr>
        </p:nvSpPr>
        <p:spPr bwMode="auto">
          <a:xfrm>
            <a:off x="644525" y="6249988"/>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411A945B-ECCA-4007-85A3-6C6310FC3E43}" type="datetime'''''Sta''''''''''''''''n''d''''a''''''''''''''r''d'''''">
              <a:rPr lang="en-GB" altLang="en-US" sz="1000" smtClean="0">
                <a:ea typeface="+mn-ea"/>
                <a:cs typeface="+mn-cs"/>
              </a:rPr>
              <a:pPr lvl="0">
                <a:spcBef>
                  <a:spcPct val="0"/>
                </a:spcBef>
                <a:spcAft>
                  <a:spcPct val="0"/>
                </a:spcAft>
              </a:pPr>
              <a:t>Standard</a:t>
            </a:fld>
            <a:endParaRPr lang="en-GB" sz="1000" baseline="30000">
              <a:ea typeface="+mn-ea"/>
              <a:cs typeface="+mn-cs"/>
            </a:endParaRPr>
          </a:p>
        </p:txBody>
      </p:sp>
      <p:sp>
        <p:nvSpPr>
          <p:cNvPr id="31" name="Text Placeholder 19">
            <a:extLst>
              <a:ext uri="{FF2B5EF4-FFF2-40B4-BE49-F238E27FC236}">
                <a16:creationId xmlns:a16="http://schemas.microsoft.com/office/drawing/2014/main" id="{6C46D68F-C126-DE09-6EC6-51507630F313}"/>
              </a:ext>
            </a:extLst>
          </p:cNvPr>
          <p:cNvSpPr>
            <a:spLocks noGrp="1"/>
          </p:cNvSpPr>
          <p:nvPr>
            <p:custDataLst>
              <p:tags r:id="rId55"/>
            </p:custDataLst>
          </p:nvPr>
        </p:nvSpPr>
        <p:spPr bwMode="auto">
          <a:xfrm>
            <a:off x="1484313" y="6249988"/>
            <a:ext cx="669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a:ea typeface="+mn-ea"/>
                <a:cs typeface="+mn-cs"/>
              </a:rPr>
              <a:t>Repowering</a:t>
            </a:r>
            <a:endParaRPr lang="en-GB" sz="1000">
              <a:ea typeface="+mn-ea"/>
              <a:cs typeface="+mn-cs"/>
            </a:endParaRPr>
          </a:p>
        </p:txBody>
      </p:sp>
      <p:graphicFrame>
        <p:nvGraphicFramePr>
          <p:cNvPr id="481" name="Chart 480">
            <a:extLst>
              <a:ext uri="{FF2B5EF4-FFF2-40B4-BE49-F238E27FC236}">
                <a16:creationId xmlns:a16="http://schemas.microsoft.com/office/drawing/2014/main" id="{5F2EE054-D404-3515-5315-E71BF3A6EF66}"/>
              </a:ext>
            </a:extLst>
          </p:cNvPr>
          <p:cNvGraphicFramePr/>
          <p:nvPr>
            <p:custDataLst>
              <p:tags r:id="rId56"/>
            </p:custDataLst>
            <p:extLst>
              <p:ext uri="{D42A27DB-BD31-4B8C-83A1-F6EECF244321}">
                <p14:modId xmlns:p14="http://schemas.microsoft.com/office/powerpoint/2010/main" val="2512662907"/>
              </p:ext>
            </p:extLst>
          </p:nvPr>
        </p:nvGraphicFramePr>
        <p:xfrm>
          <a:off x="822325" y="5645150"/>
          <a:ext cx="2306638" cy="479425"/>
        </p:xfrm>
        <a:graphic>
          <a:graphicData uri="http://schemas.openxmlformats.org/drawingml/2006/chart">
            <c:chart xmlns:c="http://schemas.openxmlformats.org/drawingml/2006/chart" xmlns:r="http://schemas.openxmlformats.org/officeDocument/2006/relationships" r:id="rId105"/>
          </a:graphicData>
        </a:graphic>
      </p:graphicFrame>
      <p:cxnSp>
        <p:nvCxnSpPr>
          <p:cNvPr id="33" name="Straight Connector 32">
            <a:extLst>
              <a:ext uri="{FF2B5EF4-FFF2-40B4-BE49-F238E27FC236}">
                <a16:creationId xmlns:a16="http://schemas.microsoft.com/office/drawing/2014/main" id="{D6D5AF6B-F09C-CB2B-3C3E-764534046B74}"/>
              </a:ext>
            </a:extLst>
          </p:cNvPr>
          <p:cNvCxnSpPr/>
          <p:nvPr>
            <p:custDataLst>
              <p:tags r:id="rId57"/>
            </p:custDataLst>
          </p:nvPr>
        </p:nvCxnSpPr>
        <p:spPr bwMode="gray">
          <a:xfrm flipV="1">
            <a:off x="1133475" y="5572125"/>
            <a:ext cx="0" cy="2730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6C9A4CA-B672-34FA-9818-251951DF4F20}"/>
              </a:ext>
            </a:extLst>
          </p:cNvPr>
          <p:cNvCxnSpPr/>
          <p:nvPr>
            <p:custDataLst>
              <p:tags r:id="rId58"/>
            </p:custDataLst>
          </p:nvPr>
        </p:nvCxnSpPr>
        <p:spPr bwMode="gray">
          <a:xfrm>
            <a:off x="1133475" y="5572125"/>
            <a:ext cx="255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CC2CECD0-992D-C49E-6130-5EB54641BB54}"/>
              </a:ext>
            </a:extLst>
          </p:cNvPr>
          <p:cNvCxnSpPr/>
          <p:nvPr>
            <p:custDataLst>
              <p:tags r:id="rId59"/>
            </p:custDataLst>
          </p:nvPr>
        </p:nvCxnSpPr>
        <p:spPr bwMode="gray">
          <a:xfrm>
            <a:off x="1389063" y="5572125"/>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3E3AABCD-D26A-6AF7-F81E-BE7972E06CB5}"/>
              </a:ext>
            </a:extLst>
          </p:cNvPr>
          <p:cNvCxnSpPr/>
          <p:nvPr>
            <p:custDataLst>
              <p:tags r:id="rId60"/>
            </p:custDataLst>
          </p:nvPr>
        </p:nvCxnSpPr>
        <p:spPr bwMode="gray">
          <a:xfrm flipV="1">
            <a:off x="1847850" y="5481638"/>
            <a:ext cx="0" cy="2698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C6EF1B9F-AE41-2AA0-7A82-85D57438CF1D}"/>
              </a:ext>
            </a:extLst>
          </p:cNvPr>
          <p:cNvCxnSpPr/>
          <p:nvPr>
            <p:custDataLst>
              <p:tags r:id="rId61"/>
            </p:custDataLst>
          </p:nvPr>
        </p:nvCxnSpPr>
        <p:spPr bwMode="gray">
          <a:xfrm>
            <a:off x="1847850" y="5481638"/>
            <a:ext cx="255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FC6FA150-7910-72EA-3916-14BEA89DEE22}"/>
              </a:ext>
            </a:extLst>
          </p:cNvPr>
          <p:cNvCxnSpPr/>
          <p:nvPr>
            <p:custDataLst>
              <p:tags r:id="rId62"/>
            </p:custDataLst>
          </p:nvPr>
        </p:nvCxnSpPr>
        <p:spPr bwMode="gray">
          <a:xfrm>
            <a:off x="2103438" y="5481638"/>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9C0FF21D-B4C0-3346-3C10-C4396D454C7F}"/>
              </a:ext>
            </a:extLst>
          </p:cNvPr>
          <p:cNvCxnSpPr/>
          <p:nvPr>
            <p:custDataLst>
              <p:tags r:id="rId63"/>
            </p:custDataLst>
          </p:nvPr>
        </p:nvCxnSpPr>
        <p:spPr bwMode="gray">
          <a:xfrm flipV="1">
            <a:off x="2560638" y="5449888"/>
            <a:ext cx="0" cy="24288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0B57E290-E86A-99A7-4C23-F346FEEF85FF}"/>
              </a:ext>
            </a:extLst>
          </p:cNvPr>
          <p:cNvCxnSpPr/>
          <p:nvPr>
            <p:custDataLst>
              <p:tags r:id="rId64"/>
            </p:custDataLst>
          </p:nvPr>
        </p:nvCxnSpPr>
        <p:spPr bwMode="gray">
          <a:xfrm>
            <a:off x="2560638" y="5449888"/>
            <a:ext cx="255587"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B1D2D051-8EC2-E54C-E499-5DB05A82DF12}"/>
              </a:ext>
            </a:extLst>
          </p:cNvPr>
          <p:cNvCxnSpPr/>
          <p:nvPr>
            <p:custDataLst>
              <p:tags r:id="rId65"/>
            </p:custDataLst>
          </p:nvPr>
        </p:nvCxnSpPr>
        <p:spPr bwMode="gray">
          <a:xfrm>
            <a:off x="2816225" y="5449888"/>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5" name="Text Placeholder 19">
            <a:extLst>
              <a:ext uri="{FF2B5EF4-FFF2-40B4-BE49-F238E27FC236}">
                <a16:creationId xmlns:a16="http://schemas.microsoft.com/office/drawing/2014/main" id="{A7B9C618-789A-541C-1B9F-2C9086A5BB24}"/>
              </a:ext>
            </a:extLst>
          </p:cNvPr>
          <p:cNvSpPr>
            <a:spLocks noGrp="1"/>
          </p:cNvSpPr>
          <p:nvPr>
            <p:custDataLst>
              <p:tags r:id="rId66"/>
            </p:custDataLst>
          </p:nvPr>
        </p:nvSpPr>
        <p:spPr bwMode="auto">
          <a:xfrm>
            <a:off x="1184275" y="60848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55AB2D1B-97DB-487D-833D-80AED23A9759}" type="datetime'''1''''''''''''''''''''''''''''''h'''''''''''''''''''''''''">
              <a:rPr lang="en-GB" altLang="en-US" sz="1000" smtClean="0">
                <a:ea typeface="+mn-ea"/>
                <a:cs typeface="+mn-cs"/>
              </a:rPr>
              <a:pPr lvl="0" algn="ctr">
                <a:spcBef>
                  <a:spcPct val="0"/>
                </a:spcBef>
                <a:spcAft>
                  <a:spcPct val="0"/>
                </a:spcAft>
              </a:pPr>
              <a:t>1h</a:t>
            </a:fld>
            <a:endParaRPr lang="en-GB" sz="1000">
              <a:ea typeface="+mn-ea"/>
              <a:cs typeface="+mn-cs"/>
            </a:endParaRPr>
          </a:p>
        </p:txBody>
      </p:sp>
      <p:sp>
        <p:nvSpPr>
          <p:cNvPr id="46" name="Text Placeholder 19">
            <a:extLst>
              <a:ext uri="{FF2B5EF4-FFF2-40B4-BE49-F238E27FC236}">
                <a16:creationId xmlns:a16="http://schemas.microsoft.com/office/drawing/2014/main" id="{29592918-0C32-E8CB-9827-812DE5276B30}"/>
              </a:ext>
            </a:extLst>
          </p:cNvPr>
          <p:cNvSpPr>
            <a:spLocks noGrp="1"/>
          </p:cNvSpPr>
          <p:nvPr>
            <p:custDataLst>
              <p:tags r:id="rId67"/>
            </p:custDataLst>
          </p:nvPr>
        </p:nvSpPr>
        <p:spPr bwMode="auto">
          <a:xfrm>
            <a:off x="1897063" y="60848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71CE4A0F-0D5E-46DB-A3DE-980C39270B05}" type="datetime'''''''''2''''''''''''''''''''''''''''''''''h'''''">
              <a:rPr lang="en-GB" altLang="en-US" sz="1000" smtClean="0">
                <a:ea typeface="+mn-ea"/>
                <a:cs typeface="+mn-cs"/>
              </a:rPr>
              <a:pPr lvl="0" algn="ctr">
                <a:spcBef>
                  <a:spcPct val="0"/>
                </a:spcBef>
                <a:spcAft>
                  <a:spcPct val="0"/>
                </a:spcAft>
              </a:pPr>
              <a:t>2h</a:t>
            </a:fld>
            <a:endParaRPr lang="en-GB" sz="1000">
              <a:ea typeface="+mn-ea"/>
              <a:cs typeface="+mn-cs"/>
            </a:endParaRPr>
          </a:p>
        </p:txBody>
      </p:sp>
      <p:sp>
        <p:nvSpPr>
          <p:cNvPr id="47" name="Text Placeholder 19">
            <a:extLst>
              <a:ext uri="{FF2B5EF4-FFF2-40B4-BE49-F238E27FC236}">
                <a16:creationId xmlns:a16="http://schemas.microsoft.com/office/drawing/2014/main" id="{22A5386A-A263-4EF7-74B0-88345CE528A4}"/>
              </a:ext>
            </a:extLst>
          </p:cNvPr>
          <p:cNvSpPr>
            <a:spLocks noGrp="1"/>
          </p:cNvSpPr>
          <p:nvPr>
            <p:custDataLst>
              <p:tags r:id="rId68"/>
            </p:custDataLst>
          </p:nvPr>
        </p:nvSpPr>
        <p:spPr bwMode="auto">
          <a:xfrm>
            <a:off x="2611438" y="60848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16551BC-6AE3-4DAE-8194-65A88312F2D8}" type="datetime'''''''''''''''4''''''''''''''''''''''''''''''''''''h'''">
              <a:rPr lang="en-GB" altLang="en-US" sz="1000" smtClean="0">
                <a:ea typeface="+mn-ea"/>
                <a:cs typeface="+mn-cs"/>
              </a:rPr>
              <a:pPr lvl="0" algn="ctr">
                <a:spcBef>
                  <a:spcPct val="0"/>
                </a:spcBef>
                <a:spcAft>
                  <a:spcPct val="0"/>
                </a:spcAft>
              </a:pPr>
              <a:t>4h</a:t>
            </a:fld>
            <a:endParaRPr lang="en-GB" sz="1000">
              <a:ea typeface="+mn-ea"/>
              <a:cs typeface="+mn-cs"/>
            </a:endParaRPr>
          </a:p>
        </p:txBody>
      </p:sp>
      <p:sp>
        <p:nvSpPr>
          <p:cNvPr id="48" name="Text Placeholder 19">
            <a:extLst>
              <a:ext uri="{FF2B5EF4-FFF2-40B4-BE49-F238E27FC236}">
                <a16:creationId xmlns:a16="http://schemas.microsoft.com/office/drawing/2014/main" id="{491EE77D-5501-B0C0-5419-BB172A0C98CA}"/>
              </a:ext>
            </a:extLst>
          </p:cNvPr>
          <p:cNvSpPr>
            <a:spLocks noGrp="1"/>
          </p:cNvSpPr>
          <p:nvPr>
            <p:custDataLst>
              <p:tags r:id="rId69"/>
            </p:custDataLst>
          </p:nvPr>
        </p:nvSpPr>
        <p:spPr bwMode="auto">
          <a:xfrm>
            <a:off x="1112839" y="5486400"/>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49" name="Text Placeholder 19">
            <a:extLst>
              <a:ext uri="{FF2B5EF4-FFF2-40B4-BE49-F238E27FC236}">
                <a16:creationId xmlns:a16="http://schemas.microsoft.com/office/drawing/2014/main" id="{4DD7EFC6-D725-EA28-3910-2F2F801F502C}"/>
              </a:ext>
            </a:extLst>
          </p:cNvPr>
          <p:cNvSpPr>
            <a:spLocks noGrp="1"/>
          </p:cNvSpPr>
          <p:nvPr>
            <p:custDataLst>
              <p:tags r:id="rId70"/>
            </p:custDataLst>
          </p:nvPr>
        </p:nvSpPr>
        <p:spPr bwMode="auto">
          <a:xfrm>
            <a:off x="1827214" y="5395913"/>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50" name="Text Placeholder 19">
            <a:extLst>
              <a:ext uri="{FF2B5EF4-FFF2-40B4-BE49-F238E27FC236}">
                <a16:creationId xmlns:a16="http://schemas.microsoft.com/office/drawing/2014/main" id="{82730505-45E8-24FC-F31F-46338FE81A76}"/>
              </a:ext>
            </a:extLst>
          </p:cNvPr>
          <p:cNvSpPr>
            <a:spLocks noGrp="1"/>
          </p:cNvSpPr>
          <p:nvPr>
            <p:custDataLst>
              <p:tags r:id="rId71"/>
            </p:custDataLst>
          </p:nvPr>
        </p:nvSpPr>
        <p:spPr bwMode="auto">
          <a:xfrm>
            <a:off x="2540000" y="5364163"/>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graphicFrame>
        <p:nvGraphicFramePr>
          <p:cNvPr id="479" name="Chart 478">
            <a:extLst>
              <a:ext uri="{FF2B5EF4-FFF2-40B4-BE49-F238E27FC236}">
                <a16:creationId xmlns:a16="http://schemas.microsoft.com/office/drawing/2014/main" id="{4BF51FB4-D216-1420-2777-BB86E2114B7B}"/>
              </a:ext>
            </a:extLst>
          </p:cNvPr>
          <p:cNvGraphicFramePr/>
          <p:nvPr>
            <p:custDataLst>
              <p:tags r:id="rId72"/>
            </p:custDataLst>
            <p:extLst>
              <p:ext uri="{D42A27DB-BD31-4B8C-83A1-F6EECF244321}">
                <p14:modId xmlns:p14="http://schemas.microsoft.com/office/powerpoint/2010/main" val="1362198751"/>
              </p:ext>
            </p:extLst>
          </p:nvPr>
        </p:nvGraphicFramePr>
        <p:xfrm>
          <a:off x="3500438" y="4527550"/>
          <a:ext cx="2306637" cy="441325"/>
        </p:xfrm>
        <a:graphic>
          <a:graphicData uri="http://schemas.openxmlformats.org/drawingml/2006/chart">
            <c:chart xmlns:c="http://schemas.openxmlformats.org/drawingml/2006/chart" xmlns:r="http://schemas.openxmlformats.org/officeDocument/2006/relationships" r:id="rId106"/>
          </a:graphicData>
        </a:graphic>
      </p:graphicFrame>
      <p:cxnSp>
        <p:nvCxnSpPr>
          <p:cNvPr id="52" name="Straight Connector 51">
            <a:extLst>
              <a:ext uri="{FF2B5EF4-FFF2-40B4-BE49-F238E27FC236}">
                <a16:creationId xmlns:a16="http://schemas.microsoft.com/office/drawing/2014/main" id="{4E3DBF2F-C561-8CDB-3B11-CD75664B766A}"/>
              </a:ext>
            </a:extLst>
          </p:cNvPr>
          <p:cNvCxnSpPr/>
          <p:nvPr>
            <p:custDataLst>
              <p:tags r:id="rId73"/>
            </p:custDataLst>
          </p:nvPr>
        </p:nvCxnSpPr>
        <p:spPr bwMode="gray">
          <a:xfrm flipV="1">
            <a:off x="3811588" y="4356100"/>
            <a:ext cx="0" cy="28098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30E93CA4-4E55-D0C3-EE86-05FC0CB8A891}"/>
              </a:ext>
            </a:extLst>
          </p:cNvPr>
          <p:cNvCxnSpPr/>
          <p:nvPr>
            <p:custDataLst>
              <p:tags r:id="rId74"/>
            </p:custDataLst>
          </p:nvPr>
        </p:nvCxnSpPr>
        <p:spPr bwMode="gray">
          <a:xfrm>
            <a:off x="3811588" y="4356100"/>
            <a:ext cx="255587"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B3C4EA9-953D-BE6A-5494-EA707B0FAA55}"/>
              </a:ext>
            </a:extLst>
          </p:cNvPr>
          <p:cNvCxnSpPr/>
          <p:nvPr>
            <p:custDataLst>
              <p:tags r:id="rId75"/>
            </p:custDataLst>
          </p:nvPr>
        </p:nvCxnSpPr>
        <p:spPr bwMode="gray">
          <a:xfrm>
            <a:off x="4067175" y="4356100"/>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AA94815D-E961-4D3B-AB33-1DD2D432C380}"/>
              </a:ext>
            </a:extLst>
          </p:cNvPr>
          <p:cNvCxnSpPr/>
          <p:nvPr>
            <p:custDataLst>
              <p:tags r:id="rId76"/>
            </p:custDataLst>
          </p:nvPr>
        </p:nvCxnSpPr>
        <p:spPr bwMode="gray">
          <a:xfrm flipV="1">
            <a:off x="4525963" y="4332288"/>
            <a:ext cx="0" cy="28733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E2DA7E0C-8913-B3EB-D86E-877835E84609}"/>
              </a:ext>
            </a:extLst>
          </p:cNvPr>
          <p:cNvCxnSpPr/>
          <p:nvPr>
            <p:custDataLst>
              <p:tags r:id="rId77"/>
            </p:custDataLst>
          </p:nvPr>
        </p:nvCxnSpPr>
        <p:spPr bwMode="gray">
          <a:xfrm>
            <a:off x="4525963" y="4332288"/>
            <a:ext cx="255587"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80EAE58D-6162-D320-0E81-0E7AF71C3175}"/>
              </a:ext>
            </a:extLst>
          </p:cNvPr>
          <p:cNvCxnSpPr/>
          <p:nvPr>
            <p:custDataLst>
              <p:tags r:id="rId78"/>
            </p:custDataLst>
          </p:nvPr>
        </p:nvCxnSpPr>
        <p:spPr bwMode="gray">
          <a:xfrm>
            <a:off x="4781550" y="4332288"/>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A43F9A55-562C-C6A8-69C9-7C23EC784F98}"/>
              </a:ext>
            </a:extLst>
          </p:cNvPr>
          <p:cNvCxnSpPr/>
          <p:nvPr>
            <p:custDataLst>
              <p:tags r:id="rId79"/>
            </p:custDataLst>
          </p:nvPr>
        </p:nvCxnSpPr>
        <p:spPr bwMode="gray">
          <a:xfrm flipV="1">
            <a:off x="5238750" y="4386263"/>
            <a:ext cx="0" cy="30638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F5B7AB8B-5E06-605A-2CAA-DF3FCF06677E}"/>
              </a:ext>
            </a:extLst>
          </p:cNvPr>
          <p:cNvCxnSpPr/>
          <p:nvPr>
            <p:custDataLst>
              <p:tags r:id="rId80"/>
            </p:custDataLst>
          </p:nvPr>
        </p:nvCxnSpPr>
        <p:spPr bwMode="gray">
          <a:xfrm>
            <a:off x="5238750" y="4386263"/>
            <a:ext cx="255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AB48A15D-2017-2F26-477B-F79480EE0D95}"/>
              </a:ext>
            </a:extLst>
          </p:cNvPr>
          <p:cNvCxnSpPr/>
          <p:nvPr>
            <p:custDataLst>
              <p:tags r:id="rId81"/>
            </p:custDataLst>
          </p:nvPr>
        </p:nvCxnSpPr>
        <p:spPr bwMode="gray">
          <a:xfrm>
            <a:off x="5494338" y="4386263"/>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51" name="Text Placeholder 19">
            <a:extLst>
              <a:ext uri="{FF2B5EF4-FFF2-40B4-BE49-F238E27FC236}">
                <a16:creationId xmlns:a16="http://schemas.microsoft.com/office/drawing/2014/main" id="{86A6A4F7-6519-D68F-E45C-05A78C4E5C9D}"/>
              </a:ext>
            </a:extLst>
          </p:cNvPr>
          <p:cNvSpPr>
            <a:spLocks noGrp="1"/>
          </p:cNvSpPr>
          <p:nvPr>
            <p:custDataLst>
              <p:tags r:id="rId82"/>
            </p:custDataLst>
          </p:nvPr>
        </p:nvSpPr>
        <p:spPr bwMode="auto">
          <a:xfrm>
            <a:off x="3862388" y="49291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CB6B7944-8640-4C49-A03A-AEA0D1862670}" type="datetime'''''''''''''1''''''''''''''''''''''''''h'''''''">
              <a:rPr lang="en-GB" altLang="en-US" sz="1000" smtClean="0">
                <a:ea typeface="+mn-ea"/>
                <a:cs typeface="+mn-cs"/>
              </a:rPr>
              <a:pPr lvl="0" algn="ctr">
                <a:spcBef>
                  <a:spcPct val="0"/>
                </a:spcBef>
                <a:spcAft>
                  <a:spcPct val="0"/>
                </a:spcAft>
              </a:pPr>
              <a:t>1h</a:t>
            </a:fld>
            <a:endParaRPr lang="en-GB" sz="1000">
              <a:ea typeface="+mn-ea"/>
              <a:cs typeface="+mn-cs"/>
            </a:endParaRPr>
          </a:p>
        </p:txBody>
      </p:sp>
      <p:sp>
        <p:nvSpPr>
          <p:cNvPr id="452" name="Text Placeholder 19">
            <a:extLst>
              <a:ext uri="{FF2B5EF4-FFF2-40B4-BE49-F238E27FC236}">
                <a16:creationId xmlns:a16="http://schemas.microsoft.com/office/drawing/2014/main" id="{B6D26372-EE7F-D6B4-55F9-C14DE4BA6BFC}"/>
              </a:ext>
            </a:extLst>
          </p:cNvPr>
          <p:cNvSpPr>
            <a:spLocks noGrp="1"/>
          </p:cNvSpPr>
          <p:nvPr>
            <p:custDataLst>
              <p:tags r:id="rId83"/>
            </p:custDataLst>
          </p:nvPr>
        </p:nvSpPr>
        <p:spPr bwMode="auto">
          <a:xfrm>
            <a:off x="4575175" y="49291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7D021C3-DCE4-4D56-AFCA-BEF4B3AB0289}" type="datetime'''''''''''''''''2''''''''''''''''h'''''''''">
              <a:rPr lang="en-GB" altLang="en-US" sz="1000" smtClean="0">
                <a:ea typeface="+mn-ea"/>
                <a:cs typeface="+mn-cs"/>
              </a:rPr>
              <a:pPr lvl="0" algn="ctr">
                <a:spcBef>
                  <a:spcPct val="0"/>
                </a:spcBef>
                <a:spcAft>
                  <a:spcPct val="0"/>
                </a:spcAft>
              </a:pPr>
              <a:t>2h</a:t>
            </a:fld>
            <a:endParaRPr lang="en-GB" sz="1000">
              <a:ea typeface="+mn-ea"/>
              <a:cs typeface="+mn-cs"/>
            </a:endParaRPr>
          </a:p>
        </p:txBody>
      </p:sp>
      <p:sp>
        <p:nvSpPr>
          <p:cNvPr id="453" name="Text Placeholder 19">
            <a:extLst>
              <a:ext uri="{FF2B5EF4-FFF2-40B4-BE49-F238E27FC236}">
                <a16:creationId xmlns:a16="http://schemas.microsoft.com/office/drawing/2014/main" id="{2B8A0F5F-5660-5755-0786-F99BC9B18E44}"/>
              </a:ext>
            </a:extLst>
          </p:cNvPr>
          <p:cNvSpPr>
            <a:spLocks noGrp="1"/>
          </p:cNvSpPr>
          <p:nvPr>
            <p:custDataLst>
              <p:tags r:id="rId84"/>
            </p:custDataLst>
          </p:nvPr>
        </p:nvSpPr>
        <p:spPr bwMode="auto">
          <a:xfrm>
            <a:off x="5289550" y="49291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1E08CBA-201E-4880-87B9-3BC81CAAC13C}" type="datetime'''''''''''''''4h'''''''''''''''''">
              <a:rPr lang="en-GB" altLang="en-US" sz="1000" smtClean="0">
                <a:ea typeface="+mn-ea"/>
                <a:cs typeface="+mn-cs"/>
              </a:rPr>
              <a:pPr lvl="0" algn="ctr">
                <a:spcBef>
                  <a:spcPct val="0"/>
                </a:spcBef>
                <a:spcAft>
                  <a:spcPct val="0"/>
                </a:spcAft>
              </a:pPr>
              <a:t>4h</a:t>
            </a:fld>
            <a:endParaRPr lang="en-GB" sz="1000">
              <a:ea typeface="+mn-ea"/>
              <a:cs typeface="+mn-cs"/>
            </a:endParaRPr>
          </a:p>
        </p:txBody>
      </p:sp>
      <p:sp>
        <p:nvSpPr>
          <p:cNvPr id="454" name="Text Placeholder 19">
            <a:extLst>
              <a:ext uri="{FF2B5EF4-FFF2-40B4-BE49-F238E27FC236}">
                <a16:creationId xmlns:a16="http://schemas.microsoft.com/office/drawing/2014/main" id="{29FA6212-FB3B-F872-B4F6-BFFBA6A7AABB}"/>
              </a:ext>
            </a:extLst>
          </p:cNvPr>
          <p:cNvSpPr>
            <a:spLocks noGrp="1"/>
          </p:cNvSpPr>
          <p:nvPr>
            <p:custDataLst>
              <p:tags r:id="rId85"/>
            </p:custDataLst>
          </p:nvPr>
        </p:nvSpPr>
        <p:spPr bwMode="auto">
          <a:xfrm>
            <a:off x="3790951" y="4270375"/>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455" name="Text Placeholder 19">
            <a:extLst>
              <a:ext uri="{FF2B5EF4-FFF2-40B4-BE49-F238E27FC236}">
                <a16:creationId xmlns:a16="http://schemas.microsoft.com/office/drawing/2014/main" id="{4C8EC6B2-DDA2-33D0-B851-10B327661EDA}"/>
              </a:ext>
            </a:extLst>
          </p:cNvPr>
          <p:cNvSpPr>
            <a:spLocks noGrp="1"/>
          </p:cNvSpPr>
          <p:nvPr>
            <p:custDataLst>
              <p:tags r:id="rId86"/>
            </p:custDataLst>
          </p:nvPr>
        </p:nvSpPr>
        <p:spPr bwMode="auto">
          <a:xfrm>
            <a:off x="4505326" y="4246563"/>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456" name="Text Placeholder 19">
            <a:extLst>
              <a:ext uri="{FF2B5EF4-FFF2-40B4-BE49-F238E27FC236}">
                <a16:creationId xmlns:a16="http://schemas.microsoft.com/office/drawing/2014/main" id="{2EB4D18A-391F-643F-8E8B-97B79CAACA5E}"/>
              </a:ext>
            </a:extLst>
          </p:cNvPr>
          <p:cNvSpPr>
            <a:spLocks noGrp="1"/>
          </p:cNvSpPr>
          <p:nvPr>
            <p:custDataLst>
              <p:tags r:id="rId87"/>
            </p:custDataLst>
          </p:nvPr>
        </p:nvSpPr>
        <p:spPr bwMode="auto">
          <a:xfrm>
            <a:off x="5218114" y="4300538"/>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graphicFrame>
        <p:nvGraphicFramePr>
          <p:cNvPr id="486" name="Chart 485">
            <a:extLst>
              <a:ext uri="{FF2B5EF4-FFF2-40B4-BE49-F238E27FC236}">
                <a16:creationId xmlns:a16="http://schemas.microsoft.com/office/drawing/2014/main" id="{7197F138-49E4-B8FA-163C-E145D2852A5B}"/>
              </a:ext>
            </a:extLst>
          </p:cNvPr>
          <p:cNvGraphicFramePr/>
          <p:nvPr>
            <p:custDataLst>
              <p:tags r:id="rId88"/>
            </p:custDataLst>
            <p:extLst>
              <p:ext uri="{D42A27DB-BD31-4B8C-83A1-F6EECF244321}">
                <p14:modId xmlns:p14="http://schemas.microsoft.com/office/powerpoint/2010/main" val="2302782740"/>
              </p:ext>
            </p:extLst>
          </p:nvPr>
        </p:nvGraphicFramePr>
        <p:xfrm>
          <a:off x="3500438" y="5507038"/>
          <a:ext cx="2306637" cy="617537"/>
        </p:xfrm>
        <a:graphic>
          <a:graphicData uri="http://schemas.openxmlformats.org/drawingml/2006/chart">
            <c:chart xmlns:c="http://schemas.openxmlformats.org/drawingml/2006/chart" xmlns:r="http://schemas.openxmlformats.org/officeDocument/2006/relationships" r:id="rId107"/>
          </a:graphicData>
        </a:graphic>
      </p:graphicFrame>
      <p:cxnSp>
        <p:nvCxnSpPr>
          <p:cNvPr id="458" name="Straight Connector 457">
            <a:extLst>
              <a:ext uri="{FF2B5EF4-FFF2-40B4-BE49-F238E27FC236}">
                <a16:creationId xmlns:a16="http://schemas.microsoft.com/office/drawing/2014/main" id="{C473B25C-CBC7-94AF-33DF-978CF62C06CC}"/>
              </a:ext>
            </a:extLst>
          </p:cNvPr>
          <p:cNvCxnSpPr/>
          <p:nvPr>
            <p:custDataLst>
              <p:tags r:id="rId89"/>
            </p:custDataLst>
          </p:nvPr>
        </p:nvCxnSpPr>
        <p:spPr bwMode="gray">
          <a:xfrm flipV="1">
            <a:off x="4525963" y="5494338"/>
            <a:ext cx="0" cy="4175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459">
            <a:extLst>
              <a:ext uri="{FF2B5EF4-FFF2-40B4-BE49-F238E27FC236}">
                <a16:creationId xmlns:a16="http://schemas.microsoft.com/office/drawing/2014/main" id="{9D5DCA8A-1A0E-7DDD-D181-D77F29F2D289}"/>
              </a:ext>
            </a:extLst>
          </p:cNvPr>
          <p:cNvCxnSpPr/>
          <p:nvPr>
            <p:custDataLst>
              <p:tags r:id="rId90"/>
            </p:custDataLst>
          </p:nvPr>
        </p:nvCxnSpPr>
        <p:spPr bwMode="gray">
          <a:xfrm>
            <a:off x="4525963" y="5494338"/>
            <a:ext cx="255587"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FE64DE84-DA7E-2EF5-181E-0CD323639941}"/>
              </a:ext>
            </a:extLst>
          </p:cNvPr>
          <p:cNvCxnSpPr/>
          <p:nvPr>
            <p:custDataLst>
              <p:tags r:id="rId91"/>
            </p:custDataLst>
          </p:nvPr>
        </p:nvCxnSpPr>
        <p:spPr bwMode="gray">
          <a:xfrm>
            <a:off x="4781550" y="5494338"/>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1DEE3AD0-D4E5-9B96-F698-EC70729D0FE9}"/>
              </a:ext>
            </a:extLst>
          </p:cNvPr>
          <p:cNvCxnSpPr/>
          <p:nvPr>
            <p:custDataLst>
              <p:tags r:id="rId92"/>
            </p:custDataLst>
          </p:nvPr>
        </p:nvCxnSpPr>
        <p:spPr bwMode="gray">
          <a:xfrm flipV="1">
            <a:off x="5238750" y="5311775"/>
            <a:ext cx="0" cy="4349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CDB62B6F-FC36-5855-29FF-274E2641F2F9}"/>
              </a:ext>
            </a:extLst>
          </p:cNvPr>
          <p:cNvCxnSpPr/>
          <p:nvPr>
            <p:custDataLst>
              <p:tags r:id="rId93"/>
            </p:custDataLst>
          </p:nvPr>
        </p:nvCxnSpPr>
        <p:spPr bwMode="gray">
          <a:xfrm>
            <a:off x="5238750" y="5311775"/>
            <a:ext cx="255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3C76132D-B749-A3C1-668C-FF086C9BF789}"/>
              </a:ext>
            </a:extLst>
          </p:cNvPr>
          <p:cNvCxnSpPr/>
          <p:nvPr>
            <p:custDataLst>
              <p:tags r:id="rId94"/>
            </p:custDataLst>
          </p:nvPr>
        </p:nvCxnSpPr>
        <p:spPr bwMode="gray">
          <a:xfrm>
            <a:off x="5494338" y="5311775"/>
            <a:ext cx="0" cy="2397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66" name="Text Placeholder 19">
            <a:extLst>
              <a:ext uri="{FF2B5EF4-FFF2-40B4-BE49-F238E27FC236}">
                <a16:creationId xmlns:a16="http://schemas.microsoft.com/office/drawing/2014/main" id="{1D7AC288-6608-5F51-E1FF-640EBF69B334}"/>
              </a:ext>
            </a:extLst>
          </p:cNvPr>
          <p:cNvSpPr>
            <a:spLocks noGrp="1"/>
          </p:cNvSpPr>
          <p:nvPr>
            <p:custDataLst>
              <p:tags r:id="rId95"/>
            </p:custDataLst>
          </p:nvPr>
        </p:nvSpPr>
        <p:spPr bwMode="auto">
          <a:xfrm>
            <a:off x="4575175" y="60848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5298BC5E-D5EA-42D3-B019-AF0562014904}" type="datetime'''''''''''''''2''''''''''''''''h'''''''''''">
              <a:rPr lang="en-GB" altLang="en-US" sz="1000" smtClean="0">
                <a:ea typeface="+mn-ea"/>
                <a:cs typeface="+mn-cs"/>
              </a:rPr>
              <a:pPr lvl="0" algn="ctr">
                <a:spcBef>
                  <a:spcPct val="0"/>
                </a:spcBef>
                <a:spcAft>
                  <a:spcPct val="0"/>
                </a:spcAft>
              </a:pPr>
              <a:t>2h</a:t>
            </a:fld>
            <a:endParaRPr lang="en-GB" sz="1000">
              <a:ea typeface="+mn-ea"/>
              <a:cs typeface="+mn-cs"/>
            </a:endParaRPr>
          </a:p>
        </p:txBody>
      </p:sp>
      <p:sp>
        <p:nvSpPr>
          <p:cNvPr id="467" name="Text Placeholder 19">
            <a:extLst>
              <a:ext uri="{FF2B5EF4-FFF2-40B4-BE49-F238E27FC236}">
                <a16:creationId xmlns:a16="http://schemas.microsoft.com/office/drawing/2014/main" id="{80C1DD9A-390F-F163-82CA-DB14FC74ACD3}"/>
              </a:ext>
            </a:extLst>
          </p:cNvPr>
          <p:cNvSpPr>
            <a:spLocks noGrp="1"/>
          </p:cNvSpPr>
          <p:nvPr>
            <p:custDataLst>
              <p:tags r:id="rId96"/>
            </p:custDataLst>
          </p:nvPr>
        </p:nvSpPr>
        <p:spPr bwMode="auto">
          <a:xfrm>
            <a:off x="5289550" y="6084888"/>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7B4A4131-D54A-4D47-BF36-34744DC82111}" type="datetime'''''''''''''''''''''''''''''''''''''''''''4''''''''h'''''''">
              <a:rPr lang="en-GB" altLang="en-US" sz="1000" smtClean="0">
                <a:ea typeface="+mn-ea"/>
                <a:cs typeface="+mn-cs"/>
              </a:rPr>
              <a:pPr lvl="0" algn="ctr">
                <a:spcBef>
                  <a:spcPct val="0"/>
                </a:spcBef>
                <a:spcAft>
                  <a:spcPct val="0"/>
                </a:spcAft>
              </a:pPr>
              <a:t>4h</a:t>
            </a:fld>
            <a:endParaRPr lang="en-GB" sz="1000">
              <a:ea typeface="+mn-ea"/>
              <a:cs typeface="+mn-cs"/>
            </a:endParaRPr>
          </a:p>
        </p:txBody>
      </p:sp>
      <p:sp>
        <p:nvSpPr>
          <p:cNvPr id="468" name="Text Placeholder 19">
            <a:extLst>
              <a:ext uri="{FF2B5EF4-FFF2-40B4-BE49-F238E27FC236}">
                <a16:creationId xmlns:a16="http://schemas.microsoft.com/office/drawing/2014/main" id="{A631D69C-BC0B-8CE1-B335-45EBB1E1C3C6}"/>
              </a:ext>
            </a:extLst>
          </p:cNvPr>
          <p:cNvSpPr>
            <a:spLocks noGrp="1"/>
          </p:cNvSpPr>
          <p:nvPr>
            <p:custDataLst>
              <p:tags r:id="rId97"/>
            </p:custDataLst>
          </p:nvPr>
        </p:nvSpPr>
        <p:spPr bwMode="auto">
          <a:xfrm>
            <a:off x="4505326" y="5408613"/>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469" name="Text Placeholder 19">
            <a:extLst>
              <a:ext uri="{FF2B5EF4-FFF2-40B4-BE49-F238E27FC236}">
                <a16:creationId xmlns:a16="http://schemas.microsoft.com/office/drawing/2014/main" id="{CB444273-C674-BD0D-5EE3-B4E8FABF23AA}"/>
              </a:ext>
            </a:extLst>
          </p:cNvPr>
          <p:cNvSpPr>
            <a:spLocks noGrp="1"/>
          </p:cNvSpPr>
          <p:nvPr>
            <p:custDataLst>
              <p:tags r:id="rId98"/>
            </p:custDataLst>
          </p:nvPr>
        </p:nvSpPr>
        <p:spPr bwMode="auto">
          <a:xfrm>
            <a:off x="5218114" y="5226050"/>
            <a:ext cx="296863" cy="173038"/>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800">
                <a:effectLst/>
                <a:ea typeface="+mn-ea"/>
                <a:cs typeface="+mn-cs"/>
              </a:rPr>
              <a:t>XX%</a:t>
            </a:r>
            <a:endParaRPr lang="en-GB" sz="800">
              <a:ea typeface="+mn-ea"/>
              <a:cs typeface="+mn-cs"/>
            </a:endParaRPr>
          </a:p>
        </p:txBody>
      </p:sp>
      <p:sp>
        <p:nvSpPr>
          <p:cNvPr id="2" name="Rectangle 1">
            <a:extLst>
              <a:ext uri="{FF2B5EF4-FFF2-40B4-BE49-F238E27FC236}">
                <a16:creationId xmlns:a16="http://schemas.microsoft.com/office/drawing/2014/main" id="{A14D4F93-ED98-0883-6B99-7FBE4749ACF0}"/>
              </a:ext>
            </a:extLst>
          </p:cNvPr>
          <p:cNvSpPr/>
          <p:nvPr/>
        </p:nvSpPr>
        <p:spPr>
          <a:xfrm>
            <a:off x="363378" y="1628131"/>
            <a:ext cx="11585575" cy="2272358"/>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 name="Rectangle 5">
            <a:extLst>
              <a:ext uri="{FF2B5EF4-FFF2-40B4-BE49-F238E27FC236}">
                <a16:creationId xmlns:a16="http://schemas.microsoft.com/office/drawing/2014/main" id="{1CD8823C-DA12-85F9-E0DE-D0F68C47D293}"/>
              </a:ext>
            </a:extLst>
          </p:cNvPr>
          <p:cNvSpPr/>
          <p:nvPr/>
        </p:nvSpPr>
        <p:spPr>
          <a:xfrm>
            <a:off x="727969" y="3900489"/>
            <a:ext cx="5152133" cy="2349499"/>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4" name="Rectangle 13">
            <a:extLst>
              <a:ext uri="{FF2B5EF4-FFF2-40B4-BE49-F238E27FC236}">
                <a16:creationId xmlns:a16="http://schemas.microsoft.com/office/drawing/2014/main" id="{02DBC7E7-6F1E-3C14-921C-3513F2D04006}"/>
              </a:ext>
            </a:extLst>
          </p:cNvPr>
          <p:cNvSpPr/>
          <p:nvPr/>
        </p:nvSpPr>
        <p:spPr>
          <a:xfrm>
            <a:off x="6438900" y="3900489"/>
            <a:ext cx="5454650" cy="248761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586602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CA66D1-32A2-FD54-0C1C-277C835FC24D}"/>
              </a:ext>
            </a:extLst>
          </p:cNvPr>
          <p:cNvGraphicFramePr>
            <a:graphicFrameLocks noChangeAspect="1"/>
          </p:cNvGraphicFramePr>
          <p:nvPr>
            <p:custDataLst>
              <p:tags r:id="rId1"/>
            </p:custDataLst>
            <p:extLst>
              <p:ext uri="{D42A27DB-BD31-4B8C-83A1-F6EECF244321}">
                <p14:modId xmlns:p14="http://schemas.microsoft.com/office/powerpoint/2010/main" val="2818306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11" name="Object 10" hidden="1">
                        <a:extLst>
                          <a:ext uri="{FF2B5EF4-FFF2-40B4-BE49-F238E27FC236}">
                            <a16:creationId xmlns:a16="http://schemas.microsoft.com/office/drawing/2014/main" id="{9ACA66D1-32A2-FD54-0C1C-277C835FC2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04233EBE-E3B2-67EB-06F2-DA3AEE966701}"/>
              </a:ext>
            </a:extLst>
          </p:cNvPr>
          <p:cNvSpPr>
            <a:spLocks noGrp="1"/>
          </p:cNvSpPr>
          <p:nvPr>
            <p:ph type="body" sz="quarter" idx="27"/>
          </p:nvPr>
        </p:nvSpPr>
        <p:spPr>
          <a:xfrm>
            <a:off x="380998" y="3986647"/>
            <a:ext cx="2578608" cy="2421176"/>
          </a:xfrm>
        </p:spPr>
        <p:txBody>
          <a:bodyPr/>
          <a:lstStyle/>
          <a:p>
            <a:pPr marL="182880" indent="-182880">
              <a:buFont typeface="Wingdings" panose="05000000000000000000" pitchFamily="2" charset="2"/>
              <a:buChar char="§"/>
            </a:pPr>
            <a:r>
              <a:rPr lang="en-GB">
                <a:solidFill>
                  <a:srgbClr val="808080"/>
                </a:solidFill>
                <a:highlight>
                  <a:srgbClr val="808080"/>
                </a:highlight>
              </a:rPr>
              <a:t>                 robust installed capacity today and outlook make it the leading market by size but with significant saturation risk</a:t>
            </a:r>
          </a:p>
          <a:p>
            <a:pPr marL="182880" indent="-182880">
              <a:buFont typeface="Wingdings" panose="05000000000000000000" pitchFamily="2" charset="2"/>
              <a:buChar char="§"/>
            </a:pPr>
            <a:r>
              <a:rPr lang="en-GB">
                <a:solidFill>
                  <a:srgbClr val="808080"/>
                </a:solidFill>
                <a:highlight>
                  <a:srgbClr val="808080"/>
                </a:highlight>
              </a:rPr>
              <a:t>Despite low installed capacity today,              strong market outlook makes it a key market to explore</a:t>
            </a:r>
          </a:p>
          <a:p>
            <a:pPr marL="182880" indent="-182880">
              <a:buFont typeface="Wingdings" panose="05000000000000000000" pitchFamily="2" charset="2"/>
              <a:buChar char="§"/>
            </a:pPr>
            <a:r>
              <a:rPr lang="en-GB">
                <a:solidFill>
                  <a:srgbClr val="808080"/>
                </a:solidFill>
                <a:highlight>
                  <a:srgbClr val="808080"/>
                </a:highlight>
              </a:rPr>
              <a:t>                strong projected growth in grid-scale batteries driven by significant growth of variable renewables capacity makes it an interesting market to explore</a:t>
            </a:r>
          </a:p>
        </p:txBody>
      </p:sp>
      <p:sp>
        <p:nvSpPr>
          <p:cNvPr id="12" name="Text Placeholder 11">
            <a:extLst>
              <a:ext uri="{FF2B5EF4-FFF2-40B4-BE49-F238E27FC236}">
                <a16:creationId xmlns:a16="http://schemas.microsoft.com/office/drawing/2014/main" id="{C83B6F48-7995-8BDA-2222-40385592C39E}"/>
              </a:ext>
            </a:extLst>
          </p:cNvPr>
          <p:cNvSpPr>
            <a:spLocks noGrp="1"/>
          </p:cNvSpPr>
          <p:nvPr>
            <p:ph type="body" sz="quarter" idx="28"/>
          </p:nvPr>
        </p:nvSpPr>
        <p:spPr>
          <a:xfrm>
            <a:off x="3331263" y="3986647"/>
            <a:ext cx="2578608" cy="2421176"/>
          </a:xfrm>
        </p:spPr>
        <p:txBody>
          <a:bodyPr/>
          <a:lstStyle/>
          <a:p>
            <a:pPr marL="182880" indent="-182880">
              <a:buFont typeface="Wingdings" panose="05000000000000000000" pitchFamily="2" charset="2"/>
              <a:buChar char="§"/>
            </a:pPr>
            <a:r>
              <a:rPr lang="en-GB">
                <a:highlight>
                  <a:srgbClr val="808080"/>
                </a:highlight>
              </a:rPr>
              <a:t>              </a:t>
            </a:r>
            <a:r>
              <a:rPr lang="en-GB">
                <a:solidFill>
                  <a:srgbClr val="808080"/>
                </a:solidFill>
                <a:highlight>
                  <a:srgbClr val="808080"/>
                </a:highlight>
              </a:rPr>
              <a:t>ambitious targets for battery storage and renewables indicates strong government support for BESS and decarbonisation</a:t>
            </a:r>
          </a:p>
          <a:p>
            <a:pPr marL="182880" indent="-182880">
              <a:buFont typeface="Wingdings" panose="05000000000000000000" pitchFamily="2" charset="2"/>
              <a:buChar char="§"/>
            </a:pPr>
            <a:r>
              <a:rPr lang="en-GB">
                <a:solidFill>
                  <a:srgbClr val="808080"/>
                </a:solidFill>
                <a:highlight>
                  <a:srgbClr val="808080"/>
                </a:highlight>
              </a:rPr>
              <a:t>The upcoming                              in               </a:t>
            </a:r>
            <a:r>
              <a:rPr lang="en-GB" err="1">
                <a:solidFill>
                  <a:srgbClr val="808080"/>
                </a:solidFill>
                <a:highlight>
                  <a:srgbClr val="808080"/>
                </a:highlight>
              </a:rPr>
              <a:t>xxxxxxx</a:t>
            </a:r>
            <a:r>
              <a:rPr lang="en-GB">
                <a:solidFill>
                  <a:srgbClr val="808080"/>
                </a:solidFill>
                <a:highlight>
                  <a:srgbClr val="808080"/>
                </a:highlight>
              </a:rPr>
              <a:t>  improves the availability of contractable revenue streams and boosts            policy environment</a:t>
            </a:r>
          </a:p>
          <a:p>
            <a:pPr marL="182880" indent="-182880">
              <a:buFont typeface="Wingdings" panose="05000000000000000000" pitchFamily="2" charset="2"/>
              <a:buChar char="§"/>
            </a:pPr>
            <a:r>
              <a:rPr lang="en-GB">
                <a:solidFill>
                  <a:srgbClr val="808080"/>
                </a:solidFill>
                <a:highlight>
                  <a:srgbClr val="808080"/>
                </a:highlight>
              </a:rPr>
              <a:t>Revenue stacking opportunities and higher expected acceptance rates in the            in                  make its policy environment conducive </a:t>
            </a:r>
          </a:p>
        </p:txBody>
      </p:sp>
      <p:sp>
        <p:nvSpPr>
          <p:cNvPr id="4" name="Text Placeholder 3">
            <a:extLst>
              <a:ext uri="{FF2B5EF4-FFF2-40B4-BE49-F238E27FC236}">
                <a16:creationId xmlns:a16="http://schemas.microsoft.com/office/drawing/2014/main" id="{4D73EBC4-E062-9D4A-75A7-DC59ECDEFA14}"/>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6" name="Title 5">
            <a:extLst>
              <a:ext uri="{FF2B5EF4-FFF2-40B4-BE49-F238E27FC236}">
                <a16:creationId xmlns:a16="http://schemas.microsoft.com/office/drawing/2014/main" id="{25AE4BE4-23DF-E651-38E0-64CDFA82E374}"/>
              </a:ext>
            </a:extLst>
          </p:cNvPr>
          <p:cNvSpPr>
            <a:spLocks noGrp="1"/>
          </p:cNvSpPr>
          <p:nvPr>
            <p:ph type="title"/>
          </p:nvPr>
        </p:nvSpPr>
        <p:spPr/>
        <p:txBody>
          <a:bodyPr vert="horz"/>
          <a:lstStyle/>
          <a:p>
            <a:r>
              <a:rPr lang="en-GB"/>
              <a:t>Different markets emerge top across the four key categories, highlighting diverse investment opportunities</a:t>
            </a:r>
          </a:p>
        </p:txBody>
      </p:sp>
      <p:sp>
        <p:nvSpPr>
          <p:cNvPr id="17" name="Text Placeholder 16">
            <a:extLst>
              <a:ext uri="{FF2B5EF4-FFF2-40B4-BE49-F238E27FC236}">
                <a16:creationId xmlns:a16="http://schemas.microsoft.com/office/drawing/2014/main" id="{D067D45E-06EC-51F1-E415-2FE1A573099D}"/>
              </a:ext>
            </a:extLst>
          </p:cNvPr>
          <p:cNvSpPr>
            <a:spLocks noGrp="1"/>
          </p:cNvSpPr>
          <p:nvPr>
            <p:ph type="body" sz="quarter" idx="32"/>
          </p:nvPr>
        </p:nvSpPr>
        <p:spPr>
          <a:xfrm>
            <a:off x="381600" y="6474841"/>
            <a:ext cx="11428800" cy="110800"/>
          </a:xfrm>
        </p:spPr>
        <p:txBody>
          <a:body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18" name="Text Placeholder 17">
            <a:extLst>
              <a:ext uri="{FF2B5EF4-FFF2-40B4-BE49-F238E27FC236}">
                <a16:creationId xmlns:a16="http://schemas.microsoft.com/office/drawing/2014/main" id="{BC8FDD12-FCA7-CC85-4EDD-4425EDA49D7A}"/>
              </a:ext>
            </a:extLst>
          </p:cNvPr>
          <p:cNvSpPr>
            <a:spLocks noGrp="1"/>
          </p:cNvSpPr>
          <p:nvPr>
            <p:ph type="body" sz="quarter" idx="33"/>
          </p:nvPr>
        </p:nvSpPr>
        <p:spPr>
          <a:xfrm>
            <a:off x="6281528" y="3986647"/>
            <a:ext cx="2630698" cy="2708434"/>
          </a:xfrm>
        </p:spPr>
        <p:txBody>
          <a:bodyPr/>
          <a:lstStyle/>
          <a:p>
            <a:pPr marL="182880" indent="-182880">
              <a:buFont typeface="Wingdings" panose="05000000000000000000" pitchFamily="2" charset="2"/>
              <a:buChar char="§"/>
            </a:pPr>
            <a:r>
              <a:rPr lang="en-GB">
                <a:solidFill>
                  <a:srgbClr val="808080"/>
                </a:solidFill>
                <a:highlight>
                  <a:srgbClr val="808080"/>
                </a:highlight>
              </a:rPr>
              <a:t>                     </a:t>
            </a:r>
            <a:r>
              <a:rPr lang="en-US">
                <a:solidFill>
                  <a:srgbClr val="808080"/>
                </a:solidFill>
                <a:highlight>
                  <a:srgbClr val="808080"/>
                </a:highlight>
              </a:rPr>
              <a:t>emerges as a top market for its </a:t>
            </a:r>
            <a:r>
              <a:rPr lang="en-GB">
                <a:solidFill>
                  <a:srgbClr val="808080"/>
                </a:solidFill>
                <a:highlight>
                  <a:srgbClr val="808080"/>
                </a:highlight>
              </a:rPr>
              <a:t>increasing wholesale market spreads driven by the growth in XXXX, and its high capacity market revenues.</a:t>
            </a:r>
          </a:p>
          <a:p>
            <a:pPr marL="182880" indent="-182880">
              <a:buFont typeface="Wingdings" panose="05000000000000000000" pitchFamily="2" charset="2"/>
              <a:buChar char="§"/>
            </a:pPr>
            <a:r>
              <a:rPr lang="en-US">
                <a:solidFill>
                  <a:srgbClr val="808080"/>
                </a:solidFill>
                <a:highlight>
                  <a:srgbClr val="808080"/>
                </a:highlight>
              </a:rPr>
              <a:t>Potential opportunities from       and high daily spreads in the wholesale market give  </a:t>
            </a:r>
            <a:r>
              <a:rPr lang="en-GB">
                <a:solidFill>
                  <a:srgbClr val="808080"/>
                </a:solidFill>
                <a:highlight>
                  <a:srgbClr val="808080"/>
                </a:highlight>
              </a:rPr>
              <a:t>                        </a:t>
            </a:r>
            <a:r>
              <a:rPr lang="en-US">
                <a:solidFill>
                  <a:srgbClr val="808080"/>
                </a:solidFill>
                <a:highlight>
                  <a:srgbClr val="808080"/>
                </a:highlight>
              </a:rPr>
              <a:t> great revenue opportunities.</a:t>
            </a:r>
            <a:endParaRPr lang="en-GB">
              <a:solidFill>
                <a:srgbClr val="808080"/>
              </a:solidFill>
              <a:highlight>
                <a:srgbClr val="808080"/>
              </a:highlight>
            </a:endParaRPr>
          </a:p>
          <a:p>
            <a:pPr marL="182880" indent="-182880">
              <a:buFont typeface="Wingdings" panose="05000000000000000000" pitchFamily="2" charset="2"/>
              <a:buChar char="§"/>
            </a:pPr>
            <a:r>
              <a:rPr lang="en-GB">
                <a:solidFill>
                  <a:srgbClr val="808080"/>
                </a:solidFill>
                <a:highlight>
                  <a:srgbClr val="808080"/>
                </a:highlight>
              </a:rPr>
              <a:t>              </a:t>
            </a:r>
            <a:r>
              <a:rPr lang="en-US">
                <a:solidFill>
                  <a:srgbClr val="808080"/>
                </a:solidFill>
                <a:highlight>
                  <a:srgbClr val="808080"/>
                </a:highlight>
              </a:rPr>
              <a:t>presents favorable wholesale market spreads, supported by its capacity market</a:t>
            </a:r>
            <a:r>
              <a:rPr lang="en-US">
                <a:highlight>
                  <a:srgbClr val="808080"/>
                </a:highlight>
              </a:rPr>
              <a:t>.</a:t>
            </a:r>
          </a:p>
          <a:p>
            <a:pPr marL="182880" indent="-182880">
              <a:buFont typeface="Wingdings" panose="05000000000000000000" pitchFamily="2" charset="2"/>
              <a:buChar char="§"/>
            </a:pPr>
            <a:endParaRPr lang="en-GB"/>
          </a:p>
        </p:txBody>
      </p:sp>
      <p:sp>
        <p:nvSpPr>
          <p:cNvPr id="16" name="Text Placeholder 15">
            <a:extLst>
              <a:ext uri="{FF2B5EF4-FFF2-40B4-BE49-F238E27FC236}">
                <a16:creationId xmlns:a16="http://schemas.microsoft.com/office/drawing/2014/main" id="{AEA8C704-9230-07E0-6876-A8C7FE23EC9F}"/>
              </a:ext>
            </a:extLst>
          </p:cNvPr>
          <p:cNvSpPr>
            <a:spLocks noGrp="1"/>
          </p:cNvSpPr>
          <p:nvPr>
            <p:ph type="body" sz="quarter" idx="31"/>
          </p:nvPr>
        </p:nvSpPr>
        <p:spPr>
          <a:xfrm>
            <a:off x="381599" y="79401"/>
            <a:ext cx="1561646" cy="184666"/>
          </a:xfrm>
        </p:spPr>
        <p:txBody>
          <a:bodyPr/>
          <a:lstStyle/>
          <a:p>
            <a:r>
              <a:rPr lang="en-GB"/>
              <a:t>	Executive Summary</a:t>
            </a:r>
          </a:p>
        </p:txBody>
      </p:sp>
      <p:sp>
        <p:nvSpPr>
          <p:cNvPr id="26" name="Text Placeholder 17">
            <a:extLst>
              <a:ext uri="{FF2B5EF4-FFF2-40B4-BE49-F238E27FC236}">
                <a16:creationId xmlns:a16="http://schemas.microsoft.com/office/drawing/2014/main" id="{114369CB-56DD-8D63-1850-67D24FD03F88}"/>
              </a:ext>
            </a:extLst>
          </p:cNvPr>
          <p:cNvSpPr txBox="1">
            <a:spLocks/>
          </p:cNvSpPr>
          <p:nvPr/>
        </p:nvSpPr>
        <p:spPr>
          <a:xfrm>
            <a:off x="9231792" y="3986647"/>
            <a:ext cx="2578608" cy="2133918"/>
          </a:xfrm>
          <a:prstGeom prst="rect">
            <a:avLst/>
          </a:prstGeom>
        </p:spPr>
        <p:txBody>
          <a:bodyPr vert="horz"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2880" marR="0" lvl="0" indent="-182880" algn="l" defTabSz="685783" rtl="0" eaLnBrk="1" fontAlgn="auto" latinLnBrk="0" hangingPunct="1">
              <a:lnSpc>
                <a:spcPct val="100000"/>
              </a:lnSpc>
              <a:spcBef>
                <a:spcPts val="750"/>
              </a:spcBef>
              <a:spcAft>
                <a:spcPts val="0"/>
              </a:spcAft>
              <a:buClrTx/>
              <a:buSzTx/>
              <a:buFont typeface="Wingdings" panose="05000000000000000000" pitchFamily="2" charset="2"/>
              <a:buChar char="§"/>
              <a:tabLst/>
              <a:defRPr/>
            </a:pPr>
            <a:r>
              <a:rPr lang="en-GB">
                <a:solidFill>
                  <a:srgbClr val="808080"/>
                </a:solidFill>
                <a:highlight>
                  <a:srgbClr val="808080"/>
                </a:highlight>
              </a:rPr>
              <a:t>                  has the most attractive IRRs for 2h batteries, driven by energy arbitrage;                            continue to provide favourable economics beyond 2025.</a:t>
            </a:r>
          </a:p>
          <a:p>
            <a:pPr marL="182880" marR="0" lvl="0" indent="-182880" algn="l" defTabSz="685783" rtl="0" eaLnBrk="1" fontAlgn="auto" latinLnBrk="0" hangingPunct="1">
              <a:lnSpc>
                <a:spcPct val="100000"/>
              </a:lnSpc>
              <a:spcBef>
                <a:spcPts val="750"/>
              </a:spcBef>
              <a:spcAft>
                <a:spcPts val="0"/>
              </a:spcAft>
              <a:buClrTx/>
              <a:buSzTx/>
              <a:buFont typeface="Wingdings" panose="05000000000000000000" pitchFamily="2" charset="2"/>
              <a:buChar char="§"/>
              <a:tabLst/>
              <a:defRPr/>
            </a:pPr>
            <a:r>
              <a:rPr lang="en-GB">
                <a:solidFill>
                  <a:srgbClr val="808080"/>
                </a:solidFill>
                <a:highlight>
                  <a:srgbClr val="808080"/>
                </a:highlight>
              </a:rPr>
              <a:t>               has both a good environment and regulatory support for developing co-location projects. Combined with high revenues from its Capacity Market, boosts                      BESS project economics</a:t>
            </a:r>
            <a:r>
              <a:rPr lang="en-GB">
                <a:highlight>
                  <a:srgbClr val="808080"/>
                </a:highlight>
              </a:rPr>
              <a:t>.</a:t>
            </a:r>
          </a:p>
        </p:txBody>
      </p:sp>
      <p:sp>
        <p:nvSpPr>
          <p:cNvPr id="28" name="Oval 11">
            <a:extLst>
              <a:ext uri="{FF2B5EF4-FFF2-40B4-BE49-F238E27FC236}">
                <a16:creationId xmlns:a16="http://schemas.microsoft.com/office/drawing/2014/main" id="{306289C0-680B-CDA3-E6EF-14992FED2921}"/>
              </a:ext>
            </a:extLst>
          </p:cNvPr>
          <p:cNvSpPr>
            <a:spLocks/>
          </p:cNvSpPr>
          <p:nvPr/>
        </p:nvSpPr>
        <p:spPr>
          <a:xfrm>
            <a:off x="383821" y="1320205"/>
            <a:ext cx="2503967" cy="253119"/>
          </a:xfrm>
          <a:prstGeom prst="roundRect">
            <a:avLst>
              <a:gd name="adj" fmla="val 50000"/>
            </a:avLst>
          </a:prstGeom>
          <a:solidFill>
            <a:srgbClr val="FFE680"/>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Market size and outlook</a:t>
            </a:r>
          </a:p>
        </p:txBody>
      </p:sp>
      <p:sp>
        <p:nvSpPr>
          <p:cNvPr id="29" name="Oval 11">
            <a:extLst>
              <a:ext uri="{FF2B5EF4-FFF2-40B4-BE49-F238E27FC236}">
                <a16:creationId xmlns:a16="http://schemas.microsoft.com/office/drawing/2014/main" id="{3B533730-FF6C-D11F-2B1B-06CEF773C8F6}"/>
              </a:ext>
            </a:extLst>
          </p:cNvPr>
          <p:cNvSpPr>
            <a:spLocks/>
          </p:cNvSpPr>
          <p:nvPr/>
        </p:nvSpPr>
        <p:spPr>
          <a:xfrm>
            <a:off x="3354897" y="1320205"/>
            <a:ext cx="2503967" cy="253119"/>
          </a:xfrm>
          <a:prstGeom prst="roundRect">
            <a:avLst>
              <a:gd name="adj" fmla="val 50000"/>
            </a:avLst>
          </a:prstGeom>
          <a:solidFill>
            <a:srgbClr val="A6964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Policy environment</a:t>
            </a:r>
          </a:p>
        </p:txBody>
      </p:sp>
      <p:sp>
        <p:nvSpPr>
          <p:cNvPr id="30" name="Oval 11">
            <a:extLst>
              <a:ext uri="{FF2B5EF4-FFF2-40B4-BE49-F238E27FC236}">
                <a16:creationId xmlns:a16="http://schemas.microsoft.com/office/drawing/2014/main" id="{09A72D2B-442A-86CA-9754-1A8801046FC7}"/>
              </a:ext>
            </a:extLst>
          </p:cNvPr>
          <p:cNvSpPr>
            <a:spLocks/>
          </p:cNvSpPr>
          <p:nvPr/>
        </p:nvSpPr>
        <p:spPr>
          <a:xfrm>
            <a:off x="9297050" y="1320205"/>
            <a:ext cx="2503967" cy="253119"/>
          </a:xfrm>
          <a:prstGeom prst="roundRect">
            <a:avLst>
              <a:gd name="adj" fmla="val 50000"/>
            </a:avLst>
          </a:prstGeom>
          <a:solidFill>
            <a:srgbClr val="4E5F6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lumMod val="95000"/>
                  </a:prstClr>
                </a:solidFill>
                <a:effectLst/>
                <a:uLnTx/>
                <a:uFillTx/>
                <a:latin typeface="Lato"/>
                <a:ea typeface="+mn-ea"/>
                <a:cs typeface="+mn-cs"/>
              </a:rPr>
              <a:t>Project economics</a:t>
            </a:r>
          </a:p>
        </p:txBody>
      </p:sp>
      <p:sp>
        <p:nvSpPr>
          <p:cNvPr id="31" name="Oval 11">
            <a:extLst>
              <a:ext uri="{FF2B5EF4-FFF2-40B4-BE49-F238E27FC236}">
                <a16:creationId xmlns:a16="http://schemas.microsoft.com/office/drawing/2014/main" id="{C6B1C2FB-E4F2-1B5E-E18F-9EE237A0DBC8}"/>
              </a:ext>
            </a:extLst>
          </p:cNvPr>
          <p:cNvSpPr>
            <a:spLocks/>
          </p:cNvSpPr>
          <p:nvPr/>
        </p:nvSpPr>
        <p:spPr>
          <a:xfrm>
            <a:off x="6325973" y="1320205"/>
            <a:ext cx="2503967" cy="253119"/>
          </a:xfrm>
          <a:prstGeom prst="roundRect">
            <a:avLst>
              <a:gd name="adj" fmla="val 50000"/>
            </a:avLst>
          </a:prstGeom>
          <a:solidFill>
            <a:srgbClr val="6F854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Calibri" panose="020F0502020204030204" pitchFamily="34" charset="0"/>
                <a:cs typeface="+mn-cs"/>
              </a:rPr>
              <a:t>Revenue streams</a:t>
            </a:r>
          </a:p>
        </p:txBody>
      </p:sp>
      <p:graphicFrame>
        <p:nvGraphicFramePr>
          <p:cNvPr id="34" name="Chart 33">
            <a:extLst>
              <a:ext uri="{FF2B5EF4-FFF2-40B4-BE49-F238E27FC236}">
                <a16:creationId xmlns:a16="http://schemas.microsoft.com/office/drawing/2014/main" id="{98928202-44FF-6C2C-7B0D-02A36985C587}"/>
              </a:ext>
            </a:extLst>
          </p:cNvPr>
          <p:cNvGraphicFramePr/>
          <p:nvPr>
            <p:custDataLst>
              <p:tags r:id="rId2"/>
            </p:custDataLst>
            <p:extLst>
              <p:ext uri="{D42A27DB-BD31-4B8C-83A1-F6EECF244321}">
                <p14:modId xmlns:p14="http://schemas.microsoft.com/office/powerpoint/2010/main" val="761665977"/>
              </p:ext>
            </p:extLst>
          </p:nvPr>
        </p:nvGraphicFramePr>
        <p:xfrm>
          <a:off x="822325" y="1708150"/>
          <a:ext cx="1985963" cy="215423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8" name="Chart 37">
            <a:extLst>
              <a:ext uri="{FF2B5EF4-FFF2-40B4-BE49-F238E27FC236}">
                <a16:creationId xmlns:a16="http://schemas.microsoft.com/office/drawing/2014/main" id="{62D29265-E217-919F-A97B-CF16315C33BF}"/>
              </a:ext>
            </a:extLst>
          </p:cNvPr>
          <p:cNvGraphicFramePr/>
          <p:nvPr>
            <p:custDataLst>
              <p:tags r:id="rId3"/>
            </p:custDataLst>
            <p:extLst>
              <p:ext uri="{D42A27DB-BD31-4B8C-83A1-F6EECF244321}">
                <p14:modId xmlns:p14="http://schemas.microsoft.com/office/powerpoint/2010/main" val="422087700"/>
              </p:ext>
            </p:extLst>
          </p:nvPr>
        </p:nvGraphicFramePr>
        <p:xfrm>
          <a:off x="3867150" y="1708150"/>
          <a:ext cx="1985963" cy="215423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3" name="Chart 42">
            <a:extLst>
              <a:ext uri="{FF2B5EF4-FFF2-40B4-BE49-F238E27FC236}">
                <a16:creationId xmlns:a16="http://schemas.microsoft.com/office/drawing/2014/main" id="{16714956-21E5-CAD3-09AE-B08320687CA4}"/>
              </a:ext>
            </a:extLst>
          </p:cNvPr>
          <p:cNvGraphicFramePr/>
          <p:nvPr>
            <p:custDataLst>
              <p:tags r:id="rId4"/>
            </p:custDataLst>
            <p:extLst>
              <p:ext uri="{D42A27DB-BD31-4B8C-83A1-F6EECF244321}">
                <p14:modId xmlns:p14="http://schemas.microsoft.com/office/powerpoint/2010/main" val="1850076446"/>
              </p:ext>
            </p:extLst>
          </p:nvPr>
        </p:nvGraphicFramePr>
        <p:xfrm>
          <a:off x="6926263" y="1708150"/>
          <a:ext cx="1985962" cy="2154238"/>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7" name="Chart 46">
            <a:extLst>
              <a:ext uri="{FF2B5EF4-FFF2-40B4-BE49-F238E27FC236}">
                <a16:creationId xmlns:a16="http://schemas.microsoft.com/office/drawing/2014/main" id="{7F6AF23C-F60A-F831-AD26-64704010E620}"/>
              </a:ext>
            </a:extLst>
          </p:cNvPr>
          <p:cNvGraphicFramePr/>
          <p:nvPr>
            <p:custDataLst>
              <p:tags r:id="rId5"/>
            </p:custDataLst>
            <p:extLst>
              <p:ext uri="{D42A27DB-BD31-4B8C-83A1-F6EECF244321}">
                <p14:modId xmlns:p14="http://schemas.microsoft.com/office/powerpoint/2010/main" val="2925719807"/>
              </p:ext>
            </p:extLst>
          </p:nvPr>
        </p:nvGraphicFramePr>
        <p:xfrm>
          <a:off x="9745663" y="1708150"/>
          <a:ext cx="1985962" cy="2154238"/>
        </p:xfrm>
        <a:graphic>
          <a:graphicData uri="http://schemas.openxmlformats.org/drawingml/2006/chart">
            <c:chart xmlns:c="http://schemas.openxmlformats.org/drawingml/2006/chart" xmlns:r="http://schemas.openxmlformats.org/officeDocument/2006/relationships" r:id="rId14"/>
          </a:graphicData>
        </a:graphic>
      </p:graphicFrame>
      <p:sp>
        <p:nvSpPr>
          <p:cNvPr id="39" name="Oval 3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Tree>
    <p:extLst>
      <p:ext uri="{BB962C8B-B14F-4D97-AF65-F5344CB8AC3E}">
        <p14:creationId xmlns:p14="http://schemas.microsoft.com/office/powerpoint/2010/main" val="1879495093"/>
      </p:ext>
    </p:extLst>
  </p:cSld>
  <p:clrMapOvr>
    <a:masterClrMapping/>
  </p:clrMapOvr>
  <p:extLst>
    <p:ext uri="{6950BFC3-D8DA-4A85-94F7-54DA5524770B}">
      <p188:commentRel xmlns:p188="http://schemas.microsoft.com/office/powerpoint/2018/8/main" r:id="rId8"/>
    </p:ext>
  </p:extLs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5F21A0-29F8-4A92-A734-4D66C190B85A}"/>
              </a:ext>
            </a:extLst>
          </p:cNvPr>
          <p:cNvGraphicFramePr>
            <a:graphicFrameLocks noChangeAspect="1"/>
          </p:cNvGraphicFramePr>
          <p:nvPr>
            <p:custDataLst>
              <p:tags r:id="rId1"/>
            </p:custDataLst>
            <p:extLst>
              <p:ext uri="{D42A27DB-BD31-4B8C-83A1-F6EECF244321}">
                <p14:modId xmlns:p14="http://schemas.microsoft.com/office/powerpoint/2010/main" val="447469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2" imgW="425" imgH="424" progId="TCLayout.ActiveDocument.1">
                  <p:embed/>
                </p:oleObj>
              </mc:Choice>
              <mc:Fallback>
                <p:oleObj name="think-cell Slide" r:id="rId82" imgW="425" imgH="424" progId="TCLayout.ActiveDocument.1">
                  <p:embed/>
                  <p:pic>
                    <p:nvPicPr>
                      <p:cNvPr id="15" name="Object 14" hidden="1">
                        <a:extLst>
                          <a:ext uri="{FF2B5EF4-FFF2-40B4-BE49-F238E27FC236}">
                            <a16:creationId xmlns:a16="http://schemas.microsoft.com/office/drawing/2014/main" id="{DE5F21A0-29F8-4A92-A734-4D66C190B85A}"/>
                          </a:ext>
                        </a:extLst>
                      </p:cNvPr>
                      <p:cNvPicPr/>
                      <p:nvPr/>
                    </p:nvPicPr>
                    <p:blipFill>
                      <a:blip r:embed="rId83"/>
                      <a:stretch>
                        <a:fillRect/>
                      </a:stretch>
                    </p:blipFill>
                    <p:spPr>
                      <a:xfrm>
                        <a:off x="1588" y="1588"/>
                        <a:ext cx="1588" cy="1588"/>
                      </a:xfrm>
                      <a:prstGeom prst="rect">
                        <a:avLst/>
                      </a:prstGeom>
                    </p:spPr>
                  </p:pic>
                </p:oleObj>
              </mc:Fallback>
            </mc:AlternateContent>
          </a:graphicData>
        </a:graphic>
      </p:graphicFrame>
      <p:sp>
        <p:nvSpPr>
          <p:cNvPr id="918" name="Rectangle: Rounded Corners 917">
            <a:extLst>
              <a:ext uri="{FF2B5EF4-FFF2-40B4-BE49-F238E27FC236}">
                <a16:creationId xmlns:a16="http://schemas.microsoft.com/office/drawing/2014/main" id="{B77F8665-7247-6C67-558E-7822DF81C457}"/>
              </a:ext>
            </a:extLst>
          </p:cNvPr>
          <p:cNvSpPr/>
          <p:nvPr/>
        </p:nvSpPr>
        <p:spPr>
          <a:xfrm>
            <a:off x="4946650" y="3984625"/>
            <a:ext cx="2390775" cy="360363"/>
          </a:xfrm>
          <a:prstGeom prst="roundRect">
            <a:avLst/>
          </a:prstGeom>
          <a:solidFill>
            <a:srgbClr val="E1F4F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rgbClr val="7A7A7A"/>
                </a:solidFill>
                <a:highlight>
                  <a:srgbClr val="7A7A7A"/>
                </a:highlight>
                <a:latin typeface="Lato"/>
              </a:rPr>
              <a:t>XX</a:t>
            </a:r>
            <a:endParaRPr lang="en-US" sz="1200">
              <a:solidFill>
                <a:schemeClr val="tx1"/>
              </a:solidFill>
            </a:endParaRPr>
          </a:p>
        </p:txBody>
      </p:sp>
      <p:sp>
        <p:nvSpPr>
          <p:cNvPr id="907" name="Rectangle: Rounded Corners 906">
            <a:extLst>
              <a:ext uri="{FF2B5EF4-FFF2-40B4-BE49-F238E27FC236}">
                <a16:creationId xmlns:a16="http://schemas.microsoft.com/office/drawing/2014/main" id="{C1CE9912-E4DB-4E95-BFB7-646038701EAE}"/>
              </a:ext>
            </a:extLst>
          </p:cNvPr>
          <p:cNvSpPr/>
          <p:nvPr/>
        </p:nvSpPr>
        <p:spPr>
          <a:xfrm>
            <a:off x="1984375" y="3984625"/>
            <a:ext cx="2390775" cy="360363"/>
          </a:xfrm>
          <a:prstGeom prst="roundRect">
            <a:avLst/>
          </a:prstGeom>
          <a:solidFill>
            <a:srgbClr val="E1F4F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rgbClr val="7A7A7A"/>
                </a:solidFill>
                <a:highlight>
                  <a:srgbClr val="7A7A7A"/>
                </a:highlight>
                <a:latin typeface="Lato"/>
              </a:rPr>
              <a:t>XX</a:t>
            </a:r>
            <a:endParaRPr lang="en-US" sz="1200">
              <a:solidFill>
                <a:schemeClr val="tx1"/>
              </a:solidFill>
            </a:endParaRPr>
          </a:p>
        </p:txBody>
      </p:sp>
      <p:sp>
        <p:nvSpPr>
          <p:cNvPr id="876" name="Rectangle: Rounded Corners 875">
            <a:extLst>
              <a:ext uri="{FF2B5EF4-FFF2-40B4-BE49-F238E27FC236}">
                <a16:creationId xmlns:a16="http://schemas.microsoft.com/office/drawing/2014/main" id="{D33A7E41-D035-3583-B4ED-E8AF8F222571}"/>
              </a:ext>
            </a:extLst>
          </p:cNvPr>
          <p:cNvSpPr/>
          <p:nvPr/>
        </p:nvSpPr>
        <p:spPr>
          <a:xfrm>
            <a:off x="6435725" y="1739900"/>
            <a:ext cx="2390775" cy="360363"/>
          </a:xfrm>
          <a:prstGeom prst="roundRect">
            <a:avLst/>
          </a:prstGeom>
          <a:solidFill>
            <a:srgbClr val="E1F4F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rgbClr val="7A7A7A"/>
                </a:solidFill>
                <a:highlight>
                  <a:srgbClr val="7A7A7A"/>
                </a:highlight>
                <a:latin typeface="Lato"/>
              </a:rPr>
              <a:t>XX</a:t>
            </a:r>
            <a:endParaRPr lang="en-US" sz="1200">
              <a:solidFill>
                <a:schemeClr val="tx1"/>
              </a:solidFill>
            </a:endParaRPr>
          </a:p>
        </p:txBody>
      </p:sp>
      <p:sp>
        <p:nvSpPr>
          <p:cNvPr id="856" name="Rectangle: Rounded Corners 855">
            <a:extLst>
              <a:ext uri="{FF2B5EF4-FFF2-40B4-BE49-F238E27FC236}">
                <a16:creationId xmlns:a16="http://schemas.microsoft.com/office/drawing/2014/main" id="{910DD734-20CE-D708-F173-F53FF1C36587}"/>
              </a:ext>
            </a:extLst>
          </p:cNvPr>
          <p:cNvSpPr/>
          <p:nvPr/>
        </p:nvSpPr>
        <p:spPr>
          <a:xfrm>
            <a:off x="3474000" y="1739900"/>
            <a:ext cx="2390775" cy="360363"/>
          </a:xfrm>
          <a:prstGeom prst="roundRect">
            <a:avLst/>
          </a:prstGeom>
          <a:solidFill>
            <a:srgbClr val="E1F4F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rgbClr val="7A7A7A"/>
                </a:solidFill>
                <a:highlight>
                  <a:srgbClr val="7A7A7A"/>
                </a:highlight>
                <a:latin typeface="Lato"/>
              </a:rPr>
              <a:t>XX</a:t>
            </a:r>
            <a:endParaRPr lang="en-US" sz="1200">
              <a:solidFill>
                <a:schemeClr val="tx1"/>
              </a:solidFill>
            </a:endParaRPr>
          </a:p>
        </p:txBody>
      </p:sp>
      <p:sp>
        <p:nvSpPr>
          <p:cNvPr id="13" name="Text Placeholder 12">
            <a:extLst>
              <a:ext uri="{FF2B5EF4-FFF2-40B4-BE49-F238E27FC236}">
                <a16:creationId xmlns:a16="http://schemas.microsoft.com/office/drawing/2014/main" id="{C6BC35CD-8F84-0727-251B-2B8718207AEC}"/>
              </a:ext>
            </a:extLst>
          </p:cNvPr>
          <p:cNvSpPr>
            <a:spLocks noGrp="1"/>
          </p:cNvSpPr>
          <p:nvPr>
            <p:ph type="body" sz="quarter" idx="32"/>
          </p:nvPr>
        </p:nvSpPr>
        <p:spPr>
          <a:xfrm>
            <a:off x="381600" y="6474841"/>
            <a:ext cx="8601074" cy="110800"/>
          </a:xfrm>
        </p:spPr>
        <p:txBody>
          <a:bodyPr/>
          <a:lstStyle/>
          <a:p>
            <a:endParaRPr lang="en-GB"/>
          </a:p>
        </p:txBody>
      </p:sp>
      <p:sp>
        <p:nvSpPr>
          <p:cNvPr id="10" name="Text Placeholder 9">
            <a:extLst>
              <a:ext uri="{FF2B5EF4-FFF2-40B4-BE49-F238E27FC236}">
                <a16:creationId xmlns:a16="http://schemas.microsoft.com/office/drawing/2014/main" id="{119CA14E-EBB8-4B75-BFD0-9FDBFE144A01}"/>
              </a:ext>
            </a:extLst>
          </p:cNvPr>
          <p:cNvSpPr>
            <a:spLocks noGrp="1"/>
          </p:cNvSpPr>
          <p:nvPr>
            <p:ph type="body" sz="quarter" idx="28"/>
          </p:nvPr>
        </p:nvSpPr>
        <p:spPr>
          <a:xfrm>
            <a:off x="9591110" y="1422813"/>
            <a:ext cx="2335686" cy="184666"/>
          </a:xfrm>
        </p:spPr>
        <p:txBody>
          <a:bodyPr/>
          <a:lstStyle/>
          <a:p>
            <a:pPr marL="171450" indent="-171450">
              <a:buFont typeface="Arial" panose="020B0604020202020204" pitchFamily="34" charset="0"/>
              <a:buChar char="•"/>
            </a:pPr>
            <a:endParaRPr lang="en-GB"/>
          </a:p>
        </p:txBody>
      </p:sp>
      <p:sp>
        <p:nvSpPr>
          <p:cNvPr id="9" name="Text Placeholder 8">
            <a:extLst>
              <a:ext uri="{FF2B5EF4-FFF2-40B4-BE49-F238E27FC236}">
                <a16:creationId xmlns:a16="http://schemas.microsoft.com/office/drawing/2014/main" id="{79EC6D96-99B4-94FB-2BC7-B1BF576D838E}"/>
              </a:ext>
            </a:extLst>
          </p:cNvPr>
          <p:cNvSpPr>
            <a:spLocks noGrp="1"/>
          </p:cNvSpPr>
          <p:nvPr>
            <p:ph type="body" sz="quarter" idx="22"/>
          </p:nvPr>
        </p:nvSpPr>
        <p:spPr>
          <a:xfrm>
            <a:off x="381001" y="6715169"/>
            <a:ext cx="1455527" cy="110800"/>
          </a:xfrm>
        </p:spPr>
        <p:txBody>
          <a:bodyPr/>
          <a:lstStyle/>
          <a:p>
            <a:r>
              <a:rPr lang="en-US"/>
              <a:t>Source: Aurora Energy Research</a:t>
            </a:r>
          </a:p>
        </p:txBody>
      </p:sp>
      <p:sp>
        <p:nvSpPr>
          <p:cNvPr id="7" name="Title 6">
            <a:extLst>
              <a:ext uri="{FF2B5EF4-FFF2-40B4-BE49-F238E27FC236}">
                <a16:creationId xmlns:a16="http://schemas.microsoft.com/office/drawing/2014/main" id="{BABDFDD4-7F85-4824-88D1-CBFD923B9026}"/>
              </a:ext>
            </a:extLst>
          </p:cNvPr>
          <p:cNvSpPr>
            <a:spLocks noGrp="1"/>
          </p:cNvSpPr>
          <p:nvPr>
            <p:ph type="title"/>
          </p:nvPr>
        </p:nvSpPr>
        <p:spPr>
          <a:xfrm>
            <a:off x="1062001" y="411856"/>
            <a:ext cx="7919468" cy="609398"/>
          </a:xfrm>
        </p:spPr>
        <p:txBody>
          <a:bodyPr vert="horz">
            <a:normAutofit/>
          </a:bodyPr>
          <a:lstStyle/>
          <a:p>
            <a:r>
              <a:rPr lang="en-GB">
                <a:solidFill>
                  <a:schemeClr val="tx1"/>
                </a:solidFill>
                <a:latin typeface="Lato"/>
              </a:rPr>
              <a:t>Batteries co-located with AC-coupled solar PV can have significantly higher IRR than standalone</a:t>
            </a:r>
            <a:endParaRPr lang="en-IN">
              <a:solidFill>
                <a:schemeClr val="tx1"/>
              </a:solidFill>
            </a:endParaRPr>
          </a:p>
        </p:txBody>
      </p:sp>
      <p:sp>
        <p:nvSpPr>
          <p:cNvPr id="3" name="Rectangle 2" hidden="1"/>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89" name="Rectangle: Rounded Corners 788">
            <a:extLst>
              <a:ext uri="{FF2B5EF4-FFF2-40B4-BE49-F238E27FC236}">
                <a16:creationId xmlns:a16="http://schemas.microsoft.com/office/drawing/2014/main" id="{3F0C851A-2586-5D7A-E3B3-E35554F4CFC0}"/>
              </a:ext>
            </a:extLst>
          </p:cNvPr>
          <p:cNvSpPr/>
          <p:nvPr/>
        </p:nvSpPr>
        <p:spPr>
          <a:xfrm>
            <a:off x="511175" y="1740262"/>
            <a:ext cx="2390775" cy="360000"/>
          </a:xfrm>
          <a:prstGeom prst="roundRect">
            <a:avLst/>
          </a:prstGeom>
          <a:solidFill>
            <a:srgbClr val="E1F4F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rgbClr val="7A7A7A"/>
                </a:solidFill>
                <a:highlight>
                  <a:srgbClr val="7A7A7A"/>
                </a:highlight>
                <a:latin typeface="Lato"/>
              </a:rPr>
              <a:t>XX</a:t>
            </a:r>
            <a:endParaRPr lang="en-US" sz="1200">
              <a:solidFill>
                <a:schemeClr val="tx1"/>
              </a:solidFill>
            </a:endParaRPr>
          </a:p>
        </p:txBody>
      </p:sp>
      <p:sp>
        <p:nvSpPr>
          <p:cNvPr id="768" name="Diamond 767">
            <a:extLst>
              <a:ext uri="{FF2B5EF4-FFF2-40B4-BE49-F238E27FC236}">
                <a16:creationId xmlns:a16="http://schemas.microsoft.com/office/drawing/2014/main" id="{769CDDEE-8131-96ED-CC4D-53AB3730BE31}"/>
              </a:ext>
            </a:extLst>
          </p:cNvPr>
          <p:cNvSpPr/>
          <p:nvPr/>
        </p:nvSpPr>
        <p:spPr>
          <a:xfrm>
            <a:off x="363378" y="411856"/>
            <a:ext cx="540000" cy="5400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b="1">
                <a:solidFill>
                  <a:schemeClr val="tx1"/>
                </a:solidFill>
              </a:rPr>
              <a:t>2</a:t>
            </a:r>
          </a:p>
        </p:txBody>
      </p:sp>
      <p:sp>
        <p:nvSpPr>
          <p:cNvPr id="4" name="Text Placeholder 18">
            <a:extLst>
              <a:ext uri="{FF2B5EF4-FFF2-40B4-BE49-F238E27FC236}">
                <a16:creationId xmlns:a16="http://schemas.microsoft.com/office/drawing/2014/main" id="{E38F2BF2-C286-8E9B-44B6-03DFB9E8F438}"/>
              </a:ext>
            </a:extLst>
          </p:cNvPr>
          <p:cNvSpPr txBox="1">
            <a:spLocks/>
          </p:cNvSpPr>
          <p:nvPr/>
        </p:nvSpPr>
        <p:spPr>
          <a:xfrm>
            <a:off x="374850" y="1314315"/>
            <a:ext cx="7848600"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Project Internal Rate of Return</a:t>
            </a:r>
            <a:r>
              <a:rPr lang="en-GB" sz="1200" b="1" baseline="30000">
                <a:solidFill>
                  <a:schemeClr val="tx1"/>
                </a:solidFill>
              </a:rPr>
              <a:t>1  </a:t>
            </a:r>
            <a:r>
              <a:rPr lang="en-GB"/>
              <a:t>(real and unlevered, Battery COD 2027)</a:t>
            </a:r>
          </a:p>
          <a:p>
            <a:r>
              <a:rPr lang="en-GB">
                <a:solidFill>
                  <a:srgbClr val="838383"/>
                </a:solidFill>
              </a:rPr>
              <a:t>%</a:t>
            </a:r>
            <a:endParaRPr lang="en-GB" b="0">
              <a:solidFill>
                <a:srgbClr val="838383"/>
              </a:solidFill>
            </a:endParaRPr>
          </a:p>
        </p:txBody>
      </p:sp>
      <p:sp>
        <p:nvSpPr>
          <p:cNvPr id="11" name="Text Placeholder 6">
            <a:extLst>
              <a:ext uri="{FF2B5EF4-FFF2-40B4-BE49-F238E27FC236}">
                <a16:creationId xmlns:a16="http://schemas.microsoft.com/office/drawing/2014/main" id="{BE474E55-4B2A-B015-F4C0-E23B7C3D2F9D}"/>
              </a:ext>
            </a:extLst>
          </p:cNvPr>
          <p:cNvSpPr txBox="1">
            <a:spLocks/>
          </p:cNvSpPr>
          <p:nvPr/>
        </p:nvSpPr>
        <p:spPr>
          <a:xfrm>
            <a:off x="381599" y="79401"/>
            <a:ext cx="1468672"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roject economics</a:t>
            </a:r>
          </a:p>
        </p:txBody>
      </p:sp>
      <p:sp>
        <p:nvSpPr>
          <p:cNvPr id="12" name="Oval 11">
            <a:extLst>
              <a:ext uri="{FF2B5EF4-FFF2-40B4-BE49-F238E27FC236}">
                <a16:creationId xmlns:a16="http://schemas.microsoft.com/office/drawing/2014/main" id="{7BC7767F-3B75-2AC1-39A0-0A01E87654A3}"/>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21" name="Text Placeholder 16">
            <a:extLst>
              <a:ext uri="{FF2B5EF4-FFF2-40B4-BE49-F238E27FC236}">
                <a16:creationId xmlns:a16="http://schemas.microsoft.com/office/drawing/2014/main" id="{29085040-2B4C-0B40-032F-EB4335BC8EC2}"/>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graphicFrame>
        <p:nvGraphicFramePr>
          <p:cNvPr id="955" name="Chart 954">
            <a:extLst>
              <a:ext uri="{FF2B5EF4-FFF2-40B4-BE49-F238E27FC236}">
                <a16:creationId xmlns:a16="http://schemas.microsoft.com/office/drawing/2014/main" id="{7E80415B-F2D8-89E9-F9A4-716377AC872B}"/>
              </a:ext>
            </a:extLst>
          </p:cNvPr>
          <p:cNvGraphicFramePr/>
          <p:nvPr>
            <p:custDataLst>
              <p:tags r:id="rId3"/>
            </p:custDataLst>
            <p:extLst>
              <p:ext uri="{D42A27DB-BD31-4B8C-83A1-F6EECF244321}">
                <p14:modId xmlns:p14="http://schemas.microsoft.com/office/powerpoint/2010/main" val="1484659099"/>
              </p:ext>
            </p:extLst>
          </p:nvPr>
        </p:nvGraphicFramePr>
        <p:xfrm>
          <a:off x="285750" y="2371725"/>
          <a:ext cx="2841625" cy="1341438"/>
        </p:xfrm>
        <a:graphic>
          <a:graphicData uri="http://schemas.openxmlformats.org/drawingml/2006/chart">
            <c:chart xmlns:c="http://schemas.openxmlformats.org/drawingml/2006/chart" xmlns:r="http://schemas.openxmlformats.org/officeDocument/2006/relationships" r:id="rId84"/>
          </a:graphicData>
        </a:graphic>
      </p:graphicFrame>
      <p:cxnSp>
        <p:nvCxnSpPr>
          <p:cNvPr id="951" name="Straight Connector 950">
            <a:extLst>
              <a:ext uri="{FF2B5EF4-FFF2-40B4-BE49-F238E27FC236}">
                <a16:creationId xmlns:a16="http://schemas.microsoft.com/office/drawing/2014/main" id="{814117F5-4FDC-5589-26B7-2BF6EC8DFF0E}"/>
              </a:ext>
            </a:extLst>
          </p:cNvPr>
          <p:cNvCxnSpPr/>
          <p:nvPr>
            <p:custDataLst>
              <p:tags r:id="rId4"/>
            </p:custDataLst>
          </p:nvPr>
        </p:nvCxnSpPr>
        <p:spPr bwMode="gray">
          <a:xfrm>
            <a:off x="1036638" y="2381250"/>
            <a:ext cx="0" cy="4445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489EE50A-E0C0-12B9-A235-0199FF89A302}"/>
              </a:ext>
            </a:extLst>
          </p:cNvPr>
          <p:cNvCxnSpPr/>
          <p:nvPr>
            <p:custDataLst>
              <p:tags r:id="rId5"/>
            </p:custDataLst>
          </p:nvPr>
        </p:nvCxnSpPr>
        <p:spPr bwMode="gray">
          <a:xfrm flipV="1">
            <a:off x="684213" y="2381250"/>
            <a:ext cx="0" cy="52546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7204584-1DF0-F840-F554-48A38CD483AE}"/>
              </a:ext>
            </a:extLst>
          </p:cNvPr>
          <p:cNvCxnSpPr/>
          <p:nvPr>
            <p:custDataLst>
              <p:tags r:id="rId6"/>
            </p:custDataLst>
          </p:nvPr>
        </p:nvCxnSpPr>
        <p:spPr bwMode="gray">
          <a:xfrm>
            <a:off x="684213" y="2381250"/>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939A32FC-C3A5-EDF5-5CA2-513DDE6AAB56}"/>
              </a:ext>
            </a:extLst>
          </p:cNvPr>
          <p:cNvCxnSpPr/>
          <p:nvPr>
            <p:custDataLst>
              <p:tags r:id="rId7"/>
            </p:custDataLst>
          </p:nvPr>
        </p:nvCxnSpPr>
        <p:spPr bwMode="gray">
          <a:xfrm>
            <a:off x="1389063" y="2381250"/>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7F1E9E5-5631-5966-C5AD-33E8DD56073D}"/>
              </a:ext>
            </a:extLst>
          </p:cNvPr>
          <p:cNvCxnSpPr/>
          <p:nvPr>
            <p:custDataLst>
              <p:tags r:id="rId8"/>
            </p:custDataLst>
          </p:nvPr>
        </p:nvCxnSpPr>
        <p:spPr bwMode="gray">
          <a:xfrm>
            <a:off x="2374900" y="2422525"/>
            <a:ext cx="0" cy="2905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BA85D8D8-4830-EC0D-FFE5-B200E9EE54DE}"/>
              </a:ext>
            </a:extLst>
          </p:cNvPr>
          <p:cNvCxnSpPr/>
          <p:nvPr>
            <p:custDataLst>
              <p:tags r:id="rId9"/>
            </p:custDataLst>
          </p:nvPr>
        </p:nvCxnSpPr>
        <p:spPr bwMode="gray">
          <a:xfrm flipV="1">
            <a:off x="2022475" y="2422525"/>
            <a:ext cx="0" cy="2698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B3A50B50-6DFA-0E7E-0212-2BEBD46165DF}"/>
              </a:ext>
            </a:extLst>
          </p:cNvPr>
          <p:cNvCxnSpPr/>
          <p:nvPr>
            <p:custDataLst>
              <p:tags r:id="rId10"/>
            </p:custDataLst>
          </p:nvPr>
        </p:nvCxnSpPr>
        <p:spPr bwMode="gray">
          <a:xfrm>
            <a:off x="2022475" y="2422525"/>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A569835A-AB60-14CA-16F5-596DC00D60A7}"/>
              </a:ext>
            </a:extLst>
          </p:cNvPr>
          <p:cNvCxnSpPr/>
          <p:nvPr>
            <p:custDataLst>
              <p:tags r:id="rId11"/>
            </p:custDataLst>
          </p:nvPr>
        </p:nvCxnSpPr>
        <p:spPr bwMode="gray">
          <a:xfrm>
            <a:off x="2727325" y="2422525"/>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Text Placeholder 19">
            <a:extLst>
              <a:ext uri="{FF2B5EF4-FFF2-40B4-BE49-F238E27FC236}">
                <a16:creationId xmlns:a16="http://schemas.microsoft.com/office/drawing/2014/main" id="{7621B20B-6F8E-9F4F-15F3-B6EA9F688C0C}"/>
              </a:ext>
            </a:extLst>
          </p:cNvPr>
          <p:cNvSpPr>
            <a:spLocks noGrp="1"/>
          </p:cNvSpPr>
          <p:nvPr>
            <p:custDataLst>
              <p:tags r:id="rId12"/>
            </p:custDataLst>
          </p:nvPr>
        </p:nvSpPr>
        <p:spPr bwMode="auto">
          <a:xfrm>
            <a:off x="958850" y="3673475"/>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BE87B641-EB9F-4B70-B132-B8C1D6E60F5B}" type="datetime'''''''''2''''h'''''''''''''''''''''">
              <a:rPr lang="en-US" altLang="en-US" sz="1000" smtClean="0">
                <a:ea typeface="+mn-ea"/>
                <a:cs typeface="+mn-cs"/>
              </a:rPr>
              <a:pPr lvl="0" algn="ctr">
                <a:spcBef>
                  <a:spcPct val="0"/>
                </a:spcBef>
                <a:spcAft>
                  <a:spcPct val="0"/>
                </a:spcAft>
              </a:pPr>
              <a:t>2h</a:t>
            </a:fld>
            <a:endParaRPr lang="en-US" sz="1000">
              <a:ea typeface="+mn-ea"/>
              <a:cs typeface="+mn-cs"/>
            </a:endParaRPr>
          </a:p>
        </p:txBody>
      </p:sp>
      <p:sp>
        <p:nvSpPr>
          <p:cNvPr id="30" name="Text Placeholder 19">
            <a:extLst>
              <a:ext uri="{FF2B5EF4-FFF2-40B4-BE49-F238E27FC236}">
                <a16:creationId xmlns:a16="http://schemas.microsoft.com/office/drawing/2014/main" id="{E3D9A1B0-F61F-481D-FACF-09F267639810}"/>
              </a:ext>
            </a:extLst>
          </p:cNvPr>
          <p:cNvSpPr>
            <a:spLocks noGrp="1"/>
          </p:cNvSpPr>
          <p:nvPr>
            <p:custDataLst>
              <p:tags r:id="rId13"/>
            </p:custDataLst>
          </p:nvPr>
        </p:nvSpPr>
        <p:spPr bwMode="auto">
          <a:xfrm>
            <a:off x="2297113" y="3673475"/>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BE0423A4-FAF1-4532-99B2-CBD5EAA005F9}" type="datetime'''''''''4h'''''''''''''''''''''''">
              <a:rPr lang="en-US" altLang="en-US" sz="1000" smtClean="0">
                <a:ea typeface="+mn-ea"/>
                <a:cs typeface="+mn-cs"/>
              </a:rPr>
              <a:pPr lvl="0" algn="ctr">
                <a:spcBef>
                  <a:spcPct val="0"/>
                </a:spcBef>
                <a:spcAft>
                  <a:spcPct val="0"/>
                </a:spcAft>
              </a:pPr>
              <a:t>4h</a:t>
            </a:fld>
            <a:endParaRPr lang="en-US" sz="1000">
              <a:ea typeface="+mn-ea"/>
              <a:cs typeface="+mn-cs"/>
            </a:endParaRPr>
          </a:p>
        </p:txBody>
      </p:sp>
      <p:sp>
        <p:nvSpPr>
          <p:cNvPr id="31" name="Text Placeholder 19">
            <a:extLst>
              <a:ext uri="{FF2B5EF4-FFF2-40B4-BE49-F238E27FC236}">
                <a16:creationId xmlns:a16="http://schemas.microsoft.com/office/drawing/2014/main" id="{BB2F0CD4-1F51-94E6-4A2A-BDB49099C592}"/>
              </a:ext>
            </a:extLst>
          </p:cNvPr>
          <p:cNvSpPr>
            <a:spLocks noGrp="1"/>
          </p:cNvSpPr>
          <p:nvPr>
            <p:custDataLst>
              <p:tags r:id="rId14"/>
            </p:custDataLst>
          </p:nvPr>
        </p:nvSpPr>
        <p:spPr bwMode="auto">
          <a:xfrm>
            <a:off x="674688" y="22733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32" name="Text Placeholder 19">
            <a:extLst>
              <a:ext uri="{FF2B5EF4-FFF2-40B4-BE49-F238E27FC236}">
                <a16:creationId xmlns:a16="http://schemas.microsoft.com/office/drawing/2014/main" id="{9D7C1983-E68A-343A-3D61-F587E0EA788A}"/>
              </a:ext>
            </a:extLst>
          </p:cNvPr>
          <p:cNvSpPr>
            <a:spLocks noGrp="1"/>
          </p:cNvSpPr>
          <p:nvPr>
            <p:custDataLst>
              <p:tags r:id="rId15"/>
            </p:custDataLst>
          </p:nvPr>
        </p:nvSpPr>
        <p:spPr bwMode="auto">
          <a:xfrm>
            <a:off x="1027113" y="22733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33" name="Text Placeholder 19">
            <a:extLst>
              <a:ext uri="{FF2B5EF4-FFF2-40B4-BE49-F238E27FC236}">
                <a16:creationId xmlns:a16="http://schemas.microsoft.com/office/drawing/2014/main" id="{2C3844B0-FD2B-11C8-6BB3-6BFF6F045B80}"/>
              </a:ext>
            </a:extLst>
          </p:cNvPr>
          <p:cNvSpPr>
            <a:spLocks noGrp="1"/>
          </p:cNvSpPr>
          <p:nvPr>
            <p:custDataLst>
              <p:tags r:id="rId16"/>
            </p:custDataLst>
          </p:nvPr>
        </p:nvSpPr>
        <p:spPr bwMode="auto">
          <a:xfrm>
            <a:off x="2012950" y="2314575"/>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34" name="Text Placeholder 19">
            <a:extLst>
              <a:ext uri="{FF2B5EF4-FFF2-40B4-BE49-F238E27FC236}">
                <a16:creationId xmlns:a16="http://schemas.microsoft.com/office/drawing/2014/main" id="{87E16C40-1B2B-189B-D4B5-6EEFCF73A9CA}"/>
              </a:ext>
            </a:extLst>
          </p:cNvPr>
          <p:cNvSpPr>
            <a:spLocks noGrp="1"/>
          </p:cNvSpPr>
          <p:nvPr>
            <p:custDataLst>
              <p:tags r:id="rId17"/>
            </p:custDataLst>
          </p:nvPr>
        </p:nvSpPr>
        <p:spPr bwMode="auto">
          <a:xfrm>
            <a:off x="2365375" y="2314575"/>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36" name="Rectangle 35">
            <a:extLst>
              <a:ext uri="{FF2B5EF4-FFF2-40B4-BE49-F238E27FC236}">
                <a16:creationId xmlns:a16="http://schemas.microsoft.com/office/drawing/2014/main" id="{A0FD187B-1C39-021C-8708-2FDC06D37C51}"/>
              </a:ext>
            </a:extLst>
          </p:cNvPr>
          <p:cNvSpPr/>
          <p:nvPr>
            <p:custDataLst>
              <p:tags r:id="rId18"/>
            </p:custDataLst>
          </p:nvPr>
        </p:nvSpPr>
        <p:spPr bwMode="auto">
          <a:xfrm>
            <a:off x="431800" y="6253163"/>
            <a:ext cx="179388" cy="133350"/>
          </a:xfrm>
          <a:prstGeom prst="rect">
            <a:avLst/>
          </a:prstGeom>
          <a:solidFill>
            <a:schemeClr val="accent4"/>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err="1">
              <a:solidFill>
                <a:schemeClr val="tx1"/>
              </a:solidFill>
            </a:endParaRPr>
          </a:p>
        </p:txBody>
      </p:sp>
      <p:sp>
        <p:nvSpPr>
          <p:cNvPr id="37" name="Rectangle 36">
            <a:extLst>
              <a:ext uri="{FF2B5EF4-FFF2-40B4-BE49-F238E27FC236}">
                <a16:creationId xmlns:a16="http://schemas.microsoft.com/office/drawing/2014/main" id="{0E0AACD4-EFD8-09A7-0643-3A634EA7599E}"/>
              </a:ext>
            </a:extLst>
          </p:cNvPr>
          <p:cNvSpPr/>
          <p:nvPr>
            <p:custDataLst>
              <p:tags r:id="rId19"/>
            </p:custDataLst>
          </p:nvPr>
        </p:nvSpPr>
        <p:spPr bwMode="auto">
          <a:xfrm>
            <a:off x="2678113" y="6253163"/>
            <a:ext cx="179388" cy="133350"/>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err="1">
              <a:solidFill>
                <a:schemeClr val="tx1"/>
              </a:solidFill>
            </a:endParaRPr>
          </a:p>
        </p:txBody>
      </p:sp>
      <p:sp>
        <p:nvSpPr>
          <p:cNvPr id="38" name="Rectangle 37">
            <a:extLst>
              <a:ext uri="{FF2B5EF4-FFF2-40B4-BE49-F238E27FC236}">
                <a16:creationId xmlns:a16="http://schemas.microsoft.com/office/drawing/2014/main" id="{76365C02-1DEC-81E1-3165-3C0CF9ECBF71}"/>
              </a:ext>
            </a:extLst>
          </p:cNvPr>
          <p:cNvSpPr/>
          <p:nvPr>
            <p:custDataLst>
              <p:tags r:id="rId20"/>
            </p:custDataLst>
          </p:nvPr>
        </p:nvSpPr>
        <p:spPr bwMode="auto">
          <a:xfrm>
            <a:off x="4760913" y="6253163"/>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err="1">
              <a:solidFill>
                <a:schemeClr val="tx1"/>
              </a:solidFill>
            </a:endParaRPr>
          </a:p>
        </p:txBody>
      </p:sp>
      <p:sp>
        <p:nvSpPr>
          <p:cNvPr id="41" name="Text Placeholder 19">
            <a:extLst>
              <a:ext uri="{FF2B5EF4-FFF2-40B4-BE49-F238E27FC236}">
                <a16:creationId xmlns:a16="http://schemas.microsoft.com/office/drawing/2014/main" id="{DE8B41DF-1817-CD00-8AFD-D27E87FD9D76}"/>
              </a:ext>
            </a:extLst>
          </p:cNvPr>
          <p:cNvSpPr>
            <a:spLocks noGrp="1"/>
          </p:cNvSpPr>
          <p:nvPr>
            <p:custDataLst>
              <p:tags r:id="rId21"/>
            </p:custDataLst>
          </p:nvPr>
        </p:nvSpPr>
        <p:spPr bwMode="auto">
          <a:xfrm>
            <a:off x="661988" y="6248400"/>
            <a:ext cx="1914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7DB41CF-1023-4642-B5CF-F2BC6839726B}" type="datetime'St''an''''da''''l''one batte''''r''y, no'''' ''re''powerin''g'">
              <a:rPr lang="en-US" altLang="en-US" sz="1000" smtClean="0">
                <a:ea typeface="+mn-ea"/>
                <a:cs typeface="+mn-cs"/>
              </a:rPr>
              <a:pPr lvl="0">
                <a:spcBef>
                  <a:spcPct val="0"/>
                </a:spcBef>
                <a:spcAft>
                  <a:spcPct val="0"/>
                </a:spcAft>
              </a:pPr>
              <a:t>Standalone battery, no repowering</a:t>
            </a:fld>
            <a:endParaRPr lang="en-US" sz="1000">
              <a:ea typeface="+mn-ea"/>
              <a:cs typeface="+mn-cs"/>
            </a:endParaRPr>
          </a:p>
        </p:txBody>
      </p:sp>
      <p:sp>
        <p:nvSpPr>
          <p:cNvPr id="42" name="Text Placeholder 19">
            <a:extLst>
              <a:ext uri="{FF2B5EF4-FFF2-40B4-BE49-F238E27FC236}">
                <a16:creationId xmlns:a16="http://schemas.microsoft.com/office/drawing/2014/main" id="{6D921314-2BA2-2521-AE54-C0A2634D5CCE}"/>
              </a:ext>
            </a:extLst>
          </p:cNvPr>
          <p:cNvSpPr>
            <a:spLocks noGrp="1"/>
          </p:cNvSpPr>
          <p:nvPr>
            <p:custDataLst>
              <p:tags r:id="rId22"/>
            </p:custDataLst>
          </p:nvPr>
        </p:nvSpPr>
        <p:spPr bwMode="auto">
          <a:xfrm>
            <a:off x="2908300" y="6248400"/>
            <a:ext cx="17510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56D5732B-AE46-4B5D-B838-B4E967525460}" type="datetime'''St''andalon''''e'' ''batte''r''y'','' r''ep''owe''rin''g'''">
              <a:rPr lang="en-US" altLang="en-US" sz="1000" smtClean="0">
                <a:ea typeface="+mn-ea"/>
                <a:cs typeface="+mn-cs"/>
              </a:rPr>
              <a:pPr lvl="0">
                <a:spcBef>
                  <a:spcPct val="0"/>
                </a:spcBef>
                <a:spcAft>
                  <a:spcPct val="0"/>
                </a:spcAft>
              </a:pPr>
              <a:t>Standalone battery, repowering</a:t>
            </a:fld>
            <a:endParaRPr lang="en-US" sz="1000">
              <a:ea typeface="+mn-ea"/>
              <a:cs typeface="+mn-cs"/>
            </a:endParaRPr>
          </a:p>
        </p:txBody>
      </p:sp>
      <p:sp>
        <p:nvSpPr>
          <p:cNvPr id="45" name="Text Placeholder 19">
            <a:extLst>
              <a:ext uri="{FF2B5EF4-FFF2-40B4-BE49-F238E27FC236}">
                <a16:creationId xmlns:a16="http://schemas.microsoft.com/office/drawing/2014/main" id="{8839F981-60D5-4972-5421-B69226CDD560}"/>
              </a:ext>
            </a:extLst>
          </p:cNvPr>
          <p:cNvSpPr>
            <a:spLocks noGrp="1"/>
          </p:cNvSpPr>
          <p:nvPr>
            <p:custDataLst>
              <p:tags r:id="rId23"/>
            </p:custDataLst>
          </p:nvPr>
        </p:nvSpPr>
        <p:spPr bwMode="auto">
          <a:xfrm>
            <a:off x="4991100" y="6248400"/>
            <a:ext cx="2990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927E35B6-E0AC-4891-81B7-FD3E9EE72BDE}" type="datetime'Battery Co''-located solar PV (AC-c''oup''led), repowerin''g'">
              <a:rPr lang="en-US" altLang="en-US" sz="1000" smtClean="0">
                <a:ea typeface="+mn-ea"/>
                <a:cs typeface="+mn-cs"/>
              </a:rPr>
              <a:pPr lvl="0">
                <a:spcBef>
                  <a:spcPct val="0"/>
                </a:spcBef>
                <a:spcAft>
                  <a:spcPct val="0"/>
                </a:spcAft>
              </a:pPr>
              <a:t>Battery Co-located solar PV (AC-coupled), repowering</a:t>
            </a:fld>
            <a:endParaRPr lang="en-US" sz="1000">
              <a:ea typeface="+mn-ea"/>
              <a:cs typeface="+mn-cs"/>
            </a:endParaRPr>
          </a:p>
        </p:txBody>
      </p:sp>
      <p:graphicFrame>
        <p:nvGraphicFramePr>
          <p:cNvPr id="769" name="Chart 768">
            <a:extLst>
              <a:ext uri="{FF2B5EF4-FFF2-40B4-BE49-F238E27FC236}">
                <a16:creationId xmlns:a16="http://schemas.microsoft.com/office/drawing/2014/main" id="{A5A3E537-3807-B09B-761C-5AC4D48C2A47}"/>
              </a:ext>
            </a:extLst>
          </p:cNvPr>
          <p:cNvGraphicFramePr/>
          <p:nvPr>
            <p:custDataLst>
              <p:tags r:id="rId24"/>
            </p:custDataLst>
            <p:extLst>
              <p:ext uri="{D42A27DB-BD31-4B8C-83A1-F6EECF244321}">
                <p14:modId xmlns:p14="http://schemas.microsoft.com/office/powerpoint/2010/main" val="2978014421"/>
              </p:ext>
            </p:extLst>
          </p:nvPr>
        </p:nvGraphicFramePr>
        <p:xfrm>
          <a:off x="3257550" y="2371725"/>
          <a:ext cx="2841625" cy="1341438"/>
        </p:xfrm>
        <a:graphic>
          <a:graphicData uri="http://schemas.openxmlformats.org/drawingml/2006/chart">
            <c:chart xmlns:c="http://schemas.openxmlformats.org/drawingml/2006/chart" xmlns:r="http://schemas.openxmlformats.org/officeDocument/2006/relationships" r:id="rId85"/>
          </a:graphicData>
        </a:graphic>
      </p:graphicFrame>
      <p:cxnSp>
        <p:nvCxnSpPr>
          <p:cNvPr id="48" name="Straight Connector 47">
            <a:extLst>
              <a:ext uri="{FF2B5EF4-FFF2-40B4-BE49-F238E27FC236}">
                <a16:creationId xmlns:a16="http://schemas.microsoft.com/office/drawing/2014/main" id="{30D671E3-B307-FFD9-F177-4A04F517D3A2}"/>
              </a:ext>
            </a:extLst>
          </p:cNvPr>
          <p:cNvCxnSpPr/>
          <p:nvPr>
            <p:custDataLst>
              <p:tags r:id="rId25"/>
            </p:custDataLst>
          </p:nvPr>
        </p:nvCxnSpPr>
        <p:spPr bwMode="gray">
          <a:xfrm>
            <a:off x="4008438" y="2247900"/>
            <a:ext cx="0" cy="5270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BD01DF56-CCE5-F03B-23FA-E4681E21AFC8}"/>
              </a:ext>
            </a:extLst>
          </p:cNvPr>
          <p:cNvCxnSpPr/>
          <p:nvPr>
            <p:custDataLst>
              <p:tags r:id="rId26"/>
            </p:custDataLst>
          </p:nvPr>
        </p:nvCxnSpPr>
        <p:spPr bwMode="gray">
          <a:xfrm flipV="1">
            <a:off x="3656013" y="2247901"/>
            <a:ext cx="0" cy="6191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D499D4E7-3585-2257-A0AB-D54AB31BE508}"/>
              </a:ext>
            </a:extLst>
          </p:cNvPr>
          <p:cNvCxnSpPr/>
          <p:nvPr>
            <p:custDataLst>
              <p:tags r:id="rId27"/>
            </p:custDataLst>
          </p:nvPr>
        </p:nvCxnSpPr>
        <p:spPr bwMode="gray">
          <a:xfrm>
            <a:off x="3656013" y="2247900"/>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C4F4852-DD97-630B-E7E2-84F5CF77E355}"/>
              </a:ext>
            </a:extLst>
          </p:cNvPr>
          <p:cNvCxnSpPr/>
          <p:nvPr>
            <p:custDataLst>
              <p:tags r:id="rId28"/>
            </p:custDataLst>
          </p:nvPr>
        </p:nvCxnSpPr>
        <p:spPr bwMode="gray">
          <a:xfrm>
            <a:off x="4360863" y="2247900"/>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FD36320A-EB0A-86B2-A31B-BD5BDDCA98D1}"/>
              </a:ext>
            </a:extLst>
          </p:cNvPr>
          <p:cNvCxnSpPr/>
          <p:nvPr>
            <p:custDataLst>
              <p:tags r:id="rId29"/>
            </p:custDataLst>
          </p:nvPr>
        </p:nvCxnSpPr>
        <p:spPr bwMode="gray">
          <a:xfrm>
            <a:off x="5346700" y="2309813"/>
            <a:ext cx="0" cy="3730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13D7A4BE-2C43-B48C-D491-EA06D9A1B88B}"/>
              </a:ext>
            </a:extLst>
          </p:cNvPr>
          <p:cNvCxnSpPr/>
          <p:nvPr>
            <p:custDataLst>
              <p:tags r:id="rId30"/>
            </p:custDataLst>
          </p:nvPr>
        </p:nvCxnSpPr>
        <p:spPr bwMode="gray">
          <a:xfrm flipV="1">
            <a:off x="4994275" y="2309813"/>
            <a:ext cx="0" cy="38258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7F2E116-DB06-090A-33FB-65BF83C624EC}"/>
              </a:ext>
            </a:extLst>
          </p:cNvPr>
          <p:cNvCxnSpPr/>
          <p:nvPr>
            <p:custDataLst>
              <p:tags r:id="rId31"/>
            </p:custDataLst>
          </p:nvPr>
        </p:nvCxnSpPr>
        <p:spPr bwMode="gray">
          <a:xfrm>
            <a:off x="4994275" y="2309813"/>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41E5BB09-B0FE-8ACC-9A81-3BBB6F6512BE}"/>
              </a:ext>
            </a:extLst>
          </p:cNvPr>
          <p:cNvCxnSpPr/>
          <p:nvPr>
            <p:custDataLst>
              <p:tags r:id="rId32"/>
            </p:custDataLst>
          </p:nvPr>
        </p:nvCxnSpPr>
        <p:spPr bwMode="gray">
          <a:xfrm>
            <a:off x="5699125" y="2309813"/>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6" name="Text Placeholder 19">
            <a:extLst>
              <a:ext uri="{FF2B5EF4-FFF2-40B4-BE49-F238E27FC236}">
                <a16:creationId xmlns:a16="http://schemas.microsoft.com/office/drawing/2014/main" id="{F14E5168-EFF0-218A-AA4A-40DAC35B306A}"/>
              </a:ext>
            </a:extLst>
          </p:cNvPr>
          <p:cNvSpPr>
            <a:spLocks noGrp="1"/>
          </p:cNvSpPr>
          <p:nvPr>
            <p:custDataLst>
              <p:tags r:id="rId33"/>
            </p:custDataLst>
          </p:nvPr>
        </p:nvSpPr>
        <p:spPr bwMode="auto">
          <a:xfrm>
            <a:off x="3930651" y="3673475"/>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C8F1534E-3760-4F47-8572-E16C17045BBA}" type="datetime'''''''''''''''''''''''''''''''''''''''''2''''''h'''''''''">
              <a:rPr lang="en-US" altLang="en-US" sz="1000" smtClean="0">
                <a:ea typeface="+mn-ea"/>
                <a:cs typeface="+mn-cs"/>
              </a:rPr>
              <a:pPr lvl="0" algn="ctr">
                <a:spcBef>
                  <a:spcPct val="0"/>
                </a:spcBef>
                <a:spcAft>
                  <a:spcPct val="0"/>
                </a:spcAft>
              </a:pPr>
              <a:t>2h</a:t>
            </a:fld>
            <a:endParaRPr lang="en-US" sz="1000">
              <a:ea typeface="+mn-ea"/>
              <a:cs typeface="+mn-cs"/>
            </a:endParaRPr>
          </a:p>
        </p:txBody>
      </p:sp>
      <p:sp>
        <p:nvSpPr>
          <p:cNvPr id="57" name="Text Placeholder 19">
            <a:extLst>
              <a:ext uri="{FF2B5EF4-FFF2-40B4-BE49-F238E27FC236}">
                <a16:creationId xmlns:a16="http://schemas.microsoft.com/office/drawing/2014/main" id="{553406A7-4540-CF87-BD59-F5F5F6E3EA03}"/>
              </a:ext>
            </a:extLst>
          </p:cNvPr>
          <p:cNvSpPr>
            <a:spLocks noGrp="1"/>
          </p:cNvSpPr>
          <p:nvPr>
            <p:custDataLst>
              <p:tags r:id="rId34"/>
            </p:custDataLst>
          </p:nvPr>
        </p:nvSpPr>
        <p:spPr bwMode="auto">
          <a:xfrm>
            <a:off x="5268914" y="3673475"/>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5270770-0852-4D66-98D2-C0DE1B876BC1}" type="datetime'''''4''''''''''''''''''''''''''''''h'''''''''">
              <a:rPr lang="en-US" altLang="en-US" sz="1000" smtClean="0">
                <a:ea typeface="+mn-ea"/>
                <a:cs typeface="+mn-cs"/>
              </a:rPr>
              <a:pPr lvl="0" algn="ctr">
                <a:spcBef>
                  <a:spcPct val="0"/>
                </a:spcBef>
                <a:spcAft>
                  <a:spcPct val="0"/>
                </a:spcAft>
              </a:pPr>
              <a:t>4h</a:t>
            </a:fld>
            <a:endParaRPr lang="en-US" sz="1000">
              <a:ea typeface="+mn-ea"/>
              <a:cs typeface="+mn-cs"/>
            </a:endParaRPr>
          </a:p>
        </p:txBody>
      </p:sp>
      <p:sp>
        <p:nvSpPr>
          <p:cNvPr id="58" name="Text Placeholder 19">
            <a:extLst>
              <a:ext uri="{FF2B5EF4-FFF2-40B4-BE49-F238E27FC236}">
                <a16:creationId xmlns:a16="http://schemas.microsoft.com/office/drawing/2014/main" id="{8F301BE1-98AA-9250-E06C-DEFF54FE1E75}"/>
              </a:ext>
            </a:extLst>
          </p:cNvPr>
          <p:cNvSpPr>
            <a:spLocks noGrp="1"/>
          </p:cNvSpPr>
          <p:nvPr>
            <p:custDataLst>
              <p:tags r:id="rId35"/>
            </p:custDataLst>
          </p:nvPr>
        </p:nvSpPr>
        <p:spPr bwMode="auto">
          <a:xfrm>
            <a:off x="3646488" y="213995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59" name="Text Placeholder 19">
            <a:extLst>
              <a:ext uri="{FF2B5EF4-FFF2-40B4-BE49-F238E27FC236}">
                <a16:creationId xmlns:a16="http://schemas.microsoft.com/office/drawing/2014/main" id="{53F7128B-DF34-4A99-1E5E-8EEED01EACD0}"/>
              </a:ext>
            </a:extLst>
          </p:cNvPr>
          <p:cNvSpPr>
            <a:spLocks noGrp="1"/>
          </p:cNvSpPr>
          <p:nvPr>
            <p:custDataLst>
              <p:tags r:id="rId36"/>
            </p:custDataLst>
          </p:nvPr>
        </p:nvSpPr>
        <p:spPr bwMode="auto">
          <a:xfrm>
            <a:off x="3998913" y="213995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60" name="Text Placeholder 19">
            <a:extLst>
              <a:ext uri="{FF2B5EF4-FFF2-40B4-BE49-F238E27FC236}">
                <a16:creationId xmlns:a16="http://schemas.microsoft.com/office/drawing/2014/main" id="{4EE77B2E-2BDB-D535-AB4F-CEFE32F086FC}"/>
              </a:ext>
            </a:extLst>
          </p:cNvPr>
          <p:cNvSpPr>
            <a:spLocks noGrp="1"/>
          </p:cNvSpPr>
          <p:nvPr>
            <p:custDataLst>
              <p:tags r:id="rId37"/>
            </p:custDataLst>
          </p:nvPr>
        </p:nvSpPr>
        <p:spPr bwMode="auto">
          <a:xfrm>
            <a:off x="4984750" y="220186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61" name="Text Placeholder 19">
            <a:extLst>
              <a:ext uri="{FF2B5EF4-FFF2-40B4-BE49-F238E27FC236}">
                <a16:creationId xmlns:a16="http://schemas.microsoft.com/office/drawing/2014/main" id="{A24D5F17-B112-C05B-D032-0A94084B932C}"/>
              </a:ext>
            </a:extLst>
          </p:cNvPr>
          <p:cNvSpPr>
            <a:spLocks noGrp="1"/>
          </p:cNvSpPr>
          <p:nvPr>
            <p:custDataLst>
              <p:tags r:id="rId38"/>
            </p:custDataLst>
          </p:nvPr>
        </p:nvSpPr>
        <p:spPr bwMode="auto">
          <a:xfrm>
            <a:off x="5337175" y="220186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graphicFrame>
        <p:nvGraphicFramePr>
          <p:cNvPr id="770" name="Chart 769">
            <a:extLst>
              <a:ext uri="{FF2B5EF4-FFF2-40B4-BE49-F238E27FC236}">
                <a16:creationId xmlns:a16="http://schemas.microsoft.com/office/drawing/2014/main" id="{815E9CE8-C6BF-0C14-0814-381045B07C71}"/>
              </a:ext>
            </a:extLst>
          </p:cNvPr>
          <p:cNvGraphicFramePr/>
          <p:nvPr>
            <p:custDataLst>
              <p:tags r:id="rId39"/>
            </p:custDataLst>
            <p:extLst>
              <p:ext uri="{D42A27DB-BD31-4B8C-83A1-F6EECF244321}">
                <p14:modId xmlns:p14="http://schemas.microsoft.com/office/powerpoint/2010/main" val="4169811306"/>
              </p:ext>
            </p:extLst>
          </p:nvPr>
        </p:nvGraphicFramePr>
        <p:xfrm>
          <a:off x="6223000" y="2371725"/>
          <a:ext cx="2841625" cy="1341438"/>
        </p:xfrm>
        <a:graphic>
          <a:graphicData uri="http://schemas.openxmlformats.org/drawingml/2006/chart">
            <c:chart xmlns:c="http://schemas.openxmlformats.org/drawingml/2006/chart" xmlns:r="http://schemas.openxmlformats.org/officeDocument/2006/relationships" r:id="rId86"/>
          </a:graphicData>
        </a:graphic>
      </p:graphicFrame>
      <p:cxnSp>
        <p:nvCxnSpPr>
          <p:cNvPr id="63" name="Straight Connector 62">
            <a:extLst>
              <a:ext uri="{FF2B5EF4-FFF2-40B4-BE49-F238E27FC236}">
                <a16:creationId xmlns:a16="http://schemas.microsoft.com/office/drawing/2014/main" id="{5A564F71-C1F3-4D93-4D49-BEE25A94CA04}"/>
              </a:ext>
            </a:extLst>
          </p:cNvPr>
          <p:cNvCxnSpPr/>
          <p:nvPr>
            <p:custDataLst>
              <p:tags r:id="rId40"/>
            </p:custDataLst>
          </p:nvPr>
        </p:nvCxnSpPr>
        <p:spPr bwMode="gray">
          <a:xfrm flipV="1">
            <a:off x="6621463" y="2673350"/>
            <a:ext cx="0" cy="4889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6" name="Straight Connector 895">
            <a:extLst>
              <a:ext uri="{FF2B5EF4-FFF2-40B4-BE49-F238E27FC236}">
                <a16:creationId xmlns:a16="http://schemas.microsoft.com/office/drawing/2014/main" id="{552C8675-90ED-F442-6E45-8B7F7975D997}"/>
              </a:ext>
            </a:extLst>
          </p:cNvPr>
          <p:cNvCxnSpPr/>
          <p:nvPr>
            <p:custDataLst>
              <p:tags r:id="rId41"/>
            </p:custDataLst>
          </p:nvPr>
        </p:nvCxnSpPr>
        <p:spPr bwMode="gray">
          <a:xfrm>
            <a:off x="6621463" y="2673350"/>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7" name="Straight Connector 896">
            <a:extLst>
              <a:ext uri="{FF2B5EF4-FFF2-40B4-BE49-F238E27FC236}">
                <a16:creationId xmlns:a16="http://schemas.microsoft.com/office/drawing/2014/main" id="{AEC03565-6D95-5164-EC0F-8C4487C7A704}"/>
              </a:ext>
            </a:extLst>
          </p:cNvPr>
          <p:cNvCxnSpPr/>
          <p:nvPr>
            <p:custDataLst>
              <p:tags r:id="rId42"/>
            </p:custDataLst>
          </p:nvPr>
        </p:nvCxnSpPr>
        <p:spPr bwMode="gray">
          <a:xfrm>
            <a:off x="7326313" y="2673350"/>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98" name="Straight Connector 897">
            <a:extLst>
              <a:ext uri="{FF2B5EF4-FFF2-40B4-BE49-F238E27FC236}">
                <a16:creationId xmlns:a16="http://schemas.microsoft.com/office/drawing/2014/main" id="{A3C225EF-CC13-3475-BCFB-FF0758A997EC}"/>
              </a:ext>
            </a:extLst>
          </p:cNvPr>
          <p:cNvCxnSpPr/>
          <p:nvPr>
            <p:custDataLst>
              <p:tags r:id="rId43"/>
            </p:custDataLst>
          </p:nvPr>
        </p:nvCxnSpPr>
        <p:spPr bwMode="gray">
          <a:xfrm flipV="1">
            <a:off x="7959725" y="2703514"/>
            <a:ext cx="0" cy="5302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9" name="Straight Connector 898">
            <a:extLst>
              <a:ext uri="{FF2B5EF4-FFF2-40B4-BE49-F238E27FC236}">
                <a16:creationId xmlns:a16="http://schemas.microsoft.com/office/drawing/2014/main" id="{5BE4D5A3-0D2C-6263-CD37-818C818A7926}"/>
              </a:ext>
            </a:extLst>
          </p:cNvPr>
          <p:cNvCxnSpPr/>
          <p:nvPr>
            <p:custDataLst>
              <p:tags r:id="rId44"/>
            </p:custDataLst>
          </p:nvPr>
        </p:nvCxnSpPr>
        <p:spPr bwMode="gray">
          <a:xfrm>
            <a:off x="7959725" y="2703513"/>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0" name="Straight Connector 899">
            <a:extLst>
              <a:ext uri="{FF2B5EF4-FFF2-40B4-BE49-F238E27FC236}">
                <a16:creationId xmlns:a16="http://schemas.microsoft.com/office/drawing/2014/main" id="{01D38B1C-ACF6-54ED-DD43-D143637BC1B8}"/>
              </a:ext>
            </a:extLst>
          </p:cNvPr>
          <p:cNvCxnSpPr/>
          <p:nvPr>
            <p:custDataLst>
              <p:tags r:id="rId45"/>
            </p:custDataLst>
          </p:nvPr>
        </p:nvCxnSpPr>
        <p:spPr bwMode="gray">
          <a:xfrm>
            <a:off x="8664575" y="2703513"/>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01" name="Text Placeholder 19">
            <a:extLst>
              <a:ext uri="{FF2B5EF4-FFF2-40B4-BE49-F238E27FC236}">
                <a16:creationId xmlns:a16="http://schemas.microsoft.com/office/drawing/2014/main" id="{323F37CC-69E8-14E5-68B2-7A8527C2D86F}"/>
              </a:ext>
            </a:extLst>
          </p:cNvPr>
          <p:cNvSpPr>
            <a:spLocks noGrp="1"/>
          </p:cNvSpPr>
          <p:nvPr>
            <p:custDataLst>
              <p:tags r:id="rId46"/>
            </p:custDataLst>
          </p:nvPr>
        </p:nvSpPr>
        <p:spPr bwMode="auto">
          <a:xfrm>
            <a:off x="6896101" y="3673475"/>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D322DFB-97A5-4BB7-A8C0-7E6C034EA4A4}" type="datetime'''''''2''h'''''''''">
              <a:rPr lang="en-US" altLang="en-US" sz="1000" smtClean="0">
                <a:ea typeface="+mn-ea"/>
                <a:cs typeface="+mn-cs"/>
              </a:rPr>
              <a:pPr lvl="0" algn="ctr">
                <a:spcBef>
                  <a:spcPct val="0"/>
                </a:spcBef>
                <a:spcAft>
                  <a:spcPct val="0"/>
                </a:spcAft>
              </a:pPr>
              <a:t>2h</a:t>
            </a:fld>
            <a:endParaRPr lang="en-US" sz="1000">
              <a:ea typeface="+mn-ea"/>
              <a:cs typeface="+mn-cs"/>
            </a:endParaRPr>
          </a:p>
        </p:txBody>
      </p:sp>
      <p:sp>
        <p:nvSpPr>
          <p:cNvPr id="902" name="Text Placeholder 19">
            <a:extLst>
              <a:ext uri="{FF2B5EF4-FFF2-40B4-BE49-F238E27FC236}">
                <a16:creationId xmlns:a16="http://schemas.microsoft.com/office/drawing/2014/main" id="{82E4AE27-BEDE-0631-16DD-71DEF11709F8}"/>
              </a:ext>
            </a:extLst>
          </p:cNvPr>
          <p:cNvSpPr>
            <a:spLocks noGrp="1"/>
          </p:cNvSpPr>
          <p:nvPr>
            <p:custDataLst>
              <p:tags r:id="rId47"/>
            </p:custDataLst>
          </p:nvPr>
        </p:nvSpPr>
        <p:spPr bwMode="auto">
          <a:xfrm>
            <a:off x="8234364" y="3673475"/>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FEC61504-1C8F-4BAF-B9B4-EBA2E9C97040}" type="datetime'''''''4''''''''''''''''''''''''''''''''''''h'''''''''''''''">
              <a:rPr lang="en-US" altLang="en-US" sz="1000" smtClean="0">
                <a:ea typeface="+mn-ea"/>
                <a:cs typeface="+mn-cs"/>
              </a:rPr>
              <a:pPr lvl="0" algn="ctr">
                <a:spcBef>
                  <a:spcPct val="0"/>
                </a:spcBef>
                <a:spcAft>
                  <a:spcPct val="0"/>
                </a:spcAft>
              </a:pPr>
              <a:t>4h</a:t>
            </a:fld>
            <a:endParaRPr lang="en-US" sz="1000">
              <a:ea typeface="+mn-ea"/>
              <a:cs typeface="+mn-cs"/>
            </a:endParaRPr>
          </a:p>
        </p:txBody>
      </p:sp>
      <p:sp>
        <p:nvSpPr>
          <p:cNvPr id="903" name="Text Placeholder 19">
            <a:extLst>
              <a:ext uri="{FF2B5EF4-FFF2-40B4-BE49-F238E27FC236}">
                <a16:creationId xmlns:a16="http://schemas.microsoft.com/office/drawing/2014/main" id="{9E7036CD-2C91-2E7B-692A-E44FDD344986}"/>
              </a:ext>
            </a:extLst>
          </p:cNvPr>
          <p:cNvSpPr>
            <a:spLocks noGrp="1"/>
          </p:cNvSpPr>
          <p:nvPr>
            <p:custDataLst>
              <p:tags r:id="rId48"/>
            </p:custDataLst>
          </p:nvPr>
        </p:nvSpPr>
        <p:spPr bwMode="auto">
          <a:xfrm>
            <a:off x="6788150" y="25654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904" name="Text Placeholder 19">
            <a:extLst>
              <a:ext uri="{FF2B5EF4-FFF2-40B4-BE49-F238E27FC236}">
                <a16:creationId xmlns:a16="http://schemas.microsoft.com/office/drawing/2014/main" id="{CF13B326-4605-5B88-C5CB-C73BCCC2ACC6}"/>
              </a:ext>
            </a:extLst>
          </p:cNvPr>
          <p:cNvSpPr>
            <a:spLocks noGrp="1"/>
          </p:cNvSpPr>
          <p:nvPr>
            <p:custDataLst>
              <p:tags r:id="rId49"/>
            </p:custDataLst>
          </p:nvPr>
        </p:nvSpPr>
        <p:spPr bwMode="auto">
          <a:xfrm>
            <a:off x="8126414" y="259556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graphicFrame>
        <p:nvGraphicFramePr>
          <p:cNvPr id="771" name="Chart 770">
            <a:extLst>
              <a:ext uri="{FF2B5EF4-FFF2-40B4-BE49-F238E27FC236}">
                <a16:creationId xmlns:a16="http://schemas.microsoft.com/office/drawing/2014/main" id="{D7403026-F7B0-8ACD-9F72-C5DECD0D1824}"/>
              </a:ext>
            </a:extLst>
          </p:cNvPr>
          <p:cNvGraphicFramePr/>
          <p:nvPr>
            <p:custDataLst>
              <p:tags r:id="rId50"/>
            </p:custDataLst>
            <p:extLst>
              <p:ext uri="{D42A27DB-BD31-4B8C-83A1-F6EECF244321}">
                <p14:modId xmlns:p14="http://schemas.microsoft.com/office/powerpoint/2010/main" val="1081796530"/>
              </p:ext>
            </p:extLst>
          </p:nvPr>
        </p:nvGraphicFramePr>
        <p:xfrm>
          <a:off x="1768475" y="4730750"/>
          <a:ext cx="2841625" cy="1341438"/>
        </p:xfrm>
        <a:graphic>
          <a:graphicData uri="http://schemas.openxmlformats.org/drawingml/2006/chart">
            <c:chart xmlns:c="http://schemas.openxmlformats.org/drawingml/2006/chart" xmlns:r="http://schemas.openxmlformats.org/officeDocument/2006/relationships" r:id="rId87"/>
          </a:graphicData>
        </a:graphic>
      </p:graphicFrame>
      <p:cxnSp>
        <p:nvCxnSpPr>
          <p:cNvPr id="908" name="Straight Connector 907">
            <a:extLst>
              <a:ext uri="{FF2B5EF4-FFF2-40B4-BE49-F238E27FC236}">
                <a16:creationId xmlns:a16="http://schemas.microsoft.com/office/drawing/2014/main" id="{765A77CD-00E8-FB02-9496-997F5F6CF378}"/>
              </a:ext>
            </a:extLst>
          </p:cNvPr>
          <p:cNvCxnSpPr/>
          <p:nvPr>
            <p:custDataLst>
              <p:tags r:id="rId51"/>
            </p:custDataLst>
          </p:nvPr>
        </p:nvCxnSpPr>
        <p:spPr bwMode="gray">
          <a:xfrm>
            <a:off x="2519363" y="4770438"/>
            <a:ext cx="0" cy="7620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09" name="Straight Connector 908">
            <a:extLst>
              <a:ext uri="{FF2B5EF4-FFF2-40B4-BE49-F238E27FC236}">
                <a16:creationId xmlns:a16="http://schemas.microsoft.com/office/drawing/2014/main" id="{1B1ADAAB-A66C-6CF2-D9BE-15F9C15700F9}"/>
              </a:ext>
            </a:extLst>
          </p:cNvPr>
          <p:cNvCxnSpPr/>
          <p:nvPr>
            <p:custDataLst>
              <p:tags r:id="rId52"/>
            </p:custDataLst>
          </p:nvPr>
        </p:nvCxnSpPr>
        <p:spPr bwMode="gray">
          <a:xfrm flipV="1">
            <a:off x="2166938" y="4770438"/>
            <a:ext cx="0" cy="10382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2" name="Straight Connector 911">
            <a:extLst>
              <a:ext uri="{FF2B5EF4-FFF2-40B4-BE49-F238E27FC236}">
                <a16:creationId xmlns:a16="http://schemas.microsoft.com/office/drawing/2014/main" id="{230F7CC9-F1D7-FAEB-ECDA-56B585C0CF5E}"/>
              </a:ext>
            </a:extLst>
          </p:cNvPr>
          <p:cNvCxnSpPr/>
          <p:nvPr>
            <p:custDataLst>
              <p:tags r:id="rId53"/>
            </p:custDataLst>
          </p:nvPr>
        </p:nvCxnSpPr>
        <p:spPr bwMode="gray">
          <a:xfrm>
            <a:off x="2166938" y="4770438"/>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3" name="Straight Connector 912">
            <a:extLst>
              <a:ext uri="{FF2B5EF4-FFF2-40B4-BE49-F238E27FC236}">
                <a16:creationId xmlns:a16="http://schemas.microsoft.com/office/drawing/2014/main" id="{BB1227C7-E5D4-E625-569A-E2078B0A34FC}"/>
              </a:ext>
            </a:extLst>
          </p:cNvPr>
          <p:cNvCxnSpPr/>
          <p:nvPr>
            <p:custDataLst>
              <p:tags r:id="rId54"/>
            </p:custDataLst>
          </p:nvPr>
        </p:nvCxnSpPr>
        <p:spPr bwMode="gray">
          <a:xfrm>
            <a:off x="2871788" y="4770438"/>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14" name="Straight Connector 913">
            <a:extLst>
              <a:ext uri="{FF2B5EF4-FFF2-40B4-BE49-F238E27FC236}">
                <a16:creationId xmlns:a16="http://schemas.microsoft.com/office/drawing/2014/main" id="{D5D9CC7C-9F73-3A81-F572-51887968771F}"/>
              </a:ext>
            </a:extLst>
          </p:cNvPr>
          <p:cNvCxnSpPr/>
          <p:nvPr>
            <p:custDataLst>
              <p:tags r:id="rId55"/>
            </p:custDataLst>
          </p:nvPr>
        </p:nvCxnSpPr>
        <p:spPr bwMode="gray">
          <a:xfrm>
            <a:off x="3857625" y="4749800"/>
            <a:ext cx="0" cy="4857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15" name="Straight Connector 914">
            <a:extLst>
              <a:ext uri="{FF2B5EF4-FFF2-40B4-BE49-F238E27FC236}">
                <a16:creationId xmlns:a16="http://schemas.microsoft.com/office/drawing/2014/main" id="{5444C3A1-F870-2D12-734D-6C1C4C237CDE}"/>
              </a:ext>
            </a:extLst>
          </p:cNvPr>
          <p:cNvCxnSpPr/>
          <p:nvPr>
            <p:custDataLst>
              <p:tags r:id="rId56"/>
            </p:custDataLst>
          </p:nvPr>
        </p:nvCxnSpPr>
        <p:spPr bwMode="gray">
          <a:xfrm flipV="1">
            <a:off x="3505200" y="4749800"/>
            <a:ext cx="0" cy="79216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6" name="Straight Connector 915">
            <a:extLst>
              <a:ext uri="{FF2B5EF4-FFF2-40B4-BE49-F238E27FC236}">
                <a16:creationId xmlns:a16="http://schemas.microsoft.com/office/drawing/2014/main" id="{F81BE115-0A8F-EF6D-A223-4D0F8127F4C4}"/>
              </a:ext>
            </a:extLst>
          </p:cNvPr>
          <p:cNvCxnSpPr/>
          <p:nvPr>
            <p:custDataLst>
              <p:tags r:id="rId57"/>
            </p:custDataLst>
          </p:nvPr>
        </p:nvCxnSpPr>
        <p:spPr bwMode="gray">
          <a:xfrm>
            <a:off x="3505200" y="4749800"/>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7" name="Straight Connector 916">
            <a:extLst>
              <a:ext uri="{FF2B5EF4-FFF2-40B4-BE49-F238E27FC236}">
                <a16:creationId xmlns:a16="http://schemas.microsoft.com/office/drawing/2014/main" id="{7E33B4DC-CBBA-0553-0B47-D6154218B109}"/>
              </a:ext>
            </a:extLst>
          </p:cNvPr>
          <p:cNvCxnSpPr/>
          <p:nvPr>
            <p:custDataLst>
              <p:tags r:id="rId58"/>
            </p:custDataLst>
          </p:nvPr>
        </p:nvCxnSpPr>
        <p:spPr bwMode="gray">
          <a:xfrm>
            <a:off x="4210050" y="4749800"/>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19" name="Text Placeholder 19">
            <a:extLst>
              <a:ext uri="{FF2B5EF4-FFF2-40B4-BE49-F238E27FC236}">
                <a16:creationId xmlns:a16="http://schemas.microsoft.com/office/drawing/2014/main" id="{04616445-E9D6-9723-7D3A-9A56A6730BBE}"/>
              </a:ext>
            </a:extLst>
          </p:cNvPr>
          <p:cNvSpPr>
            <a:spLocks noGrp="1"/>
          </p:cNvSpPr>
          <p:nvPr>
            <p:custDataLst>
              <p:tags r:id="rId59"/>
            </p:custDataLst>
          </p:nvPr>
        </p:nvSpPr>
        <p:spPr bwMode="auto">
          <a:xfrm>
            <a:off x="2441575" y="6032500"/>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2C5B1C6-AC81-4AA7-9A1F-C58C1C627BD7}" type="datetime'''''''''''''''''''''2''''''''h'''''''''''">
              <a:rPr lang="en-US" altLang="en-US" sz="1000" smtClean="0">
                <a:ea typeface="+mn-ea"/>
                <a:cs typeface="+mn-cs"/>
              </a:rPr>
              <a:pPr lvl="0" algn="ctr">
                <a:spcBef>
                  <a:spcPct val="0"/>
                </a:spcBef>
                <a:spcAft>
                  <a:spcPct val="0"/>
                </a:spcAft>
              </a:pPr>
              <a:t>2h</a:t>
            </a:fld>
            <a:endParaRPr lang="en-US" sz="1000">
              <a:ea typeface="+mn-ea"/>
              <a:cs typeface="+mn-cs"/>
            </a:endParaRPr>
          </a:p>
        </p:txBody>
      </p:sp>
      <p:sp>
        <p:nvSpPr>
          <p:cNvPr id="920" name="Text Placeholder 19">
            <a:extLst>
              <a:ext uri="{FF2B5EF4-FFF2-40B4-BE49-F238E27FC236}">
                <a16:creationId xmlns:a16="http://schemas.microsoft.com/office/drawing/2014/main" id="{A2879BB5-6A0C-43A3-E7E5-BD865CAD7093}"/>
              </a:ext>
            </a:extLst>
          </p:cNvPr>
          <p:cNvSpPr>
            <a:spLocks noGrp="1"/>
          </p:cNvSpPr>
          <p:nvPr>
            <p:custDataLst>
              <p:tags r:id="rId60"/>
            </p:custDataLst>
          </p:nvPr>
        </p:nvSpPr>
        <p:spPr bwMode="auto">
          <a:xfrm>
            <a:off x="3779838" y="6032500"/>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CAB9B48D-5415-4D64-91E6-FE4E0286D502}" type="datetime'''''''4''''''''''''''''h'''''''''''''''''">
              <a:rPr lang="en-US" altLang="en-US" sz="1000" smtClean="0">
                <a:ea typeface="+mn-ea"/>
                <a:cs typeface="+mn-cs"/>
              </a:rPr>
              <a:pPr lvl="0" algn="ctr">
                <a:spcBef>
                  <a:spcPct val="0"/>
                </a:spcBef>
                <a:spcAft>
                  <a:spcPct val="0"/>
                </a:spcAft>
              </a:pPr>
              <a:t>4h</a:t>
            </a:fld>
            <a:endParaRPr lang="en-US" sz="1000">
              <a:ea typeface="+mn-ea"/>
              <a:cs typeface="+mn-cs"/>
            </a:endParaRPr>
          </a:p>
        </p:txBody>
      </p:sp>
      <p:sp>
        <p:nvSpPr>
          <p:cNvPr id="923" name="Text Placeholder 19">
            <a:extLst>
              <a:ext uri="{FF2B5EF4-FFF2-40B4-BE49-F238E27FC236}">
                <a16:creationId xmlns:a16="http://schemas.microsoft.com/office/drawing/2014/main" id="{BE00C58C-75BF-2357-08E0-B09C3C3C9C16}"/>
              </a:ext>
            </a:extLst>
          </p:cNvPr>
          <p:cNvSpPr>
            <a:spLocks noGrp="1"/>
          </p:cNvSpPr>
          <p:nvPr>
            <p:custDataLst>
              <p:tags r:id="rId61"/>
            </p:custDataLst>
          </p:nvPr>
        </p:nvSpPr>
        <p:spPr bwMode="auto">
          <a:xfrm>
            <a:off x="2157414" y="4662488"/>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924" name="Text Placeholder 19">
            <a:extLst>
              <a:ext uri="{FF2B5EF4-FFF2-40B4-BE49-F238E27FC236}">
                <a16:creationId xmlns:a16="http://schemas.microsoft.com/office/drawing/2014/main" id="{A8B6A011-74EA-05C7-C8AB-B285988B2498}"/>
              </a:ext>
            </a:extLst>
          </p:cNvPr>
          <p:cNvSpPr>
            <a:spLocks noGrp="1"/>
          </p:cNvSpPr>
          <p:nvPr>
            <p:custDataLst>
              <p:tags r:id="rId62"/>
            </p:custDataLst>
          </p:nvPr>
        </p:nvSpPr>
        <p:spPr bwMode="auto">
          <a:xfrm>
            <a:off x="2509839" y="4662488"/>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925" name="Text Placeholder 19">
            <a:extLst>
              <a:ext uri="{FF2B5EF4-FFF2-40B4-BE49-F238E27FC236}">
                <a16:creationId xmlns:a16="http://schemas.microsoft.com/office/drawing/2014/main" id="{699EB5DA-D00A-711F-53B7-E41898DE55CF}"/>
              </a:ext>
            </a:extLst>
          </p:cNvPr>
          <p:cNvSpPr>
            <a:spLocks noGrp="1"/>
          </p:cNvSpPr>
          <p:nvPr>
            <p:custDataLst>
              <p:tags r:id="rId63"/>
            </p:custDataLst>
          </p:nvPr>
        </p:nvSpPr>
        <p:spPr bwMode="auto">
          <a:xfrm>
            <a:off x="3495675" y="464185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926" name="Text Placeholder 19">
            <a:extLst>
              <a:ext uri="{FF2B5EF4-FFF2-40B4-BE49-F238E27FC236}">
                <a16:creationId xmlns:a16="http://schemas.microsoft.com/office/drawing/2014/main" id="{8B032E8B-7DEC-359D-92F5-2A0EF614EF51}"/>
              </a:ext>
            </a:extLst>
          </p:cNvPr>
          <p:cNvSpPr>
            <a:spLocks noGrp="1"/>
          </p:cNvSpPr>
          <p:nvPr>
            <p:custDataLst>
              <p:tags r:id="rId64"/>
            </p:custDataLst>
          </p:nvPr>
        </p:nvSpPr>
        <p:spPr bwMode="auto">
          <a:xfrm>
            <a:off x="3848101" y="464185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graphicFrame>
        <p:nvGraphicFramePr>
          <p:cNvPr id="775" name="Chart 774">
            <a:extLst>
              <a:ext uri="{FF2B5EF4-FFF2-40B4-BE49-F238E27FC236}">
                <a16:creationId xmlns:a16="http://schemas.microsoft.com/office/drawing/2014/main" id="{F5893BC1-1506-252F-3BE4-857E79ED21B4}"/>
              </a:ext>
            </a:extLst>
          </p:cNvPr>
          <p:cNvGraphicFramePr/>
          <p:nvPr>
            <p:custDataLst>
              <p:tags r:id="rId65"/>
            </p:custDataLst>
            <p:extLst>
              <p:ext uri="{D42A27DB-BD31-4B8C-83A1-F6EECF244321}">
                <p14:modId xmlns:p14="http://schemas.microsoft.com/office/powerpoint/2010/main" val="3788628233"/>
              </p:ext>
            </p:extLst>
          </p:nvPr>
        </p:nvGraphicFramePr>
        <p:xfrm>
          <a:off x="4733925" y="4730750"/>
          <a:ext cx="2841625" cy="1341438"/>
        </p:xfrm>
        <a:graphic>
          <a:graphicData uri="http://schemas.openxmlformats.org/drawingml/2006/chart">
            <c:chart xmlns:c="http://schemas.openxmlformats.org/drawingml/2006/chart" xmlns:r="http://schemas.openxmlformats.org/officeDocument/2006/relationships" r:id="rId88"/>
          </a:graphicData>
        </a:graphic>
      </p:graphicFrame>
      <p:cxnSp>
        <p:nvCxnSpPr>
          <p:cNvPr id="772" name="Straight Connector 771">
            <a:extLst>
              <a:ext uri="{FF2B5EF4-FFF2-40B4-BE49-F238E27FC236}">
                <a16:creationId xmlns:a16="http://schemas.microsoft.com/office/drawing/2014/main" id="{B05F6783-B79F-25DA-B0D8-5E9DD9753D43}"/>
              </a:ext>
            </a:extLst>
          </p:cNvPr>
          <p:cNvCxnSpPr/>
          <p:nvPr>
            <p:custDataLst>
              <p:tags r:id="rId66"/>
            </p:custDataLst>
          </p:nvPr>
        </p:nvCxnSpPr>
        <p:spPr bwMode="gray">
          <a:xfrm>
            <a:off x="5484813" y="4545013"/>
            <a:ext cx="0" cy="7524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29" name="Straight Connector 928">
            <a:extLst>
              <a:ext uri="{FF2B5EF4-FFF2-40B4-BE49-F238E27FC236}">
                <a16:creationId xmlns:a16="http://schemas.microsoft.com/office/drawing/2014/main" id="{E09B341B-6868-DA1D-A825-65F010A1DDA2}"/>
              </a:ext>
            </a:extLst>
          </p:cNvPr>
          <p:cNvCxnSpPr/>
          <p:nvPr>
            <p:custDataLst>
              <p:tags r:id="rId67"/>
            </p:custDataLst>
          </p:nvPr>
        </p:nvCxnSpPr>
        <p:spPr bwMode="gray">
          <a:xfrm flipV="1">
            <a:off x="5132388" y="4545013"/>
            <a:ext cx="0" cy="9763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0" name="Straight Connector 929">
            <a:extLst>
              <a:ext uri="{FF2B5EF4-FFF2-40B4-BE49-F238E27FC236}">
                <a16:creationId xmlns:a16="http://schemas.microsoft.com/office/drawing/2014/main" id="{D401B6D1-7406-6F96-0420-AB336057E77B}"/>
              </a:ext>
            </a:extLst>
          </p:cNvPr>
          <p:cNvCxnSpPr/>
          <p:nvPr>
            <p:custDataLst>
              <p:tags r:id="rId68"/>
            </p:custDataLst>
          </p:nvPr>
        </p:nvCxnSpPr>
        <p:spPr bwMode="gray">
          <a:xfrm>
            <a:off x="5132388" y="4545013"/>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1" name="Straight Connector 930">
            <a:extLst>
              <a:ext uri="{FF2B5EF4-FFF2-40B4-BE49-F238E27FC236}">
                <a16:creationId xmlns:a16="http://schemas.microsoft.com/office/drawing/2014/main" id="{6042C7F1-A3C0-E825-8B72-F2DDDA5D4A42}"/>
              </a:ext>
            </a:extLst>
          </p:cNvPr>
          <p:cNvCxnSpPr/>
          <p:nvPr>
            <p:custDataLst>
              <p:tags r:id="rId69"/>
            </p:custDataLst>
          </p:nvPr>
        </p:nvCxnSpPr>
        <p:spPr bwMode="gray">
          <a:xfrm>
            <a:off x="5837238" y="4545013"/>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32" name="Straight Connector 931">
            <a:extLst>
              <a:ext uri="{FF2B5EF4-FFF2-40B4-BE49-F238E27FC236}">
                <a16:creationId xmlns:a16="http://schemas.microsoft.com/office/drawing/2014/main" id="{0C53E49C-1EA8-E26D-3E0A-1CBA5A724768}"/>
              </a:ext>
            </a:extLst>
          </p:cNvPr>
          <p:cNvCxnSpPr/>
          <p:nvPr>
            <p:custDataLst>
              <p:tags r:id="rId70"/>
            </p:custDataLst>
          </p:nvPr>
        </p:nvCxnSpPr>
        <p:spPr bwMode="gray">
          <a:xfrm>
            <a:off x="6823075" y="4514850"/>
            <a:ext cx="0" cy="5064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33" name="Straight Connector 932">
            <a:extLst>
              <a:ext uri="{FF2B5EF4-FFF2-40B4-BE49-F238E27FC236}">
                <a16:creationId xmlns:a16="http://schemas.microsoft.com/office/drawing/2014/main" id="{15C2885E-D209-AE7E-5E11-B17D000D4B31}"/>
              </a:ext>
            </a:extLst>
          </p:cNvPr>
          <p:cNvCxnSpPr/>
          <p:nvPr>
            <p:custDataLst>
              <p:tags r:id="rId71"/>
            </p:custDataLst>
          </p:nvPr>
        </p:nvCxnSpPr>
        <p:spPr bwMode="gray">
          <a:xfrm flipV="1">
            <a:off x="6470650" y="4514850"/>
            <a:ext cx="0" cy="7620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4" name="Straight Connector 933">
            <a:extLst>
              <a:ext uri="{FF2B5EF4-FFF2-40B4-BE49-F238E27FC236}">
                <a16:creationId xmlns:a16="http://schemas.microsoft.com/office/drawing/2014/main" id="{FC9D4C65-A9B8-9775-DB14-71039B0C9E43}"/>
              </a:ext>
            </a:extLst>
          </p:cNvPr>
          <p:cNvCxnSpPr/>
          <p:nvPr>
            <p:custDataLst>
              <p:tags r:id="rId72"/>
            </p:custDataLst>
          </p:nvPr>
        </p:nvCxnSpPr>
        <p:spPr bwMode="gray">
          <a:xfrm>
            <a:off x="6470650" y="4514850"/>
            <a:ext cx="7048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5" name="Straight Connector 934">
            <a:extLst>
              <a:ext uri="{FF2B5EF4-FFF2-40B4-BE49-F238E27FC236}">
                <a16:creationId xmlns:a16="http://schemas.microsoft.com/office/drawing/2014/main" id="{91468927-9608-838E-D3C9-CE61977C800E}"/>
              </a:ext>
            </a:extLst>
          </p:cNvPr>
          <p:cNvCxnSpPr/>
          <p:nvPr>
            <p:custDataLst>
              <p:tags r:id="rId73"/>
            </p:custDataLst>
          </p:nvPr>
        </p:nvCxnSpPr>
        <p:spPr bwMode="gray">
          <a:xfrm>
            <a:off x="7175500" y="4514850"/>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36" name="Text Placeholder 19">
            <a:extLst>
              <a:ext uri="{FF2B5EF4-FFF2-40B4-BE49-F238E27FC236}">
                <a16:creationId xmlns:a16="http://schemas.microsoft.com/office/drawing/2014/main" id="{6D078295-828B-C03D-6AAA-20BF0E2E40F8}"/>
              </a:ext>
            </a:extLst>
          </p:cNvPr>
          <p:cNvSpPr>
            <a:spLocks noGrp="1"/>
          </p:cNvSpPr>
          <p:nvPr>
            <p:custDataLst>
              <p:tags r:id="rId74"/>
            </p:custDataLst>
          </p:nvPr>
        </p:nvSpPr>
        <p:spPr bwMode="auto">
          <a:xfrm>
            <a:off x="5407026" y="6032500"/>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E6466583-6D02-454C-AD65-12A6E89B0F42}" type="datetime'''''''''''''''''''2''''''h'''''''''''''''">
              <a:rPr lang="en-US" altLang="en-US" sz="1000" smtClean="0">
                <a:ea typeface="+mn-ea"/>
                <a:cs typeface="+mn-cs"/>
              </a:rPr>
              <a:pPr lvl="0" algn="ctr">
                <a:spcBef>
                  <a:spcPct val="0"/>
                </a:spcBef>
                <a:spcAft>
                  <a:spcPct val="0"/>
                </a:spcAft>
              </a:pPr>
              <a:t>2h</a:t>
            </a:fld>
            <a:endParaRPr lang="en-US" sz="1000">
              <a:ea typeface="+mn-ea"/>
              <a:cs typeface="+mn-cs"/>
            </a:endParaRPr>
          </a:p>
        </p:txBody>
      </p:sp>
      <p:sp>
        <p:nvSpPr>
          <p:cNvPr id="937" name="Text Placeholder 19">
            <a:extLst>
              <a:ext uri="{FF2B5EF4-FFF2-40B4-BE49-F238E27FC236}">
                <a16:creationId xmlns:a16="http://schemas.microsoft.com/office/drawing/2014/main" id="{26723C49-516C-A02E-B8C0-892D00A07D96}"/>
              </a:ext>
            </a:extLst>
          </p:cNvPr>
          <p:cNvSpPr>
            <a:spLocks noGrp="1"/>
          </p:cNvSpPr>
          <p:nvPr>
            <p:custDataLst>
              <p:tags r:id="rId75"/>
            </p:custDataLst>
          </p:nvPr>
        </p:nvSpPr>
        <p:spPr bwMode="auto">
          <a:xfrm>
            <a:off x="6745289" y="6032500"/>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BEB11B4-D187-4F92-856A-D7505AF5D597}" type="datetime'''4''''''''''''''''''''''''''''''''h'">
              <a:rPr lang="en-US" altLang="en-US" sz="1000" smtClean="0">
                <a:ea typeface="+mn-ea"/>
                <a:cs typeface="+mn-cs"/>
              </a:rPr>
              <a:pPr lvl="0" algn="ctr">
                <a:spcBef>
                  <a:spcPct val="0"/>
                </a:spcBef>
                <a:spcAft>
                  <a:spcPct val="0"/>
                </a:spcAft>
              </a:pPr>
              <a:t>4h</a:t>
            </a:fld>
            <a:endParaRPr lang="en-US" sz="1000">
              <a:ea typeface="+mn-ea"/>
              <a:cs typeface="+mn-cs"/>
            </a:endParaRPr>
          </a:p>
        </p:txBody>
      </p:sp>
      <p:sp>
        <p:nvSpPr>
          <p:cNvPr id="938" name="Text Placeholder 19">
            <a:extLst>
              <a:ext uri="{FF2B5EF4-FFF2-40B4-BE49-F238E27FC236}">
                <a16:creationId xmlns:a16="http://schemas.microsoft.com/office/drawing/2014/main" id="{79BD3102-52D5-2479-D497-0CD98567A20F}"/>
              </a:ext>
            </a:extLst>
          </p:cNvPr>
          <p:cNvSpPr>
            <a:spLocks noGrp="1"/>
          </p:cNvSpPr>
          <p:nvPr>
            <p:custDataLst>
              <p:tags r:id="rId76"/>
            </p:custDataLst>
          </p:nvPr>
        </p:nvSpPr>
        <p:spPr bwMode="auto">
          <a:xfrm>
            <a:off x="5122863" y="443706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939" name="Text Placeholder 19">
            <a:extLst>
              <a:ext uri="{FF2B5EF4-FFF2-40B4-BE49-F238E27FC236}">
                <a16:creationId xmlns:a16="http://schemas.microsoft.com/office/drawing/2014/main" id="{49742650-A039-7F08-F659-35D2E8B2988C}"/>
              </a:ext>
            </a:extLst>
          </p:cNvPr>
          <p:cNvSpPr>
            <a:spLocks noGrp="1"/>
          </p:cNvSpPr>
          <p:nvPr>
            <p:custDataLst>
              <p:tags r:id="rId77"/>
            </p:custDataLst>
          </p:nvPr>
        </p:nvSpPr>
        <p:spPr bwMode="auto">
          <a:xfrm>
            <a:off x="5475289" y="4437063"/>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940" name="Text Placeholder 19">
            <a:extLst>
              <a:ext uri="{FF2B5EF4-FFF2-40B4-BE49-F238E27FC236}">
                <a16:creationId xmlns:a16="http://schemas.microsoft.com/office/drawing/2014/main" id="{F35ACFEE-DA0F-DE68-8896-1344F1DBDB47}"/>
              </a:ext>
            </a:extLst>
          </p:cNvPr>
          <p:cNvSpPr>
            <a:spLocks noGrp="1"/>
          </p:cNvSpPr>
          <p:nvPr>
            <p:custDataLst>
              <p:tags r:id="rId78"/>
            </p:custDataLst>
          </p:nvPr>
        </p:nvSpPr>
        <p:spPr bwMode="auto">
          <a:xfrm>
            <a:off x="6461125" y="44069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941" name="Text Placeholder 19">
            <a:extLst>
              <a:ext uri="{FF2B5EF4-FFF2-40B4-BE49-F238E27FC236}">
                <a16:creationId xmlns:a16="http://schemas.microsoft.com/office/drawing/2014/main" id="{115692C5-8827-0D7D-133D-D9194A1CBD26}"/>
              </a:ext>
            </a:extLst>
          </p:cNvPr>
          <p:cNvSpPr>
            <a:spLocks noGrp="1"/>
          </p:cNvSpPr>
          <p:nvPr>
            <p:custDataLst>
              <p:tags r:id="rId79"/>
            </p:custDataLst>
          </p:nvPr>
        </p:nvSpPr>
        <p:spPr bwMode="auto">
          <a:xfrm>
            <a:off x="6813550" y="4406900"/>
            <a:ext cx="371475"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a:effectLst/>
                <a:ea typeface="+mn-ea"/>
                <a:cs typeface="+mn-cs"/>
              </a:rPr>
              <a:t>XX%</a:t>
            </a:r>
            <a:endParaRPr lang="en-US" sz="1000">
              <a:ea typeface="+mn-ea"/>
              <a:cs typeface="+mn-cs"/>
            </a:endParaRPr>
          </a:p>
        </p:txBody>
      </p:sp>
      <p:sp>
        <p:nvSpPr>
          <p:cNvPr id="2" name="Rectangle 1">
            <a:extLst>
              <a:ext uri="{FF2B5EF4-FFF2-40B4-BE49-F238E27FC236}">
                <a16:creationId xmlns:a16="http://schemas.microsoft.com/office/drawing/2014/main" id="{ED3A692C-21B2-F935-550B-DD1FC38DAC88}"/>
              </a:ext>
            </a:extLst>
          </p:cNvPr>
          <p:cNvSpPr/>
          <p:nvPr/>
        </p:nvSpPr>
        <p:spPr>
          <a:xfrm>
            <a:off x="381599" y="1700213"/>
            <a:ext cx="8735897" cy="4484687"/>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err="1">
              <a:solidFill>
                <a:schemeClr val="tx1"/>
              </a:solidFill>
            </a:endParaRPr>
          </a:p>
        </p:txBody>
      </p:sp>
    </p:spTree>
    <p:extLst>
      <p:ext uri="{BB962C8B-B14F-4D97-AF65-F5344CB8AC3E}">
        <p14:creationId xmlns:p14="http://schemas.microsoft.com/office/powerpoint/2010/main" val="228878166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F6C957-7610-4C80-BE51-A17FC19E20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Object 9" hidden="1">
                        <a:extLst>
                          <a:ext uri="{FF2B5EF4-FFF2-40B4-BE49-F238E27FC236}">
                            <a16:creationId xmlns:a16="http://schemas.microsoft.com/office/drawing/2014/main" id="{19F6C957-7610-4C80-BE51-A17FC19E2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E81B69B-EECE-402A-A625-51BF6346C164}"/>
              </a:ext>
            </a:extLst>
          </p:cNvPr>
          <p:cNvSpPr>
            <a:spLocks noGrp="1"/>
          </p:cNvSpPr>
          <p:nvPr>
            <p:ph type="body" sz="quarter" idx="22"/>
          </p:nvPr>
        </p:nvSpPr>
        <p:spPr>
          <a:xfrm>
            <a:off x="381001" y="6715169"/>
            <a:ext cx="1500411" cy="110800"/>
          </a:xfrm>
        </p:spPr>
        <p:txBody>
          <a:bodyPr/>
          <a:lstStyle/>
          <a:p>
            <a:r>
              <a:rPr lang="en-GB"/>
              <a:t>Source: Aurora Energy Research</a:t>
            </a:r>
          </a:p>
        </p:txBody>
      </p:sp>
      <p:sp>
        <p:nvSpPr>
          <p:cNvPr id="3" name="Title 2">
            <a:extLst>
              <a:ext uri="{FF2B5EF4-FFF2-40B4-BE49-F238E27FC236}">
                <a16:creationId xmlns:a16="http://schemas.microsoft.com/office/drawing/2014/main" id="{7656C4A8-C061-4ADA-9C9B-AF8D3E6B2E69}"/>
              </a:ext>
            </a:extLst>
          </p:cNvPr>
          <p:cNvSpPr>
            <a:spLocks noGrp="1"/>
          </p:cNvSpPr>
          <p:nvPr>
            <p:ph type="title"/>
          </p:nvPr>
        </p:nvSpPr>
        <p:spPr>
          <a:xfrm>
            <a:off x="1062000" y="411856"/>
            <a:ext cx="8600471" cy="609398"/>
          </a:xfrm>
        </p:spPr>
        <p:txBody>
          <a:bodyPr vert="horz"/>
          <a:lstStyle/>
          <a:p>
            <a:r>
              <a:rPr lang="en-GB">
                <a:solidFill>
                  <a:schemeClr val="tx1"/>
                </a:solidFill>
              </a:rPr>
              <a:t>Colocation of batteries with renewables could increase battery IRRs through cost savings and project optimisation</a:t>
            </a:r>
          </a:p>
        </p:txBody>
      </p:sp>
      <p:sp>
        <p:nvSpPr>
          <p:cNvPr id="4" name="Text Placeholder 3">
            <a:extLst>
              <a:ext uri="{FF2B5EF4-FFF2-40B4-BE49-F238E27FC236}">
                <a16:creationId xmlns:a16="http://schemas.microsoft.com/office/drawing/2014/main" id="{326F6699-6230-4826-8099-6AADB5F246C0}"/>
              </a:ext>
            </a:extLst>
          </p:cNvPr>
          <p:cNvSpPr>
            <a:spLocks noGrp="1"/>
          </p:cNvSpPr>
          <p:nvPr>
            <p:ph type="body" sz="quarter" idx="32"/>
          </p:nvPr>
        </p:nvSpPr>
        <p:spPr>
          <a:xfrm>
            <a:off x="381600" y="6474841"/>
            <a:ext cx="11428800" cy="221599"/>
          </a:xfrm>
        </p:spPr>
        <p:txBody>
          <a:bodyPr/>
          <a:lstStyle/>
          <a:p>
            <a:r>
              <a:rPr lang="en-GB" sz="800"/>
              <a:t>1) Inverters are undersized compared to peak solar capacity, since the actual output of solar assets is usually much lower than the peak, and thus little energy is lost by reducing costs of inverter by under sizing. Since recently, to participate in the SDE++ solar assets are obliged to undersized their inverter by 50%.</a:t>
            </a:r>
          </a:p>
        </p:txBody>
      </p:sp>
      <p:graphicFrame>
        <p:nvGraphicFramePr>
          <p:cNvPr id="6" name="Table 24">
            <a:extLst>
              <a:ext uri="{FF2B5EF4-FFF2-40B4-BE49-F238E27FC236}">
                <a16:creationId xmlns:a16="http://schemas.microsoft.com/office/drawing/2014/main" id="{9179866B-1DF2-43AB-B572-AF66ADB6D2E6}"/>
              </a:ext>
            </a:extLst>
          </p:cNvPr>
          <p:cNvGraphicFramePr>
            <a:graphicFrameLocks noGrp="1"/>
          </p:cNvGraphicFramePr>
          <p:nvPr/>
        </p:nvGraphicFramePr>
        <p:xfrm>
          <a:off x="380998" y="1970337"/>
          <a:ext cx="11442702" cy="4050132"/>
        </p:xfrm>
        <a:graphic>
          <a:graphicData uri="http://schemas.openxmlformats.org/drawingml/2006/table">
            <a:tbl>
              <a:tblPr firstRow="1" bandRow="1">
                <a:tableStyleId>{5C22544A-7EE6-4342-B048-85BDC9FD1C3A}</a:tableStyleId>
              </a:tblPr>
              <a:tblGrid>
                <a:gridCol w="1696485">
                  <a:extLst>
                    <a:ext uri="{9D8B030D-6E8A-4147-A177-3AD203B41FA5}">
                      <a16:colId xmlns:a16="http://schemas.microsoft.com/office/drawing/2014/main" val="2723705694"/>
                    </a:ext>
                  </a:extLst>
                </a:gridCol>
                <a:gridCol w="3145543">
                  <a:extLst>
                    <a:ext uri="{9D8B030D-6E8A-4147-A177-3AD203B41FA5}">
                      <a16:colId xmlns:a16="http://schemas.microsoft.com/office/drawing/2014/main" val="849880534"/>
                    </a:ext>
                  </a:extLst>
                </a:gridCol>
                <a:gridCol w="3191250">
                  <a:extLst>
                    <a:ext uri="{9D8B030D-6E8A-4147-A177-3AD203B41FA5}">
                      <a16:colId xmlns:a16="http://schemas.microsoft.com/office/drawing/2014/main" val="3357959027"/>
                    </a:ext>
                  </a:extLst>
                </a:gridCol>
                <a:gridCol w="3409424">
                  <a:extLst>
                    <a:ext uri="{9D8B030D-6E8A-4147-A177-3AD203B41FA5}">
                      <a16:colId xmlns:a16="http://schemas.microsoft.com/office/drawing/2014/main" val="1360006210"/>
                    </a:ext>
                  </a:extLst>
                </a:gridCol>
              </a:tblGrid>
              <a:tr h="346502">
                <a:tc>
                  <a:txBody>
                    <a:bodyPr/>
                    <a:lstStyle/>
                    <a:p>
                      <a:pPr rtl="0"/>
                      <a:r>
                        <a:rPr lang="en-GB" sz="1200" b="1">
                          <a:solidFill>
                            <a:schemeClr val="bg1"/>
                          </a:solidFill>
                        </a:rPr>
                        <a:t>Facto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rtl="0"/>
                      <a:r>
                        <a:rPr lang="en-GB" sz="1200" b="1">
                          <a:solidFill>
                            <a:schemeClr val="bg1"/>
                          </a:solidFill>
                        </a:rPr>
                        <a:t>Description</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rtl="0"/>
                      <a:r>
                        <a:rPr lang="en-GB" sz="1200" b="1">
                          <a:solidFill>
                            <a:schemeClr val="bg1"/>
                          </a:solidFill>
                        </a:rPr>
                        <a:t>AC-coupled</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rtl="0"/>
                      <a:r>
                        <a:rPr lang="en-GB" sz="1200" b="1">
                          <a:solidFill>
                            <a:schemeClr val="bg1"/>
                          </a:solidFill>
                        </a:rPr>
                        <a:t>DC-coupled</a:t>
                      </a:r>
                      <a:endParaRPr lang="en-GB" sz="1200" b="1" baseline="300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5226398"/>
                  </a:ext>
                </a:extLst>
              </a:tr>
              <a:tr h="566311">
                <a:tc>
                  <a:txBody>
                    <a:bodyPr/>
                    <a:lstStyle/>
                    <a:p>
                      <a:pPr rtl="0"/>
                      <a:r>
                        <a:rPr lang="en-GB" sz="1100">
                          <a:solidFill>
                            <a:schemeClr val="tx1"/>
                          </a:solidFill>
                        </a:rPr>
                        <a:t>CAPEX saving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100" i="1">
                          <a:solidFill>
                            <a:schemeClr val="accent5"/>
                          </a:solidFill>
                        </a:rPr>
                        <a:t>Development cost, balance of system, and OPEX cost saving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solidFill>
                            <a:schemeClr val="tx1"/>
                          </a:solidFill>
                        </a:rPr>
                        <a:t>Partial cost savings on development costs, BoS and OPEX</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EB99"/>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solidFill>
                            <a:schemeClr val="tx1"/>
                          </a:solidFill>
                        </a:rPr>
                        <a:t>Further cost savings include shared inverter</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DE63"/>
                    </a:solidFill>
                  </a:tcPr>
                </a:tc>
                <a:extLst>
                  <a:ext uri="{0D108BD9-81ED-4DB2-BD59-A6C34878D82A}">
                    <a16:rowId xmlns:a16="http://schemas.microsoft.com/office/drawing/2014/main" val="3273302025"/>
                  </a:ext>
                </a:extLst>
              </a:tr>
              <a:tr h="261962">
                <a:tc>
                  <a:txBody>
                    <a:bodyPr/>
                    <a:lstStyle/>
                    <a:p>
                      <a:pPr rtl="0"/>
                      <a:r>
                        <a:rPr lang="en-GB" sz="1100">
                          <a:solidFill>
                            <a:schemeClr val="tx1"/>
                          </a:solidFill>
                        </a:rPr>
                        <a:t>OPEX saving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100" i="1">
                          <a:solidFill>
                            <a:schemeClr val="accent5"/>
                          </a:solidFill>
                        </a:rPr>
                        <a:t>Grid fees and land cos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rtl="0"/>
                      <a:r>
                        <a:rPr lang="en-GB" sz="1100">
                          <a:solidFill>
                            <a:schemeClr val="tx1"/>
                          </a:solidFill>
                        </a:rPr>
                        <a:t>Grid fees can be avoided if battery is only charged from the solar asse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DE63"/>
                    </a:solidFill>
                  </a:tcPr>
                </a:tc>
                <a:tc hMerge="1">
                  <a:txBody>
                    <a:bodyPr/>
                    <a:lstStyle/>
                    <a:p>
                      <a:endParaRPr lang="en-IN" sz="1000">
                        <a:solidFill>
                          <a:schemeClr val="tx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DE63"/>
                    </a:solidFill>
                  </a:tcPr>
                </a:tc>
                <a:extLst>
                  <a:ext uri="{0D108BD9-81ED-4DB2-BD59-A6C34878D82A}">
                    <a16:rowId xmlns:a16="http://schemas.microsoft.com/office/drawing/2014/main" val="2460168610"/>
                  </a:ext>
                </a:extLst>
              </a:tr>
              <a:tr h="419403">
                <a:tc>
                  <a:txBody>
                    <a:bodyPr/>
                    <a:lstStyle/>
                    <a:p>
                      <a:pPr rtl="0"/>
                      <a:r>
                        <a:rPr lang="en-GB" sz="1100">
                          <a:solidFill>
                            <a:schemeClr val="tx1"/>
                          </a:solidFill>
                        </a:rPr>
                        <a:t>Portfolio benefi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100" i="1">
                          <a:solidFill>
                            <a:schemeClr val="accent5"/>
                          </a:solidFill>
                        </a:rPr>
                        <a:t>Protection from technology related downside cas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a:solidFill>
                            <a:schemeClr val="tx1"/>
                          </a:solidFill>
                        </a:rPr>
                        <a:t>Full portfolio benefi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DE63"/>
                    </a:solidFill>
                  </a:tcPr>
                </a:tc>
                <a:tc hMerge="1">
                  <a:txBody>
                    <a:bodyPr/>
                    <a:lstStyle/>
                    <a:p>
                      <a:endParaRPr lang="en-GB"/>
                    </a:p>
                  </a:txBody>
                  <a:tcPr/>
                </a:tc>
                <a:extLst>
                  <a:ext uri="{0D108BD9-81ED-4DB2-BD59-A6C34878D82A}">
                    <a16:rowId xmlns:a16="http://schemas.microsoft.com/office/drawing/2014/main" val="873994023"/>
                  </a:ext>
                </a:extLst>
              </a:tr>
              <a:tr h="736200">
                <a:tc>
                  <a:txBody>
                    <a:bodyPr/>
                    <a:lstStyle/>
                    <a:p>
                      <a:pPr rtl="0"/>
                      <a:r>
                        <a:rPr lang="en-GB" sz="1100">
                          <a:solidFill>
                            <a:schemeClr val="tx1"/>
                          </a:solidFill>
                        </a:rPr>
                        <a:t>Solar curtailment optimisation</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100" i="1">
                          <a:solidFill>
                            <a:schemeClr val="accent5"/>
                          </a:solidFill>
                        </a:rPr>
                        <a:t>Inverters at solar assets are usually undersized</a:t>
                      </a:r>
                      <a:r>
                        <a:rPr lang="en-GB" sz="1100" i="1" baseline="30000">
                          <a:solidFill>
                            <a:schemeClr val="accent5"/>
                          </a:solidFill>
                        </a:rPr>
                        <a:t>1</a:t>
                      </a:r>
                      <a:r>
                        <a:rPr lang="en-GB" sz="1100" i="1">
                          <a:solidFill>
                            <a:schemeClr val="accent5"/>
                          </a:solidFill>
                        </a:rPr>
                        <a:t>, leading to a small portion of the output to be spilled</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100">
                          <a:solidFill>
                            <a:schemeClr val="tx1"/>
                          </a:solidFill>
                        </a:rPr>
                        <a:t>No free charging, since solar inverter clips any excess production i.e., battery will not be able to access i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GB" sz="1100">
                          <a:solidFill>
                            <a:schemeClr val="tx1"/>
                          </a:solidFill>
                        </a:rPr>
                        <a:t>Battery can capture all spilled solar output as it is before the inverter</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DE63"/>
                    </a:solidFill>
                  </a:tcPr>
                </a:tc>
                <a:extLst>
                  <a:ext uri="{0D108BD9-81ED-4DB2-BD59-A6C34878D82A}">
                    <a16:rowId xmlns:a16="http://schemas.microsoft.com/office/drawing/2014/main" val="698803199"/>
                  </a:ext>
                </a:extLst>
              </a:tr>
              <a:tr h="584168">
                <a:tc>
                  <a:txBody>
                    <a:bodyPr/>
                    <a:lstStyle/>
                    <a:p>
                      <a:pPr rtl="0"/>
                      <a:r>
                        <a:rPr lang="en-GB" sz="1100">
                          <a:solidFill>
                            <a:schemeClr val="tx1"/>
                          </a:solidFill>
                        </a:rPr>
                        <a:t>Inverter loss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i="1">
                          <a:solidFill>
                            <a:schemeClr val="accent5"/>
                          </a:solidFill>
                        </a:rPr>
                        <a:t>Conversion steps from DC to AC lead to electricity loss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solidFill>
                            <a:schemeClr val="tx1"/>
                          </a:solidFill>
                        </a:rPr>
                        <a:t>Similar losses to stand-alone battery, since power goes through two inverters to get to battery</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en-GB" sz="1100">
                          <a:solidFill>
                            <a:schemeClr val="tx1"/>
                          </a:solidFill>
                        </a:rPr>
                        <a:t>No inverter losses when battery is charging from solar asset as both assets are connected behind the same inverter</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DE63"/>
                    </a:solidFill>
                  </a:tcPr>
                </a:tc>
                <a:extLst>
                  <a:ext uri="{0D108BD9-81ED-4DB2-BD59-A6C34878D82A}">
                    <a16:rowId xmlns:a16="http://schemas.microsoft.com/office/drawing/2014/main" val="1169368340"/>
                  </a:ext>
                </a:extLst>
              </a:tr>
              <a:tr h="541226">
                <a:tc>
                  <a:txBody>
                    <a:bodyPr/>
                    <a:lstStyle/>
                    <a:p>
                      <a:pPr rtl="0"/>
                      <a:r>
                        <a:rPr lang="en-GB" sz="1100">
                          <a:solidFill>
                            <a:schemeClr val="tx1"/>
                          </a:solidFill>
                        </a:rPr>
                        <a:t>Battery dispatch</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100" i="1">
                          <a:solidFill>
                            <a:schemeClr val="accent5"/>
                          </a:solidFill>
                        </a:rPr>
                        <a:t>Battery asset may need to operate around renewables generation</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1100">
                          <a:solidFill>
                            <a:schemeClr val="tx1"/>
                          </a:solidFill>
                        </a:rPr>
                        <a:t>Storage output only partially restricted by solar generation</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a:solidFill>
                            <a:schemeClr val="tx1"/>
                          </a:solidFill>
                        </a:rPr>
                        <a:t>Storage output strongly restricted by solar generation</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4C9"/>
                    </a:solidFill>
                  </a:tcPr>
                </a:tc>
                <a:extLst>
                  <a:ext uri="{0D108BD9-81ED-4DB2-BD59-A6C34878D82A}">
                    <a16:rowId xmlns:a16="http://schemas.microsoft.com/office/drawing/2014/main" val="699173267"/>
                  </a:ext>
                </a:extLst>
              </a:tr>
              <a:tr h="584168">
                <a:tc>
                  <a:txBody>
                    <a:bodyPr/>
                    <a:lstStyle/>
                    <a:p>
                      <a:pPr rtl="0"/>
                      <a:r>
                        <a:rPr lang="en-GB" sz="1100">
                          <a:solidFill>
                            <a:schemeClr val="tx1"/>
                          </a:solidFill>
                        </a:rPr>
                        <a:t>Sub-optimal siting and sizing</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100" i="1">
                          <a:solidFill>
                            <a:schemeClr val="accent5"/>
                          </a:solidFill>
                        </a:rPr>
                        <a:t>Relative impact on business model compared to standalone cas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a:solidFill>
                            <a:schemeClr val="tx1"/>
                          </a:solidFill>
                        </a:rPr>
                        <a:t>By being limited to locations and grid size of a solar asset, the battery is limited in how it can be optimised</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4C9"/>
                    </a:solidFill>
                  </a:tcPr>
                </a:tc>
                <a:tc hMerge="1">
                  <a:txBody>
                    <a:bodyPr/>
                    <a:lstStyle/>
                    <a:p>
                      <a:endParaRPr lang="en-GB"/>
                    </a:p>
                  </a:txBody>
                  <a:tcPr/>
                </a:tc>
                <a:extLst>
                  <a:ext uri="{0D108BD9-81ED-4DB2-BD59-A6C34878D82A}">
                    <a16:rowId xmlns:a16="http://schemas.microsoft.com/office/drawing/2014/main" val="2101898295"/>
                  </a:ext>
                </a:extLst>
              </a:tr>
            </a:tbl>
          </a:graphicData>
        </a:graphic>
      </p:graphicFrame>
      <p:pic>
        <p:nvPicPr>
          <p:cNvPr id="16" name="Picture 15">
            <a:extLst>
              <a:ext uri="{FF2B5EF4-FFF2-40B4-BE49-F238E27FC236}">
                <a16:creationId xmlns:a16="http://schemas.microsoft.com/office/drawing/2014/main" id="{93A5FA17-584A-457D-9005-8872C5C363ED}"/>
              </a:ext>
            </a:extLst>
          </p:cNvPr>
          <p:cNvPicPr>
            <a:picLocks noChangeAspect="1"/>
          </p:cNvPicPr>
          <p:nvPr/>
        </p:nvPicPr>
        <p:blipFill>
          <a:blip r:embed="rId6"/>
          <a:stretch>
            <a:fillRect/>
          </a:stretch>
        </p:blipFill>
        <p:spPr>
          <a:xfrm>
            <a:off x="9361290" y="1176653"/>
            <a:ext cx="1962495" cy="793684"/>
          </a:xfrm>
          <a:prstGeom prst="rect">
            <a:avLst/>
          </a:prstGeom>
        </p:spPr>
      </p:pic>
      <p:pic>
        <p:nvPicPr>
          <p:cNvPr id="17" name="Picture 16">
            <a:extLst>
              <a:ext uri="{FF2B5EF4-FFF2-40B4-BE49-F238E27FC236}">
                <a16:creationId xmlns:a16="http://schemas.microsoft.com/office/drawing/2014/main" id="{1831D95D-2882-4992-8D2E-7F68DA80717C}"/>
              </a:ext>
            </a:extLst>
          </p:cNvPr>
          <p:cNvPicPr>
            <a:picLocks noChangeAspect="1"/>
          </p:cNvPicPr>
          <p:nvPr/>
        </p:nvPicPr>
        <p:blipFill>
          <a:blip r:embed="rId7"/>
          <a:stretch>
            <a:fillRect/>
          </a:stretch>
        </p:blipFill>
        <p:spPr>
          <a:xfrm>
            <a:off x="5917607" y="1164016"/>
            <a:ext cx="1868648" cy="791985"/>
          </a:xfrm>
          <a:prstGeom prst="rect">
            <a:avLst/>
          </a:prstGeom>
        </p:spPr>
      </p:pic>
      <p:sp>
        <p:nvSpPr>
          <p:cNvPr id="18" name="Rectangle 17">
            <a:extLst>
              <a:ext uri="{FF2B5EF4-FFF2-40B4-BE49-F238E27FC236}">
                <a16:creationId xmlns:a16="http://schemas.microsoft.com/office/drawing/2014/main" id="{C84E478A-EA20-4982-A83A-357D4CF7D4BF}"/>
              </a:ext>
            </a:extLst>
          </p:cNvPr>
          <p:cNvSpPr/>
          <p:nvPr/>
        </p:nvSpPr>
        <p:spPr>
          <a:xfrm>
            <a:off x="381000" y="6143806"/>
            <a:ext cx="1080000" cy="221600"/>
          </a:xfrm>
          <a:prstGeom prst="rect">
            <a:avLst/>
          </a:prstGeom>
          <a:solidFill>
            <a:srgbClr val="CFDE63"/>
          </a:solidFill>
        </p:spPr>
        <p:txBody>
          <a:bodyPr wrap="square" lIns="36000" rIns="36000" anchor="ctr">
            <a:noAutofit/>
          </a:bodyPr>
          <a:lstStyle/>
          <a:p>
            <a:pPr>
              <a:spcAft>
                <a:spcPts val="1000"/>
              </a:spcAft>
            </a:pPr>
            <a:r>
              <a:rPr lang="en-GB" sz="1000"/>
              <a:t>Full benefit</a:t>
            </a:r>
          </a:p>
        </p:txBody>
      </p:sp>
      <p:sp>
        <p:nvSpPr>
          <p:cNvPr id="19" name="Rectangle 18">
            <a:extLst>
              <a:ext uri="{FF2B5EF4-FFF2-40B4-BE49-F238E27FC236}">
                <a16:creationId xmlns:a16="http://schemas.microsoft.com/office/drawing/2014/main" id="{8D901F98-326F-4C78-A538-F8BA349974EC}"/>
              </a:ext>
            </a:extLst>
          </p:cNvPr>
          <p:cNvSpPr/>
          <p:nvPr/>
        </p:nvSpPr>
        <p:spPr>
          <a:xfrm>
            <a:off x="1532300" y="6143806"/>
            <a:ext cx="1080000" cy="221600"/>
          </a:xfrm>
          <a:prstGeom prst="rect">
            <a:avLst/>
          </a:prstGeom>
          <a:solidFill>
            <a:schemeClr val="accent2">
              <a:lumMod val="40000"/>
              <a:lumOff val="60000"/>
            </a:schemeClr>
          </a:solidFill>
        </p:spPr>
        <p:txBody>
          <a:bodyPr wrap="square" lIns="36000" rIns="36000" anchor="ctr">
            <a:noAutofit/>
          </a:bodyPr>
          <a:lstStyle/>
          <a:p>
            <a:pPr>
              <a:spcAft>
                <a:spcPts val="1000"/>
              </a:spcAft>
            </a:pPr>
            <a:r>
              <a:rPr lang="en-GB" sz="1000"/>
              <a:t>Partial benefit</a:t>
            </a:r>
          </a:p>
        </p:txBody>
      </p:sp>
      <p:sp>
        <p:nvSpPr>
          <p:cNvPr id="20" name="Rectangle 19">
            <a:extLst>
              <a:ext uri="{FF2B5EF4-FFF2-40B4-BE49-F238E27FC236}">
                <a16:creationId xmlns:a16="http://schemas.microsoft.com/office/drawing/2014/main" id="{37658DFB-65B3-47A1-98E6-763BB0AD29C0}"/>
              </a:ext>
            </a:extLst>
          </p:cNvPr>
          <p:cNvSpPr/>
          <p:nvPr/>
        </p:nvSpPr>
        <p:spPr>
          <a:xfrm>
            <a:off x="2683600" y="6143806"/>
            <a:ext cx="1080000" cy="221600"/>
          </a:xfrm>
          <a:prstGeom prst="rect">
            <a:avLst/>
          </a:prstGeom>
          <a:solidFill>
            <a:schemeClr val="bg1">
              <a:lumMod val="95000"/>
            </a:schemeClr>
          </a:solidFill>
        </p:spPr>
        <p:txBody>
          <a:bodyPr wrap="square" lIns="36000" rIns="36000" anchor="ctr">
            <a:noAutofit/>
          </a:bodyPr>
          <a:lstStyle/>
          <a:p>
            <a:pPr>
              <a:spcAft>
                <a:spcPts val="1000"/>
              </a:spcAft>
            </a:pPr>
            <a:r>
              <a:rPr lang="en-GB" sz="1000"/>
              <a:t>No benefit</a:t>
            </a:r>
          </a:p>
        </p:txBody>
      </p:sp>
      <p:sp>
        <p:nvSpPr>
          <p:cNvPr id="21" name="Rectangle 20">
            <a:extLst>
              <a:ext uri="{FF2B5EF4-FFF2-40B4-BE49-F238E27FC236}">
                <a16:creationId xmlns:a16="http://schemas.microsoft.com/office/drawing/2014/main" id="{3E7B8EDA-F1D6-49C4-8BE9-8F12507793BD}"/>
              </a:ext>
            </a:extLst>
          </p:cNvPr>
          <p:cNvSpPr/>
          <p:nvPr/>
        </p:nvSpPr>
        <p:spPr>
          <a:xfrm>
            <a:off x="3834901" y="6143806"/>
            <a:ext cx="1080000" cy="221600"/>
          </a:xfrm>
          <a:prstGeom prst="rect">
            <a:avLst/>
          </a:prstGeom>
          <a:solidFill>
            <a:srgbClr val="F7D4C9"/>
          </a:solidFill>
        </p:spPr>
        <p:txBody>
          <a:bodyPr wrap="square" lIns="36000" rIns="36000" anchor="ctr">
            <a:noAutofit/>
          </a:bodyPr>
          <a:lstStyle/>
          <a:p>
            <a:pPr>
              <a:spcAft>
                <a:spcPts val="1000"/>
              </a:spcAft>
            </a:pPr>
            <a:r>
              <a:rPr lang="en-GB" sz="1000"/>
              <a:t>Negative impact</a:t>
            </a:r>
          </a:p>
        </p:txBody>
      </p:sp>
      <p:sp>
        <p:nvSpPr>
          <p:cNvPr id="12" name="Oval 11">
            <a:extLst>
              <a:ext uri="{FF2B5EF4-FFF2-40B4-BE49-F238E27FC236}">
                <a16:creationId xmlns:a16="http://schemas.microsoft.com/office/drawing/2014/main" id="{7E7D6893-51B7-55E1-EDD2-B71883F7375F}"/>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13" name="Text Placeholder 3">
            <a:extLst>
              <a:ext uri="{FF2B5EF4-FFF2-40B4-BE49-F238E27FC236}">
                <a16:creationId xmlns:a16="http://schemas.microsoft.com/office/drawing/2014/main" id="{F4CD8C9B-AF73-1D35-5297-02C611F11106}"/>
              </a:ext>
            </a:extLst>
          </p:cNvPr>
          <p:cNvSpPr>
            <a:spLocks noGrp="1"/>
          </p:cNvSpPr>
          <p:nvPr>
            <p:ph type="body" sz="quarter" idx="31"/>
          </p:nvPr>
        </p:nvSpPr>
        <p:spPr>
          <a:xfrm>
            <a:off x="381599" y="79401"/>
            <a:ext cx="1468672" cy="184666"/>
          </a:xfrm>
        </p:spPr>
        <p:txBody>
          <a:bodyPr/>
          <a:lstStyle/>
          <a:p>
            <a:r>
              <a:rPr lang="en-GB"/>
              <a:t>	Project economics</a:t>
            </a:r>
          </a:p>
        </p:txBody>
      </p:sp>
      <p:sp>
        <p:nvSpPr>
          <p:cNvPr id="8" name="Diamond 7">
            <a:extLst>
              <a:ext uri="{FF2B5EF4-FFF2-40B4-BE49-F238E27FC236}">
                <a16:creationId xmlns:a16="http://schemas.microsoft.com/office/drawing/2014/main" id="{5E0C9D64-E522-160A-D8F1-CA5C9A3ABABF}"/>
              </a:ext>
            </a:extLst>
          </p:cNvPr>
          <p:cNvSpPr/>
          <p:nvPr/>
        </p:nvSpPr>
        <p:spPr>
          <a:xfrm>
            <a:off x="363378" y="411856"/>
            <a:ext cx="540000" cy="5400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b="1">
                <a:solidFill>
                  <a:schemeClr val="tx1"/>
                </a:solidFill>
              </a:rPr>
              <a:t>2</a:t>
            </a:r>
          </a:p>
        </p:txBody>
      </p:sp>
      <p:sp>
        <p:nvSpPr>
          <p:cNvPr id="5" name="Rectangle 4">
            <a:extLst>
              <a:ext uri="{FF2B5EF4-FFF2-40B4-BE49-F238E27FC236}">
                <a16:creationId xmlns:a16="http://schemas.microsoft.com/office/drawing/2014/main" id="{336FD1D8-2FA4-0A15-807B-7EE8CCC02E20}"/>
              </a:ext>
            </a:extLst>
          </p:cNvPr>
          <p:cNvSpPr/>
          <p:nvPr/>
        </p:nvSpPr>
        <p:spPr>
          <a:xfrm>
            <a:off x="298174" y="2324976"/>
            <a:ext cx="11525526" cy="3709395"/>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7" name="Group 6">
            <a:extLst>
              <a:ext uri="{FF2B5EF4-FFF2-40B4-BE49-F238E27FC236}">
                <a16:creationId xmlns:a16="http://schemas.microsoft.com/office/drawing/2014/main" id="{4913E440-7BF4-C66C-79DF-BF585550E8CC}"/>
              </a:ext>
            </a:extLst>
          </p:cNvPr>
          <p:cNvGrpSpPr/>
          <p:nvPr/>
        </p:nvGrpSpPr>
        <p:grpSpPr>
          <a:xfrm>
            <a:off x="4772297" y="2928257"/>
            <a:ext cx="2647407" cy="1001486"/>
            <a:chOff x="8251369" y="2255520"/>
            <a:chExt cx="2647407" cy="1001486"/>
          </a:xfrm>
        </p:grpSpPr>
        <p:sp>
          <p:nvSpPr>
            <p:cNvPr id="9" name="Rectangle: Rounded Corners 8">
              <a:extLst>
                <a:ext uri="{FF2B5EF4-FFF2-40B4-BE49-F238E27FC236}">
                  <a16:creationId xmlns:a16="http://schemas.microsoft.com/office/drawing/2014/main" id="{1127EDE6-1F9A-D1BD-8BBA-159CE795313B}"/>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1" name="TextBox 10">
              <a:extLst>
                <a:ext uri="{FF2B5EF4-FFF2-40B4-BE49-F238E27FC236}">
                  <a16:creationId xmlns:a16="http://schemas.microsoft.com/office/drawing/2014/main" id="{D6219324-F519-0103-215B-18152E339D7B}"/>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110852873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01EE8B9-9FA2-E30E-E7ED-1F5619D84B07}"/>
              </a:ext>
            </a:extLst>
          </p:cNvPr>
          <p:cNvGraphicFramePr>
            <a:graphicFrameLocks noChangeAspect="1"/>
          </p:cNvGraphicFramePr>
          <p:nvPr>
            <p:custDataLst>
              <p:tags r:id="rId1"/>
            </p:custDataLst>
            <p:extLst>
              <p:ext uri="{D42A27DB-BD31-4B8C-83A1-F6EECF244321}">
                <p14:modId xmlns:p14="http://schemas.microsoft.com/office/powerpoint/2010/main" val="3624730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8" name="think-cell data - do not delete" hidden="1">
                        <a:extLst>
                          <a:ext uri="{FF2B5EF4-FFF2-40B4-BE49-F238E27FC236}">
                            <a16:creationId xmlns:a16="http://schemas.microsoft.com/office/drawing/2014/main" id="{201EE8B9-9FA2-E30E-E7ED-1F5619D84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19">
            <a:extLst>
              <a:ext uri="{FF2B5EF4-FFF2-40B4-BE49-F238E27FC236}">
                <a16:creationId xmlns:a16="http://schemas.microsoft.com/office/drawing/2014/main" id="{48BEDD48-051E-EF15-C9EB-952BCA0E678D}"/>
              </a:ext>
            </a:extLst>
          </p:cNvPr>
          <p:cNvGraphicFramePr>
            <a:graphicFrameLocks noGrp="1"/>
          </p:cNvGraphicFramePr>
          <p:nvPr/>
        </p:nvGraphicFramePr>
        <p:xfrm>
          <a:off x="1884182" y="1342172"/>
          <a:ext cx="5766215" cy="952142"/>
        </p:xfrm>
        <a:graphic>
          <a:graphicData uri="http://schemas.openxmlformats.org/drawingml/2006/table">
            <a:tbl>
              <a:tblPr firstRow="1" bandRow="1">
                <a:tableStyleId>{2D5ABB26-0587-4C30-8999-92F81FD0307C}</a:tableStyleId>
              </a:tblPr>
              <a:tblGrid>
                <a:gridCol w="5766215">
                  <a:extLst>
                    <a:ext uri="{9D8B030D-6E8A-4147-A177-3AD203B41FA5}">
                      <a16:colId xmlns:a16="http://schemas.microsoft.com/office/drawing/2014/main" val="303839564"/>
                    </a:ext>
                  </a:extLst>
                </a:gridCol>
              </a:tblGrid>
              <a:tr h="312856">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No specific policy, strategies nor targets supporting storage or co-loca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312856">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Regulatory support for storage or co-location with unclear or little impac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32643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Targets and policies favoring storage and co-located project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3" name="Text Placeholder 2">
            <a:extLst>
              <a:ext uri="{FF2B5EF4-FFF2-40B4-BE49-F238E27FC236}">
                <a16:creationId xmlns:a16="http://schemas.microsoft.com/office/drawing/2014/main" id="{7FC8B20E-9558-CD4D-B5AF-D8209C814723}"/>
              </a:ext>
            </a:extLst>
          </p:cNvPr>
          <p:cNvSpPr>
            <a:spLocks noGrp="1"/>
          </p:cNvSpPr>
          <p:nvPr>
            <p:ph type="body" sz="quarter" idx="22"/>
          </p:nvPr>
        </p:nvSpPr>
        <p:spPr/>
        <p:txBody>
          <a:bodyPr/>
          <a:lstStyle/>
          <a:p>
            <a:endParaRPr lang="en-GB"/>
          </a:p>
        </p:txBody>
      </p:sp>
      <p:sp>
        <p:nvSpPr>
          <p:cNvPr id="4" name="Title 3">
            <a:extLst>
              <a:ext uri="{FF2B5EF4-FFF2-40B4-BE49-F238E27FC236}">
                <a16:creationId xmlns:a16="http://schemas.microsoft.com/office/drawing/2014/main" id="{8A8216C4-14BE-CBF6-84F4-1AD357D59228}"/>
              </a:ext>
            </a:extLst>
          </p:cNvPr>
          <p:cNvSpPr>
            <a:spLocks noGrp="1"/>
          </p:cNvSpPr>
          <p:nvPr>
            <p:ph type="title"/>
          </p:nvPr>
        </p:nvSpPr>
        <p:spPr>
          <a:xfrm>
            <a:off x="1062000" y="411856"/>
            <a:ext cx="8600471" cy="609398"/>
          </a:xfrm>
        </p:spPr>
        <p:txBody>
          <a:bodyPr vert="horz"/>
          <a:lstStyle/>
          <a:p>
            <a:r>
              <a:rPr lang="en-GB"/>
              <a:t>Aurora’s rating of four key categories is used to enable environment for co-location projects</a:t>
            </a:r>
          </a:p>
        </p:txBody>
      </p:sp>
      <p:sp>
        <p:nvSpPr>
          <p:cNvPr id="5" name="Text Placeholder 4">
            <a:extLst>
              <a:ext uri="{FF2B5EF4-FFF2-40B4-BE49-F238E27FC236}">
                <a16:creationId xmlns:a16="http://schemas.microsoft.com/office/drawing/2014/main" id="{90472BC8-8821-5238-F322-E5218F23773D}"/>
              </a:ext>
            </a:extLst>
          </p:cNvPr>
          <p:cNvSpPr>
            <a:spLocks noGrp="1"/>
          </p:cNvSpPr>
          <p:nvPr>
            <p:ph type="body" sz="quarter" idx="32"/>
          </p:nvPr>
        </p:nvSpPr>
        <p:spPr/>
        <p:txBody>
          <a:bodyPr/>
          <a:lstStyle/>
          <a:p>
            <a:r>
              <a:rPr lang="en-GB"/>
              <a:t>.</a:t>
            </a:r>
          </a:p>
        </p:txBody>
      </p:sp>
      <p:sp>
        <p:nvSpPr>
          <p:cNvPr id="7" name="Rectangle: Rounded Corners 6">
            <a:extLst>
              <a:ext uri="{FF2B5EF4-FFF2-40B4-BE49-F238E27FC236}">
                <a16:creationId xmlns:a16="http://schemas.microsoft.com/office/drawing/2014/main" id="{258B3164-7E21-1FB8-4B28-97B5247B0BF7}"/>
              </a:ext>
            </a:extLst>
          </p:cNvPr>
          <p:cNvSpPr/>
          <p:nvPr/>
        </p:nvSpPr>
        <p:spPr>
          <a:xfrm>
            <a:off x="8686800" y="1907999"/>
            <a:ext cx="2990193" cy="3960000"/>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3" name="Rectangle: Rounded Corners 12">
            <a:extLst>
              <a:ext uri="{FF2B5EF4-FFF2-40B4-BE49-F238E27FC236}">
                <a16:creationId xmlns:a16="http://schemas.microsoft.com/office/drawing/2014/main" id="{4FCFD3BC-9FB6-A6C4-ECCC-75AEC8770603}"/>
              </a:ext>
            </a:extLst>
          </p:cNvPr>
          <p:cNvSpPr/>
          <p:nvPr/>
        </p:nvSpPr>
        <p:spPr>
          <a:xfrm>
            <a:off x="829310" y="1223999"/>
            <a:ext cx="6700599" cy="1177200"/>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6" name="Oval 11">
            <a:extLst>
              <a:ext uri="{FF2B5EF4-FFF2-40B4-BE49-F238E27FC236}">
                <a16:creationId xmlns:a16="http://schemas.microsoft.com/office/drawing/2014/main" id="{F791AEB5-C5BA-3579-538B-1019FFE30A26}"/>
              </a:ext>
            </a:extLst>
          </p:cNvPr>
          <p:cNvSpPr>
            <a:spLocks/>
          </p:cNvSpPr>
          <p:nvPr/>
        </p:nvSpPr>
        <p:spPr>
          <a:xfrm>
            <a:off x="381001" y="1222692"/>
            <a:ext cx="1137026" cy="1188000"/>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Regulatory Framework</a:t>
            </a:r>
          </a:p>
        </p:txBody>
      </p:sp>
      <p:sp>
        <p:nvSpPr>
          <p:cNvPr id="19" name="Oval 11">
            <a:extLst>
              <a:ext uri="{FF2B5EF4-FFF2-40B4-BE49-F238E27FC236}">
                <a16:creationId xmlns:a16="http://schemas.microsoft.com/office/drawing/2014/main" id="{CF8611B6-A9F2-CB49-CDA9-E7E0CF53BBF2}"/>
              </a:ext>
            </a:extLst>
          </p:cNvPr>
          <p:cNvSpPr>
            <a:spLocks/>
          </p:cNvSpPr>
          <p:nvPr/>
        </p:nvSpPr>
        <p:spPr>
          <a:xfrm>
            <a:off x="8408765" y="1908000"/>
            <a:ext cx="1194382" cy="3960000"/>
          </a:xfrm>
          <a:prstGeom prst="roundRect">
            <a:avLst>
              <a:gd name="adj" fmla="val 21670"/>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Enabling environment for Co-location</a:t>
            </a:r>
          </a:p>
        </p:txBody>
      </p:sp>
      <p:sp>
        <p:nvSpPr>
          <p:cNvPr id="21" name="Text Placeholder 14">
            <a:extLst>
              <a:ext uri="{FF2B5EF4-FFF2-40B4-BE49-F238E27FC236}">
                <a16:creationId xmlns:a16="http://schemas.microsoft.com/office/drawing/2014/main" id="{08E98E9B-1675-A5B8-24BE-188A42E1EE8C}"/>
              </a:ext>
            </a:extLst>
          </p:cNvPr>
          <p:cNvSpPr txBox="1">
            <a:spLocks/>
          </p:cNvSpPr>
          <p:nvPr/>
        </p:nvSpPr>
        <p:spPr>
          <a:xfrm>
            <a:off x="1786843" y="1351260"/>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22" name="Text Placeholder 14">
            <a:extLst>
              <a:ext uri="{FF2B5EF4-FFF2-40B4-BE49-F238E27FC236}">
                <a16:creationId xmlns:a16="http://schemas.microsoft.com/office/drawing/2014/main" id="{4F7B6183-6C1B-8134-6C78-539BB56EA809}"/>
              </a:ext>
            </a:extLst>
          </p:cNvPr>
          <p:cNvSpPr txBox="1">
            <a:spLocks/>
          </p:cNvSpPr>
          <p:nvPr/>
        </p:nvSpPr>
        <p:spPr>
          <a:xfrm>
            <a:off x="1786842" y="1689970"/>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2</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3" name="Text Placeholder 14">
            <a:extLst>
              <a:ext uri="{FF2B5EF4-FFF2-40B4-BE49-F238E27FC236}">
                <a16:creationId xmlns:a16="http://schemas.microsoft.com/office/drawing/2014/main" id="{6B82DE55-0E2D-A04F-57A1-E8C0B29985DB}"/>
              </a:ext>
            </a:extLst>
          </p:cNvPr>
          <p:cNvSpPr txBox="1">
            <a:spLocks/>
          </p:cNvSpPr>
          <p:nvPr/>
        </p:nvSpPr>
        <p:spPr>
          <a:xfrm>
            <a:off x="1786843" y="2019951"/>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3</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aphicFrame>
        <p:nvGraphicFramePr>
          <p:cNvPr id="27" name="Table 26">
            <a:extLst>
              <a:ext uri="{FF2B5EF4-FFF2-40B4-BE49-F238E27FC236}">
                <a16:creationId xmlns:a16="http://schemas.microsoft.com/office/drawing/2014/main" id="{9330E38A-4D1A-50BA-1832-C0729CF6CE42}"/>
              </a:ext>
            </a:extLst>
          </p:cNvPr>
          <p:cNvGraphicFramePr>
            <a:graphicFrameLocks noGrp="1"/>
          </p:cNvGraphicFramePr>
          <p:nvPr/>
        </p:nvGraphicFramePr>
        <p:xfrm>
          <a:off x="10246623" y="3218869"/>
          <a:ext cx="2113063" cy="1404000"/>
        </p:xfrm>
        <a:graphic>
          <a:graphicData uri="http://schemas.openxmlformats.org/drawingml/2006/table">
            <a:tbl>
              <a:tblPr firstRow="1" bandRow="1">
                <a:tableStyleId>{2D5ABB26-0587-4C30-8999-92F81FD0307C}</a:tableStyleId>
              </a:tblPr>
              <a:tblGrid>
                <a:gridCol w="2113063">
                  <a:extLst>
                    <a:ext uri="{9D8B030D-6E8A-4147-A177-3AD203B41FA5}">
                      <a16:colId xmlns:a16="http://schemas.microsoft.com/office/drawing/2014/main" val="303839564"/>
                    </a:ext>
                  </a:extLst>
                </a:gridCol>
              </a:tblGrid>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Not attractive</a:t>
                      </a:r>
                      <a:endParaRPr lang="en-US" sz="1100" kern="1200">
                        <a:solidFill>
                          <a:schemeClr val="tx1"/>
                        </a:solidFill>
                        <a:latin typeface="+mn-lt"/>
                        <a:ea typeface="+mn-ea"/>
                        <a:cs typeface="+mn-cs"/>
                      </a:endParaRP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Moderately </a:t>
                      </a:r>
                    </a:p>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attractive</a:t>
                      </a:r>
                      <a:endParaRPr lang="en-US" sz="1100" kern="1200">
                        <a:solidFill>
                          <a:schemeClr val="tx1"/>
                        </a:solidFill>
                        <a:latin typeface="+mn-lt"/>
                        <a:ea typeface="+mn-ea"/>
                        <a:cs typeface="+mn-cs"/>
                      </a:endParaRP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Currently </a:t>
                      </a:r>
                    </a:p>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attractive</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28" name="Rectangle: Rounded Corners 27">
            <a:extLst>
              <a:ext uri="{FF2B5EF4-FFF2-40B4-BE49-F238E27FC236}">
                <a16:creationId xmlns:a16="http://schemas.microsoft.com/office/drawing/2014/main" id="{C9B2FBD8-D8DF-BE8C-793B-9200B84B548D}"/>
              </a:ext>
            </a:extLst>
          </p:cNvPr>
          <p:cNvSpPr/>
          <p:nvPr/>
        </p:nvSpPr>
        <p:spPr>
          <a:xfrm>
            <a:off x="9766675" y="3294896"/>
            <a:ext cx="622300" cy="332185"/>
          </a:xfrm>
          <a:prstGeom prst="roundRect">
            <a:avLst/>
          </a:prstGeom>
          <a:solidFill>
            <a:srgbClr val="FF7F7F"/>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4-6</a:t>
            </a:r>
          </a:p>
        </p:txBody>
      </p:sp>
      <p:sp>
        <p:nvSpPr>
          <p:cNvPr id="29" name="Rectangle: Rounded Corners 28">
            <a:extLst>
              <a:ext uri="{FF2B5EF4-FFF2-40B4-BE49-F238E27FC236}">
                <a16:creationId xmlns:a16="http://schemas.microsoft.com/office/drawing/2014/main" id="{CEE1F00B-C827-30FF-9EC6-CC9F9BB9014A}"/>
              </a:ext>
            </a:extLst>
          </p:cNvPr>
          <p:cNvSpPr/>
          <p:nvPr/>
        </p:nvSpPr>
        <p:spPr>
          <a:xfrm>
            <a:off x="9777888" y="4188612"/>
            <a:ext cx="622300" cy="332185"/>
          </a:xfrm>
          <a:prstGeom prst="roundRect">
            <a:avLst/>
          </a:prstGeom>
          <a:solidFill>
            <a:srgbClr val="D2DB93"/>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10-12</a:t>
            </a:r>
          </a:p>
        </p:txBody>
      </p:sp>
      <p:sp>
        <p:nvSpPr>
          <p:cNvPr id="30" name="Rectangle: Rounded Corners 29">
            <a:extLst>
              <a:ext uri="{FF2B5EF4-FFF2-40B4-BE49-F238E27FC236}">
                <a16:creationId xmlns:a16="http://schemas.microsoft.com/office/drawing/2014/main" id="{20279FCF-7C3E-9AD9-4083-5285711CE5C8}"/>
              </a:ext>
            </a:extLst>
          </p:cNvPr>
          <p:cNvSpPr/>
          <p:nvPr/>
        </p:nvSpPr>
        <p:spPr>
          <a:xfrm>
            <a:off x="9777888" y="3741754"/>
            <a:ext cx="622300" cy="332185"/>
          </a:xfrm>
          <a:prstGeom prst="roundRect">
            <a:avLst/>
          </a:prstGeom>
          <a:solidFill>
            <a:srgbClr val="FFE57F"/>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7-9</a:t>
            </a:r>
          </a:p>
        </p:txBody>
      </p:sp>
      <p:sp>
        <p:nvSpPr>
          <p:cNvPr id="31" name="Isosceles Triangle 30">
            <a:extLst>
              <a:ext uri="{FF2B5EF4-FFF2-40B4-BE49-F238E27FC236}">
                <a16:creationId xmlns:a16="http://schemas.microsoft.com/office/drawing/2014/main" id="{E4EC22BE-84A4-A8D5-D8B9-0A4F26A740BE}"/>
              </a:ext>
            </a:extLst>
          </p:cNvPr>
          <p:cNvSpPr/>
          <p:nvPr/>
        </p:nvSpPr>
        <p:spPr>
          <a:xfrm rot="5400000">
            <a:off x="6035159" y="3674660"/>
            <a:ext cx="4049298" cy="415719"/>
          </a:xfrm>
          <a:prstGeom prst="triangle">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2" name="TextBox 31">
            <a:extLst>
              <a:ext uri="{FF2B5EF4-FFF2-40B4-BE49-F238E27FC236}">
                <a16:creationId xmlns:a16="http://schemas.microsoft.com/office/drawing/2014/main" id="{5501D237-D829-080F-D717-9228239B99D2}"/>
              </a:ext>
            </a:extLst>
          </p:cNvPr>
          <p:cNvSpPr txBox="1"/>
          <p:nvPr/>
        </p:nvSpPr>
        <p:spPr>
          <a:xfrm>
            <a:off x="9777888" y="2900190"/>
            <a:ext cx="1803400" cy="184666"/>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b="1" u="sng"/>
              <a:t>Traffic Light Score Legend</a:t>
            </a:r>
          </a:p>
        </p:txBody>
      </p:sp>
      <p:graphicFrame>
        <p:nvGraphicFramePr>
          <p:cNvPr id="40" name="Table 39">
            <a:extLst>
              <a:ext uri="{FF2B5EF4-FFF2-40B4-BE49-F238E27FC236}">
                <a16:creationId xmlns:a16="http://schemas.microsoft.com/office/drawing/2014/main" id="{A1EBFA99-5AD3-B524-5E58-96EAE1E5A5B9}"/>
              </a:ext>
            </a:extLst>
          </p:cNvPr>
          <p:cNvGraphicFramePr>
            <a:graphicFrameLocks noGrp="1"/>
          </p:cNvGraphicFramePr>
          <p:nvPr/>
        </p:nvGraphicFramePr>
        <p:xfrm>
          <a:off x="1884182" y="3903056"/>
          <a:ext cx="5645724" cy="992120"/>
        </p:xfrm>
        <a:graphic>
          <a:graphicData uri="http://schemas.openxmlformats.org/drawingml/2006/table">
            <a:tbl>
              <a:tblPr firstRow="1" bandRow="1">
                <a:tableStyleId>{2D5ABB26-0587-4C30-8999-92F81FD0307C}</a:tableStyleId>
              </a:tblPr>
              <a:tblGrid>
                <a:gridCol w="5645724">
                  <a:extLst>
                    <a:ext uri="{9D8B030D-6E8A-4147-A177-3AD203B41FA5}">
                      <a16:colId xmlns:a16="http://schemas.microsoft.com/office/drawing/2014/main" val="303839564"/>
                    </a:ext>
                  </a:extLst>
                </a:gridCol>
              </a:tblGrid>
              <a:tr h="37204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No subsidies available for storage or co-location</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37204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Potential incentives favoring storage and co-located projects with unclear or little impact</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24804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Current or future incentives (e.g. auctions) favoring co-located projects and/or storage</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41" name="Rectangle: Rounded Corners 40">
            <a:extLst>
              <a:ext uri="{FF2B5EF4-FFF2-40B4-BE49-F238E27FC236}">
                <a16:creationId xmlns:a16="http://schemas.microsoft.com/office/drawing/2014/main" id="{D94AB895-7899-BB21-E7CB-ADA6621D68CA}"/>
              </a:ext>
            </a:extLst>
          </p:cNvPr>
          <p:cNvSpPr/>
          <p:nvPr/>
        </p:nvSpPr>
        <p:spPr>
          <a:xfrm>
            <a:off x="829309" y="3816000"/>
            <a:ext cx="6700597" cy="1177200"/>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2" name="Oval 11">
            <a:extLst>
              <a:ext uri="{FF2B5EF4-FFF2-40B4-BE49-F238E27FC236}">
                <a16:creationId xmlns:a16="http://schemas.microsoft.com/office/drawing/2014/main" id="{AE2F9599-467F-72C9-B3ED-0707151F893E}"/>
              </a:ext>
            </a:extLst>
          </p:cNvPr>
          <p:cNvSpPr>
            <a:spLocks/>
          </p:cNvSpPr>
          <p:nvPr/>
        </p:nvSpPr>
        <p:spPr>
          <a:xfrm>
            <a:off x="381000" y="3816000"/>
            <a:ext cx="1137026" cy="1188000"/>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Subsidies and Incentives</a:t>
            </a:r>
          </a:p>
        </p:txBody>
      </p:sp>
      <p:sp>
        <p:nvSpPr>
          <p:cNvPr id="43" name="Text Placeholder 14">
            <a:extLst>
              <a:ext uri="{FF2B5EF4-FFF2-40B4-BE49-F238E27FC236}">
                <a16:creationId xmlns:a16="http://schemas.microsoft.com/office/drawing/2014/main" id="{13B30E0A-3BDF-E6AD-B72A-A03EE1258B50}"/>
              </a:ext>
            </a:extLst>
          </p:cNvPr>
          <p:cNvSpPr txBox="1">
            <a:spLocks/>
          </p:cNvSpPr>
          <p:nvPr/>
        </p:nvSpPr>
        <p:spPr>
          <a:xfrm>
            <a:off x="1786842" y="3942425"/>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44" name="Text Placeholder 14">
            <a:extLst>
              <a:ext uri="{FF2B5EF4-FFF2-40B4-BE49-F238E27FC236}">
                <a16:creationId xmlns:a16="http://schemas.microsoft.com/office/drawing/2014/main" id="{425A8D90-D5EB-98F7-313B-546468DF6406}"/>
              </a:ext>
            </a:extLst>
          </p:cNvPr>
          <p:cNvSpPr txBox="1">
            <a:spLocks/>
          </p:cNvSpPr>
          <p:nvPr/>
        </p:nvSpPr>
        <p:spPr>
          <a:xfrm>
            <a:off x="1786842" y="4306327"/>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2</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 name="Text Placeholder 14">
            <a:extLst>
              <a:ext uri="{FF2B5EF4-FFF2-40B4-BE49-F238E27FC236}">
                <a16:creationId xmlns:a16="http://schemas.microsoft.com/office/drawing/2014/main" id="{34CC463B-9D9E-7375-0AFD-886E073F1C68}"/>
              </a:ext>
            </a:extLst>
          </p:cNvPr>
          <p:cNvSpPr txBox="1">
            <a:spLocks/>
          </p:cNvSpPr>
          <p:nvPr/>
        </p:nvSpPr>
        <p:spPr>
          <a:xfrm>
            <a:off x="1786842" y="4657533"/>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3</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aphicFrame>
        <p:nvGraphicFramePr>
          <p:cNvPr id="46" name="Table 45">
            <a:extLst>
              <a:ext uri="{FF2B5EF4-FFF2-40B4-BE49-F238E27FC236}">
                <a16:creationId xmlns:a16="http://schemas.microsoft.com/office/drawing/2014/main" id="{16D22013-4661-1308-3A06-20E7C5BED64C}"/>
              </a:ext>
            </a:extLst>
          </p:cNvPr>
          <p:cNvGraphicFramePr>
            <a:graphicFrameLocks noGrp="1"/>
          </p:cNvGraphicFramePr>
          <p:nvPr/>
        </p:nvGraphicFramePr>
        <p:xfrm>
          <a:off x="1884182" y="2632333"/>
          <a:ext cx="5766214" cy="1081019"/>
        </p:xfrm>
        <a:graphic>
          <a:graphicData uri="http://schemas.openxmlformats.org/drawingml/2006/table">
            <a:tbl>
              <a:tblPr firstRow="1" bandRow="1">
                <a:tableStyleId>{2D5ABB26-0587-4C30-8999-92F81FD0307C}</a:tableStyleId>
              </a:tblPr>
              <a:tblGrid>
                <a:gridCol w="5766214">
                  <a:extLst>
                    <a:ext uri="{9D8B030D-6E8A-4147-A177-3AD203B41FA5}">
                      <a16:colId xmlns:a16="http://schemas.microsoft.com/office/drawing/2014/main" val="303839564"/>
                    </a:ext>
                  </a:extLst>
                </a:gridCol>
              </a:tblGrid>
              <a:tr h="371994">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1200">
                          <a:solidFill>
                            <a:schemeClr val="tx1"/>
                          </a:solidFill>
                          <a:latin typeface="+mn-lt"/>
                          <a:ea typeface="+mn-ea"/>
                          <a:cs typeface="+mn-cs"/>
                        </a:rPr>
                        <a:t>Limited grid availability, high connection (upfront) costs, restrictions to hybrid projects</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100" kern="1200">
                        <a:solidFill>
                          <a:schemeClr val="tx1"/>
                        </a:solidFill>
                        <a:latin typeface="+mn-lt"/>
                        <a:ea typeface="+mn-ea"/>
                        <a:cs typeface="+mn-cs"/>
                      </a:endParaRP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709025">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A</a:t>
                      </a:r>
                      <a:r>
                        <a:rPr lang="en-US" sz="1100" kern="1200">
                          <a:solidFill>
                            <a:schemeClr val="tx1"/>
                          </a:solidFill>
                          <a:latin typeface="+mn-lt"/>
                          <a:ea typeface="+mn-ea"/>
                          <a:cs typeface="+mn-cs"/>
                        </a:rPr>
                        <a:t>verage connection times and costs for grid connection</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100" kern="1200">
                        <a:solidFill>
                          <a:schemeClr val="tx1"/>
                        </a:solidFill>
                        <a:latin typeface="+mn-lt"/>
                        <a:ea typeface="+mn-ea"/>
                        <a:cs typeface="+mn-cs"/>
                      </a:endParaRPr>
                    </a:p>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Priority for connecting co-located projects and/or grid fees exemptions , vast grid availability</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bl>
          </a:graphicData>
        </a:graphic>
      </p:graphicFrame>
      <p:sp>
        <p:nvSpPr>
          <p:cNvPr id="47" name="Rectangle: Rounded Corners 46">
            <a:extLst>
              <a:ext uri="{FF2B5EF4-FFF2-40B4-BE49-F238E27FC236}">
                <a16:creationId xmlns:a16="http://schemas.microsoft.com/office/drawing/2014/main" id="{6881719D-82AD-8AE6-3905-C3CEBC836D34}"/>
              </a:ext>
            </a:extLst>
          </p:cNvPr>
          <p:cNvSpPr/>
          <p:nvPr/>
        </p:nvSpPr>
        <p:spPr>
          <a:xfrm>
            <a:off x="829310" y="2520000"/>
            <a:ext cx="6700596" cy="1177200"/>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8" name="Oval 11">
            <a:extLst>
              <a:ext uri="{FF2B5EF4-FFF2-40B4-BE49-F238E27FC236}">
                <a16:creationId xmlns:a16="http://schemas.microsoft.com/office/drawing/2014/main" id="{E9C92F52-BEBF-3E76-64E3-7032E1FA1FD5}"/>
              </a:ext>
            </a:extLst>
          </p:cNvPr>
          <p:cNvSpPr>
            <a:spLocks/>
          </p:cNvSpPr>
          <p:nvPr/>
        </p:nvSpPr>
        <p:spPr>
          <a:xfrm>
            <a:off x="381000" y="2520000"/>
            <a:ext cx="1137026" cy="1188000"/>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Grid Integration</a:t>
            </a:r>
          </a:p>
        </p:txBody>
      </p:sp>
      <p:sp>
        <p:nvSpPr>
          <p:cNvPr id="49" name="Text Placeholder 14">
            <a:extLst>
              <a:ext uri="{FF2B5EF4-FFF2-40B4-BE49-F238E27FC236}">
                <a16:creationId xmlns:a16="http://schemas.microsoft.com/office/drawing/2014/main" id="{A4F51579-667A-6404-389D-67F8FF9691F7}"/>
              </a:ext>
            </a:extLst>
          </p:cNvPr>
          <p:cNvSpPr txBox="1">
            <a:spLocks/>
          </p:cNvSpPr>
          <p:nvPr/>
        </p:nvSpPr>
        <p:spPr>
          <a:xfrm>
            <a:off x="1786842" y="2666360"/>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50" name="Text Placeholder 14">
            <a:extLst>
              <a:ext uri="{FF2B5EF4-FFF2-40B4-BE49-F238E27FC236}">
                <a16:creationId xmlns:a16="http://schemas.microsoft.com/office/drawing/2014/main" id="{8758B586-33F7-B63B-5200-40B22D9F16A6}"/>
              </a:ext>
            </a:extLst>
          </p:cNvPr>
          <p:cNvSpPr txBox="1">
            <a:spLocks/>
          </p:cNvSpPr>
          <p:nvPr/>
        </p:nvSpPr>
        <p:spPr>
          <a:xfrm>
            <a:off x="1786842" y="3009249"/>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2</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1" name="Text Placeholder 14">
            <a:extLst>
              <a:ext uri="{FF2B5EF4-FFF2-40B4-BE49-F238E27FC236}">
                <a16:creationId xmlns:a16="http://schemas.microsoft.com/office/drawing/2014/main" id="{A38A65D0-6185-462F-AD7D-69FBEA49A017}"/>
              </a:ext>
            </a:extLst>
          </p:cNvPr>
          <p:cNvSpPr txBox="1">
            <a:spLocks/>
          </p:cNvSpPr>
          <p:nvPr/>
        </p:nvSpPr>
        <p:spPr>
          <a:xfrm>
            <a:off x="1786842" y="3361373"/>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3</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aphicFrame>
        <p:nvGraphicFramePr>
          <p:cNvPr id="11" name="Table 10">
            <a:extLst>
              <a:ext uri="{FF2B5EF4-FFF2-40B4-BE49-F238E27FC236}">
                <a16:creationId xmlns:a16="http://schemas.microsoft.com/office/drawing/2014/main" id="{51974567-7930-9DF7-46F4-41FFC2788191}"/>
              </a:ext>
            </a:extLst>
          </p:cNvPr>
          <p:cNvGraphicFramePr>
            <a:graphicFrameLocks noGrp="1"/>
          </p:cNvGraphicFramePr>
          <p:nvPr/>
        </p:nvGraphicFramePr>
        <p:xfrm>
          <a:off x="1884181" y="5227143"/>
          <a:ext cx="5766215" cy="983416"/>
        </p:xfrm>
        <a:graphic>
          <a:graphicData uri="http://schemas.openxmlformats.org/drawingml/2006/table">
            <a:tbl>
              <a:tblPr firstRow="1" bandRow="1">
                <a:tableStyleId>{2D5ABB26-0587-4C30-8999-92F81FD0307C}</a:tableStyleId>
              </a:tblPr>
              <a:tblGrid>
                <a:gridCol w="5766215">
                  <a:extLst>
                    <a:ext uri="{9D8B030D-6E8A-4147-A177-3AD203B41FA5}">
                      <a16:colId xmlns:a16="http://schemas.microsoft.com/office/drawing/2014/main" val="303839564"/>
                    </a:ext>
                  </a:extLst>
                </a:gridCol>
              </a:tblGrid>
              <a:tr h="312856">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Limited or unlear market access for storage or co-located asset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312856">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Several markets available for storage and co-located assets with restrictions on participation or low revenu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32643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Multiple diverse revenue streams for storage and co-located assets with no restrictions, long-duration contracts available (i.e. C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12" name="Rectangle: Rounded Corners 11">
            <a:extLst>
              <a:ext uri="{FF2B5EF4-FFF2-40B4-BE49-F238E27FC236}">
                <a16:creationId xmlns:a16="http://schemas.microsoft.com/office/drawing/2014/main" id="{7735D527-9766-9D4F-6E34-68F1D1FC217F}"/>
              </a:ext>
            </a:extLst>
          </p:cNvPr>
          <p:cNvSpPr/>
          <p:nvPr/>
        </p:nvSpPr>
        <p:spPr>
          <a:xfrm>
            <a:off x="829309" y="5111999"/>
            <a:ext cx="6700599" cy="1177200"/>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4" name="Oval 11">
            <a:extLst>
              <a:ext uri="{FF2B5EF4-FFF2-40B4-BE49-F238E27FC236}">
                <a16:creationId xmlns:a16="http://schemas.microsoft.com/office/drawing/2014/main" id="{9D1843A5-8C7F-3708-F7D9-70B1DBC76950}"/>
              </a:ext>
            </a:extLst>
          </p:cNvPr>
          <p:cNvSpPr>
            <a:spLocks/>
          </p:cNvSpPr>
          <p:nvPr/>
        </p:nvSpPr>
        <p:spPr>
          <a:xfrm>
            <a:off x="381000" y="5112000"/>
            <a:ext cx="1137026" cy="1188000"/>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Market access and revenue potential</a:t>
            </a:r>
          </a:p>
        </p:txBody>
      </p:sp>
      <p:sp>
        <p:nvSpPr>
          <p:cNvPr id="15" name="Text Placeholder 14">
            <a:extLst>
              <a:ext uri="{FF2B5EF4-FFF2-40B4-BE49-F238E27FC236}">
                <a16:creationId xmlns:a16="http://schemas.microsoft.com/office/drawing/2014/main" id="{5A9BB43A-CF61-148E-B1F6-69E2A1044FD3}"/>
              </a:ext>
            </a:extLst>
          </p:cNvPr>
          <p:cNvSpPr txBox="1">
            <a:spLocks/>
          </p:cNvSpPr>
          <p:nvPr/>
        </p:nvSpPr>
        <p:spPr>
          <a:xfrm>
            <a:off x="1786842" y="5236231"/>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17" name="Text Placeholder 14">
            <a:extLst>
              <a:ext uri="{FF2B5EF4-FFF2-40B4-BE49-F238E27FC236}">
                <a16:creationId xmlns:a16="http://schemas.microsoft.com/office/drawing/2014/main" id="{7C4A5172-CE1A-A181-2421-2CBA74434142}"/>
              </a:ext>
            </a:extLst>
          </p:cNvPr>
          <p:cNvSpPr txBox="1">
            <a:spLocks/>
          </p:cNvSpPr>
          <p:nvPr/>
        </p:nvSpPr>
        <p:spPr>
          <a:xfrm>
            <a:off x="1786841" y="5574941"/>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2</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8" name="Text Placeholder 14">
            <a:extLst>
              <a:ext uri="{FF2B5EF4-FFF2-40B4-BE49-F238E27FC236}">
                <a16:creationId xmlns:a16="http://schemas.microsoft.com/office/drawing/2014/main" id="{BB39D963-81F5-6DF6-D600-9C37E4A48DB0}"/>
              </a:ext>
            </a:extLst>
          </p:cNvPr>
          <p:cNvSpPr txBox="1">
            <a:spLocks/>
          </p:cNvSpPr>
          <p:nvPr/>
        </p:nvSpPr>
        <p:spPr>
          <a:xfrm>
            <a:off x="1786842" y="5904922"/>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3</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 name="Diamond 9">
            <a:extLst>
              <a:ext uri="{FF2B5EF4-FFF2-40B4-BE49-F238E27FC236}">
                <a16:creationId xmlns:a16="http://schemas.microsoft.com/office/drawing/2014/main" id="{7399062C-1F96-B67D-AE54-EBEAEE6F983E}"/>
              </a:ext>
            </a:extLst>
          </p:cNvPr>
          <p:cNvSpPr/>
          <p:nvPr/>
        </p:nvSpPr>
        <p:spPr>
          <a:xfrm>
            <a:off x="363378" y="411856"/>
            <a:ext cx="540000" cy="5400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b="1">
                <a:solidFill>
                  <a:schemeClr val="tx1"/>
                </a:solidFill>
              </a:rPr>
              <a:t>2</a:t>
            </a:r>
          </a:p>
        </p:txBody>
      </p:sp>
      <p:sp>
        <p:nvSpPr>
          <p:cNvPr id="25" name="Oval 24">
            <a:extLst>
              <a:ext uri="{FF2B5EF4-FFF2-40B4-BE49-F238E27FC236}">
                <a16:creationId xmlns:a16="http://schemas.microsoft.com/office/drawing/2014/main" id="{DFBB793B-D305-6657-9C28-8DFB35BD49E2}"/>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26" name="Text Placeholder 3">
            <a:extLst>
              <a:ext uri="{FF2B5EF4-FFF2-40B4-BE49-F238E27FC236}">
                <a16:creationId xmlns:a16="http://schemas.microsoft.com/office/drawing/2014/main" id="{DA7AC6D0-C8D8-922A-9C91-11632669BD9D}"/>
              </a:ext>
            </a:extLst>
          </p:cNvPr>
          <p:cNvSpPr txBox="1">
            <a:spLocks/>
          </p:cNvSpPr>
          <p:nvPr/>
        </p:nvSpPr>
        <p:spPr>
          <a:xfrm>
            <a:off x="381599" y="79401"/>
            <a:ext cx="1468672"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roject economics</a:t>
            </a:r>
          </a:p>
        </p:txBody>
      </p:sp>
    </p:spTree>
    <p:extLst>
      <p:ext uri="{BB962C8B-B14F-4D97-AF65-F5344CB8AC3E}">
        <p14:creationId xmlns:p14="http://schemas.microsoft.com/office/powerpoint/2010/main" val="395518881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F4D111-C2F0-40B0-96CD-BC10C63FBD34}"/>
              </a:ext>
            </a:extLst>
          </p:cNvPr>
          <p:cNvGraphicFramePr>
            <a:graphicFrameLocks noChangeAspect="1"/>
          </p:cNvGraphicFramePr>
          <p:nvPr>
            <p:custDataLst>
              <p:tags r:id="rId1"/>
            </p:custDataLst>
            <p:extLst>
              <p:ext uri="{D42A27DB-BD31-4B8C-83A1-F6EECF244321}">
                <p14:modId xmlns:p14="http://schemas.microsoft.com/office/powerpoint/2010/main" val="3470121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01F4D111-C2F0-40B0-96CD-BC10C63FBD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5" name="Rectangle 184">
            <a:extLst>
              <a:ext uri="{FF2B5EF4-FFF2-40B4-BE49-F238E27FC236}">
                <a16:creationId xmlns:a16="http://schemas.microsoft.com/office/drawing/2014/main" id="{4F95878E-6B27-44F0-AA43-43F3AF16FC12}"/>
              </a:ext>
            </a:extLst>
          </p:cNvPr>
          <p:cNvSpPr/>
          <p:nvPr/>
        </p:nvSpPr>
        <p:spPr>
          <a:xfrm>
            <a:off x="882771" y="1260000"/>
            <a:ext cx="3562107" cy="645987"/>
          </a:xfrm>
          <a:prstGeom prst="rect">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9388"/>
            <a:r>
              <a:rPr lang="en-GB" sz="1200" b="1">
                <a:solidFill>
                  <a:schemeClr val="tx1"/>
                </a:solidFill>
              </a:rPr>
              <a:t>Enabling environment for co-location (utility-scale solar with batteries) </a:t>
            </a:r>
            <a:endParaRPr lang="en-GB" sz="1200" i="1"/>
          </a:p>
        </p:txBody>
      </p:sp>
      <p:grpSp>
        <p:nvGrpSpPr>
          <p:cNvPr id="38" name="Group 37">
            <a:extLst>
              <a:ext uri="{FF2B5EF4-FFF2-40B4-BE49-F238E27FC236}">
                <a16:creationId xmlns:a16="http://schemas.microsoft.com/office/drawing/2014/main" id="{56F5F6DE-654E-448C-9026-1F879B7966FC}"/>
              </a:ext>
            </a:extLst>
          </p:cNvPr>
          <p:cNvGrpSpPr>
            <a:grpSpLocks noChangeAspect="1"/>
          </p:cNvGrpSpPr>
          <p:nvPr/>
        </p:nvGrpSpPr>
        <p:grpSpPr>
          <a:xfrm>
            <a:off x="2231717" y="-54319"/>
            <a:ext cx="6877051" cy="6401588"/>
            <a:chOff x="3197226" y="350264"/>
            <a:chExt cx="6145205" cy="5720340"/>
          </a:xfrm>
          <a:solidFill>
            <a:schemeClr val="accent6">
              <a:lumMod val="20000"/>
              <a:lumOff val="80000"/>
            </a:schemeClr>
          </a:solidFill>
        </p:grpSpPr>
        <p:grpSp>
          <p:nvGrpSpPr>
            <p:cNvPr id="104453" name="Group 104452">
              <a:extLst>
                <a:ext uri="{FF2B5EF4-FFF2-40B4-BE49-F238E27FC236}">
                  <a16:creationId xmlns:a16="http://schemas.microsoft.com/office/drawing/2014/main" id="{715DCA2A-B473-405C-AA6D-7437884CDBCA}"/>
                </a:ext>
              </a:extLst>
            </p:cNvPr>
            <p:cNvGrpSpPr>
              <a:grpSpLocks noChangeAspect="1"/>
            </p:cNvGrpSpPr>
            <p:nvPr/>
          </p:nvGrpSpPr>
          <p:grpSpPr>
            <a:xfrm>
              <a:off x="3197226" y="418603"/>
              <a:ext cx="6145205" cy="5652001"/>
              <a:chOff x="3208002" y="1289216"/>
              <a:chExt cx="5463229" cy="5024752"/>
            </a:xfrm>
            <a:grpFill/>
          </p:grpSpPr>
          <p:sp>
            <p:nvSpPr>
              <p:cNvPr id="191" name="United Kingdom" descr="© INSCALE GmbH, 05.05.2010&#10;http://www.presentationload.com/">
                <a:extLst>
                  <a:ext uri="{FF2B5EF4-FFF2-40B4-BE49-F238E27FC236}">
                    <a16:creationId xmlns:a16="http://schemas.microsoft.com/office/drawing/2014/main" id="{13F15280-ABC0-43DB-9356-B96BB409802F}"/>
                  </a:ext>
                </a:extLst>
              </p:cNvPr>
              <p:cNvSpPr>
                <a:spLocks noEditPoints="1"/>
              </p:cNvSpPr>
              <p:nvPr/>
            </p:nvSpPr>
            <p:spPr bwMode="gray">
              <a:xfrm>
                <a:off x="3516121" y="3250523"/>
                <a:ext cx="876959" cy="1250269"/>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2" name="Ukraine" descr="© INSCALE GmbH, 05.05.2010&#10;http://www.presentationload.com/">
                <a:extLst>
                  <a:ext uri="{FF2B5EF4-FFF2-40B4-BE49-F238E27FC236}">
                    <a16:creationId xmlns:a16="http://schemas.microsoft.com/office/drawing/2014/main" id="{DEBE32D8-0A1B-43AA-A6AC-3C7DA29891FF}"/>
                  </a:ext>
                </a:extLst>
              </p:cNvPr>
              <p:cNvSpPr>
                <a:spLocks/>
              </p:cNvSpPr>
              <p:nvPr/>
            </p:nvSpPr>
            <p:spPr bwMode="gray">
              <a:xfrm>
                <a:off x="6306989" y="4216369"/>
                <a:ext cx="1694670" cy="948067"/>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3" name="Turkey" descr="© INSCALE GmbH, 05.05.2010&#10;http://www.presentationload.com/">
                <a:extLst>
                  <a:ext uri="{FF2B5EF4-FFF2-40B4-BE49-F238E27FC236}">
                    <a16:creationId xmlns:a16="http://schemas.microsoft.com/office/drawing/2014/main" id="{26780C26-1E84-4401-937F-33925AE57B3E}"/>
                  </a:ext>
                </a:extLst>
              </p:cNvPr>
              <p:cNvSpPr>
                <a:spLocks noEditPoints="1"/>
              </p:cNvSpPr>
              <p:nvPr/>
            </p:nvSpPr>
            <p:spPr bwMode="gray">
              <a:xfrm>
                <a:off x="6656588" y="5425152"/>
                <a:ext cx="2014643" cy="770303"/>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4" name="Switzerland" descr="© INSCALE GmbH, 05.05.2010&#10;http://www.presentationload.com/">
                <a:extLst>
                  <a:ext uri="{FF2B5EF4-FFF2-40B4-BE49-F238E27FC236}">
                    <a16:creationId xmlns:a16="http://schemas.microsoft.com/office/drawing/2014/main" id="{F51A0C8C-810F-41AB-B353-8BF7996B2C4F}"/>
                  </a:ext>
                </a:extLst>
              </p:cNvPr>
              <p:cNvSpPr>
                <a:spLocks/>
              </p:cNvSpPr>
              <p:nvPr/>
            </p:nvSpPr>
            <p:spPr bwMode="gray">
              <a:xfrm>
                <a:off x="4772309" y="4743730"/>
                <a:ext cx="438483" cy="242946"/>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5" name="Sweden" descr="© INSCALE GmbH, 05.05.2010&#10;http://www.presentationload.com/">
                <a:extLst>
                  <a:ext uri="{FF2B5EF4-FFF2-40B4-BE49-F238E27FC236}">
                    <a16:creationId xmlns:a16="http://schemas.microsoft.com/office/drawing/2014/main" id="{1B80F49F-741A-47B7-9948-9C09AE447AB4}"/>
                  </a:ext>
                </a:extLst>
              </p:cNvPr>
              <p:cNvSpPr>
                <a:spLocks noEditPoints="1"/>
              </p:cNvSpPr>
              <p:nvPr/>
            </p:nvSpPr>
            <p:spPr bwMode="gray">
              <a:xfrm>
                <a:off x="5270046" y="2361712"/>
                <a:ext cx="1048802" cy="149913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6" name="Spain" descr="© INSCALE GmbH, 05.05.2010&#10;http://www.presentationload.com/">
                <a:extLst>
                  <a:ext uri="{FF2B5EF4-FFF2-40B4-BE49-F238E27FC236}">
                    <a16:creationId xmlns:a16="http://schemas.microsoft.com/office/drawing/2014/main" id="{988F63BA-15BE-4423-96A5-B0228D6C0E76}"/>
                  </a:ext>
                </a:extLst>
              </p:cNvPr>
              <p:cNvSpPr>
                <a:spLocks noEditPoints="1"/>
              </p:cNvSpPr>
              <p:nvPr/>
            </p:nvSpPr>
            <p:spPr bwMode="gray">
              <a:xfrm>
                <a:off x="3261326" y="5235542"/>
                <a:ext cx="1327293" cy="93621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7" name="Slovenia" descr="© INSCALE GmbH, 05.05.2010&#10;http://www.presentationload.com/">
                <a:extLst>
                  <a:ext uri="{FF2B5EF4-FFF2-40B4-BE49-F238E27FC236}">
                    <a16:creationId xmlns:a16="http://schemas.microsoft.com/office/drawing/2014/main" id="{E6828E38-35C4-469B-9974-70D3C531E82F}"/>
                  </a:ext>
                </a:extLst>
              </p:cNvPr>
              <p:cNvSpPr>
                <a:spLocks/>
              </p:cNvSpPr>
              <p:nvPr/>
            </p:nvSpPr>
            <p:spPr bwMode="gray">
              <a:xfrm>
                <a:off x="5471502" y="4850387"/>
                <a:ext cx="319973" cy="183690"/>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8" name="Slovakia" descr="© INSCALE GmbH, 05.05.2010&#10;http://www.presentationload.com/">
                <a:extLst>
                  <a:ext uri="{FF2B5EF4-FFF2-40B4-BE49-F238E27FC236}">
                    <a16:creationId xmlns:a16="http://schemas.microsoft.com/office/drawing/2014/main" id="{CA4E9958-4FFF-4E55-AD10-D248C9D660B0}"/>
                  </a:ext>
                </a:extLst>
              </p:cNvPr>
              <p:cNvSpPr>
                <a:spLocks/>
              </p:cNvSpPr>
              <p:nvPr/>
            </p:nvSpPr>
            <p:spPr bwMode="gray">
              <a:xfrm>
                <a:off x="5797401" y="4542264"/>
                <a:ext cx="539218" cy="219242"/>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199" name="Serbia" descr="© INSCALE GmbH, 05.05.2010&#10;http://www.presentationload.com/">
                <a:extLst>
                  <a:ext uri="{FF2B5EF4-FFF2-40B4-BE49-F238E27FC236}">
                    <a16:creationId xmlns:a16="http://schemas.microsoft.com/office/drawing/2014/main" id="{C0E943FA-7CDE-4DD7-A737-A8128CDAEB36}"/>
                  </a:ext>
                </a:extLst>
              </p:cNvPr>
              <p:cNvSpPr>
                <a:spLocks/>
              </p:cNvSpPr>
              <p:nvPr/>
            </p:nvSpPr>
            <p:spPr bwMode="gray">
              <a:xfrm>
                <a:off x="6004795" y="4945193"/>
                <a:ext cx="414779" cy="45476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0" name="Romania" descr="© INSCALE GmbH, 05.05.2010&#10;http://www.presentationload.com/">
                <a:extLst>
                  <a:ext uri="{FF2B5EF4-FFF2-40B4-BE49-F238E27FC236}">
                    <a16:creationId xmlns:a16="http://schemas.microsoft.com/office/drawing/2014/main" id="{AAA8FAB4-19A0-4B31-B2B2-48F78A50B6D5}"/>
                  </a:ext>
                </a:extLst>
              </p:cNvPr>
              <p:cNvSpPr>
                <a:spLocks/>
              </p:cNvSpPr>
              <p:nvPr/>
            </p:nvSpPr>
            <p:spPr bwMode="gray">
              <a:xfrm>
                <a:off x="6135155" y="4696331"/>
                <a:ext cx="930292" cy="556986"/>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1" name="Portugal" descr="© INSCALE GmbH, 05.05.2010&#10;http://www.presentationload.com/">
                <a:extLst>
                  <a:ext uri="{FF2B5EF4-FFF2-40B4-BE49-F238E27FC236}">
                    <a16:creationId xmlns:a16="http://schemas.microsoft.com/office/drawing/2014/main" id="{A93B406B-190D-44C2-9B00-D375F039A86D}"/>
                  </a:ext>
                </a:extLst>
              </p:cNvPr>
              <p:cNvSpPr>
                <a:spLocks/>
              </p:cNvSpPr>
              <p:nvPr/>
            </p:nvSpPr>
            <p:spPr bwMode="gray">
              <a:xfrm>
                <a:off x="3208002" y="5437002"/>
                <a:ext cx="343676" cy="622173"/>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2" name="Poland" descr="© INSCALE GmbH, 05.05.2010&#10;http://www.presentationload.com/">
                <a:extLst>
                  <a:ext uri="{FF2B5EF4-FFF2-40B4-BE49-F238E27FC236}">
                    <a16:creationId xmlns:a16="http://schemas.microsoft.com/office/drawing/2014/main" id="{8A7696A9-9755-4CE7-AC4C-5893B4FEA022}"/>
                  </a:ext>
                </a:extLst>
              </p:cNvPr>
              <p:cNvSpPr>
                <a:spLocks/>
              </p:cNvSpPr>
              <p:nvPr/>
            </p:nvSpPr>
            <p:spPr bwMode="gray">
              <a:xfrm>
                <a:off x="5536686" y="3926023"/>
                <a:ext cx="948069" cy="68142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3" name="Norway" descr="© INSCALE GmbH, 05.05.2010&#10;http://www.presentationload.com/">
                <a:extLst>
                  <a:ext uri="{FF2B5EF4-FFF2-40B4-BE49-F238E27FC236}">
                    <a16:creationId xmlns:a16="http://schemas.microsoft.com/office/drawing/2014/main" id="{DD6814CB-36B8-4831-9B5D-8F121F07592A}"/>
                  </a:ext>
                </a:extLst>
              </p:cNvPr>
              <p:cNvSpPr>
                <a:spLocks noEditPoints="1"/>
              </p:cNvSpPr>
              <p:nvPr/>
            </p:nvSpPr>
            <p:spPr bwMode="gray">
              <a:xfrm>
                <a:off x="4736757" y="1289216"/>
                <a:ext cx="2062041" cy="2269435"/>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4" name="Netherlands" descr="© INSCALE GmbH, 05.05.2010&#10;http://www.presentationload.com/">
                <a:extLst>
                  <a:ext uri="{FF2B5EF4-FFF2-40B4-BE49-F238E27FC236}">
                    <a16:creationId xmlns:a16="http://schemas.microsoft.com/office/drawing/2014/main" id="{1382F0D6-424F-42FB-AD94-EB54693B6080}"/>
                  </a:ext>
                </a:extLst>
              </p:cNvPr>
              <p:cNvSpPr>
                <a:spLocks/>
              </p:cNvSpPr>
              <p:nvPr/>
            </p:nvSpPr>
            <p:spPr bwMode="gray">
              <a:xfrm>
                <a:off x="4499740" y="4086012"/>
                <a:ext cx="408854" cy="319970"/>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5" name="Montenegro" descr="© INSCALE GmbH, 05.05.2010&#10;http://www.presentationload.com/">
                <a:extLst>
                  <a:ext uri="{FF2B5EF4-FFF2-40B4-BE49-F238E27FC236}">
                    <a16:creationId xmlns:a16="http://schemas.microsoft.com/office/drawing/2014/main" id="{7D2EC0B9-BFDD-426A-80E9-A3C3757D497C}"/>
                  </a:ext>
                </a:extLst>
              </p:cNvPr>
              <p:cNvSpPr>
                <a:spLocks/>
              </p:cNvSpPr>
              <p:nvPr/>
            </p:nvSpPr>
            <p:spPr bwMode="gray">
              <a:xfrm>
                <a:off x="5975166" y="5253319"/>
                <a:ext cx="171836" cy="207391"/>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6" name="Moldova" descr="© INSCALE GmbH, 05.05.2010&#10;http://www.presentationload.com/">
                <a:extLst>
                  <a:ext uri="{FF2B5EF4-FFF2-40B4-BE49-F238E27FC236}">
                    <a16:creationId xmlns:a16="http://schemas.microsoft.com/office/drawing/2014/main" id="{B97A8F91-CB4F-4C53-895A-8890E22AF2F4}"/>
                  </a:ext>
                </a:extLst>
              </p:cNvPr>
              <p:cNvSpPr>
                <a:spLocks/>
              </p:cNvSpPr>
              <p:nvPr/>
            </p:nvSpPr>
            <p:spPr bwMode="gray">
              <a:xfrm>
                <a:off x="6739544" y="4672621"/>
                <a:ext cx="325901" cy="361449"/>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7" name="Macedonia" descr="© INSCALE GmbH, 05.05.2010&#10;http://www.presentationload.com/">
                <a:extLst>
                  <a:ext uri="{FF2B5EF4-FFF2-40B4-BE49-F238E27FC236}">
                    <a16:creationId xmlns:a16="http://schemas.microsoft.com/office/drawing/2014/main" id="{266D6CCC-31AA-4473-AFAC-379CC0EE7D89}"/>
                  </a:ext>
                </a:extLst>
              </p:cNvPr>
              <p:cNvSpPr>
                <a:spLocks/>
              </p:cNvSpPr>
              <p:nvPr/>
            </p:nvSpPr>
            <p:spPr bwMode="gray">
              <a:xfrm>
                <a:off x="6188479" y="5395526"/>
                <a:ext cx="248867" cy="195541"/>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8" name="Luxembourg" descr="© INSCALE GmbH, 05.05.2010&#10;http://www.presentationload.com/">
                <a:extLst>
                  <a:ext uri="{FF2B5EF4-FFF2-40B4-BE49-F238E27FC236}">
                    <a16:creationId xmlns:a16="http://schemas.microsoft.com/office/drawing/2014/main" id="{C5F9450E-A69E-4A37-B9CD-4CD87A329B98}"/>
                  </a:ext>
                </a:extLst>
              </p:cNvPr>
              <p:cNvSpPr>
                <a:spLocks/>
              </p:cNvSpPr>
              <p:nvPr/>
            </p:nvSpPr>
            <p:spPr bwMode="gray">
              <a:xfrm>
                <a:off x="4748608" y="4477088"/>
                <a:ext cx="77031" cy="65184"/>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09" name="Lithuania" descr="© INSCALE GmbH, 05.05.2010&#10;http://www.presentationload.com/">
                <a:extLst>
                  <a:ext uri="{FF2B5EF4-FFF2-40B4-BE49-F238E27FC236}">
                    <a16:creationId xmlns:a16="http://schemas.microsoft.com/office/drawing/2014/main" id="{B487F83C-1EF6-4AB0-8661-94081B648DD8}"/>
                  </a:ext>
                </a:extLst>
              </p:cNvPr>
              <p:cNvSpPr>
                <a:spLocks/>
              </p:cNvSpPr>
              <p:nvPr/>
            </p:nvSpPr>
            <p:spPr bwMode="gray">
              <a:xfrm>
                <a:off x="6147009" y="3736410"/>
                <a:ext cx="515514" cy="296272"/>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0" name="Liechtenstein" descr="© INSCALE GmbH, 05.05.2010&#10;http://www.presentationload.com/">
                <a:extLst>
                  <a:ext uri="{FF2B5EF4-FFF2-40B4-BE49-F238E27FC236}">
                    <a16:creationId xmlns:a16="http://schemas.microsoft.com/office/drawing/2014/main" id="{95645D9B-32F3-424D-8163-24276350F305}"/>
                  </a:ext>
                </a:extLst>
              </p:cNvPr>
              <p:cNvSpPr>
                <a:spLocks/>
              </p:cNvSpPr>
              <p:nvPr/>
            </p:nvSpPr>
            <p:spPr bwMode="gray">
              <a:xfrm>
                <a:off x="5092282" y="4808913"/>
                <a:ext cx="23701" cy="35551"/>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1" name="Latvia" descr="© INSCALE GmbH, 05.05.2010&#10;http://www.presentationload.com/">
                <a:extLst>
                  <a:ext uri="{FF2B5EF4-FFF2-40B4-BE49-F238E27FC236}">
                    <a16:creationId xmlns:a16="http://schemas.microsoft.com/office/drawing/2014/main" id="{A5013DFC-98DC-4B55-B79D-3531CE6635B0}"/>
                  </a:ext>
                </a:extLst>
              </p:cNvPr>
              <p:cNvSpPr>
                <a:spLocks/>
              </p:cNvSpPr>
              <p:nvPr/>
            </p:nvSpPr>
            <p:spPr bwMode="gray">
              <a:xfrm>
                <a:off x="6135155" y="3552720"/>
                <a:ext cx="645871" cy="272568"/>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2" name="Kosovo" descr="© INSCALE GmbH, 05.05.2010&#10;http://www.presentationload.com/">
                <a:extLst>
                  <a:ext uri="{FF2B5EF4-FFF2-40B4-BE49-F238E27FC236}">
                    <a16:creationId xmlns:a16="http://schemas.microsoft.com/office/drawing/2014/main" id="{E8D4CECC-6CF7-4880-BD41-0E69A9C93772}"/>
                  </a:ext>
                </a:extLst>
              </p:cNvPr>
              <p:cNvSpPr>
                <a:spLocks noEditPoints="1"/>
              </p:cNvSpPr>
              <p:nvPr/>
            </p:nvSpPr>
            <p:spPr bwMode="gray">
              <a:xfrm>
                <a:off x="6140364" y="5258042"/>
                <a:ext cx="195287" cy="19673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3" name="Italy" descr="© INSCALE GmbH, 05.05.2010&#10;http://www.presentationload.com/">
                <a:extLst>
                  <a:ext uri="{FF2B5EF4-FFF2-40B4-BE49-F238E27FC236}">
                    <a16:creationId xmlns:a16="http://schemas.microsoft.com/office/drawing/2014/main" id="{EB1C526E-ABD7-43B3-8634-02ED5A693B36}"/>
                  </a:ext>
                </a:extLst>
              </p:cNvPr>
              <p:cNvSpPr>
                <a:spLocks noEditPoints="1"/>
              </p:cNvSpPr>
              <p:nvPr/>
            </p:nvSpPr>
            <p:spPr bwMode="gray">
              <a:xfrm>
                <a:off x="4819713" y="4832611"/>
                <a:ext cx="1179159" cy="1256188"/>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4" name="Ireland" descr="© INSCALE GmbH, 05.05.2010&#10;http://www.presentationload.com/">
                <a:extLst>
                  <a:ext uri="{FF2B5EF4-FFF2-40B4-BE49-F238E27FC236}">
                    <a16:creationId xmlns:a16="http://schemas.microsoft.com/office/drawing/2014/main" id="{EA19A6DE-C868-49AA-8E70-95E35AB6F1F0}"/>
                  </a:ext>
                </a:extLst>
              </p:cNvPr>
              <p:cNvSpPr>
                <a:spLocks/>
              </p:cNvSpPr>
              <p:nvPr/>
            </p:nvSpPr>
            <p:spPr bwMode="gray">
              <a:xfrm>
                <a:off x="3273175" y="3872696"/>
                <a:ext cx="426629" cy="450330"/>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5" name="Hungary" descr="© INSCALE GmbH, 05.05.2010&#10;http://www.presentationload.com/">
                <a:extLst>
                  <a:ext uri="{FF2B5EF4-FFF2-40B4-BE49-F238E27FC236}">
                    <a16:creationId xmlns:a16="http://schemas.microsoft.com/office/drawing/2014/main" id="{B009589D-ECC3-410D-A9B8-2EC73F66ED25}"/>
                  </a:ext>
                </a:extLst>
              </p:cNvPr>
              <p:cNvSpPr>
                <a:spLocks/>
              </p:cNvSpPr>
              <p:nvPr/>
            </p:nvSpPr>
            <p:spPr bwMode="gray">
              <a:xfrm>
                <a:off x="5744081" y="4660774"/>
                <a:ext cx="645871" cy="337752"/>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6" name="Greece" descr="© INSCALE GmbH, 05.05.2010&#10;http://www.presentationload.com/">
                <a:extLst>
                  <a:ext uri="{FF2B5EF4-FFF2-40B4-BE49-F238E27FC236}">
                    <a16:creationId xmlns:a16="http://schemas.microsoft.com/office/drawing/2014/main" id="{0741C58D-291D-49EA-BE0D-628E5CBB7595}"/>
                  </a:ext>
                </a:extLst>
              </p:cNvPr>
              <p:cNvSpPr>
                <a:spLocks noEditPoints="1"/>
              </p:cNvSpPr>
              <p:nvPr/>
            </p:nvSpPr>
            <p:spPr bwMode="gray">
              <a:xfrm>
                <a:off x="6182553" y="5478481"/>
                <a:ext cx="805854" cy="835487"/>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7" name="Germany" descr="© INSCALE GmbH, 05.05.2010&#10;http://www.presentationload.com/">
                <a:extLst>
                  <a:ext uri="{FF2B5EF4-FFF2-40B4-BE49-F238E27FC236}">
                    <a16:creationId xmlns:a16="http://schemas.microsoft.com/office/drawing/2014/main" id="{58234D70-4717-406A-9A27-A5ACCED452F5}"/>
                  </a:ext>
                </a:extLst>
              </p:cNvPr>
              <p:cNvSpPr>
                <a:spLocks/>
              </p:cNvSpPr>
              <p:nvPr/>
            </p:nvSpPr>
            <p:spPr bwMode="gray">
              <a:xfrm>
                <a:off x="4772309" y="3914172"/>
                <a:ext cx="853262" cy="894738"/>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19" name="France" descr="© INSCALE GmbH, 05.05.2010&#10;http://www.presentationload.com/">
                <a:extLst>
                  <a:ext uri="{FF2B5EF4-FFF2-40B4-BE49-F238E27FC236}">
                    <a16:creationId xmlns:a16="http://schemas.microsoft.com/office/drawing/2014/main" id="{AF3A8248-7527-4C7F-BD99-DFBC430CE8FA}"/>
                  </a:ext>
                </a:extLst>
              </p:cNvPr>
              <p:cNvSpPr>
                <a:spLocks noEditPoints="1"/>
              </p:cNvSpPr>
              <p:nvPr/>
            </p:nvSpPr>
            <p:spPr bwMode="gray">
              <a:xfrm>
                <a:off x="3735359" y="4346727"/>
                <a:ext cx="1380626" cy="1191013"/>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0" name="Finland" descr="© INSCALE GmbH, 05.05.2010&#10;http://www.presentationload.com/">
                <a:extLst>
                  <a:ext uri="{FF2B5EF4-FFF2-40B4-BE49-F238E27FC236}">
                    <a16:creationId xmlns:a16="http://schemas.microsoft.com/office/drawing/2014/main" id="{2C6E73FB-32CB-4030-8C90-DD58010B9740}"/>
                  </a:ext>
                </a:extLst>
              </p:cNvPr>
              <p:cNvSpPr>
                <a:spLocks/>
              </p:cNvSpPr>
              <p:nvPr/>
            </p:nvSpPr>
            <p:spPr bwMode="gray">
              <a:xfrm>
                <a:off x="5998866" y="2260982"/>
                <a:ext cx="953997" cy="1084354"/>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1" name="Estonia" descr="© INSCALE GmbH, 05.05.2010&#10;http://www.presentationload.com/">
                <a:extLst>
                  <a:ext uri="{FF2B5EF4-FFF2-40B4-BE49-F238E27FC236}">
                    <a16:creationId xmlns:a16="http://schemas.microsoft.com/office/drawing/2014/main" id="{F6D25535-26B9-467A-AD37-6880F07964A2}"/>
                  </a:ext>
                </a:extLst>
              </p:cNvPr>
              <p:cNvSpPr>
                <a:spLocks noEditPoints="1"/>
              </p:cNvSpPr>
              <p:nvPr/>
            </p:nvSpPr>
            <p:spPr bwMode="gray">
              <a:xfrm>
                <a:off x="6188479" y="3380889"/>
                <a:ext cx="527364" cy="237017"/>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2" name="Denmark" descr="© INSCALE GmbH, 05.05.2010&#10;http://www.presentationload.com/">
                <a:extLst>
                  <a:ext uri="{FF2B5EF4-FFF2-40B4-BE49-F238E27FC236}">
                    <a16:creationId xmlns:a16="http://schemas.microsoft.com/office/drawing/2014/main" id="{5B2D3F81-BFE8-4026-8679-057ED1C4B778}"/>
                  </a:ext>
                </a:extLst>
              </p:cNvPr>
              <p:cNvSpPr>
                <a:spLocks noEditPoints="1"/>
              </p:cNvSpPr>
              <p:nvPr/>
            </p:nvSpPr>
            <p:spPr bwMode="gray">
              <a:xfrm>
                <a:off x="4979700" y="3606053"/>
                <a:ext cx="420707" cy="355521"/>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3" name="Czech Republic" descr="© INSCALE GmbH, 05.05.2010&#10;http://www.presentationload.com/">
                <a:extLst>
                  <a:ext uri="{FF2B5EF4-FFF2-40B4-BE49-F238E27FC236}">
                    <a16:creationId xmlns:a16="http://schemas.microsoft.com/office/drawing/2014/main" id="{ADED7AEF-0D8D-428A-AC07-24B433675075}"/>
                  </a:ext>
                </a:extLst>
              </p:cNvPr>
              <p:cNvSpPr>
                <a:spLocks/>
              </p:cNvSpPr>
              <p:nvPr/>
            </p:nvSpPr>
            <p:spPr bwMode="gray">
              <a:xfrm>
                <a:off x="5352999" y="4370430"/>
                <a:ext cx="639943" cy="290346"/>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4" name="Croatia" descr="© INSCALE GmbH, 05.05.2010&#10;http://www.presentationload.com/">
                <a:extLst>
                  <a:ext uri="{FF2B5EF4-FFF2-40B4-BE49-F238E27FC236}">
                    <a16:creationId xmlns:a16="http://schemas.microsoft.com/office/drawing/2014/main" id="{E43DA813-5DEF-4AD0-8127-359E29668EF3}"/>
                  </a:ext>
                </a:extLst>
              </p:cNvPr>
              <p:cNvSpPr>
                <a:spLocks/>
              </p:cNvSpPr>
              <p:nvPr/>
            </p:nvSpPr>
            <p:spPr bwMode="gray">
              <a:xfrm>
                <a:off x="5507063" y="4909641"/>
                <a:ext cx="556990" cy="414775"/>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5" name="Bulgaria" descr="© INSCALE GmbH, 05.05.2010&#10;http://www.presentationload.com/">
                <a:extLst>
                  <a:ext uri="{FF2B5EF4-FFF2-40B4-BE49-F238E27FC236}">
                    <a16:creationId xmlns:a16="http://schemas.microsoft.com/office/drawing/2014/main" id="{CE413432-A764-42EE-9B94-8FE2F73712A1}"/>
                  </a:ext>
                </a:extLst>
              </p:cNvPr>
              <p:cNvSpPr>
                <a:spLocks/>
              </p:cNvSpPr>
              <p:nvPr/>
            </p:nvSpPr>
            <p:spPr bwMode="gray">
              <a:xfrm>
                <a:off x="6366245" y="5188138"/>
                <a:ext cx="598469" cy="343674"/>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6" name="Bosnia and Herzegovina" descr="© INSCALE GmbH, 05.05.2010&#10;http://www.presentationload.com/">
                <a:extLst>
                  <a:ext uri="{FF2B5EF4-FFF2-40B4-BE49-F238E27FC236}">
                    <a16:creationId xmlns:a16="http://schemas.microsoft.com/office/drawing/2014/main" id="{F931B61D-A8AA-462E-BDA5-34AED460AE9F}"/>
                  </a:ext>
                </a:extLst>
              </p:cNvPr>
              <p:cNvSpPr>
                <a:spLocks/>
              </p:cNvSpPr>
              <p:nvPr/>
            </p:nvSpPr>
            <p:spPr bwMode="gray">
              <a:xfrm>
                <a:off x="5690751" y="5051852"/>
                <a:ext cx="402925" cy="355521"/>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7" name="Belgium" descr="© INSCALE GmbH, 05.05.2010&#10;http://www.presentationload.com/">
                <a:extLst>
                  <a:ext uri="{FF2B5EF4-FFF2-40B4-BE49-F238E27FC236}">
                    <a16:creationId xmlns:a16="http://schemas.microsoft.com/office/drawing/2014/main" id="{05FF33DA-8D20-4900-85D6-EA81A77DCFFA}"/>
                  </a:ext>
                </a:extLst>
              </p:cNvPr>
              <p:cNvSpPr>
                <a:spLocks/>
              </p:cNvSpPr>
              <p:nvPr/>
            </p:nvSpPr>
            <p:spPr bwMode="gray">
              <a:xfrm>
                <a:off x="4481965" y="4323029"/>
                <a:ext cx="337752" cy="231092"/>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28" name="Belarus" descr="© INSCALE GmbH, 05.05.2010&#10;http://www.presentationload.com/">
                <a:extLst>
                  <a:ext uri="{FF2B5EF4-FFF2-40B4-BE49-F238E27FC236}">
                    <a16:creationId xmlns:a16="http://schemas.microsoft.com/office/drawing/2014/main" id="{6ADA8827-22C1-4FAB-A761-9ADEFFF83D22}"/>
                  </a:ext>
                </a:extLst>
              </p:cNvPr>
              <p:cNvSpPr>
                <a:spLocks/>
              </p:cNvSpPr>
              <p:nvPr/>
            </p:nvSpPr>
            <p:spPr bwMode="gray">
              <a:xfrm>
                <a:off x="6372176" y="3771961"/>
                <a:ext cx="865112" cy="562915"/>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30" name="Austria" descr="© INSCALE GmbH, 05.05.2010&#10;http://www.presentationload.com/">
                <a:extLst>
                  <a:ext uri="{FF2B5EF4-FFF2-40B4-BE49-F238E27FC236}">
                    <a16:creationId xmlns:a16="http://schemas.microsoft.com/office/drawing/2014/main" id="{D266865C-730F-4F98-9FD5-031A6A1151BA}"/>
                  </a:ext>
                </a:extLst>
              </p:cNvPr>
              <p:cNvSpPr>
                <a:spLocks/>
              </p:cNvSpPr>
              <p:nvPr/>
            </p:nvSpPr>
            <p:spPr bwMode="gray">
              <a:xfrm>
                <a:off x="5115988" y="4607448"/>
                <a:ext cx="693272" cy="30811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32" name="Andorra" descr="© INSCALE GmbH, 05.05.2010&#10;http://www.presentationload.com/">
                <a:extLst>
                  <a:ext uri="{FF2B5EF4-FFF2-40B4-BE49-F238E27FC236}">
                    <a16:creationId xmlns:a16="http://schemas.microsoft.com/office/drawing/2014/main" id="{1F8E02D7-00A4-4941-810A-51D58A5C4FB4}"/>
                  </a:ext>
                </a:extLst>
              </p:cNvPr>
              <p:cNvSpPr>
                <a:spLocks/>
              </p:cNvSpPr>
              <p:nvPr/>
            </p:nvSpPr>
            <p:spPr bwMode="gray">
              <a:xfrm>
                <a:off x="4310134" y="5371829"/>
                <a:ext cx="47405" cy="23701"/>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233" name="Albania" descr="© INSCALE GmbH, 05.05.2010&#10;http://www.presentationload.com/">
                <a:extLst>
                  <a:ext uri="{FF2B5EF4-FFF2-40B4-BE49-F238E27FC236}">
                    <a16:creationId xmlns:a16="http://schemas.microsoft.com/office/drawing/2014/main" id="{57F84D90-3E27-44C2-8471-913573EDEB4D}"/>
                  </a:ext>
                </a:extLst>
              </p:cNvPr>
              <p:cNvSpPr>
                <a:spLocks/>
              </p:cNvSpPr>
              <p:nvPr/>
            </p:nvSpPr>
            <p:spPr bwMode="gray">
              <a:xfrm>
                <a:off x="6034434" y="5371818"/>
                <a:ext cx="219242" cy="373303"/>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grpSp>
        <p:sp>
          <p:nvSpPr>
            <p:cNvPr id="37" name="Oval 36">
              <a:extLst>
                <a:ext uri="{FF2B5EF4-FFF2-40B4-BE49-F238E27FC236}">
                  <a16:creationId xmlns:a16="http://schemas.microsoft.com/office/drawing/2014/main" id="{B477866B-401B-41D2-B469-CAF7FA8C8BAA}"/>
                </a:ext>
              </a:extLst>
            </p:cNvPr>
            <p:cNvSpPr/>
            <p:nvPr/>
          </p:nvSpPr>
          <p:spPr>
            <a:xfrm>
              <a:off x="5263213" y="350264"/>
              <a:ext cx="2050952" cy="534757"/>
            </a:xfrm>
            <a:prstGeom prst="ellipse">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sp>
        <p:nvSpPr>
          <p:cNvPr id="6" name="Rectangle 5" hidden="1">
            <a:extLst>
              <a:ext uri="{FF2B5EF4-FFF2-40B4-BE49-F238E27FC236}">
                <a16:creationId xmlns:a16="http://schemas.microsoft.com/office/drawing/2014/main" id="{D9B30F05-2797-4A89-B43C-804B3199DCAD}"/>
              </a:ext>
            </a:extLst>
          </p:cNvPr>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ext Placeholder 1">
            <a:extLst>
              <a:ext uri="{FF2B5EF4-FFF2-40B4-BE49-F238E27FC236}">
                <a16:creationId xmlns:a16="http://schemas.microsoft.com/office/drawing/2014/main" id="{4E37A7D5-EC65-4602-973A-9AAA91A13D9D}"/>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72760CB7-9BB9-40D0-8181-F77E36A4C10C}"/>
              </a:ext>
            </a:extLst>
          </p:cNvPr>
          <p:cNvSpPr>
            <a:spLocks noGrp="1"/>
          </p:cNvSpPr>
          <p:nvPr>
            <p:ph type="title"/>
          </p:nvPr>
        </p:nvSpPr>
        <p:spPr>
          <a:xfrm>
            <a:off x="1062001" y="411856"/>
            <a:ext cx="7920674" cy="609398"/>
          </a:xfrm>
        </p:spPr>
        <p:txBody>
          <a:bodyPr vert="horz"/>
          <a:lstStyle/>
          <a:p>
            <a:r>
              <a:rPr lang="en-GB"/>
              <a:t>Favourable policy environment has enabled co-located projects in markets such as </a:t>
            </a:r>
            <a:r>
              <a:rPr lang="en-GB" sz="2400">
                <a:solidFill>
                  <a:srgbClr val="7A7A7A"/>
                </a:solidFill>
                <a:highlight>
                  <a:srgbClr val="7A7A7A"/>
                </a:highlight>
                <a:latin typeface="Lato"/>
              </a:rPr>
              <a:t>XX</a:t>
            </a:r>
            <a:r>
              <a:rPr lang="en-GB"/>
              <a:t>, </a:t>
            </a:r>
            <a:r>
              <a:rPr lang="en-GB" sz="2000">
                <a:solidFill>
                  <a:srgbClr val="7A7A7A"/>
                </a:solidFill>
                <a:highlight>
                  <a:srgbClr val="7A7A7A"/>
                </a:highlight>
                <a:latin typeface="Lato"/>
              </a:rPr>
              <a:t>XX</a:t>
            </a:r>
            <a:r>
              <a:rPr lang="en-GB"/>
              <a:t>, </a:t>
            </a:r>
            <a:r>
              <a:rPr lang="en-GB" sz="2000">
                <a:solidFill>
                  <a:srgbClr val="7A7A7A"/>
                </a:solidFill>
                <a:highlight>
                  <a:srgbClr val="7A7A7A"/>
                </a:highlight>
                <a:latin typeface="Lato"/>
              </a:rPr>
              <a:t>XX</a:t>
            </a:r>
            <a:r>
              <a:rPr lang="en-GB"/>
              <a:t> and </a:t>
            </a:r>
            <a:r>
              <a:rPr lang="en-GB" sz="2000">
                <a:solidFill>
                  <a:srgbClr val="7A7A7A"/>
                </a:solidFill>
                <a:highlight>
                  <a:srgbClr val="7A7A7A"/>
                </a:highlight>
                <a:latin typeface="Lato"/>
              </a:rPr>
              <a:t>XX</a:t>
            </a:r>
            <a:endParaRPr lang="en-GB">
              <a:solidFill>
                <a:schemeClr val="tx1"/>
              </a:solidFill>
            </a:endParaRPr>
          </a:p>
        </p:txBody>
      </p:sp>
      <p:sp>
        <p:nvSpPr>
          <p:cNvPr id="9" name="Text Placeholder 8">
            <a:extLst>
              <a:ext uri="{FF2B5EF4-FFF2-40B4-BE49-F238E27FC236}">
                <a16:creationId xmlns:a16="http://schemas.microsoft.com/office/drawing/2014/main" id="{610E57A4-16C6-47B7-ABE4-1027D30DDC6A}"/>
              </a:ext>
            </a:extLst>
          </p:cNvPr>
          <p:cNvSpPr>
            <a:spLocks noGrp="1"/>
          </p:cNvSpPr>
          <p:nvPr>
            <p:ph type="body" sz="quarter" idx="32"/>
          </p:nvPr>
        </p:nvSpPr>
        <p:spPr>
          <a:xfrm>
            <a:off x="381600" y="6474841"/>
            <a:ext cx="8601074" cy="110800"/>
          </a:xfrm>
        </p:spPr>
        <p:txBody>
          <a:bodyPr/>
          <a:lstStyle/>
          <a:p>
            <a:endParaRPr lang="en-GB">
              <a:latin typeface="+mn-lt"/>
              <a:ea typeface="+mn-ea"/>
              <a:cs typeface="+mn-cs"/>
            </a:endParaRPr>
          </a:p>
        </p:txBody>
      </p:sp>
      <p:sp>
        <p:nvSpPr>
          <p:cNvPr id="11" name="Text Placeholder 10"/>
          <p:cNvSpPr>
            <a:spLocks noGrp="1"/>
          </p:cNvSpPr>
          <p:nvPr>
            <p:ph type="body" sz="quarter" idx="31"/>
          </p:nvPr>
        </p:nvSpPr>
        <p:spPr>
          <a:xfrm>
            <a:off x="381599" y="79401"/>
            <a:ext cx="1468672" cy="184666"/>
          </a:xfrm>
        </p:spPr>
        <p:txBody>
          <a:bodyPr/>
          <a:lstStyle/>
          <a:p>
            <a:r>
              <a:rPr lang="en-GB"/>
              <a:t>	Project economics</a:t>
            </a:r>
          </a:p>
        </p:txBody>
      </p:sp>
      <p:sp>
        <p:nvSpPr>
          <p:cNvPr id="734" name="TextBox 733">
            <a:extLst>
              <a:ext uri="{FF2B5EF4-FFF2-40B4-BE49-F238E27FC236}">
                <a16:creationId xmlns:a16="http://schemas.microsoft.com/office/drawing/2014/main" id="{8ED51AE3-AE04-4A5C-A6F3-1227FFC13DA7}"/>
              </a:ext>
            </a:extLst>
          </p:cNvPr>
          <p:cNvSpPr txBox="1"/>
          <p:nvPr/>
        </p:nvSpPr>
        <p:spPr>
          <a:xfrm>
            <a:off x="3194638" y="3508433"/>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GBR</a:t>
            </a:r>
          </a:p>
        </p:txBody>
      </p:sp>
      <p:sp>
        <p:nvSpPr>
          <p:cNvPr id="146" name="TextBox 145">
            <a:extLst>
              <a:ext uri="{FF2B5EF4-FFF2-40B4-BE49-F238E27FC236}">
                <a16:creationId xmlns:a16="http://schemas.microsoft.com/office/drawing/2014/main" id="{E895E433-7CDB-4F6B-94B5-B9D9BC3F6F54}"/>
              </a:ext>
            </a:extLst>
          </p:cNvPr>
          <p:cNvSpPr txBox="1"/>
          <p:nvPr/>
        </p:nvSpPr>
        <p:spPr>
          <a:xfrm>
            <a:off x="4751315" y="4944995"/>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ITA</a:t>
            </a:r>
          </a:p>
        </p:txBody>
      </p:sp>
      <p:sp>
        <p:nvSpPr>
          <p:cNvPr id="148" name="TextBox 147">
            <a:extLst>
              <a:ext uri="{FF2B5EF4-FFF2-40B4-BE49-F238E27FC236}">
                <a16:creationId xmlns:a16="http://schemas.microsoft.com/office/drawing/2014/main" id="{195F0ABC-2672-490D-9CDE-B6079740D0F1}"/>
              </a:ext>
            </a:extLst>
          </p:cNvPr>
          <p:cNvSpPr txBox="1"/>
          <p:nvPr/>
        </p:nvSpPr>
        <p:spPr>
          <a:xfrm>
            <a:off x="2376124" y="3730118"/>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IRL</a:t>
            </a:r>
          </a:p>
        </p:txBody>
      </p:sp>
      <p:sp>
        <p:nvSpPr>
          <p:cNvPr id="149" name="TextBox 148">
            <a:extLst>
              <a:ext uri="{FF2B5EF4-FFF2-40B4-BE49-F238E27FC236}">
                <a16:creationId xmlns:a16="http://schemas.microsoft.com/office/drawing/2014/main" id="{A3277FC8-F740-476F-80EF-7E1FAAE5F866}"/>
              </a:ext>
            </a:extLst>
          </p:cNvPr>
          <p:cNvSpPr txBox="1"/>
          <p:nvPr/>
        </p:nvSpPr>
        <p:spPr>
          <a:xfrm>
            <a:off x="3635477" y="4547627"/>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FRA</a:t>
            </a:r>
          </a:p>
        </p:txBody>
      </p:sp>
      <p:sp>
        <p:nvSpPr>
          <p:cNvPr id="150" name="TextBox 149">
            <a:extLst>
              <a:ext uri="{FF2B5EF4-FFF2-40B4-BE49-F238E27FC236}">
                <a16:creationId xmlns:a16="http://schemas.microsoft.com/office/drawing/2014/main" id="{E550820A-17C2-4F37-8BB9-5D033E8CB140}"/>
              </a:ext>
            </a:extLst>
          </p:cNvPr>
          <p:cNvSpPr txBox="1"/>
          <p:nvPr/>
        </p:nvSpPr>
        <p:spPr>
          <a:xfrm>
            <a:off x="2855943" y="5543649"/>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ESP</a:t>
            </a:r>
          </a:p>
        </p:txBody>
      </p:sp>
      <p:sp>
        <p:nvSpPr>
          <p:cNvPr id="151" name="TextBox 150">
            <a:extLst>
              <a:ext uri="{FF2B5EF4-FFF2-40B4-BE49-F238E27FC236}">
                <a16:creationId xmlns:a16="http://schemas.microsoft.com/office/drawing/2014/main" id="{4C69B8DF-9851-4128-98DF-256A232772DA}"/>
              </a:ext>
            </a:extLst>
          </p:cNvPr>
          <p:cNvSpPr txBox="1"/>
          <p:nvPr/>
        </p:nvSpPr>
        <p:spPr>
          <a:xfrm>
            <a:off x="2261011" y="5898360"/>
            <a:ext cx="329682"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b="1"/>
              <a:t>PRT</a:t>
            </a:r>
          </a:p>
        </p:txBody>
      </p:sp>
      <p:sp>
        <p:nvSpPr>
          <p:cNvPr id="152" name="TextBox 151">
            <a:extLst>
              <a:ext uri="{FF2B5EF4-FFF2-40B4-BE49-F238E27FC236}">
                <a16:creationId xmlns:a16="http://schemas.microsoft.com/office/drawing/2014/main" id="{5F0CF305-B623-4551-A887-F0B4D6E4EB18}"/>
              </a:ext>
            </a:extLst>
          </p:cNvPr>
          <p:cNvSpPr txBox="1"/>
          <p:nvPr/>
        </p:nvSpPr>
        <p:spPr>
          <a:xfrm>
            <a:off x="4556747" y="3134248"/>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DNK</a:t>
            </a:r>
          </a:p>
        </p:txBody>
      </p:sp>
      <p:sp>
        <p:nvSpPr>
          <p:cNvPr id="354" name="TextBox 353">
            <a:extLst>
              <a:ext uri="{FF2B5EF4-FFF2-40B4-BE49-F238E27FC236}">
                <a16:creationId xmlns:a16="http://schemas.microsoft.com/office/drawing/2014/main" id="{EAD372C1-5666-4A46-A864-A927DB5D7DFC}"/>
              </a:ext>
            </a:extLst>
          </p:cNvPr>
          <p:cNvSpPr txBox="1"/>
          <p:nvPr/>
        </p:nvSpPr>
        <p:spPr>
          <a:xfrm>
            <a:off x="4458858" y="2287250"/>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NOR</a:t>
            </a:r>
          </a:p>
        </p:txBody>
      </p:sp>
      <p:sp>
        <p:nvSpPr>
          <p:cNvPr id="355" name="TextBox 354">
            <a:extLst>
              <a:ext uri="{FF2B5EF4-FFF2-40B4-BE49-F238E27FC236}">
                <a16:creationId xmlns:a16="http://schemas.microsoft.com/office/drawing/2014/main" id="{EC94FF5A-6D0C-4741-8D3C-0A1969C93CA0}"/>
              </a:ext>
            </a:extLst>
          </p:cNvPr>
          <p:cNvSpPr txBox="1"/>
          <p:nvPr/>
        </p:nvSpPr>
        <p:spPr>
          <a:xfrm>
            <a:off x="5107680" y="2656903"/>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SWE</a:t>
            </a:r>
          </a:p>
        </p:txBody>
      </p:sp>
      <p:sp>
        <p:nvSpPr>
          <p:cNvPr id="356" name="TextBox 355">
            <a:extLst>
              <a:ext uri="{FF2B5EF4-FFF2-40B4-BE49-F238E27FC236}">
                <a16:creationId xmlns:a16="http://schemas.microsoft.com/office/drawing/2014/main" id="{80D9DC83-BABD-49D1-9E80-91310C7FC493}"/>
              </a:ext>
            </a:extLst>
          </p:cNvPr>
          <p:cNvSpPr txBox="1"/>
          <p:nvPr/>
        </p:nvSpPr>
        <p:spPr>
          <a:xfrm>
            <a:off x="6232516" y="2316734"/>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FIN</a:t>
            </a:r>
          </a:p>
        </p:txBody>
      </p:sp>
      <p:sp>
        <p:nvSpPr>
          <p:cNvPr id="357" name="TextBox 356">
            <a:extLst>
              <a:ext uri="{FF2B5EF4-FFF2-40B4-BE49-F238E27FC236}">
                <a16:creationId xmlns:a16="http://schemas.microsoft.com/office/drawing/2014/main" id="{FAFD6A0A-A6A3-4976-9CAB-73898B00E398}"/>
              </a:ext>
            </a:extLst>
          </p:cNvPr>
          <p:cNvSpPr txBox="1"/>
          <p:nvPr/>
        </p:nvSpPr>
        <p:spPr>
          <a:xfrm>
            <a:off x="4586852" y="4162055"/>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DEU</a:t>
            </a:r>
          </a:p>
        </p:txBody>
      </p:sp>
      <p:sp>
        <p:nvSpPr>
          <p:cNvPr id="358" name="TextBox 357">
            <a:extLst>
              <a:ext uri="{FF2B5EF4-FFF2-40B4-BE49-F238E27FC236}">
                <a16:creationId xmlns:a16="http://schemas.microsoft.com/office/drawing/2014/main" id="{24C9AC2E-6EBF-4380-868A-4DDBBA50526B}"/>
              </a:ext>
            </a:extLst>
          </p:cNvPr>
          <p:cNvSpPr txBox="1"/>
          <p:nvPr/>
        </p:nvSpPr>
        <p:spPr>
          <a:xfrm>
            <a:off x="5842072" y="3856018"/>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POL</a:t>
            </a:r>
          </a:p>
        </p:txBody>
      </p:sp>
      <p:sp>
        <p:nvSpPr>
          <p:cNvPr id="359" name="TextBox 358">
            <a:extLst>
              <a:ext uri="{FF2B5EF4-FFF2-40B4-BE49-F238E27FC236}">
                <a16:creationId xmlns:a16="http://schemas.microsoft.com/office/drawing/2014/main" id="{A15C6514-65D7-4AA6-ABF0-2CAD8EC3DF6F}"/>
              </a:ext>
            </a:extLst>
          </p:cNvPr>
          <p:cNvSpPr txBox="1"/>
          <p:nvPr/>
        </p:nvSpPr>
        <p:spPr>
          <a:xfrm>
            <a:off x="5625459" y="4504038"/>
            <a:ext cx="329682"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b="1"/>
              <a:t>HUN</a:t>
            </a:r>
          </a:p>
        </p:txBody>
      </p:sp>
      <p:sp>
        <p:nvSpPr>
          <p:cNvPr id="360" name="TextBox 359">
            <a:extLst>
              <a:ext uri="{FF2B5EF4-FFF2-40B4-BE49-F238E27FC236}">
                <a16:creationId xmlns:a16="http://schemas.microsoft.com/office/drawing/2014/main" id="{5DDC1602-037C-4094-A993-B40A8A2D225F}"/>
              </a:ext>
            </a:extLst>
          </p:cNvPr>
          <p:cNvSpPr txBox="1"/>
          <p:nvPr/>
        </p:nvSpPr>
        <p:spPr>
          <a:xfrm>
            <a:off x="6397671" y="4656351"/>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ROU</a:t>
            </a:r>
          </a:p>
        </p:txBody>
      </p:sp>
      <p:sp>
        <p:nvSpPr>
          <p:cNvPr id="361" name="TextBox 360">
            <a:extLst>
              <a:ext uri="{FF2B5EF4-FFF2-40B4-BE49-F238E27FC236}">
                <a16:creationId xmlns:a16="http://schemas.microsoft.com/office/drawing/2014/main" id="{7A9C9F83-185C-44ED-B23F-90CBB2835ADE}"/>
              </a:ext>
            </a:extLst>
          </p:cNvPr>
          <p:cNvSpPr txBox="1"/>
          <p:nvPr/>
        </p:nvSpPr>
        <p:spPr>
          <a:xfrm>
            <a:off x="6439442" y="5086483"/>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BGR</a:t>
            </a:r>
          </a:p>
        </p:txBody>
      </p:sp>
      <p:sp>
        <p:nvSpPr>
          <p:cNvPr id="362" name="TextBox 361">
            <a:extLst>
              <a:ext uri="{FF2B5EF4-FFF2-40B4-BE49-F238E27FC236}">
                <a16:creationId xmlns:a16="http://schemas.microsoft.com/office/drawing/2014/main" id="{35DC02F9-F217-4F14-870E-F2A1A80775E8}"/>
              </a:ext>
            </a:extLst>
          </p:cNvPr>
          <p:cNvSpPr txBox="1"/>
          <p:nvPr/>
        </p:nvSpPr>
        <p:spPr>
          <a:xfrm>
            <a:off x="6051322" y="5786136"/>
            <a:ext cx="329682"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b="1"/>
              <a:t>GRC</a:t>
            </a:r>
          </a:p>
        </p:txBody>
      </p:sp>
      <p:sp>
        <p:nvSpPr>
          <p:cNvPr id="524" name="TextBox 523">
            <a:extLst>
              <a:ext uri="{FF2B5EF4-FFF2-40B4-BE49-F238E27FC236}">
                <a16:creationId xmlns:a16="http://schemas.microsoft.com/office/drawing/2014/main" id="{8851A73F-91F5-4BDD-9D6A-79F9CFD5F2DC}"/>
              </a:ext>
            </a:extLst>
          </p:cNvPr>
          <p:cNvSpPr txBox="1"/>
          <p:nvPr/>
        </p:nvSpPr>
        <p:spPr>
          <a:xfrm>
            <a:off x="4041559" y="3631396"/>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NLD</a:t>
            </a:r>
          </a:p>
        </p:txBody>
      </p:sp>
      <p:grpSp>
        <p:nvGrpSpPr>
          <p:cNvPr id="29" name="Group 28">
            <a:extLst>
              <a:ext uri="{FF2B5EF4-FFF2-40B4-BE49-F238E27FC236}">
                <a16:creationId xmlns:a16="http://schemas.microsoft.com/office/drawing/2014/main" id="{3993911C-84FB-4922-BB8C-1CB7C5DDE09C}"/>
              </a:ext>
            </a:extLst>
          </p:cNvPr>
          <p:cNvGrpSpPr/>
          <p:nvPr/>
        </p:nvGrpSpPr>
        <p:grpSpPr>
          <a:xfrm>
            <a:off x="432445" y="2003175"/>
            <a:ext cx="3458308" cy="1175612"/>
            <a:chOff x="483114" y="2767940"/>
            <a:chExt cx="3458308" cy="1175612"/>
          </a:xfrm>
        </p:grpSpPr>
        <p:sp>
          <p:nvSpPr>
            <p:cNvPr id="171" name="TextBox 170">
              <a:extLst>
                <a:ext uri="{FF2B5EF4-FFF2-40B4-BE49-F238E27FC236}">
                  <a16:creationId xmlns:a16="http://schemas.microsoft.com/office/drawing/2014/main" id="{1F4D52B0-00EA-4193-9193-39DD5A4B6694}"/>
                </a:ext>
              </a:extLst>
            </p:cNvPr>
            <p:cNvSpPr txBox="1"/>
            <p:nvPr/>
          </p:nvSpPr>
          <p:spPr>
            <a:xfrm>
              <a:off x="723042" y="3033750"/>
              <a:ext cx="2761024"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location environment not currently attractive</a:t>
              </a:r>
            </a:p>
          </p:txBody>
        </p:sp>
        <p:sp>
          <p:nvSpPr>
            <p:cNvPr id="169" name="TextBox 168">
              <a:extLst>
                <a:ext uri="{FF2B5EF4-FFF2-40B4-BE49-F238E27FC236}">
                  <a16:creationId xmlns:a16="http://schemas.microsoft.com/office/drawing/2014/main" id="{E22844B1-2D72-4DD7-8113-D6A8BBB4A89E}"/>
                </a:ext>
              </a:extLst>
            </p:cNvPr>
            <p:cNvSpPr txBox="1"/>
            <p:nvPr/>
          </p:nvSpPr>
          <p:spPr>
            <a:xfrm>
              <a:off x="483114" y="2767940"/>
              <a:ext cx="946368" cy="153888"/>
            </a:xfrm>
            <a:prstGeom prst="rect">
              <a:avLst/>
            </a:prstGeom>
            <a:noFill/>
          </p:spPr>
          <p:txBody>
            <a:bodyPr wrap="square" lIns="0" tIns="0" rIns="0" bIns="0" rtlCol="0">
              <a:spAutoFit/>
            </a:bodyPr>
            <a:lstStyle/>
            <a:p>
              <a:pPr marL="0" indent="0">
                <a:spcBef>
                  <a:spcPts val="600"/>
                </a:spcBef>
                <a:buFont typeface="Wingdings" panose="05000000000000000000" pitchFamily="2" charset="2"/>
                <a:buNone/>
              </a:pPr>
              <a:r>
                <a:rPr lang="en-GB" sz="1000" b="1" u="sng">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ating</a:t>
              </a:r>
            </a:p>
          </p:txBody>
        </p:sp>
        <p:grpSp>
          <p:nvGrpSpPr>
            <p:cNvPr id="125" name="Group 124">
              <a:extLst>
                <a:ext uri="{FF2B5EF4-FFF2-40B4-BE49-F238E27FC236}">
                  <a16:creationId xmlns:a16="http://schemas.microsoft.com/office/drawing/2014/main" id="{EC12E80E-8B8D-41DE-AA5E-00C52E7A688E}"/>
                </a:ext>
              </a:extLst>
            </p:cNvPr>
            <p:cNvGrpSpPr/>
            <p:nvPr/>
          </p:nvGrpSpPr>
          <p:grpSpPr>
            <a:xfrm>
              <a:off x="488710" y="3009954"/>
              <a:ext cx="179389" cy="933598"/>
              <a:chOff x="1394340" y="4180654"/>
              <a:chExt cx="144002" cy="730388"/>
            </a:xfrm>
          </p:grpSpPr>
          <p:sp>
            <p:nvSpPr>
              <p:cNvPr id="126" name="Oval 125">
                <a:extLst>
                  <a:ext uri="{FF2B5EF4-FFF2-40B4-BE49-F238E27FC236}">
                    <a16:creationId xmlns:a16="http://schemas.microsoft.com/office/drawing/2014/main" id="{F2F8979C-A0AE-4759-9A74-29949856163E}"/>
                  </a:ext>
                </a:extLst>
              </p:cNvPr>
              <p:cNvSpPr/>
              <p:nvPr/>
            </p:nvSpPr>
            <p:spPr>
              <a:xfrm>
                <a:off x="1394342" y="4372958"/>
                <a:ext cx="144000" cy="144000"/>
              </a:xfrm>
              <a:prstGeom prst="ellipse">
                <a:avLst/>
              </a:prstGeom>
              <a:solidFill>
                <a:schemeClr val="accent2">
                  <a:alpha val="50000"/>
                </a:scheme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7" name="Oval 126">
                <a:extLst>
                  <a:ext uri="{FF2B5EF4-FFF2-40B4-BE49-F238E27FC236}">
                    <a16:creationId xmlns:a16="http://schemas.microsoft.com/office/drawing/2014/main" id="{B0ADC5BE-9E7B-4654-AB9F-1B6ED6708634}"/>
                  </a:ext>
                </a:extLst>
              </p:cNvPr>
              <p:cNvSpPr/>
              <p:nvPr/>
            </p:nvSpPr>
            <p:spPr>
              <a:xfrm>
                <a:off x="1394342" y="4180654"/>
                <a:ext cx="144000" cy="144000"/>
              </a:xfrm>
              <a:prstGeom prst="ellipse">
                <a:avLst/>
              </a:prstGeom>
              <a:solidFill>
                <a:srgbClr val="FF0000">
                  <a:alpha val="50000"/>
                </a:srgb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8" name="Oval 127">
                <a:extLst>
                  <a:ext uri="{FF2B5EF4-FFF2-40B4-BE49-F238E27FC236}">
                    <a16:creationId xmlns:a16="http://schemas.microsoft.com/office/drawing/2014/main" id="{04835F32-A1F9-462D-BA08-3378F6B0395D}"/>
                  </a:ext>
                </a:extLst>
              </p:cNvPr>
              <p:cNvSpPr/>
              <p:nvPr/>
            </p:nvSpPr>
            <p:spPr>
              <a:xfrm>
                <a:off x="1394342" y="4565262"/>
                <a:ext cx="144000" cy="144000"/>
              </a:xfrm>
              <a:prstGeom prst="ellipse">
                <a:avLst/>
              </a:prstGeom>
              <a:solidFill>
                <a:srgbClr val="A6B727">
                  <a:alpha val="50000"/>
                </a:srgb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0" name="Oval 19">
                <a:extLst>
                  <a:ext uri="{FF2B5EF4-FFF2-40B4-BE49-F238E27FC236}">
                    <a16:creationId xmlns:a16="http://schemas.microsoft.com/office/drawing/2014/main" id="{B6B3D3F6-F94B-A2D2-F7C6-B9418374788D}"/>
                  </a:ext>
                </a:extLst>
              </p:cNvPr>
              <p:cNvSpPr/>
              <p:nvPr/>
            </p:nvSpPr>
            <p:spPr>
              <a:xfrm>
                <a:off x="1394340" y="4767042"/>
                <a:ext cx="144000" cy="144000"/>
              </a:xfrm>
              <a:prstGeom prst="ellipse">
                <a:avLst/>
              </a:prstGeom>
              <a:solidFill>
                <a:srgbClr val="E0E0DF"/>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0" name="TextBox 129">
              <a:extLst>
                <a:ext uri="{FF2B5EF4-FFF2-40B4-BE49-F238E27FC236}">
                  <a16:creationId xmlns:a16="http://schemas.microsoft.com/office/drawing/2014/main" id="{22F78829-81C5-4D2E-A545-C20797E353A5}"/>
                </a:ext>
              </a:extLst>
            </p:cNvPr>
            <p:cNvSpPr txBox="1"/>
            <p:nvPr/>
          </p:nvSpPr>
          <p:spPr>
            <a:xfrm>
              <a:off x="723044" y="3270204"/>
              <a:ext cx="3185367"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oderately attractive co-location environment</a:t>
              </a:r>
            </a:p>
          </p:txBody>
        </p:sp>
        <p:sp>
          <p:nvSpPr>
            <p:cNvPr id="131" name="TextBox 130">
              <a:extLst>
                <a:ext uri="{FF2B5EF4-FFF2-40B4-BE49-F238E27FC236}">
                  <a16:creationId xmlns:a16="http://schemas.microsoft.com/office/drawing/2014/main" id="{256A4943-9FB7-4FDC-BB27-525E9D7983CB}"/>
                </a:ext>
              </a:extLst>
            </p:cNvPr>
            <p:cNvSpPr txBox="1"/>
            <p:nvPr/>
          </p:nvSpPr>
          <p:spPr>
            <a:xfrm>
              <a:off x="723043" y="3514296"/>
              <a:ext cx="3218379"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urrently attractive co-location environment</a:t>
              </a:r>
            </a:p>
          </p:txBody>
        </p:sp>
        <p:sp>
          <p:nvSpPr>
            <p:cNvPr id="23" name="TextBox 22">
              <a:extLst>
                <a:ext uri="{FF2B5EF4-FFF2-40B4-BE49-F238E27FC236}">
                  <a16:creationId xmlns:a16="http://schemas.microsoft.com/office/drawing/2014/main" id="{E9ADFB05-6593-D075-A7D2-47CCEA16CFA5}"/>
                </a:ext>
              </a:extLst>
            </p:cNvPr>
            <p:cNvSpPr txBox="1"/>
            <p:nvPr/>
          </p:nvSpPr>
          <p:spPr>
            <a:xfrm>
              <a:off x="723042" y="3772216"/>
              <a:ext cx="1991956"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i="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t assessed</a:t>
              </a:r>
            </a:p>
          </p:txBody>
        </p:sp>
      </p:grpSp>
      <p:sp>
        <p:nvSpPr>
          <p:cNvPr id="8" name="TextBox 7">
            <a:extLst>
              <a:ext uri="{FF2B5EF4-FFF2-40B4-BE49-F238E27FC236}">
                <a16:creationId xmlns:a16="http://schemas.microsoft.com/office/drawing/2014/main" id="{9F0F1E46-E2AC-385B-26D2-605B00A3988C}"/>
              </a:ext>
            </a:extLst>
          </p:cNvPr>
          <p:cNvSpPr txBox="1"/>
          <p:nvPr/>
        </p:nvSpPr>
        <p:spPr>
          <a:xfrm>
            <a:off x="3793456" y="3902906"/>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BEL</a:t>
            </a:r>
          </a:p>
        </p:txBody>
      </p:sp>
      <p:cxnSp>
        <p:nvCxnSpPr>
          <p:cNvPr id="13" name="Straight Connector 12">
            <a:extLst>
              <a:ext uri="{FF2B5EF4-FFF2-40B4-BE49-F238E27FC236}">
                <a16:creationId xmlns:a16="http://schemas.microsoft.com/office/drawing/2014/main" id="{D2F589B4-97B1-145C-D7F8-C5A1634DC36E}"/>
              </a:ext>
            </a:extLst>
          </p:cNvPr>
          <p:cNvCxnSpPr>
            <a:cxnSpLocks/>
            <a:stCxn id="14" idx="1"/>
          </p:cNvCxnSpPr>
          <p:nvPr/>
        </p:nvCxnSpPr>
        <p:spPr>
          <a:xfrm flipH="1">
            <a:off x="4751315" y="1890000"/>
            <a:ext cx="2196685" cy="2227064"/>
          </a:xfrm>
          <a:prstGeom prst="line">
            <a:avLst/>
          </a:prstGeom>
          <a:ln w="9525">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930E14B-18B6-817D-A6C8-6ACCA9C8E6DF}"/>
              </a:ext>
            </a:extLst>
          </p:cNvPr>
          <p:cNvSpPr/>
          <p:nvPr/>
        </p:nvSpPr>
        <p:spPr>
          <a:xfrm>
            <a:off x="6948000" y="1260000"/>
            <a:ext cx="2232000" cy="126000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spcBef>
                <a:spcPts val="600"/>
              </a:spcBef>
            </a:pPr>
            <a:endParaRPr lang="en-GB" sz="1000">
              <a:solidFill>
                <a:schemeClr val="tx1"/>
              </a:solidFill>
            </a:endParaRPr>
          </a:p>
        </p:txBody>
      </p:sp>
      <p:cxnSp>
        <p:nvCxnSpPr>
          <p:cNvPr id="18" name="Straight Connector 17">
            <a:extLst>
              <a:ext uri="{FF2B5EF4-FFF2-40B4-BE49-F238E27FC236}">
                <a16:creationId xmlns:a16="http://schemas.microsoft.com/office/drawing/2014/main" id="{5877F037-446A-B569-65CC-425647B756AB}"/>
              </a:ext>
            </a:extLst>
          </p:cNvPr>
          <p:cNvCxnSpPr>
            <a:cxnSpLocks/>
            <a:stCxn id="19" idx="1"/>
            <a:endCxn id="146" idx="3"/>
          </p:cNvCxnSpPr>
          <p:nvPr/>
        </p:nvCxnSpPr>
        <p:spPr>
          <a:xfrm flipH="1">
            <a:off x="5080997" y="4482000"/>
            <a:ext cx="1867003" cy="539939"/>
          </a:xfrm>
          <a:prstGeom prst="line">
            <a:avLst/>
          </a:prstGeom>
          <a:ln w="9525">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45BC14D0-489B-4A40-78AC-671A005B8A9C}"/>
              </a:ext>
            </a:extLst>
          </p:cNvPr>
          <p:cNvSpPr/>
          <p:nvPr/>
        </p:nvSpPr>
        <p:spPr>
          <a:xfrm>
            <a:off x="6948000" y="3996000"/>
            <a:ext cx="2232000" cy="97200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spcBef>
                <a:spcPts val="600"/>
              </a:spcBef>
            </a:pPr>
            <a:endParaRPr lang="en-GB" sz="1000">
              <a:solidFill>
                <a:schemeClr val="tx1"/>
              </a:solidFill>
            </a:endParaRPr>
          </a:p>
        </p:txBody>
      </p:sp>
      <p:sp>
        <p:nvSpPr>
          <p:cNvPr id="26" name="TextBox 25">
            <a:extLst>
              <a:ext uri="{FF2B5EF4-FFF2-40B4-BE49-F238E27FC236}">
                <a16:creationId xmlns:a16="http://schemas.microsoft.com/office/drawing/2014/main" id="{5649C0D9-B513-285B-A05F-164F4BB8A521}"/>
              </a:ext>
            </a:extLst>
          </p:cNvPr>
          <p:cNvSpPr txBox="1"/>
          <p:nvPr/>
        </p:nvSpPr>
        <p:spPr>
          <a:xfrm>
            <a:off x="5878063" y="4820694"/>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SRB</a:t>
            </a:r>
          </a:p>
        </p:txBody>
      </p:sp>
      <p:sp>
        <p:nvSpPr>
          <p:cNvPr id="27" name="TextBox 26">
            <a:extLst>
              <a:ext uri="{FF2B5EF4-FFF2-40B4-BE49-F238E27FC236}">
                <a16:creationId xmlns:a16="http://schemas.microsoft.com/office/drawing/2014/main" id="{1E2F04AF-4AD8-11B5-8B4D-3F5A17E24883}"/>
              </a:ext>
            </a:extLst>
          </p:cNvPr>
          <p:cNvSpPr txBox="1"/>
          <p:nvPr/>
        </p:nvSpPr>
        <p:spPr>
          <a:xfrm>
            <a:off x="5069304" y="4570476"/>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SVN</a:t>
            </a:r>
          </a:p>
        </p:txBody>
      </p:sp>
      <p:sp>
        <p:nvSpPr>
          <p:cNvPr id="28" name="TextBox 27">
            <a:extLst>
              <a:ext uri="{FF2B5EF4-FFF2-40B4-BE49-F238E27FC236}">
                <a16:creationId xmlns:a16="http://schemas.microsoft.com/office/drawing/2014/main" id="{3A971B39-07AB-5F16-2D4A-B4F0AC598B5F}"/>
              </a:ext>
            </a:extLst>
          </p:cNvPr>
          <p:cNvSpPr txBox="1"/>
          <p:nvPr/>
        </p:nvSpPr>
        <p:spPr>
          <a:xfrm>
            <a:off x="5356795" y="4665271"/>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HRV</a:t>
            </a:r>
          </a:p>
        </p:txBody>
      </p:sp>
      <p:sp>
        <p:nvSpPr>
          <p:cNvPr id="31" name="TextBox 30">
            <a:extLst>
              <a:ext uri="{FF2B5EF4-FFF2-40B4-BE49-F238E27FC236}">
                <a16:creationId xmlns:a16="http://schemas.microsoft.com/office/drawing/2014/main" id="{092F005E-1E36-B8CB-ACB0-48C5882B387C}"/>
              </a:ext>
            </a:extLst>
          </p:cNvPr>
          <p:cNvSpPr txBox="1"/>
          <p:nvPr/>
        </p:nvSpPr>
        <p:spPr>
          <a:xfrm>
            <a:off x="5977884" y="3214424"/>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LTU</a:t>
            </a:r>
          </a:p>
        </p:txBody>
      </p:sp>
      <p:sp>
        <p:nvSpPr>
          <p:cNvPr id="32" name="TextBox 31">
            <a:extLst>
              <a:ext uri="{FF2B5EF4-FFF2-40B4-BE49-F238E27FC236}">
                <a16:creationId xmlns:a16="http://schemas.microsoft.com/office/drawing/2014/main" id="{1FCFAD6D-B683-F625-8916-605BF4DFB7DB}"/>
              </a:ext>
            </a:extLst>
          </p:cNvPr>
          <p:cNvSpPr txBox="1"/>
          <p:nvPr/>
        </p:nvSpPr>
        <p:spPr>
          <a:xfrm>
            <a:off x="6211474" y="2998232"/>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LVA</a:t>
            </a:r>
          </a:p>
        </p:txBody>
      </p:sp>
      <p:sp>
        <p:nvSpPr>
          <p:cNvPr id="33" name="TextBox 32">
            <a:extLst>
              <a:ext uri="{FF2B5EF4-FFF2-40B4-BE49-F238E27FC236}">
                <a16:creationId xmlns:a16="http://schemas.microsoft.com/office/drawing/2014/main" id="{7CCE6C6C-FFA9-4B14-7435-F3035D0B0EA8}"/>
              </a:ext>
            </a:extLst>
          </p:cNvPr>
          <p:cNvSpPr txBox="1"/>
          <p:nvPr/>
        </p:nvSpPr>
        <p:spPr>
          <a:xfrm>
            <a:off x="6249791" y="2675384"/>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EST</a:t>
            </a:r>
          </a:p>
        </p:txBody>
      </p:sp>
      <p:sp>
        <p:nvSpPr>
          <p:cNvPr id="46" name="Oval 45">
            <a:extLst>
              <a:ext uri="{FF2B5EF4-FFF2-40B4-BE49-F238E27FC236}">
                <a16:creationId xmlns:a16="http://schemas.microsoft.com/office/drawing/2014/main" id="{0BB91C7C-6471-A2A3-A242-4E3A2DF4FBC4}"/>
              </a:ext>
            </a:extLst>
          </p:cNvPr>
          <p:cNvSpPr/>
          <p:nvPr/>
        </p:nvSpPr>
        <p:spPr>
          <a:xfrm>
            <a:off x="401965" y="1260000"/>
            <a:ext cx="644400" cy="644400"/>
          </a:xfrm>
          <a:prstGeom prst="ellipse">
            <a:avLst/>
          </a:prstGeom>
          <a:solidFill>
            <a:schemeClr val="accent2"/>
          </a:solidFill>
          <a:ln w="635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45" name="Graphic 44" descr="Battery charging with solid fill">
            <a:extLst>
              <a:ext uri="{FF2B5EF4-FFF2-40B4-BE49-F238E27FC236}">
                <a16:creationId xmlns:a16="http://schemas.microsoft.com/office/drawing/2014/main" id="{852A8195-A7FA-6AE7-F525-CD4DA986C4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6990" y="1570067"/>
            <a:ext cx="341755" cy="341755"/>
          </a:xfrm>
          <a:prstGeom prst="rect">
            <a:avLst/>
          </a:prstGeom>
        </p:spPr>
      </p:pic>
      <p:pic>
        <p:nvPicPr>
          <p:cNvPr id="43" name="Graphic 42" descr="Solar Panels with solid fill">
            <a:extLst>
              <a:ext uri="{FF2B5EF4-FFF2-40B4-BE49-F238E27FC236}">
                <a16:creationId xmlns:a16="http://schemas.microsoft.com/office/drawing/2014/main" id="{016E7C25-8692-95A1-6B1A-37A617715C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0256" y="1321584"/>
            <a:ext cx="314602" cy="314602"/>
          </a:xfrm>
          <a:prstGeom prst="rect">
            <a:avLst/>
          </a:prstGeom>
        </p:spPr>
      </p:pic>
      <p:cxnSp>
        <p:nvCxnSpPr>
          <p:cNvPr id="63" name="Straight Connector 62">
            <a:extLst>
              <a:ext uri="{FF2B5EF4-FFF2-40B4-BE49-F238E27FC236}">
                <a16:creationId xmlns:a16="http://schemas.microsoft.com/office/drawing/2014/main" id="{EFF11274-38CC-697C-AC95-1FF5AC078CB1}"/>
              </a:ext>
            </a:extLst>
          </p:cNvPr>
          <p:cNvCxnSpPr>
            <a:cxnSpLocks/>
            <a:stCxn id="512" idx="1"/>
            <a:endCxn id="151" idx="3"/>
          </p:cNvCxnSpPr>
          <p:nvPr/>
        </p:nvCxnSpPr>
        <p:spPr>
          <a:xfrm flipH="1">
            <a:off x="2590693" y="5870798"/>
            <a:ext cx="767471" cy="104506"/>
          </a:xfrm>
          <a:prstGeom prst="line">
            <a:avLst/>
          </a:prstGeom>
          <a:ln w="9525">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sp>
        <p:nvSpPr>
          <p:cNvPr id="512" name="Rectangle 511">
            <a:extLst>
              <a:ext uri="{FF2B5EF4-FFF2-40B4-BE49-F238E27FC236}">
                <a16:creationId xmlns:a16="http://schemas.microsoft.com/office/drawing/2014/main" id="{AA44A860-111F-1154-35BA-E6C715EEBD3F}"/>
              </a:ext>
            </a:extLst>
          </p:cNvPr>
          <p:cNvSpPr/>
          <p:nvPr/>
        </p:nvSpPr>
        <p:spPr>
          <a:xfrm>
            <a:off x="3358164" y="5344557"/>
            <a:ext cx="2501405" cy="1052481"/>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spcBef>
                <a:spcPts val="600"/>
              </a:spcBef>
            </a:pPr>
            <a:endParaRPr lang="en-GB" sz="1000">
              <a:solidFill>
                <a:schemeClr val="tx1"/>
              </a:solidFill>
            </a:endParaRPr>
          </a:p>
        </p:txBody>
      </p:sp>
      <p:cxnSp>
        <p:nvCxnSpPr>
          <p:cNvPr id="519" name="Straight Connector 518">
            <a:extLst>
              <a:ext uri="{FF2B5EF4-FFF2-40B4-BE49-F238E27FC236}">
                <a16:creationId xmlns:a16="http://schemas.microsoft.com/office/drawing/2014/main" id="{48ED8A7D-8CCD-49D8-2C26-DCF80173A375}"/>
              </a:ext>
            </a:extLst>
          </p:cNvPr>
          <p:cNvCxnSpPr>
            <a:cxnSpLocks/>
            <a:stCxn id="512" idx="1"/>
            <a:endCxn id="150" idx="3"/>
          </p:cNvCxnSpPr>
          <p:nvPr/>
        </p:nvCxnSpPr>
        <p:spPr>
          <a:xfrm flipH="1" flipV="1">
            <a:off x="3185625" y="5620593"/>
            <a:ext cx="172539" cy="250205"/>
          </a:xfrm>
          <a:prstGeom prst="line">
            <a:avLst/>
          </a:prstGeom>
          <a:ln w="9525">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sp>
        <p:nvSpPr>
          <p:cNvPr id="525" name="Rectangle 524">
            <a:extLst>
              <a:ext uri="{FF2B5EF4-FFF2-40B4-BE49-F238E27FC236}">
                <a16:creationId xmlns:a16="http://schemas.microsoft.com/office/drawing/2014/main" id="{AD4BA816-6BBC-E7B5-F619-A95AD9E74D4D}"/>
              </a:ext>
            </a:extLst>
          </p:cNvPr>
          <p:cNvSpPr/>
          <p:nvPr/>
        </p:nvSpPr>
        <p:spPr>
          <a:xfrm>
            <a:off x="389424" y="4951578"/>
            <a:ext cx="1804461" cy="144678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spcBef>
                <a:spcPts val="600"/>
              </a:spcBef>
            </a:pPr>
            <a:endParaRPr lang="en-GB" sz="1000">
              <a:solidFill>
                <a:schemeClr val="tx1"/>
              </a:solidFill>
            </a:endParaRPr>
          </a:p>
        </p:txBody>
      </p:sp>
      <p:cxnSp>
        <p:nvCxnSpPr>
          <p:cNvPr id="526" name="Straight Connector 525">
            <a:extLst>
              <a:ext uri="{FF2B5EF4-FFF2-40B4-BE49-F238E27FC236}">
                <a16:creationId xmlns:a16="http://schemas.microsoft.com/office/drawing/2014/main" id="{95C3874E-3DFC-6078-EDFA-A1FA665953BC}"/>
              </a:ext>
            </a:extLst>
          </p:cNvPr>
          <p:cNvCxnSpPr>
            <a:cxnSpLocks/>
            <a:stCxn id="525" idx="3"/>
          </p:cNvCxnSpPr>
          <p:nvPr/>
        </p:nvCxnSpPr>
        <p:spPr>
          <a:xfrm flipV="1">
            <a:off x="2193885" y="3696662"/>
            <a:ext cx="1164279" cy="1978306"/>
          </a:xfrm>
          <a:prstGeom prst="line">
            <a:avLst/>
          </a:prstGeom>
          <a:ln w="9525">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a:t>
            </a:r>
          </a:p>
        </p:txBody>
      </p:sp>
      <p:sp>
        <p:nvSpPr>
          <p:cNvPr id="104461" name="Rectangle 104460">
            <a:extLst>
              <a:ext uri="{FF2B5EF4-FFF2-40B4-BE49-F238E27FC236}">
                <a16:creationId xmlns:a16="http://schemas.microsoft.com/office/drawing/2014/main" id="{CD83D5E8-A29F-EE28-2733-93B900BC1129}"/>
              </a:ext>
            </a:extLst>
          </p:cNvPr>
          <p:cNvSpPr/>
          <p:nvPr/>
        </p:nvSpPr>
        <p:spPr>
          <a:xfrm>
            <a:off x="389424" y="3510000"/>
            <a:ext cx="1804461" cy="126000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a:spcBef>
                <a:spcPts val="600"/>
              </a:spcBef>
            </a:pPr>
            <a:endParaRPr lang="en-GB" sz="1000">
              <a:solidFill>
                <a:schemeClr val="tx1"/>
              </a:solidFill>
            </a:endParaRPr>
          </a:p>
        </p:txBody>
      </p:sp>
      <p:cxnSp>
        <p:nvCxnSpPr>
          <p:cNvPr id="104462" name="Straight Connector 104461">
            <a:extLst>
              <a:ext uri="{FF2B5EF4-FFF2-40B4-BE49-F238E27FC236}">
                <a16:creationId xmlns:a16="http://schemas.microsoft.com/office/drawing/2014/main" id="{A7ED29DF-B042-2A83-5867-0C0F72844234}"/>
              </a:ext>
            </a:extLst>
          </p:cNvPr>
          <p:cNvCxnSpPr>
            <a:cxnSpLocks/>
            <a:stCxn id="104461" idx="3"/>
            <a:endCxn id="148" idx="1"/>
          </p:cNvCxnSpPr>
          <p:nvPr/>
        </p:nvCxnSpPr>
        <p:spPr>
          <a:xfrm flipV="1">
            <a:off x="2193885" y="3807062"/>
            <a:ext cx="182239" cy="332938"/>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4" name="Diamond 3">
            <a:extLst>
              <a:ext uri="{FF2B5EF4-FFF2-40B4-BE49-F238E27FC236}">
                <a16:creationId xmlns:a16="http://schemas.microsoft.com/office/drawing/2014/main" id="{B548D770-734F-2FD8-F6E6-98183C365244}"/>
              </a:ext>
            </a:extLst>
          </p:cNvPr>
          <p:cNvSpPr/>
          <p:nvPr/>
        </p:nvSpPr>
        <p:spPr>
          <a:xfrm>
            <a:off x="363378" y="411856"/>
            <a:ext cx="540000" cy="540000"/>
          </a:xfrm>
          <a:prstGeom prst="diamond">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b="1">
                <a:solidFill>
                  <a:schemeClr val="tx1"/>
                </a:solidFill>
              </a:rPr>
              <a:t>2</a:t>
            </a:r>
          </a:p>
        </p:txBody>
      </p:sp>
      <p:sp>
        <p:nvSpPr>
          <p:cNvPr id="5" name="Text Placeholder 16">
            <a:extLst>
              <a:ext uri="{FF2B5EF4-FFF2-40B4-BE49-F238E27FC236}">
                <a16:creationId xmlns:a16="http://schemas.microsoft.com/office/drawing/2014/main" id="{C9E26E4B-650C-4018-981E-E36DE4F385CC}"/>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193765375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021E4B-A79E-48C1-9D6A-5BF40A6F8F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D021E4B-A79E-48C1-9D6A-5BF40A6F8F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582D91-47B5-41B1-A2C6-A6F4536EAD91}"/>
              </a:ext>
            </a:extLst>
          </p:cNvPr>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2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 name="Text Placeholder 4">
            <a:extLst>
              <a:ext uri="{FF2B5EF4-FFF2-40B4-BE49-F238E27FC236}">
                <a16:creationId xmlns:a16="http://schemas.microsoft.com/office/drawing/2014/main" id="{B3BFD43F-BD8B-4039-B338-6446F90AFA61}"/>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EE32FEC1-566C-4AEF-89EE-65501BB81B3B}"/>
              </a:ext>
            </a:extLst>
          </p:cNvPr>
          <p:cNvSpPr>
            <a:spLocks noGrp="1"/>
          </p:cNvSpPr>
          <p:nvPr>
            <p:ph type="title"/>
          </p:nvPr>
        </p:nvSpPr>
        <p:spPr/>
        <p:txBody>
          <a:bodyPr vert="horz"/>
          <a:lstStyle/>
          <a:p>
            <a:r>
              <a:rPr lang="en-GB"/>
              <a:t>Unique, proprietary, in-house modelling capabilities underpin Aurora’s superior analysis</a:t>
            </a:r>
          </a:p>
        </p:txBody>
      </p:sp>
      <p:sp>
        <p:nvSpPr>
          <p:cNvPr id="10" name="Text Placeholder 9">
            <a:extLst>
              <a:ext uri="{FF2B5EF4-FFF2-40B4-BE49-F238E27FC236}">
                <a16:creationId xmlns:a16="http://schemas.microsoft.com/office/drawing/2014/main" id="{20E80AD4-8014-49DE-A012-0B13056D2076}"/>
              </a:ext>
            </a:extLst>
          </p:cNvPr>
          <p:cNvSpPr>
            <a:spLocks noGrp="1"/>
          </p:cNvSpPr>
          <p:nvPr>
            <p:ph type="body" sz="quarter" idx="32"/>
          </p:nvPr>
        </p:nvSpPr>
        <p:spPr/>
        <p:txBody>
          <a:bodyPr/>
          <a:lstStyle/>
          <a:p>
            <a:r>
              <a:rPr lang="en-GB"/>
              <a:t>1) Gas, coal, oil and carbon prices fundamentally modelled in-house with fully integrated commodities and gas market model</a:t>
            </a:r>
          </a:p>
        </p:txBody>
      </p:sp>
      <p:sp>
        <p:nvSpPr>
          <p:cNvPr id="13" name="Rectangle 12">
            <a:extLst>
              <a:ext uri="{FF2B5EF4-FFF2-40B4-BE49-F238E27FC236}">
                <a16:creationId xmlns:a16="http://schemas.microsoft.com/office/drawing/2014/main" id="{EB174F5C-C85B-4251-9345-94912552DDAB}"/>
              </a:ext>
            </a:extLst>
          </p:cNvPr>
          <p:cNvSpPr/>
          <p:nvPr/>
        </p:nvSpPr>
        <p:spPr>
          <a:xfrm>
            <a:off x="381002" y="2328585"/>
            <a:ext cx="11428800" cy="3729315"/>
          </a:xfrm>
          <a:prstGeom prst="rect">
            <a:avLst/>
          </a:prstGeom>
          <a:solidFill>
            <a:schemeClr val="bg1"/>
          </a:solidFill>
          <a:ln w="63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84406" rIns="84406" bIns="84406" numCol="1" spcCol="0" rtlCol="0" fromWordArt="0" anchor="t"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Rounded Rectangle 215">
            <a:extLst>
              <a:ext uri="{FF2B5EF4-FFF2-40B4-BE49-F238E27FC236}">
                <a16:creationId xmlns:a16="http://schemas.microsoft.com/office/drawing/2014/main" id="{A872C8BB-E120-4C16-A92F-78122DF9E4F5}"/>
              </a:ext>
            </a:extLst>
          </p:cNvPr>
          <p:cNvSpPr/>
          <p:nvPr/>
        </p:nvSpPr>
        <p:spPr>
          <a:xfrm>
            <a:off x="9022761" y="3978709"/>
            <a:ext cx="2160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holesale &amp; imbalance prices</a:t>
            </a:r>
          </a:p>
        </p:txBody>
      </p:sp>
      <p:sp>
        <p:nvSpPr>
          <p:cNvPr id="50" name="Oval 49">
            <a:extLst>
              <a:ext uri="{FF2B5EF4-FFF2-40B4-BE49-F238E27FC236}">
                <a16:creationId xmlns:a16="http://schemas.microsoft.com/office/drawing/2014/main" id="{979F976B-45C1-496E-988A-B4B8EB35484E}"/>
              </a:ext>
            </a:extLst>
          </p:cNvPr>
          <p:cNvSpPr/>
          <p:nvPr/>
        </p:nvSpPr>
        <p:spPr>
          <a:xfrm>
            <a:off x="381599" y="1346708"/>
            <a:ext cx="829376" cy="82937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32923" rIns="0" bIns="166154"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 </a:t>
            </a:r>
            <a:b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tegrated </a:t>
            </a:r>
            <a:b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odels</a:t>
            </a:r>
          </a:p>
        </p:txBody>
      </p:sp>
      <p:sp>
        <p:nvSpPr>
          <p:cNvPr id="16" name="Rounded Rectangle 33">
            <a:extLst>
              <a:ext uri="{FF2B5EF4-FFF2-40B4-BE49-F238E27FC236}">
                <a16:creationId xmlns:a16="http://schemas.microsoft.com/office/drawing/2014/main" id="{D4AA5B93-ABB1-4B8D-B107-B2238D3E14A6}"/>
              </a:ext>
            </a:extLst>
          </p:cNvPr>
          <p:cNvSpPr/>
          <p:nvPr/>
        </p:nvSpPr>
        <p:spPr>
          <a:xfrm>
            <a:off x="675421" y="2599105"/>
            <a:ext cx="841212" cy="28563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84406" rIns="84406" bIns="84406" numCol="1" spcCol="0" rtlCol="0" fromWordArt="0" anchor="t"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 name="Rounded Rectangle 125">
            <a:extLst>
              <a:ext uri="{FF2B5EF4-FFF2-40B4-BE49-F238E27FC236}">
                <a16:creationId xmlns:a16="http://schemas.microsoft.com/office/drawing/2014/main" id="{23AE343D-4FCB-4116-84B6-DEC8F6766B62}"/>
              </a:ext>
            </a:extLst>
          </p:cNvPr>
          <p:cNvSpPr/>
          <p:nvPr/>
        </p:nvSpPr>
        <p:spPr>
          <a:xfrm>
            <a:off x="1144061" y="2882517"/>
            <a:ext cx="2232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echnology</a:t>
            </a:r>
          </a:p>
        </p:txBody>
      </p:sp>
      <p:sp>
        <p:nvSpPr>
          <p:cNvPr id="18" name="Rounded Rectangle 126">
            <a:extLst>
              <a:ext uri="{FF2B5EF4-FFF2-40B4-BE49-F238E27FC236}">
                <a16:creationId xmlns:a16="http://schemas.microsoft.com/office/drawing/2014/main" id="{73154F09-08E6-4616-87D0-A7F236CF3920}"/>
              </a:ext>
            </a:extLst>
          </p:cNvPr>
          <p:cNvSpPr/>
          <p:nvPr/>
        </p:nvSpPr>
        <p:spPr>
          <a:xfrm>
            <a:off x="1144061" y="3430613"/>
            <a:ext cx="2232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licy</a:t>
            </a:r>
          </a:p>
        </p:txBody>
      </p:sp>
      <p:sp>
        <p:nvSpPr>
          <p:cNvPr id="19" name="Rounded Rectangle 127">
            <a:extLst>
              <a:ext uri="{FF2B5EF4-FFF2-40B4-BE49-F238E27FC236}">
                <a16:creationId xmlns:a16="http://schemas.microsoft.com/office/drawing/2014/main" id="{4C1D9547-ADC9-4F3E-8F4A-C6CAE70BA37C}"/>
              </a:ext>
            </a:extLst>
          </p:cNvPr>
          <p:cNvSpPr/>
          <p:nvPr/>
        </p:nvSpPr>
        <p:spPr>
          <a:xfrm>
            <a:off x="1144061" y="3978709"/>
            <a:ext cx="2232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mand</a:t>
            </a:r>
          </a:p>
        </p:txBody>
      </p:sp>
      <p:sp>
        <p:nvSpPr>
          <p:cNvPr id="20" name="Rounded Rectangle 128">
            <a:extLst>
              <a:ext uri="{FF2B5EF4-FFF2-40B4-BE49-F238E27FC236}">
                <a16:creationId xmlns:a16="http://schemas.microsoft.com/office/drawing/2014/main" id="{B7BD9223-0C72-49E7-A1A3-9615CAAB4B39}"/>
              </a:ext>
            </a:extLst>
          </p:cNvPr>
          <p:cNvSpPr/>
          <p:nvPr/>
        </p:nvSpPr>
        <p:spPr>
          <a:xfrm>
            <a:off x="1144061" y="4526805"/>
            <a:ext cx="2232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odity prices</a:t>
            </a:r>
            <a:r>
              <a:rPr kumimoji="0" lang="en-GB" sz="1200" b="0" i="0" u="none" strike="noStrike" kern="1200" cap="none" spc="0" normalizeH="0" baseline="3000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25" name="Rounded Rectangle 145">
            <a:extLst>
              <a:ext uri="{FF2B5EF4-FFF2-40B4-BE49-F238E27FC236}">
                <a16:creationId xmlns:a16="http://schemas.microsoft.com/office/drawing/2014/main" id="{6D6BFA5D-CB31-4A63-B6D4-F65E417D3089}"/>
              </a:ext>
            </a:extLst>
          </p:cNvPr>
          <p:cNvSpPr/>
          <p:nvPr/>
        </p:nvSpPr>
        <p:spPr>
          <a:xfrm>
            <a:off x="8370072" y="2554203"/>
            <a:ext cx="1697309" cy="28563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84406" rIns="84406" bIns="84406" numCol="1" spcCol="0" rtlCol="0" fromWordArt="0" anchor="t"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Rounded Rectangle 212">
            <a:extLst>
              <a:ext uri="{FF2B5EF4-FFF2-40B4-BE49-F238E27FC236}">
                <a16:creationId xmlns:a16="http://schemas.microsoft.com/office/drawing/2014/main" id="{0DAE4C3A-DE4C-4219-A33B-90CDE4A4A1C8}"/>
              </a:ext>
            </a:extLst>
          </p:cNvPr>
          <p:cNvSpPr/>
          <p:nvPr/>
        </p:nvSpPr>
        <p:spPr>
          <a:xfrm>
            <a:off x="9022761" y="3430613"/>
            <a:ext cx="2160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tion mix </a:t>
            </a:r>
          </a:p>
        </p:txBody>
      </p:sp>
      <p:sp>
        <p:nvSpPr>
          <p:cNvPr id="27" name="Rounded Rectangle 213">
            <a:extLst>
              <a:ext uri="{FF2B5EF4-FFF2-40B4-BE49-F238E27FC236}">
                <a16:creationId xmlns:a16="http://schemas.microsoft.com/office/drawing/2014/main" id="{10A7CADA-8743-4A76-A665-5C57955D5B6B}"/>
              </a:ext>
            </a:extLst>
          </p:cNvPr>
          <p:cNvSpPr/>
          <p:nvPr/>
        </p:nvSpPr>
        <p:spPr>
          <a:xfrm>
            <a:off x="9022761" y="4526805"/>
            <a:ext cx="2160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market prices </a:t>
            </a:r>
            <a:endParaRPr kumimoji="0" lang="en-GB" sz="1200" b="0" i="0" u="none" strike="noStrike" kern="1200" cap="none" spc="0" normalizeH="0" baseline="3000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 name="Rounded Rectangle 214">
            <a:extLst>
              <a:ext uri="{FF2B5EF4-FFF2-40B4-BE49-F238E27FC236}">
                <a16:creationId xmlns:a16="http://schemas.microsoft.com/office/drawing/2014/main" id="{04BE57CD-55DF-4D49-91E1-C72B9F456410}"/>
              </a:ext>
            </a:extLst>
          </p:cNvPr>
          <p:cNvSpPr/>
          <p:nvPr/>
        </p:nvSpPr>
        <p:spPr>
          <a:xfrm>
            <a:off x="9022761" y="2882517"/>
            <a:ext cx="2160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mix</a:t>
            </a:r>
          </a:p>
        </p:txBody>
      </p:sp>
      <p:sp>
        <p:nvSpPr>
          <p:cNvPr id="30" name="Rounded Rectangle 216">
            <a:extLst>
              <a:ext uri="{FF2B5EF4-FFF2-40B4-BE49-F238E27FC236}">
                <a16:creationId xmlns:a16="http://schemas.microsoft.com/office/drawing/2014/main" id="{8C2A4A4D-69DC-46CF-A1F8-FE3CAB279B5A}"/>
              </a:ext>
            </a:extLst>
          </p:cNvPr>
          <p:cNvSpPr/>
          <p:nvPr/>
        </p:nvSpPr>
        <p:spPr>
          <a:xfrm>
            <a:off x="9022761" y="5074901"/>
            <a:ext cx="2160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fit / Loss and NPV</a:t>
            </a:r>
            <a:endParaRPr kumimoji="0" lang="en-GB" sz="1200" b="0" i="0" u="none" strike="noStrike" kern="1200" cap="none" spc="0" normalizeH="0" baseline="3000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Rounded Rectangle 184">
            <a:extLst>
              <a:ext uri="{FF2B5EF4-FFF2-40B4-BE49-F238E27FC236}">
                <a16:creationId xmlns:a16="http://schemas.microsoft.com/office/drawing/2014/main" id="{9ED825A4-1079-4A3F-ADD8-B97DE5CB0D90}"/>
              </a:ext>
            </a:extLst>
          </p:cNvPr>
          <p:cNvSpPr/>
          <p:nvPr/>
        </p:nvSpPr>
        <p:spPr>
          <a:xfrm>
            <a:off x="4346496" y="5107602"/>
            <a:ext cx="3456000" cy="871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880" marR="0" lvl="1" indent="-182880"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market modelling </a:t>
            </a:r>
          </a:p>
          <a:p>
            <a:pPr marL="182880" marR="0" lvl="1" indent="-182880"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build / exit / mothballing</a:t>
            </a:r>
          </a:p>
          <a:p>
            <a:pPr marL="182880" marR="0" lvl="1" indent="-182880"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R / NPV driven</a:t>
            </a:r>
          </a:p>
          <a:p>
            <a:pPr marL="182880" marR="0" lvl="1" indent="-182880"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ed technology assessments </a:t>
            </a:r>
          </a:p>
        </p:txBody>
      </p:sp>
      <p:sp>
        <p:nvSpPr>
          <p:cNvPr id="48" name="TextBox 47">
            <a:extLst>
              <a:ext uri="{FF2B5EF4-FFF2-40B4-BE49-F238E27FC236}">
                <a16:creationId xmlns:a16="http://schemas.microsoft.com/office/drawing/2014/main" id="{4D2927C9-E44D-4E13-B32F-DD46AD85EC64}"/>
              </a:ext>
            </a:extLst>
          </p:cNvPr>
          <p:cNvSpPr txBox="1">
            <a:spLocks/>
          </p:cNvSpPr>
          <p:nvPr/>
        </p:nvSpPr>
        <p:spPr>
          <a:xfrm>
            <a:off x="8464475" y="2437753"/>
            <a:ext cx="3096000" cy="256591"/>
          </a:xfrm>
          <a:prstGeom prst="rect">
            <a:avLst/>
          </a:prstGeom>
          <a:solidFill>
            <a:schemeClr val="accent2"/>
          </a:solidFill>
          <a:ln>
            <a:noFill/>
          </a:ln>
        </p:spPr>
        <p:txBody>
          <a:bodyPr vert="horz" wrap="square" lIns="0" tIns="0" rIns="0" bIns="0" rtlCol="0" anchor="ctr">
            <a:noAutofit/>
          </a:bodyPr>
          <a:lstStyle/>
          <a:p>
            <a:pPr marL="0" marR="0" lvl="0" indent="0" algn="ctr" defTabSz="844083" rtl="0" eaLnBrk="1" fontAlgn="auto" latinLnBrk="0" hangingPunct="1">
              <a:lnSpc>
                <a:spcPct val="114000"/>
              </a:lnSpc>
              <a:spcBef>
                <a:spcPts val="0"/>
              </a:spcBef>
              <a:spcAft>
                <a:spcPts val="554"/>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UTPUTS</a:t>
            </a:r>
          </a:p>
        </p:txBody>
      </p:sp>
      <p:sp>
        <p:nvSpPr>
          <p:cNvPr id="49" name="TextBox 48">
            <a:extLst>
              <a:ext uri="{FF2B5EF4-FFF2-40B4-BE49-F238E27FC236}">
                <a16:creationId xmlns:a16="http://schemas.microsoft.com/office/drawing/2014/main" id="{0DA87763-10B8-415F-891A-19D2B8E86167}"/>
              </a:ext>
            </a:extLst>
          </p:cNvPr>
          <p:cNvSpPr txBox="1">
            <a:spLocks/>
          </p:cNvSpPr>
          <p:nvPr/>
        </p:nvSpPr>
        <p:spPr>
          <a:xfrm>
            <a:off x="588519" y="2437753"/>
            <a:ext cx="3096000" cy="256591"/>
          </a:xfrm>
          <a:prstGeom prst="rect">
            <a:avLst/>
          </a:prstGeom>
          <a:solidFill>
            <a:schemeClr val="accent2"/>
          </a:solidFill>
          <a:ln>
            <a:noFill/>
          </a:ln>
        </p:spPr>
        <p:txBody>
          <a:bodyPr vert="horz" wrap="square" lIns="0" tIns="0" rIns="0" bIns="0" rtlCol="0" anchor="ctr">
            <a:noAutofit/>
          </a:bodyPr>
          <a:lstStyle/>
          <a:p>
            <a:pPr marL="0" marR="0" lvl="0" indent="0" algn="ctr" defTabSz="844083" rtl="0" eaLnBrk="1" fontAlgn="auto" latinLnBrk="0" hangingPunct="1">
              <a:lnSpc>
                <a:spcPct val="114000"/>
              </a:lnSpc>
              <a:spcBef>
                <a:spcPts val="0"/>
              </a:spcBef>
              <a:spcAft>
                <a:spcPts val="554"/>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PUTS</a:t>
            </a:r>
          </a:p>
        </p:txBody>
      </p:sp>
      <p:sp>
        <p:nvSpPr>
          <p:cNvPr id="56" name="Rounded Rectangle 95">
            <a:extLst>
              <a:ext uri="{FF2B5EF4-FFF2-40B4-BE49-F238E27FC236}">
                <a16:creationId xmlns:a16="http://schemas.microsoft.com/office/drawing/2014/main" id="{2347AA97-9BF4-4720-89B1-34B59317D8A6}"/>
              </a:ext>
            </a:extLst>
          </p:cNvPr>
          <p:cNvSpPr/>
          <p:nvPr/>
        </p:nvSpPr>
        <p:spPr>
          <a:xfrm>
            <a:off x="1144061" y="5074901"/>
            <a:ext cx="2232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ather patterns</a:t>
            </a:r>
          </a:p>
        </p:txBody>
      </p:sp>
      <p:sp>
        <p:nvSpPr>
          <p:cNvPr id="91" name="Oval 90">
            <a:extLst>
              <a:ext uri="{FF2B5EF4-FFF2-40B4-BE49-F238E27FC236}">
                <a16:creationId xmlns:a16="http://schemas.microsoft.com/office/drawing/2014/main" id="{6BB5E935-B879-428A-B11F-F3EC25A69EE4}"/>
              </a:ext>
            </a:extLst>
          </p:cNvPr>
          <p:cNvSpPr/>
          <p:nvPr/>
        </p:nvSpPr>
        <p:spPr>
          <a:xfrm>
            <a:off x="588519" y="2774517"/>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2" name="Freeform 263">
            <a:extLst>
              <a:ext uri="{FF2B5EF4-FFF2-40B4-BE49-F238E27FC236}">
                <a16:creationId xmlns:a16="http://schemas.microsoft.com/office/drawing/2014/main" id="{F0468FAE-70CF-462C-9969-43358CF33DA1}"/>
              </a:ext>
            </a:extLst>
          </p:cNvPr>
          <p:cNvSpPr>
            <a:spLocks noEditPoints="1"/>
          </p:cNvSpPr>
          <p:nvPr/>
        </p:nvSpPr>
        <p:spPr bwMode="auto">
          <a:xfrm>
            <a:off x="700802" y="2908242"/>
            <a:ext cx="240133" cy="205847"/>
          </a:xfrm>
          <a:custGeom>
            <a:avLst/>
            <a:gdLst>
              <a:gd name="T0" fmla="*/ 3 w 60"/>
              <a:gd name="T1" fmla="*/ 0 h 51"/>
              <a:gd name="T2" fmla="*/ 57 w 60"/>
              <a:gd name="T3" fmla="*/ 0 h 51"/>
              <a:gd name="T4" fmla="*/ 60 w 60"/>
              <a:gd name="T5" fmla="*/ 0 h 51"/>
              <a:gd name="T6" fmla="*/ 60 w 60"/>
              <a:gd name="T7" fmla="*/ 3 h 51"/>
              <a:gd name="T8" fmla="*/ 60 w 60"/>
              <a:gd name="T9" fmla="*/ 34 h 51"/>
              <a:gd name="T10" fmla="*/ 60 w 60"/>
              <a:gd name="T11" fmla="*/ 36 h 51"/>
              <a:gd name="T12" fmla="*/ 57 w 60"/>
              <a:gd name="T13" fmla="*/ 36 h 51"/>
              <a:gd name="T14" fmla="*/ 41 w 60"/>
              <a:gd name="T15" fmla="*/ 36 h 51"/>
              <a:gd name="T16" fmla="*/ 41 w 60"/>
              <a:gd name="T17" fmla="*/ 46 h 51"/>
              <a:gd name="T18" fmla="*/ 47 w 60"/>
              <a:gd name="T19" fmla="*/ 46 h 51"/>
              <a:gd name="T20" fmla="*/ 47 w 60"/>
              <a:gd name="T21" fmla="*/ 51 h 51"/>
              <a:gd name="T22" fmla="*/ 15 w 60"/>
              <a:gd name="T23" fmla="*/ 51 h 51"/>
              <a:gd name="T24" fmla="*/ 15 w 60"/>
              <a:gd name="T25" fmla="*/ 46 h 51"/>
              <a:gd name="T26" fmla="*/ 21 w 60"/>
              <a:gd name="T27" fmla="*/ 46 h 51"/>
              <a:gd name="T28" fmla="*/ 21 w 60"/>
              <a:gd name="T29" fmla="*/ 36 h 51"/>
              <a:gd name="T30" fmla="*/ 3 w 60"/>
              <a:gd name="T31" fmla="*/ 36 h 51"/>
              <a:gd name="T32" fmla="*/ 0 w 60"/>
              <a:gd name="T33" fmla="*/ 36 h 51"/>
              <a:gd name="T34" fmla="*/ 0 w 60"/>
              <a:gd name="T35" fmla="*/ 34 h 51"/>
              <a:gd name="T36" fmla="*/ 0 w 60"/>
              <a:gd name="T37" fmla="*/ 3 h 51"/>
              <a:gd name="T38" fmla="*/ 0 w 60"/>
              <a:gd name="T39" fmla="*/ 0 h 51"/>
              <a:gd name="T40" fmla="*/ 3 w 60"/>
              <a:gd name="T41" fmla="*/ 0 h 51"/>
              <a:gd name="T42" fmla="*/ 18 w 60"/>
              <a:gd name="T43" fmla="*/ 14 h 51"/>
              <a:gd name="T44" fmla="*/ 20 w 60"/>
              <a:gd name="T45" fmla="*/ 17 h 51"/>
              <a:gd name="T46" fmla="*/ 21 w 60"/>
              <a:gd name="T47" fmla="*/ 16 h 51"/>
              <a:gd name="T48" fmla="*/ 31 w 60"/>
              <a:gd name="T49" fmla="*/ 12 h 51"/>
              <a:gd name="T50" fmla="*/ 40 w 60"/>
              <a:gd name="T51" fmla="*/ 16 h 51"/>
              <a:gd name="T52" fmla="*/ 41 w 60"/>
              <a:gd name="T53" fmla="*/ 17 h 51"/>
              <a:gd name="T54" fmla="*/ 43 w 60"/>
              <a:gd name="T55" fmla="*/ 14 h 51"/>
              <a:gd name="T56" fmla="*/ 42 w 60"/>
              <a:gd name="T57" fmla="*/ 14 h 51"/>
              <a:gd name="T58" fmla="*/ 31 w 60"/>
              <a:gd name="T59" fmla="*/ 9 h 51"/>
              <a:gd name="T60" fmla="*/ 19 w 60"/>
              <a:gd name="T61" fmla="*/ 14 h 51"/>
              <a:gd name="T62" fmla="*/ 18 w 60"/>
              <a:gd name="T63" fmla="*/ 14 h 51"/>
              <a:gd name="T64" fmla="*/ 22 w 60"/>
              <a:gd name="T65" fmla="*/ 19 h 51"/>
              <a:gd name="T66" fmla="*/ 24 w 60"/>
              <a:gd name="T67" fmla="*/ 22 h 51"/>
              <a:gd name="T68" fmla="*/ 25 w 60"/>
              <a:gd name="T69" fmla="*/ 21 h 51"/>
              <a:gd name="T70" fmla="*/ 31 w 60"/>
              <a:gd name="T71" fmla="*/ 19 h 51"/>
              <a:gd name="T72" fmla="*/ 36 w 60"/>
              <a:gd name="T73" fmla="*/ 21 h 51"/>
              <a:gd name="T74" fmla="*/ 37 w 60"/>
              <a:gd name="T75" fmla="*/ 22 h 51"/>
              <a:gd name="T76" fmla="*/ 39 w 60"/>
              <a:gd name="T77" fmla="*/ 19 h 51"/>
              <a:gd name="T78" fmla="*/ 38 w 60"/>
              <a:gd name="T79" fmla="*/ 19 h 51"/>
              <a:gd name="T80" fmla="*/ 31 w 60"/>
              <a:gd name="T81" fmla="*/ 15 h 51"/>
              <a:gd name="T82" fmla="*/ 23 w 60"/>
              <a:gd name="T83" fmla="*/ 19 h 51"/>
              <a:gd name="T84" fmla="*/ 22 w 60"/>
              <a:gd name="T85" fmla="*/ 19 h 51"/>
              <a:gd name="T86" fmla="*/ 31 w 60"/>
              <a:gd name="T87" fmla="*/ 22 h 51"/>
              <a:gd name="T88" fmla="*/ 28 w 60"/>
              <a:gd name="T89" fmla="*/ 24 h 51"/>
              <a:gd name="T90" fmla="*/ 31 w 60"/>
              <a:gd name="T91" fmla="*/ 27 h 51"/>
              <a:gd name="T92" fmla="*/ 33 w 60"/>
              <a:gd name="T93" fmla="*/ 24 h 51"/>
              <a:gd name="T94" fmla="*/ 31 w 60"/>
              <a:gd name="T95" fmla="*/ 22 h 51"/>
              <a:gd name="T96" fmla="*/ 55 w 60"/>
              <a:gd name="T97" fmla="*/ 5 h 51"/>
              <a:gd name="T98" fmla="*/ 5 w 60"/>
              <a:gd name="T99" fmla="*/ 5 h 51"/>
              <a:gd name="T100" fmla="*/ 5 w 60"/>
              <a:gd name="T101" fmla="*/ 31 h 51"/>
              <a:gd name="T102" fmla="*/ 55 w 60"/>
              <a:gd name="T103" fmla="*/ 31 h 51"/>
              <a:gd name="T104" fmla="*/ 55 w 60"/>
              <a:gd name="T105"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51">
                <a:moveTo>
                  <a:pt x="3" y="0"/>
                </a:moveTo>
                <a:cubicBezTo>
                  <a:pt x="57" y="0"/>
                  <a:pt x="57" y="0"/>
                  <a:pt x="57" y="0"/>
                </a:cubicBezTo>
                <a:cubicBezTo>
                  <a:pt x="60" y="0"/>
                  <a:pt x="60" y="0"/>
                  <a:pt x="60" y="0"/>
                </a:cubicBezTo>
                <a:cubicBezTo>
                  <a:pt x="60" y="3"/>
                  <a:pt x="60" y="3"/>
                  <a:pt x="60" y="3"/>
                </a:cubicBezTo>
                <a:cubicBezTo>
                  <a:pt x="60" y="34"/>
                  <a:pt x="60" y="34"/>
                  <a:pt x="60" y="34"/>
                </a:cubicBezTo>
                <a:cubicBezTo>
                  <a:pt x="60" y="36"/>
                  <a:pt x="60" y="36"/>
                  <a:pt x="60" y="36"/>
                </a:cubicBezTo>
                <a:cubicBezTo>
                  <a:pt x="57" y="36"/>
                  <a:pt x="57" y="36"/>
                  <a:pt x="57" y="36"/>
                </a:cubicBezTo>
                <a:cubicBezTo>
                  <a:pt x="41" y="36"/>
                  <a:pt x="41" y="36"/>
                  <a:pt x="41" y="36"/>
                </a:cubicBezTo>
                <a:cubicBezTo>
                  <a:pt x="41" y="46"/>
                  <a:pt x="41" y="46"/>
                  <a:pt x="41" y="46"/>
                </a:cubicBezTo>
                <a:cubicBezTo>
                  <a:pt x="47" y="46"/>
                  <a:pt x="47" y="46"/>
                  <a:pt x="47" y="46"/>
                </a:cubicBezTo>
                <a:cubicBezTo>
                  <a:pt x="47" y="51"/>
                  <a:pt x="47" y="51"/>
                  <a:pt x="47" y="51"/>
                </a:cubicBezTo>
                <a:cubicBezTo>
                  <a:pt x="15" y="51"/>
                  <a:pt x="15" y="51"/>
                  <a:pt x="15" y="51"/>
                </a:cubicBezTo>
                <a:cubicBezTo>
                  <a:pt x="15" y="46"/>
                  <a:pt x="15" y="46"/>
                  <a:pt x="15" y="46"/>
                </a:cubicBezTo>
                <a:cubicBezTo>
                  <a:pt x="21" y="46"/>
                  <a:pt x="21" y="46"/>
                  <a:pt x="21" y="46"/>
                </a:cubicBezTo>
                <a:cubicBezTo>
                  <a:pt x="21" y="36"/>
                  <a:pt x="21" y="36"/>
                  <a:pt x="21" y="36"/>
                </a:cubicBezTo>
                <a:cubicBezTo>
                  <a:pt x="3" y="36"/>
                  <a:pt x="3" y="36"/>
                  <a:pt x="3" y="36"/>
                </a:cubicBezTo>
                <a:cubicBezTo>
                  <a:pt x="0" y="36"/>
                  <a:pt x="0" y="36"/>
                  <a:pt x="0" y="36"/>
                </a:cubicBezTo>
                <a:cubicBezTo>
                  <a:pt x="0" y="34"/>
                  <a:pt x="0" y="34"/>
                  <a:pt x="0" y="34"/>
                </a:cubicBezTo>
                <a:cubicBezTo>
                  <a:pt x="0" y="3"/>
                  <a:pt x="0" y="3"/>
                  <a:pt x="0" y="3"/>
                </a:cubicBezTo>
                <a:cubicBezTo>
                  <a:pt x="0" y="0"/>
                  <a:pt x="0" y="0"/>
                  <a:pt x="0" y="0"/>
                </a:cubicBezTo>
                <a:cubicBezTo>
                  <a:pt x="3" y="0"/>
                  <a:pt x="3" y="0"/>
                  <a:pt x="3" y="0"/>
                </a:cubicBezTo>
                <a:close/>
                <a:moveTo>
                  <a:pt x="18" y="14"/>
                </a:moveTo>
                <a:cubicBezTo>
                  <a:pt x="20" y="17"/>
                  <a:pt x="20" y="17"/>
                  <a:pt x="20" y="17"/>
                </a:cubicBezTo>
                <a:cubicBezTo>
                  <a:pt x="21" y="16"/>
                  <a:pt x="21" y="16"/>
                  <a:pt x="21" y="16"/>
                </a:cubicBezTo>
                <a:cubicBezTo>
                  <a:pt x="24" y="13"/>
                  <a:pt x="27" y="12"/>
                  <a:pt x="31" y="12"/>
                </a:cubicBezTo>
                <a:cubicBezTo>
                  <a:pt x="34" y="12"/>
                  <a:pt x="38" y="13"/>
                  <a:pt x="40" y="16"/>
                </a:cubicBezTo>
                <a:cubicBezTo>
                  <a:pt x="40" y="16"/>
                  <a:pt x="41" y="16"/>
                  <a:pt x="41" y="17"/>
                </a:cubicBezTo>
                <a:cubicBezTo>
                  <a:pt x="43" y="14"/>
                  <a:pt x="43" y="14"/>
                  <a:pt x="43" y="14"/>
                </a:cubicBezTo>
                <a:cubicBezTo>
                  <a:pt x="43" y="14"/>
                  <a:pt x="42" y="14"/>
                  <a:pt x="42" y="14"/>
                </a:cubicBezTo>
                <a:cubicBezTo>
                  <a:pt x="39" y="10"/>
                  <a:pt x="35" y="9"/>
                  <a:pt x="31" y="9"/>
                </a:cubicBezTo>
                <a:cubicBezTo>
                  <a:pt x="26" y="8"/>
                  <a:pt x="22" y="10"/>
                  <a:pt x="19" y="14"/>
                </a:cubicBezTo>
                <a:cubicBezTo>
                  <a:pt x="19" y="14"/>
                  <a:pt x="18" y="14"/>
                  <a:pt x="18" y="14"/>
                </a:cubicBezTo>
                <a:close/>
                <a:moveTo>
                  <a:pt x="22" y="19"/>
                </a:moveTo>
                <a:cubicBezTo>
                  <a:pt x="24" y="22"/>
                  <a:pt x="24" y="22"/>
                  <a:pt x="24" y="22"/>
                </a:cubicBezTo>
                <a:cubicBezTo>
                  <a:pt x="25" y="21"/>
                  <a:pt x="25" y="21"/>
                  <a:pt x="25" y="21"/>
                </a:cubicBezTo>
                <a:cubicBezTo>
                  <a:pt x="26" y="19"/>
                  <a:pt x="28" y="19"/>
                  <a:pt x="31" y="19"/>
                </a:cubicBezTo>
                <a:cubicBezTo>
                  <a:pt x="33" y="19"/>
                  <a:pt x="35" y="20"/>
                  <a:pt x="36" y="21"/>
                </a:cubicBezTo>
                <a:cubicBezTo>
                  <a:pt x="36" y="21"/>
                  <a:pt x="36" y="21"/>
                  <a:pt x="37" y="22"/>
                </a:cubicBezTo>
                <a:cubicBezTo>
                  <a:pt x="39" y="19"/>
                  <a:pt x="39" y="19"/>
                  <a:pt x="39" y="19"/>
                </a:cubicBezTo>
                <a:cubicBezTo>
                  <a:pt x="39" y="19"/>
                  <a:pt x="38" y="19"/>
                  <a:pt x="38" y="19"/>
                </a:cubicBezTo>
                <a:cubicBezTo>
                  <a:pt x="36" y="17"/>
                  <a:pt x="33" y="15"/>
                  <a:pt x="31" y="15"/>
                </a:cubicBezTo>
                <a:cubicBezTo>
                  <a:pt x="28" y="15"/>
                  <a:pt x="25" y="16"/>
                  <a:pt x="23" y="19"/>
                </a:cubicBezTo>
                <a:cubicBezTo>
                  <a:pt x="23" y="19"/>
                  <a:pt x="22" y="19"/>
                  <a:pt x="22" y="19"/>
                </a:cubicBezTo>
                <a:close/>
                <a:moveTo>
                  <a:pt x="31" y="22"/>
                </a:moveTo>
                <a:cubicBezTo>
                  <a:pt x="29" y="22"/>
                  <a:pt x="28" y="23"/>
                  <a:pt x="28" y="24"/>
                </a:cubicBezTo>
                <a:cubicBezTo>
                  <a:pt x="28" y="26"/>
                  <a:pt x="29" y="27"/>
                  <a:pt x="31" y="27"/>
                </a:cubicBezTo>
                <a:cubicBezTo>
                  <a:pt x="32" y="27"/>
                  <a:pt x="33" y="26"/>
                  <a:pt x="33" y="24"/>
                </a:cubicBezTo>
                <a:cubicBezTo>
                  <a:pt x="33" y="23"/>
                  <a:pt x="32" y="22"/>
                  <a:pt x="31" y="22"/>
                </a:cubicBezTo>
                <a:close/>
                <a:moveTo>
                  <a:pt x="55" y="5"/>
                </a:moveTo>
                <a:cubicBezTo>
                  <a:pt x="5" y="5"/>
                  <a:pt x="5" y="5"/>
                  <a:pt x="5" y="5"/>
                </a:cubicBezTo>
                <a:cubicBezTo>
                  <a:pt x="5" y="31"/>
                  <a:pt x="5" y="31"/>
                  <a:pt x="5" y="31"/>
                </a:cubicBezTo>
                <a:cubicBezTo>
                  <a:pt x="55" y="31"/>
                  <a:pt x="55" y="31"/>
                  <a:pt x="55" y="31"/>
                </a:cubicBezTo>
                <a:lnTo>
                  <a:pt x="55" y="5"/>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9" name="Oval 88">
            <a:extLst>
              <a:ext uri="{FF2B5EF4-FFF2-40B4-BE49-F238E27FC236}">
                <a16:creationId xmlns:a16="http://schemas.microsoft.com/office/drawing/2014/main" id="{29B0B037-D80A-4E5F-B715-39AB643501A0}"/>
              </a:ext>
            </a:extLst>
          </p:cNvPr>
          <p:cNvSpPr/>
          <p:nvPr/>
        </p:nvSpPr>
        <p:spPr>
          <a:xfrm>
            <a:off x="588519" y="3322613"/>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0" name="Freeform 225">
            <a:extLst>
              <a:ext uri="{FF2B5EF4-FFF2-40B4-BE49-F238E27FC236}">
                <a16:creationId xmlns:a16="http://schemas.microsoft.com/office/drawing/2014/main" id="{8A464CB6-C013-4A94-BC90-5A88A4A812CA}"/>
              </a:ext>
            </a:extLst>
          </p:cNvPr>
          <p:cNvSpPr>
            <a:spLocks noEditPoints="1"/>
          </p:cNvSpPr>
          <p:nvPr/>
        </p:nvSpPr>
        <p:spPr bwMode="auto">
          <a:xfrm>
            <a:off x="728740" y="3443969"/>
            <a:ext cx="171996" cy="239698"/>
          </a:xfrm>
          <a:custGeom>
            <a:avLst/>
            <a:gdLst>
              <a:gd name="T0" fmla="*/ 5 w 91"/>
              <a:gd name="T1" fmla="*/ 0 h 114"/>
              <a:gd name="T2" fmla="*/ 86 w 91"/>
              <a:gd name="T3" fmla="*/ 0 h 114"/>
              <a:gd name="T4" fmla="*/ 91 w 91"/>
              <a:gd name="T5" fmla="*/ 0 h 114"/>
              <a:gd name="T6" fmla="*/ 91 w 91"/>
              <a:gd name="T7" fmla="*/ 4 h 114"/>
              <a:gd name="T8" fmla="*/ 91 w 91"/>
              <a:gd name="T9" fmla="*/ 109 h 114"/>
              <a:gd name="T10" fmla="*/ 91 w 91"/>
              <a:gd name="T11" fmla="*/ 114 h 114"/>
              <a:gd name="T12" fmla="*/ 86 w 91"/>
              <a:gd name="T13" fmla="*/ 114 h 114"/>
              <a:gd name="T14" fmla="*/ 28 w 91"/>
              <a:gd name="T15" fmla="*/ 114 h 114"/>
              <a:gd name="T16" fmla="*/ 28 w 91"/>
              <a:gd name="T17" fmla="*/ 114 h 114"/>
              <a:gd name="T18" fmla="*/ 26 w 91"/>
              <a:gd name="T19" fmla="*/ 114 h 114"/>
              <a:gd name="T20" fmla="*/ 2 w 91"/>
              <a:gd name="T21" fmla="*/ 95 h 114"/>
              <a:gd name="T22" fmla="*/ 0 w 91"/>
              <a:gd name="T23" fmla="*/ 95 h 114"/>
              <a:gd name="T24" fmla="*/ 0 w 91"/>
              <a:gd name="T25" fmla="*/ 91 h 114"/>
              <a:gd name="T26" fmla="*/ 0 w 91"/>
              <a:gd name="T27" fmla="*/ 4 h 114"/>
              <a:gd name="T28" fmla="*/ 0 w 91"/>
              <a:gd name="T29" fmla="*/ 0 h 114"/>
              <a:gd name="T30" fmla="*/ 5 w 91"/>
              <a:gd name="T31" fmla="*/ 0 h 114"/>
              <a:gd name="T32" fmla="*/ 5 w 91"/>
              <a:gd name="T33" fmla="*/ 0 h 114"/>
              <a:gd name="T34" fmla="*/ 9 w 91"/>
              <a:gd name="T35" fmla="*/ 86 h 114"/>
              <a:gd name="T36" fmla="*/ 25 w 91"/>
              <a:gd name="T37" fmla="*/ 81 h 114"/>
              <a:gd name="T38" fmla="*/ 26 w 91"/>
              <a:gd name="T39" fmla="*/ 81 h 114"/>
              <a:gd name="T40" fmla="*/ 26 w 91"/>
              <a:gd name="T41" fmla="*/ 82 h 114"/>
              <a:gd name="T42" fmla="*/ 33 w 91"/>
              <a:gd name="T43" fmla="*/ 105 h 114"/>
              <a:gd name="T44" fmla="*/ 82 w 91"/>
              <a:gd name="T45" fmla="*/ 105 h 114"/>
              <a:gd name="T46" fmla="*/ 82 w 91"/>
              <a:gd name="T47" fmla="*/ 9 h 114"/>
              <a:gd name="T48" fmla="*/ 9 w 91"/>
              <a:gd name="T49" fmla="*/ 9 h 114"/>
              <a:gd name="T50" fmla="*/ 9 w 91"/>
              <a:gd name="T51" fmla="*/ 86 h 114"/>
              <a:gd name="T52" fmla="*/ 9 w 91"/>
              <a:gd name="T53" fmla="*/ 86 h 114"/>
              <a:gd name="T54" fmla="*/ 28 w 91"/>
              <a:gd name="T55" fmla="*/ 103 h 114"/>
              <a:gd name="T56" fmla="*/ 23 w 91"/>
              <a:gd name="T57" fmla="*/ 86 h 114"/>
              <a:gd name="T58" fmla="*/ 11 w 91"/>
              <a:gd name="T59" fmla="*/ 91 h 114"/>
              <a:gd name="T60" fmla="*/ 28 w 91"/>
              <a:gd name="T61" fmla="*/ 103 h 114"/>
              <a:gd name="T62" fmla="*/ 28 w 91"/>
              <a:gd name="T63" fmla="*/ 103 h 114"/>
              <a:gd name="T64" fmla="*/ 21 w 91"/>
              <a:gd name="T65" fmla="*/ 61 h 114"/>
              <a:gd name="T66" fmla="*/ 21 w 91"/>
              <a:gd name="T67" fmla="*/ 65 h 114"/>
              <a:gd name="T68" fmla="*/ 70 w 91"/>
              <a:gd name="T69" fmla="*/ 65 h 114"/>
              <a:gd name="T70" fmla="*/ 70 w 91"/>
              <a:gd name="T71" fmla="*/ 61 h 114"/>
              <a:gd name="T72" fmla="*/ 21 w 91"/>
              <a:gd name="T73" fmla="*/ 61 h 114"/>
              <a:gd name="T74" fmla="*/ 21 w 91"/>
              <a:gd name="T75" fmla="*/ 61 h 114"/>
              <a:gd name="T76" fmla="*/ 21 w 91"/>
              <a:gd name="T77" fmla="*/ 49 h 114"/>
              <a:gd name="T78" fmla="*/ 21 w 91"/>
              <a:gd name="T79" fmla="*/ 53 h 114"/>
              <a:gd name="T80" fmla="*/ 70 w 91"/>
              <a:gd name="T81" fmla="*/ 53 h 114"/>
              <a:gd name="T82" fmla="*/ 70 w 91"/>
              <a:gd name="T83" fmla="*/ 49 h 114"/>
              <a:gd name="T84" fmla="*/ 21 w 91"/>
              <a:gd name="T85" fmla="*/ 49 h 114"/>
              <a:gd name="T86" fmla="*/ 21 w 91"/>
              <a:gd name="T87" fmla="*/ 49 h 114"/>
              <a:gd name="T88" fmla="*/ 21 w 91"/>
              <a:gd name="T89" fmla="*/ 37 h 114"/>
              <a:gd name="T90" fmla="*/ 21 w 91"/>
              <a:gd name="T91" fmla="*/ 40 h 114"/>
              <a:gd name="T92" fmla="*/ 70 w 91"/>
              <a:gd name="T93" fmla="*/ 40 h 114"/>
              <a:gd name="T94" fmla="*/ 70 w 91"/>
              <a:gd name="T95" fmla="*/ 37 h 114"/>
              <a:gd name="T96" fmla="*/ 21 w 91"/>
              <a:gd name="T97" fmla="*/ 37 h 114"/>
              <a:gd name="T98" fmla="*/ 21 w 91"/>
              <a:gd name="T99" fmla="*/ 37 h 114"/>
              <a:gd name="T100" fmla="*/ 21 w 91"/>
              <a:gd name="T101" fmla="*/ 25 h 114"/>
              <a:gd name="T102" fmla="*/ 21 w 91"/>
              <a:gd name="T103" fmla="*/ 28 h 114"/>
              <a:gd name="T104" fmla="*/ 70 w 91"/>
              <a:gd name="T105" fmla="*/ 28 h 114"/>
              <a:gd name="T106" fmla="*/ 70 w 91"/>
              <a:gd name="T107" fmla="*/ 25 h 114"/>
              <a:gd name="T108" fmla="*/ 21 w 91"/>
              <a:gd name="T109" fmla="*/ 2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 h="114">
                <a:moveTo>
                  <a:pt x="5" y="0"/>
                </a:moveTo>
                <a:lnTo>
                  <a:pt x="86" y="0"/>
                </a:lnTo>
                <a:lnTo>
                  <a:pt x="91" y="0"/>
                </a:lnTo>
                <a:lnTo>
                  <a:pt x="91" y="4"/>
                </a:lnTo>
                <a:lnTo>
                  <a:pt x="91" y="109"/>
                </a:lnTo>
                <a:lnTo>
                  <a:pt x="91" y="114"/>
                </a:lnTo>
                <a:lnTo>
                  <a:pt x="86" y="114"/>
                </a:lnTo>
                <a:lnTo>
                  <a:pt x="28" y="114"/>
                </a:lnTo>
                <a:lnTo>
                  <a:pt x="28" y="114"/>
                </a:lnTo>
                <a:lnTo>
                  <a:pt x="26" y="114"/>
                </a:lnTo>
                <a:lnTo>
                  <a:pt x="2" y="95"/>
                </a:lnTo>
                <a:lnTo>
                  <a:pt x="0" y="95"/>
                </a:lnTo>
                <a:lnTo>
                  <a:pt x="0" y="91"/>
                </a:lnTo>
                <a:lnTo>
                  <a:pt x="0" y="4"/>
                </a:lnTo>
                <a:lnTo>
                  <a:pt x="0" y="0"/>
                </a:lnTo>
                <a:lnTo>
                  <a:pt x="5" y="0"/>
                </a:lnTo>
                <a:lnTo>
                  <a:pt x="5" y="0"/>
                </a:lnTo>
                <a:close/>
                <a:moveTo>
                  <a:pt x="9" y="86"/>
                </a:moveTo>
                <a:lnTo>
                  <a:pt x="25" y="81"/>
                </a:lnTo>
                <a:lnTo>
                  <a:pt x="26" y="81"/>
                </a:lnTo>
                <a:lnTo>
                  <a:pt x="26" y="82"/>
                </a:lnTo>
                <a:lnTo>
                  <a:pt x="33" y="105"/>
                </a:lnTo>
                <a:lnTo>
                  <a:pt x="82" y="105"/>
                </a:lnTo>
                <a:lnTo>
                  <a:pt x="82" y="9"/>
                </a:lnTo>
                <a:lnTo>
                  <a:pt x="9" y="9"/>
                </a:lnTo>
                <a:lnTo>
                  <a:pt x="9" y="86"/>
                </a:lnTo>
                <a:lnTo>
                  <a:pt x="9" y="86"/>
                </a:lnTo>
                <a:close/>
                <a:moveTo>
                  <a:pt x="28" y="103"/>
                </a:moveTo>
                <a:lnTo>
                  <a:pt x="23" y="86"/>
                </a:lnTo>
                <a:lnTo>
                  <a:pt x="11" y="91"/>
                </a:lnTo>
                <a:lnTo>
                  <a:pt x="28" y="103"/>
                </a:lnTo>
                <a:lnTo>
                  <a:pt x="28" y="103"/>
                </a:lnTo>
                <a:close/>
                <a:moveTo>
                  <a:pt x="21" y="61"/>
                </a:moveTo>
                <a:lnTo>
                  <a:pt x="21" y="65"/>
                </a:lnTo>
                <a:lnTo>
                  <a:pt x="70" y="65"/>
                </a:lnTo>
                <a:lnTo>
                  <a:pt x="70" y="61"/>
                </a:lnTo>
                <a:lnTo>
                  <a:pt x="21" y="61"/>
                </a:lnTo>
                <a:lnTo>
                  <a:pt x="21" y="61"/>
                </a:lnTo>
                <a:close/>
                <a:moveTo>
                  <a:pt x="21" y="49"/>
                </a:moveTo>
                <a:lnTo>
                  <a:pt x="21" y="53"/>
                </a:lnTo>
                <a:lnTo>
                  <a:pt x="70" y="53"/>
                </a:lnTo>
                <a:lnTo>
                  <a:pt x="70" y="49"/>
                </a:lnTo>
                <a:lnTo>
                  <a:pt x="21" y="49"/>
                </a:lnTo>
                <a:lnTo>
                  <a:pt x="21" y="49"/>
                </a:lnTo>
                <a:close/>
                <a:moveTo>
                  <a:pt x="21" y="37"/>
                </a:moveTo>
                <a:lnTo>
                  <a:pt x="21" y="40"/>
                </a:lnTo>
                <a:lnTo>
                  <a:pt x="70" y="40"/>
                </a:lnTo>
                <a:lnTo>
                  <a:pt x="70" y="37"/>
                </a:lnTo>
                <a:lnTo>
                  <a:pt x="21" y="37"/>
                </a:lnTo>
                <a:lnTo>
                  <a:pt x="21" y="37"/>
                </a:lnTo>
                <a:close/>
                <a:moveTo>
                  <a:pt x="21" y="25"/>
                </a:moveTo>
                <a:lnTo>
                  <a:pt x="21" y="28"/>
                </a:lnTo>
                <a:lnTo>
                  <a:pt x="70" y="28"/>
                </a:lnTo>
                <a:lnTo>
                  <a:pt x="70" y="25"/>
                </a:lnTo>
                <a:lnTo>
                  <a:pt x="21" y="25"/>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7" name="Oval 86">
            <a:extLst>
              <a:ext uri="{FF2B5EF4-FFF2-40B4-BE49-F238E27FC236}">
                <a16:creationId xmlns:a16="http://schemas.microsoft.com/office/drawing/2014/main" id="{0F6DA76A-FC33-405C-AC8A-7E27A636C7D9}"/>
              </a:ext>
            </a:extLst>
          </p:cNvPr>
          <p:cNvSpPr/>
          <p:nvPr/>
        </p:nvSpPr>
        <p:spPr>
          <a:xfrm>
            <a:off x="588519" y="3870709"/>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8" name="Freeform 413">
            <a:extLst>
              <a:ext uri="{FF2B5EF4-FFF2-40B4-BE49-F238E27FC236}">
                <a16:creationId xmlns:a16="http://schemas.microsoft.com/office/drawing/2014/main" id="{532D8B3F-E91D-45F1-AD77-8157064CDC5A}"/>
              </a:ext>
            </a:extLst>
          </p:cNvPr>
          <p:cNvSpPr>
            <a:spLocks noEditPoints="1"/>
          </p:cNvSpPr>
          <p:nvPr/>
        </p:nvSpPr>
        <p:spPr bwMode="auto">
          <a:xfrm>
            <a:off x="712775" y="4012672"/>
            <a:ext cx="223027" cy="173944"/>
          </a:xfrm>
          <a:custGeom>
            <a:avLst/>
            <a:gdLst>
              <a:gd name="T0" fmla="*/ 22 w 67"/>
              <a:gd name="T1" fmla="*/ 52 h 52"/>
              <a:gd name="T2" fmla="*/ 30 w 67"/>
              <a:gd name="T3" fmla="*/ 52 h 52"/>
              <a:gd name="T4" fmla="*/ 32 w 67"/>
              <a:gd name="T5" fmla="*/ 51 h 52"/>
              <a:gd name="T6" fmla="*/ 32 w 67"/>
              <a:gd name="T7" fmla="*/ 34 h 52"/>
              <a:gd name="T8" fmla="*/ 27 w 67"/>
              <a:gd name="T9" fmla="*/ 31 h 52"/>
              <a:gd name="T10" fmla="*/ 20 w 67"/>
              <a:gd name="T11" fmla="*/ 35 h 52"/>
              <a:gd name="T12" fmla="*/ 20 w 67"/>
              <a:gd name="T13" fmla="*/ 51 h 52"/>
              <a:gd name="T14" fmla="*/ 22 w 67"/>
              <a:gd name="T15" fmla="*/ 52 h 52"/>
              <a:gd name="T16" fmla="*/ 0 w 67"/>
              <a:gd name="T17" fmla="*/ 34 h 52"/>
              <a:gd name="T18" fmla="*/ 25 w 67"/>
              <a:gd name="T19" fmla="*/ 19 h 52"/>
              <a:gd name="T20" fmla="*/ 27 w 67"/>
              <a:gd name="T21" fmla="*/ 18 h 52"/>
              <a:gd name="T22" fmla="*/ 28 w 67"/>
              <a:gd name="T23" fmla="*/ 19 h 52"/>
              <a:gd name="T24" fmla="*/ 36 w 67"/>
              <a:gd name="T25" fmla="*/ 23 h 52"/>
              <a:gd name="T26" fmla="*/ 56 w 67"/>
              <a:gd name="T27" fmla="*/ 6 h 52"/>
              <a:gd name="T28" fmla="*/ 53 w 67"/>
              <a:gd name="T29" fmla="*/ 3 h 52"/>
              <a:gd name="T30" fmla="*/ 60 w 67"/>
              <a:gd name="T31" fmla="*/ 1 h 52"/>
              <a:gd name="T32" fmla="*/ 67 w 67"/>
              <a:gd name="T33" fmla="*/ 0 h 52"/>
              <a:gd name="T34" fmla="*/ 65 w 67"/>
              <a:gd name="T35" fmla="*/ 7 h 52"/>
              <a:gd name="T36" fmla="*/ 63 w 67"/>
              <a:gd name="T37" fmla="*/ 14 h 52"/>
              <a:gd name="T38" fmla="*/ 60 w 67"/>
              <a:gd name="T39" fmla="*/ 10 h 52"/>
              <a:gd name="T40" fmla="*/ 38 w 67"/>
              <a:gd name="T41" fmla="*/ 29 h 52"/>
              <a:gd name="T42" fmla="*/ 36 w 67"/>
              <a:gd name="T43" fmla="*/ 31 h 52"/>
              <a:gd name="T44" fmla="*/ 35 w 67"/>
              <a:gd name="T45" fmla="*/ 30 h 52"/>
              <a:gd name="T46" fmla="*/ 27 w 67"/>
              <a:gd name="T47" fmla="*/ 25 h 52"/>
              <a:gd name="T48" fmla="*/ 3 w 67"/>
              <a:gd name="T49" fmla="*/ 39 h 52"/>
              <a:gd name="T50" fmla="*/ 0 w 67"/>
              <a:gd name="T51" fmla="*/ 34 h 52"/>
              <a:gd name="T52" fmla="*/ 6 w 67"/>
              <a:gd name="T53" fmla="*/ 52 h 52"/>
              <a:gd name="T54" fmla="*/ 14 w 67"/>
              <a:gd name="T55" fmla="*/ 52 h 52"/>
              <a:gd name="T56" fmla="*/ 16 w 67"/>
              <a:gd name="T57" fmla="*/ 51 h 52"/>
              <a:gd name="T58" fmla="*/ 16 w 67"/>
              <a:gd name="T59" fmla="*/ 38 h 52"/>
              <a:gd name="T60" fmla="*/ 4 w 67"/>
              <a:gd name="T61" fmla="*/ 44 h 52"/>
              <a:gd name="T62" fmla="*/ 4 w 67"/>
              <a:gd name="T63" fmla="*/ 51 h 52"/>
              <a:gd name="T64" fmla="*/ 6 w 67"/>
              <a:gd name="T65" fmla="*/ 52 h 52"/>
              <a:gd name="T66" fmla="*/ 38 w 67"/>
              <a:gd name="T67" fmla="*/ 52 h 52"/>
              <a:gd name="T68" fmla="*/ 46 w 67"/>
              <a:gd name="T69" fmla="*/ 52 h 52"/>
              <a:gd name="T70" fmla="*/ 48 w 67"/>
              <a:gd name="T71" fmla="*/ 51 h 52"/>
              <a:gd name="T72" fmla="*/ 48 w 67"/>
              <a:gd name="T73" fmla="*/ 27 h 52"/>
              <a:gd name="T74" fmla="*/ 48 w 67"/>
              <a:gd name="T75" fmla="*/ 27 h 52"/>
              <a:gd name="T76" fmla="*/ 37 w 67"/>
              <a:gd name="T77" fmla="*/ 37 h 52"/>
              <a:gd name="T78" fmla="*/ 37 w 67"/>
              <a:gd name="T79" fmla="*/ 36 h 52"/>
              <a:gd name="T80" fmla="*/ 37 w 67"/>
              <a:gd name="T81" fmla="*/ 51 h 52"/>
              <a:gd name="T82" fmla="*/ 38 w 67"/>
              <a:gd name="T83" fmla="*/ 52 h 52"/>
              <a:gd name="T84" fmla="*/ 55 w 67"/>
              <a:gd name="T85" fmla="*/ 52 h 52"/>
              <a:gd name="T86" fmla="*/ 62 w 67"/>
              <a:gd name="T87" fmla="*/ 52 h 52"/>
              <a:gd name="T88" fmla="*/ 64 w 67"/>
              <a:gd name="T89" fmla="*/ 51 h 52"/>
              <a:gd name="T90" fmla="*/ 64 w 67"/>
              <a:gd name="T91" fmla="*/ 22 h 52"/>
              <a:gd name="T92" fmla="*/ 60 w 67"/>
              <a:gd name="T93" fmla="*/ 17 h 52"/>
              <a:gd name="T94" fmla="*/ 53 w 67"/>
              <a:gd name="T95" fmla="*/ 23 h 52"/>
              <a:gd name="T96" fmla="*/ 53 w 67"/>
              <a:gd name="T97" fmla="*/ 51 h 52"/>
              <a:gd name="T98" fmla="*/ 55 w 67"/>
              <a:gd name="T9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52">
                <a:moveTo>
                  <a:pt x="22" y="52"/>
                </a:moveTo>
                <a:cubicBezTo>
                  <a:pt x="25" y="52"/>
                  <a:pt x="28" y="52"/>
                  <a:pt x="30" y="52"/>
                </a:cubicBezTo>
                <a:cubicBezTo>
                  <a:pt x="31" y="52"/>
                  <a:pt x="32" y="52"/>
                  <a:pt x="32" y="51"/>
                </a:cubicBezTo>
                <a:cubicBezTo>
                  <a:pt x="32" y="34"/>
                  <a:pt x="32" y="34"/>
                  <a:pt x="32" y="34"/>
                </a:cubicBezTo>
                <a:cubicBezTo>
                  <a:pt x="27" y="31"/>
                  <a:pt x="27" y="31"/>
                  <a:pt x="27" y="31"/>
                </a:cubicBezTo>
                <a:cubicBezTo>
                  <a:pt x="20" y="35"/>
                  <a:pt x="20" y="35"/>
                  <a:pt x="20" y="35"/>
                </a:cubicBezTo>
                <a:cubicBezTo>
                  <a:pt x="20" y="51"/>
                  <a:pt x="20" y="51"/>
                  <a:pt x="20" y="51"/>
                </a:cubicBezTo>
                <a:cubicBezTo>
                  <a:pt x="20" y="52"/>
                  <a:pt x="21" y="52"/>
                  <a:pt x="22" y="52"/>
                </a:cubicBezTo>
                <a:close/>
                <a:moveTo>
                  <a:pt x="0" y="34"/>
                </a:moveTo>
                <a:cubicBezTo>
                  <a:pt x="25" y="19"/>
                  <a:pt x="25" y="19"/>
                  <a:pt x="25" y="19"/>
                </a:cubicBezTo>
                <a:cubicBezTo>
                  <a:pt x="27" y="18"/>
                  <a:pt x="27" y="18"/>
                  <a:pt x="27" y="18"/>
                </a:cubicBezTo>
                <a:cubicBezTo>
                  <a:pt x="28" y="19"/>
                  <a:pt x="28" y="19"/>
                  <a:pt x="28" y="19"/>
                </a:cubicBezTo>
                <a:cubicBezTo>
                  <a:pt x="36" y="23"/>
                  <a:pt x="36" y="23"/>
                  <a:pt x="36" y="23"/>
                </a:cubicBezTo>
                <a:cubicBezTo>
                  <a:pt x="56" y="6"/>
                  <a:pt x="56" y="6"/>
                  <a:pt x="56" y="6"/>
                </a:cubicBezTo>
                <a:cubicBezTo>
                  <a:pt x="53" y="3"/>
                  <a:pt x="53" y="3"/>
                  <a:pt x="53" y="3"/>
                </a:cubicBezTo>
                <a:cubicBezTo>
                  <a:pt x="60" y="1"/>
                  <a:pt x="60" y="1"/>
                  <a:pt x="60" y="1"/>
                </a:cubicBezTo>
                <a:cubicBezTo>
                  <a:pt x="67" y="0"/>
                  <a:pt x="67" y="0"/>
                  <a:pt x="67" y="0"/>
                </a:cubicBezTo>
                <a:cubicBezTo>
                  <a:pt x="65" y="7"/>
                  <a:pt x="65" y="7"/>
                  <a:pt x="65" y="7"/>
                </a:cubicBezTo>
                <a:cubicBezTo>
                  <a:pt x="63" y="14"/>
                  <a:pt x="63" y="14"/>
                  <a:pt x="63" y="14"/>
                </a:cubicBezTo>
                <a:cubicBezTo>
                  <a:pt x="60" y="10"/>
                  <a:pt x="60" y="10"/>
                  <a:pt x="60" y="10"/>
                </a:cubicBezTo>
                <a:cubicBezTo>
                  <a:pt x="38" y="29"/>
                  <a:pt x="38" y="29"/>
                  <a:pt x="38" y="29"/>
                </a:cubicBezTo>
                <a:cubicBezTo>
                  <a:pt x="36" y="31"/>
                  <a:pt x="36" y="31"/>
                  <a:pt x="36" y="31"/>
                </a:cubicBezTo>
                <a:cubicBezTo>
                  <a:pt x="35" y="30"/>
                  <a:pt x="35" y="30"/>
                  <a:pt x="35" y="30"/>
                </a:cubicBezTo>
                <a:cubicBezTo>
                  <a:pt x="27" y="25"/>
                  <a:pt x="27" y="25"/>
                  <a:pt x="27" y="25"/>
                </a:cubicBezTo>
                <a:cubicBezTo>
                  <a:pt x="3" y="39"/>
                  <a:pt x="3" y="39"/>
                  <a:pt x="3" y="39"/>
                </a:cubicBezTo>
                <a:cubicBezTo>
                  <a:pt x="0" y="34"/>
                  <a:pt x="0" y="34"/>
                  <a:pt x="0" y="34"/>
                </a:cubicBezTo>
                <a:close/>
                <a:moveTo>
                  <a:pt x="6" y="52"/>
                </a:moveTo>
                <a:cubicBezTo>
                  <a:pt x="14" y="52"/>
                  <a:pt x="14" y="52"/>
                  <a:pt x="14" y="52"/>
                </a:cubicBezTo>
                <a:cubicBezTo>
                  <a:pt x="15" y="52"/>
                  <a:pt x="16" y="52"/>
                  <a:pt x="16" y="51"/>
                </a:cubicBezTo>
                <a:cubicBezTo>
                  <a:pt x="16" y="38"/>
                  <a:pt x="16" y="38"/>
                  <a:pt x="16" y="38"/>
                </a:cubicBezTo>
                <a:cubicBezTo>
                  <a:pt x="4" y="44"/>
                  <a:pt x="4" y="44"/>
                  <a:pt x="4" y="44"/>
                </a:cubicBezTo>
                <a:cubicBezTo>
                  <a:pt x="4" y="51"/>
                  <a:pt x="4" y="51"/>
                  <a:pt x="4" y="51"/>
                </a:cubicBezTo>
                <a:cubicBezTo>
                  <a:pt x="4" y="52"/>
                  <a:pt x="5" y="52"/>
                  <a:pt x="6" y="52"/>
                </a:cubicBezTo>
                <a:close/>
                <a:moveTo>
                  <a:pt x="38" y="52"/>
                </a:moveTo>
                <a:cubicBezTo>
                  <a:pt x="41" y="52"/>
                  <a:pt x="44" y="52"/>
                  <a:pt x="46" y="52"/>
                </a:cubicBezTo>
                <a:cubicBezTo>
                  <a:pt x="47" y="52"/>
                  <a:pt x="48" y="52"/>
                  <a:pt x="48" y="51"/>
                </a:cubicBezTo>
                <a:cubicBezTo>
                  <a:pt x="48" y="43"/>
                  <a:pt x="48" y="35"/>
                  <a:pt x="48" y="27"/>
                </a:cubicBezTo>
                <a:cubicBezTo>
                  <a:pt x="48" y="27"/>
                  <a:pt x="48" y="27"/>
                  <a:pt x="48" y="27"/>
                </a:cubicBezTo>
                <a:cubicBezTo>
                  <a:pt x="37" y="37"/>
                  <a:pt x="37" y="37"/>
                  <a:pt x="37" y="37"/>
                </a:cubicBezTo>
                <a:cubicBezTo>
                  <a:pt x="37" y="36"/>
                  <a:pt x="37" y="36"/>
                  <a:pt x="37" y="36"/>
                </a:cubicBezTo>
                <a:cubicBezTo>
                  <a:pt x="37" y="51"/>
                  <a:pt x="37" y="51"/>
                  <a:pt x="37" y="51"/>
                </a:cubicBezTo>
                <a:cubicBezTo>
                  <a:pt x="37" y="52"/>
                  <a:pt x="37" y="52"/>
                  <a:pt x="38" y="52"/>
                </a:cubicBezTo>
                <a:close/>
                <a:moveTo>
                  <a:pt x="55" y="52"/>
                </a:moveTo>
                <a:cubicBezTo>
                  <a:pt x="62" y="52"/>
                  <a:pt x="62" y="52"/>
                  <a:pt x="62" y="52"/>
                </a:cubicBezTo>
                <a:cubicBezTo>
                  <a:pt x="63" y="52"/>
                  <a:pt x="64" y="52"/>
                  <a:pt x="64" y="51"/>
                </a:cubicBezTo>
                <a:cubicBezTo>
                  <a:pt x="64" y="22"/>
                  <a:pt x="64" y="22"/>
                  <a:pt x="64" y="22"/>
                </a:cubicBezTo>
                <a:cubicBezTo>
                  <a:pt x="60" y="17"/>
                  <a:pt x="60" y="17"/>
                  <a:pt x="60" y="17"/>
                </a:cubicBezTo>
                <a:cubicBezTo>
                  <a:pt x="53" y="23"/>
                  <a:pt x="53" y="23"/>
                  <a:pt x="53" y="23"/>
                </a:cubicBezTo>
                <a:cubicBezTo>
                  <a:pt x="53" y="51"/>
                  <a:pt x="53" y="51"/>
                  <a:pt x="53" y="51"/>
                </a:cubicBezTo>
                <a:cubicBezTo>
                  <a:pt x="53" y="52"/>
                  <a:pt x="54" y="52"/>
                  <a:pt x="55" y="52"/>
                </a:cubicBez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5" name="Oval 84">
            <a:extLst>
              <a:ext uri="{FF2B5EF4-FFF2-40B4-BE49-F238E27FC236}">
                <a16:creationId xmlns:a16="http://schemas.microsoft.com/office/drawing/2014/main" id="{7CC5012D-33DF-4AF7-A67A-AF28831B2592}"/>
              </a:ext>
            </a:extLst>
          </p:cNvPr>
          <p:cNvSpPr/>
          <p:nvPr/>
        </p:nvSpPr>
        <p:spPr>
          <a:xfrm>
            <a:off x="588519" y="4418805"/>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6" name="Freeform 323">
            <a:extLst>
              <a:ext uri="{FF2B5EF4-FFF2-40B4-BE49-F238E27FC236}">
                <a16:creationId xmlns:a16="http://schemas.microsoft.com/office/drawing/2014/main" id="{BB705C25-A5C9-46FB-8988-720796B1067E}"/>
              </a:ext>
            </a:extLst>
          </p:cNvPr>
          <p:cNvSpPr>
            <a:spLocks noEditPoints="1"/>
          </p:cNvSpPr>
          <p:nvPr/>
        </p:nvSpPr>
        <p:spPr bwMode="auto">
          <a:xfrm>
            <a:off x="729338" y="4541497"/>
            <a:ext cx="195173" cy="216549"/>
          </a:xfrm>
          <a:custGeom>
            <a:avLst/>
            <a:gdLst>
              <a:gd name="T0" fmla="*/ 21 w 59"/>
              <a:gd name="T1" fmla="*/ 0 h 65"/>
              <a:gd name="T2" fmla="*/ 27 w 59"/>
              <a:gd name="T3" fmla="*/ 2 h 65"/>
              <a:gd name="T4" fmla="*/ 30 w 59"/>
              <a:gd name="T5" fmla="*/ 1 h 65"/>
              <a:gd name="T6" fmla="*/ 36 w 59"/>
              <a:gd name="T7" fmla="*/ 4 h 65"/>
              <a:gd name="T8" fmla="*/ 41 w 59"/>
              <a:gd name="T9" fmla="*/ 2 h 65"/>
              <a:gd name="T10" fmla="*/ 46 w 59"/>
              <a:gd name="T11" fmla="*/ 5 h 65"/>
              <a:gd name="T12" fmla="*/ 48 w 59"/>
              <a:gd name="T13" fmla="*/ 4 h 65"/>
              <a:gd name="T14" fmla="*/ 53 w 59"/>
              <a:gd name="T15" fmla="*/ 9 h 65"/>
              <a:gd name="T16" fmla="*/ 51 w 59"/>
              <a:gd name="T17" fmla="*/ 13 h 65"/>
              <a:gd name="T18" fmla="*/ 52 w 59"/>
              <a:gd name="T19" fmla="*/ 15 h 65"/>
              <a:gd name="T20" fmla="*/ 52 w 59"/>
              <a:gd name="T21" fmla="*/ 15 h 65"/>
              <a:gd name="T22" fmla="*/ 41 w 59"/>
              <a:gd name="T23" fmla="*/ 15 h 65"/>
              <a:gd name="T24" fmla="*/ 41 w 59"/>
              <a:gd name="T25" fmla="*/ 15 h 65"/>
              <a:gd name="T26" fmla="*/ 42 w 59"/>
              <a:gd name="T27" fmla="*/ 13 h 65"/>
              <a:gd name="T28" fmla="*/ 41 w 59"/>
              <a:gd name="T29" fmla="*/ 13 h 65"/>
              <a:gd name="T30" fmla="*/ 37 w 59"/>
              <a:gd name="T31" fmla="*/ 11 h 65"/>
              <a:gd name="T32" fmla="*/ 30 w 59"/>
              <a:gd name="T33" fmla="*/ 15 h 65"/>
              <a:gd name="T34" fmla="*/ 26 w 59"/>
              <a:gd name="T35" fmla="*/ 13 h 65"/>
              <a:gd name="T36" fmla="*/ 21 w 59"/>
              <a:gd name="T37" fmla="*/ 15 h 65"/>
              <a:gd name="T38" fmla="*/ 13 w 59"/>
              <a:gd name="T39" fmla="*/ 8 h 65"/>
              <a:gd name="T40" fmla="*/ 21 w 59"/>
              <a:gd name="T41" fmla="*/ 0 h 65"/>
              <a:gd name="T42" fmla="*/ 21 w 59"/>
              <a:gd name="T43" fmla="*/ 33 h 65"/>
              <a:gd name="T44" fmla="*/ 27 w 59"/>
              <a:gd name="T45" fmla="*/ 33 h 65"/>
              <a:gd name="T46" fmla="*/ 27 w 59"/>
              <a:gd name="T47" fmla="*/ 41 h 65"/>
              <a:gd name="T48" fmla="*/ 21 w 59"/>
              <a:gd name="T49" fmla="*/ 41 h 65"/>
              <a:gd name="T50" fmla="*/ 21 w 59"/>
              <a:gd name="T51" fmla="*/ 33 h 65"/>
              <a:gd name="T52" fmla="*/ 31 w 59"/>
              <a:gd name="T53" fmla="*/ 33 h 65"/>
              <a:gd name="T54" fmla="*/ 37 w 59"/>
              <a:gd name="T55" fmla="*/ 33 h 65"/>
              <a:gd name="T56" fmla="*/ 37 w 59"/>
              <a:gd name="T57" fmla="*/ 41 h 65"/>
              <a:gd name="T58" fmla="*/ 31 w 59"/>
              <a:gd name="T59" fmla="*/ 41 h 65"/>
              <a:gd name="T60" fmla="*/ 31 w 59"/>
              <a:gd name="T61" fmla="*/ 33 h 65"/>
              <a:gd name="T62" fmla="*/ 8 w 59"/>
              <a:gd name="T63" fmla="*/ 37 h 65"/>
              <a:gd name="T64" fmla="*/ 14 w 59"/>
              <a:gd name="T65" fmla="*/ 37 h 65"/>
              <a:gd name="T66" fmla="*/ 14 w 59"/>
              <a:gd name="T67" fmla="*/ 46 h 65"/>
              <a:gd name="T68" fmla="*/ 8 w 59"/>
              <a:gd name="T69" fmla="*/ 46 h 65"/>
              <a:gd name="T70" fmla="*/ 8 w 59"/>
              <a:gd name="T71" fmla="*/ 37 h 65"/>
              <a:gd name="T72" fmla="*/ 41 w 59"/>
              <a:gd name="T73" fmla="*/ 18 h 65"/>
              <a:gd name="T74" fmla="*/ 41 w 59"/>
              <a:gd name="T75" fmla="*/ 27 h 65"/>
              <a:gd name="T76" fmla="*/ 16 w 59"/>
              <a:gd name="T77" fmla="*/ 27 h 65"/>
              <a:gd name="T78" fmla="*/ 16 w 59"/>
              <a:gd name="T79" fmla="*/ 33 h 65"/>
              <a:gd name="T80" fmla="*/ 5 w 59"/>
              <a:gd name="T81" fmla="*/ 33 h 65"/>
              <a:gd name="T82" fmla="*/ 5 w 59"/>
              <a:gd name="T83" fmla="*/ 60 h 65"/>
              <a:gd name="T84" fmla="*/ 0 w 59"/>
              <a:gd name="T85" fmla="*/ 60 h 65"/>
              <a:gd name="T86" fmla="*/ 0 w 59"/>
              <a:gd name="T87" fmla="*/ 65 h 65"/>
              <a:gd name="T88" fmla="*/ 59 w 59"/>
              <a:gd name="T89" fmla="*/ 65 h 65"/>
              <a:gd name="T90" fmla="*/ 59 w 59"/>
              <a:gd name="T91" fmla="*/ 60 h 65"/>
              <a:gd name="T92" fmla="*/ 55 w 59"/>
              <a:gd name="T93" fmla="*/ 60 h 65"/>
              <a:gd name="T94" fmla="*/ 52 w 59"/>
              <a:gd name="T95" fmla="*/ 18 h 65"/>
              <a:gd name="T96" fmla="*/ 41 w 59"/>
              <a:gd name="T97"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65">
                <a:moveTo>
                  <a:pt x="21" y="0"/>
                </a:moveTo>
                <a:cubicBezTo>
                  <a:pt x="23" y="0"/>
                  <a:pt x="25" y="1"/>
                  <a:pt x="27" y="2"/>
                </a:cubicBezTo>
                <a:cubicBezTo>
                  <a:pt x="28" y="2"/>
                  <a:pt x="29" y="1"/>
                  <a:pt x="30" y="1"/>
                </a:cubicBezTo>
                <a:cubicBezTo>
                  <a:pt x="33" y="1"/>
                  <a:pt x="35" y="2"/>
                  <a:pt x="36" y="4"/>
                </a:cubicBezTo>
                <a:cubicBezTo>
                  <a:pt x="37" y="3"/>
                  <a:pt x="39" y="2"/>
                  <a:pt x="41" y="2"/>
                </a:cubicBezTo>
                <a:cubicBezTo>
                  <a:pt x="43" y="2"/>
                  <a:pt x="45" y="3"/>
                  <a:pt x="46" y="5"/>
                </a:cubicBezTo>
                <a:cubicBezTo>
                  <a:pt x="47" y="4"/>
                  <a:pt x="47" y="4"/>
                  <a:pt x="48" y="4"/>
                </a:cubicBezTo>
                <a:cubicBezTo>
                  <a:pt x="51" y="4"/>
                  <a:pt x="53" y="6"/>
                  <a:pt x="53" y="9"/>
                </a:cubicBezTo>
                <a:cubicBezTo>
                  <a:pt x="53" y="11"/>
                  <a:pt x="52" y="12"/>
                  <a:pt x="51" y="13"/>
                </a:cubicBezTo>
                <a:cubicBezTo>
                  <a:pt x="51" y="14"/>
                  <a:pt x="52" y="14"/>
                  <a:pt x="52" y="15"/>
                </a:cubicBezTo>
                <a:cubicBezTo>
                  <a:pt x="52" y="15"/>
                  <a:pt x="52" y="15"/>
                  <a:pt x="52" y="15"/>
                </a:cubicBezTo>
                <a:cubicBezTo>
                  <a:pt x="41" y="15"/>
                  <a:pt x="41" y="15"/>
                  <a:pt x="41" y="15"/>
                </a:cubicBezTo>
                <a:cubicBezTo>
                  <a:pt x="41" y="15"/>
                  <a:pt x="41" y="15"/>
                  <a:pt x="41" y="15"/>
                </a:cubicBezTo>
                <a:cubicBezTo>
                  <a:pt x="41" y="14"/>
                  <a:pt x="41" y="13"/>
                  <a:pt x="42" y="13"/>
                </a:cubicBezTo>
                <a:cubicBezTo>
                  <a:pt x="41" y="13"/>
                  <a:pt x="41" y="13"/>
                  <a:pt x="41" y="13"/>
                </a:cubicBezTo>
                <a:cubicBezTo>
                  <a:pt x="39" y="13"/>
                  <a:pt x="38" y="12"/>
                  <a:pt x="37" y="11"/>
                </a:cubicBezTo>
                <a:cubicBezTo>
                  <a:pt x="36" y="14"/>
                  <a:pt x="33" y="15"/>
                  <a:pt x="30" y="15"/>
                </a:cubicBezTo>
                <a:cubicBezTo>
                  <a:pt x="29" y="15"/>
                  <a:pt x="27" y="14"/>
                  <a:pt x="26" y="13"/>
                </a:cubicBezTo>
                <a:cubicBezTo>
                  <a:pt x="24" y="14"/>
                  <a:pt x="23" y="15"/>
                  <a:pt x="21" y="15"/>
                </a:cubicBezTo>
                <a:cubicBezTo>
                  <a:pt x="17" y="15"/>
                  <a:pt x="13" y="12"/>
                  <a:pt x="13" y="8"/>
                </a:cubicBezTo>
                <a:cubicBezTo>
                  <a:pt x="13" y="3"/>
                  <a:pt x="17" y="0"/>
                  <a:pt x="21" y="0"/>
                </a:cubicBezTo>
                <a:close/>
                <a:moveTo>
                  <a:pt x="21" y="33"/>
                </a:moveTo>
                <a:cubicBezTo>
                  <a:pt x="27" y="33"/>
                  <a:pt x="27" y="33"/>
                  <a:pt x="27" y="33"/>
                </a:cubicBezTo>
                <a:cubicBezTo>
                  <a:pt x="27" y="41"/>
                  <a:pt x="27" y="41"/>
                  <a:pt x="27" y="41"/>
                </a:cubicBezTo>
                <a:cubicBezTo>
                  <a:pt x="21" y="41"/>
                  <a:pt x="21" y="41"/>
                  <a:pt x="21" y="41"/>
                </a:cubicBezTo>
                <a:cubicBezTo>
                  <a:pt x="21" y="33"/>
                  <a:pt x="21" y="33"/>
                  <a:pt x="21" y="33"/>
                </a:cubicBezTo>
                <a:close/>
                <a:moveTo>
                  <a:pt x="31" y="33"/>
                </a:moveTo>
                <a:cubicBezTo>
                  <a:pt x="37" y="33"/>
                  <a:pt x="37" y="33"/>
                  <a:pt x="37" y="33"/>
                </a:cubicBezTo>
                <a:cubicBezTo>
                  <a:pt x="37" y="41"/>
                  <a:pt x="37" y="41"/>
                  <a:pt x="37" y="41"/>
                </a:cubicBezTo>
                <a:cubicBezTo>
                  <a:pt x="31" y="41"/>
                  <a:pt x="31" y="41"/>
                  <a:pt x="31" y="41"/>
                </a:cubicBezTo>
                <a:cubicBezTo>
                  <a:pt x="31" y="33"/>
                  <a:pt x="31" y="33"/>
                  <a:pt x="31" y="33"/>
                </a:cubicBezTo>
                <a:close/>
                <a:moveTo>
                  <a:pt x="8" y="37"/>
                </a:moveTo>
                <a:cubicBezTo>
                  <a:pt x="14" y="37"/>
                  <a:pt x="14" y="37"/>
                  <a:pt x="14" y="37"/>
                </a:cubicBezTo>
                <a:cubicBezTo>
                  <a:pt x="14" y="46"/>
                  <a:pt x="14" y="46"/>
                  <a:pt x="14" y="46"/>
                </a:cubicBezTo>
                <a:cubicBezTo>
                  <a:pt x="8" y="46"/>
                  <a:pt x="8" y="46"/>
                  <a:pt x="8" y="46"/>
                </a:cubicBezTo>
                <a:cubicBezTo>
                  <a:pt x="8" y="37"/>
                  <a:pt x="8" y="37"/>
                  <a:pt x="8" y="37"/>
                </a:cubicBezTo>
                <a:close/>
                <a:moveTo>
                  <a:pt x="41" y="18"/>
                </a:moveTo>
                <a:cubicBezTo>
                  <a:pt x="41" y="27"/>
                  <a:pt x="41" y="27"/>
                  <a:pt x="41" y="27"/>
                </a:cubicBezTo>
                <a:cubicBezTo>
                  <a:pt x="16" y="27"/>
                  <a:pt x="16" y="27"/>
                  <a:pt x="16" y="27"/>
                </a:cubicBezTo>
                <a:cubicBezTo>
                  <a:pt x="16" y="33"/>
                  <a:pt x="16" y="33"/>
                  <a:pt x="16" y="33"/>
                </a:cubicBezTo>
                <a:cubicBezTo>
                  <a:pt x="5" y="33"/>
                  <a:pt x="5" y="33"/>
                  <a:pt x="5" y="33"/>
                </a:cubicBezTo>
                <a:cubicBezTo>
                  <a:pt x="5" y="60"/>
                  <a:pt x="5" y="60"/>
                  <a:pt x="5" y="60"/>
                </a:cubicBezTo>
                <a:cubicBezTo>
                  <a:pt x="0" y="60"/>
                  <a:pt x="0" y="60"/>
                  <a:pt x="0" y="60"/>
                </a:cubicBezTo>
                <a:cubicBezTo>
                  <a:pt x="0" y="65"/>
                  <a:pt x="0" y="65"/>
                  <a:pt x="0" y="65"/>
                </a:cubicBezTo>
                <a:cubicBezTo>
                  <a:pt x="59" y="65"/>
                  <a:pt x="59" y="65"/>
                  <a:pt x="59" y="65"/>
                </a:cubicBezTo>
                <a:cubicBezTo>
                  <a:pt x="59" y="60"/>
                  <a:pt x="59" y="60"/>
                  <a:pt x="59" y="60"/>
                </a:cubicBezTo>
                <a:cubicBezTo>
                  <a:pt x="55" y="60"/>
                  <a:pt x="55" y="60"/>
                  <a:pt x="55" y="60"/>
                </a:cubicBezTo>
                <a:cubicBezTo>
                  <a:pt x="52" y="18"/>
                  <a:pt x="52" y="18"/>
                  <a:pt x="52" y="18"/>
                </a:cubicBezTo>
                <a:lnTo>
                  <a:pt x="41" y="18"/>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3" name="Oval 62">
            <a:extLst>
              <a:ext uri="{FF2B5EF4-FFF2-40B4-BE49-F238E27FC236}">
                <a16:creationId xmlns:a16="http://schemas.microsoft.com/office/drawing/2014/main" id="{545ACB34-5654-45FD-991F-80B121757DF5}"/>
              </a:ext>
            </a:extLst>
          </p:cNvPr>
          <p:cNvSpPr/>
          <p:nvPr/>
        </p:nvSpPr>
        <p:spPr>
          <a:xfrm>
            <a:off x="588519" y="4966901"/>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64" name="Picture 63">
            <a:extLst>
              <a:ext uri="{FF2B5EF4-FFF2-40B4-BE49-F238E27FC236}">
                <a16:creationId xmlns:a16="http://schemas.microsoft.com/office/drawing/2014/main" id="{B55119A8-DB44-4F0D-91F0-9406E587F3B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1331" y="5070401"/>
            <a:ext cx="258078" cy="261002"/>
          </a:xfrm>
          <a:prstGeom prst="rect">
            <a:avLst/>
          </a:prstGeom>
        </p:spPr>
      </p:pic>
      <p:sp>
        <p:nvSpPr>
          <p:cNvPr id="59" name="Rounded Rectangle 107">
            <a:extLst>
              <a:ext uri="{FF2B5EF4-FFF2-40B4-BE49-F238E27FC236}">
                <a16:creationId xmlns:a16="http://schemas.microsoft.com/office/drawing/2014/main" id="{8ED7FE78-57ED-4208-A6B8-9BB0C5D84594}"/>
              </a:ext>
            </a:extLst>
          </p:cNvPr>
          <p:cNvSpPr/>
          <p:nvPr/>
        </p:nvSpPr>
        <p:spPr>
          <a:xfrm>
            <a:off x="9022760" y="5622999"/>
            <a:ext cx="2160000" cy="2520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lectric vehicle charging</a:t>
            </a:r>
            <a:endParaRPr kumimoji="0" lang="en-GB" sz="1200" b="0" i="0" u="none" strike="noStrike" kern="1200" cap="none" spc="0" normalizeH="0" baseline="3000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8" name="Oval 77">
            <a:extLst>
              <a:ext uri="{FF2B5EF4-FFF2-40B4-BE49-F238E27FC236}">
                <a16:creationId xmlns:a16="http://schemas.microsoft.com/office/drawing/2014/main" id="{F962B958-FCC6-4255-A3B8-A5D7BE954FC8}"/>
              </a:ext>
            </a:extLst>
          </p:cNvPr>
          <p:cNvSpPr/>
          <p:nvPr/>
        </p:nvSpPr>
        <p:spPr>
          <a:xfrm>
            <a:off x="8467219" y="2774517"/>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79" name="Group 78">
            <a:extLst>
              <a:ext uri="{FF2B5EF4-FFF2-40B4-BE49-F238E27FC236}">
                <a16:creationId xmlns:a16="http://schemas.microsoft.com/office/drawing/2014/main" id="{543D56AF-11A7-4075-9258-672FA724AD22}"/>
              </a:ext>
            </a:extLst>
          </p:cNvPr>
          <p:cNvGrpSpPr/>
          <p:nvPr/>
        </p:nvGrpSpPr>
        <p:grpSpPr>
          <a:xfrm>
            <a:off x="8616163" y="2866730"/>
            <a:ext cx="170113" cy="248328"/>
            <a:chOff x="4948983" y="3275816"/>
            <a:chExt cx="278744" cy="402344"/>
          </a:xfrm>
          <a:noFill/>
        </p:grpSpPr>
        <p:sp>
          <p:nvSpPr>
            <p:cNvPr id="80" name="Freeform 104">
              <a:extLst>
                <a:ext uri="{FF2B5EF4-FFF2-40B4-BE49-F238E27FC236}">
                  <a16:creationId xmlns:a16="http://schemas.microsoft.com/office/drawing/2014/main" id="{D53E86B0-1E15-4A91-9444-235F3AA0ECD1}"/>
                </a:ext>
              </a:extLst>
            </p:cNvPr>
            <p:cNvSpPr>
              <a:spLocks/>
            </p:cNvSpPr>
            <p:nvPr/>
          </p:nvSpPr>
          <p:spPr bwMode="auto">
            <a:xfrm>
              <a:off x="4948983" y="3387176"/>
              <a:ext cx="278744" cy="290984"/>
            </a:xfrm>
            <a:custGeom>
              <a:avLst/>
              <a:gdLst>
                <a:gd name="T0" fmla="*/ 0 w 181"/>
                <a:gd name="T1" fmla="*/ 196 h 196"/>
                <a:gd name="T2" fmla="*/ 181 w 181"/>
                <a:gd name="T3" fmla="*/ 196 h 196"/>
                <a:gd name="T4" fmla="*/ 140 w 181"/>
                <a:gd name="T5" fmla="*/ 0 h 196"/>
                <a:gd name="T6" fmla="*/ 40 w 181"/>
                <a:gd name="T7" fmla="*/ 0 h 196"/>
                <a:gd name="T8" fmla="*/ 0 w 181"/>
                <a:gd name="T9" fmla="*/ 196 h 196"/>
              </a:gdLst>
              <a:ahLst/>
              <a:cxnLst>
                <a:cxn ang="0">
                  <a:pos x="T0" y="T1"/>
                </a:cxn>
                <a:cxn ang="0">
                  <a:pos x="T2" y="T3"/>
                </a:cxn>
                <a:cxn ang="0">
                  <a:pos x="T4" y="T5"/>
                </a:cxn>
                <a:cxn ang="0">
                  <a:pos x="T6" y="T7"/>
                </a:cxn>
                <a:cxn ang="0">
                  <a:pos x="T8" y="T9"/>
                </a:cxn>
              </a:cxnLst>
              <a:rect l="0" t="0" r="r" b="b"/>
              <a:pathLst>
                <a:path w="181" h="196">
                  <a:moveTo>
                    <a:pt x="0" y="196"/>
                  </a:moveTo>
                  <a:lnTo>
                    <a:pt x="181" y="196"/>
                  </a:lnTo>
                  <a:lnTo>
                    <a:pt x="140" y="0"/>
                  </a:lnTo>
                  <a:lnTo>
                    <a:pt x="40" y="0"/>
                  </a:lnTo>
                  <a:lnTo>
                    <a:pt x="0" y="196"/>
                  </a:ln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1" name="Freeform 105">
              <a:extLst>
                <a:ext uri="{FF2B5EF4-FFF2-40B4-BE49-F238E27FC236}">
                  <a16:creationId xmlns:a16="http://schemas.microsoft.com/office/drawing/2014/main" id="{8A1E6981-DCD9-43AA-86DA-06B17F1D6D81}"/>
                </a:ext>
              </a:extLst>
            </p:cNvPr>
            <p:cNvSpPr>
              <a:spLocks/>
            </p:cNvSpPr>
            <p:nvPr/>
          </p:nvSpPr>
          <p:spPr bwMode="auto">
            <a:xfrm>
              <a:off x="5021350" y="3278798"/>
              <a:ext cx="63140" cy="96500"/>
            </a:xfrm>
            <a:custGeom>
              <a:avLst/>
              <a:gdLst>
                <a:gd name="T0" fmla="*/ 16 w 25"/>
                <a:gd name="T1" fmla="*/ 23 h 39"/>
                <a:gd name="T2" fmla="*/ 2 w 25"/>
                <a:gd name="T3" fmla="*/ 39 h 39"/>
                <a:gd name="T4" fmla="*/ 0 w 25"/>
                <a:gd name="T5" fmla="*/ 39 h 39"/>
                <a:gd name="T6" fmla="*/ 13 w 25"/>
                <a:gd name="T7" fmla="*/ 19 h 39"/>
                <a:gd name="T8" fmla="*/ 20 w 25"/>
                <a:gd name="T9" fmla="*/ 12 h 39"/>
                <a:gd name="T10" fmla="*/ 15 w 25"/>
                <a:gd name="T11" fmla="*/ 2 h 39"/>
                <a:gd name="T12" fmla="*/ 23 w 25"/>
                <a:gd name="T13" fmla="*/ 7 h 39"/>
                <a:gd name="T14" fmla="*/ 16 w 25"/>
                <a:gd name="T15" fmla="*/ 23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9">
                  <a:moveTo>
                    <a:pt x="16" y="23"/>
                  </a:moveTo>
                  <a:cubicBezTo>
                    <a:pt x="9" y="23"/>
                    <a:pt x="2" y="39"/>
                    <a:pt x="2" y="39"/>
                  </a:cubicBezTo>
                  <a:cubicBezTo>
                    <a:pt x="0" y="39"/>
                    <a:pt x="0" y="39"/>
                    <a:pt x="0" y="39"/>
                  </a:cubicBezTo>
                  <a:cubicBezTo>
                    <a:pt x="0" y="39"/>
                    <a:pt x="3" y="20"/>
                    <a:pt x="13" y="19"/>
                  </a:cubicBezTo>
                  <a:cubicBezTo>
                    <a:pt x="15" y="18"/>
                    <a:pt x="20" y="17"/>
                    <a:pt x="20" y="12"/>
                  </a:cubicBezTo>
                  <a:cubicBezTo>
                    <a:pt x="21" y="6"/>
                    <a:pt x="17" y="2"/>
                    <a:pt x="15" y="2"/>
                  </a:cubicBezTo>
                  <a:cubicBezTo>
                    <a:pt x="18" y="1"/>
                    <a:pt x="22" y="0"/>
                    <a:pt x="23" y="7"/>
                  </a:cubicBezTo>
                  <a:cubicBezTo>
                    <a:pt x="25" y="18"/>
                    <a:pt x="20" y="23"/>
                    <a:pt x="16" y="23"/>
                  </a:cubicBez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2" name="Freeform 106">
              <a:extLst>
                <a:ext uri="{FF2B5EF4-FFF2-40B4-BE49-F238E27FC236}">
                  <a16:creationId xmlns:a16="http://schemas.microsoft.com/office/drawing/2014/main" id="{DEBFCE73-BDD0-496F-816B-84BF615191EB}"/>
                </a:ext>
              </a:extLst>
            </p:cNvPr>
            <p:cNvSpPr>
              <a:spLocks/>
            </p:cNvSpPr>
            <p:nvPr/>
          </p:nvSpPr>
          <p:spPr bwMode="auto">
            <a:xfrm>
              <a:off x="5059857" y="3275816"/>
              <a:ext cx="61601" cy="99470"/>
            </a:xfrm>
            <a:custGeom>
              <a:avLst/>
              <a:gdLst>
                <a:gd name="T0" fmla="*/ 16 w 24"/>
                <a:gd name="T1" fmla="*/ 23 h 40"/>
                <a:gd name="T2" fmla="*/ 1 w 24"/>
                <a:gd name="T3" fmla="*/ 40 h 40"/>
                <a:gd name="T4" fmla="*/ 0 w 24"/>
                <a:gd name="T5" fmla="*/ 40 h 40"/>
                <a:gd name="T6" fmla="*/ 12 w 24"/>
                <a:gd name="T7" fmla="*/ 19 h 40"/>
                <a:gd name="T8" fmla="*/ 20 w 24"/>
                <a:gd name="T9" fmla="*/ 12 h 40"/>
                <a:gd name="T10" fmla="*/ 14 w 24"/>
                <a:gd name="T11" fmla="*/ 2 h 40"/>
                <a:gd name="T12" fmla="*/ 22 w 24"/>
                <a:gd name="T13" fmla="*/ 7 h 40"/>
                <a:gd name="T14" fmla="*/ 16 w 24"/>
                <a:gd name="T15" fmla="*/ 23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0">
                  <a:moveTo>
                    <a:pt x="16" y="23"/>
                  </a:moveTo>
                  <a:cubicBezTo>
                    <a:pt x="8" y="23"/>
                    <a:pt x="1" y="40"/>
                    <a:pt x="1" y="40"/>
                  </a:cubicBezTo>
                  <a:cubicBezTo>
                    <a:pt x="0" y="40"/>
                    <a:pt x="0" y="40"/>
                    <a:pt x="0" y="40"/>
                  </a:cubicBezTo>
                  <a:cubicBezTo>
                    <a:pt x="0" y="40"/>
                    <a:pt x="2" y="21"/>
                    <a:pt x="12" y="19"/>
                  </a:cubicBezTo>
                  <a:cubicBezTo>
                    <a:pt x="14" y="19"/>
                    <a:pt x="19" y="18"/>
                    <a:pt x="20" y="12"/>
                  </a:cubicBezTo>
                  <a:cubicBezTo>
                    <a:pt x="20" y="6"/>
                    <a:pt x="16" y="2"/>
                    <a:pt x="14" y="2"/>
                  </a:cubicBezTo>
                  <a:cubicBezTo>
                    <a:pt x="17" y="2"/>
                    <a:pt x="21" y="0"/>
                    <a:pt x="22" y="7"/>
                  </a:cubicBezTo>
                  <a:cubicBezTo>
                    <a:pt x="24" y="18"/>
                    <a:pt x="20" y="23"/>
                    <a:pt x="16" y="23"/>
                  </a:cubicBez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3" name="Freeform 107">
              <a:extLst>
                <a:ext uri="{FF2B5EF4-FFF2-40B4-BE49-F238E27FC236}">
                  <a16:creationId xmlns:a16="http://schemas.microsoft.com/office/drawing/2014/main" id="{3CD1CB13-3FC6-4D66-B1EA-1998DB735F41}"/>
                </a:ext>
              </a:extLst>
            </p:cNvPr>
            <p:cNvSpPr>
              <a:spLocks/>
            </p:cNvSpPr>
            <p:nvPr/>
          </p:nvSpPr>
          <p:spPr bwMode="auto">
            <a:xfrm>
              <a:off x="5098347" y="3283239"/>
              <a:ext cx="63140" cy="96500"/>
            </a:xfrm>
            <a:custGeom>
              <a:avLst/>
              <a:gdLst>
                <a:gd name="T0" fmla="*/ 16 w 25"/>
                <a:gd name="T1" fmla="*/ 23 h 39"/>
                <a:gd name="T2" fmla="*/ 2 w 25"/>
                <a:gd name="T3" fmla="*/ 39 h 39"/>
                <a:gd name="T4" fmla="*/ 0 w 25"/>
                <a:gd name="T5" fmla="*/ 39 h 39"/>
                <a:gd name="T6" fmla="*/ 13 w 25"/>
                <a:gd name="T7" fmla="*/ 18 h 39"/>
                <a:gd name="T8" fmla="*/ 20 w 25"/>
                <a:gd name="T9" fmla="*/ 11 h 39"/>
                <a:gd name="T10" fmla="*/ 15 w 25"/>
                <a:gd name="T11" fmla="*/ 1 h 39"/>
                <a:gd name="T12" fmla="*/ 23 w 25"/>
                <a:gd name="T13" fmla="*/ 7 h 39"/>
                <a:gd name="T14" fmla="*/ 16 w 25"/>
                <a:gd name="T15" fmla="*/ 23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9">
                  <a:moveTo>
                    <a:pt x="16" y="23"/>
                  </a:moveTo>
                  <a:cubicBezTo>
                    <a:pt x="9" y="23"/>
                    <a:pt x="2" y="39"/>
                    <a:pt x="2" y="39"/>
                  </a:cubicBezTo>
                  <a:cubicBezTo>
                    <a:pt x="0" y="39"/>
                    <a:pt x="0" y="39"/>
                    <a:pt x="0" y="39"/>
                  </a:cubicBezTo>
                  <a:cubicBezTo>
                    <a:pt x="0" y="39"/>
                    <a:pt x="3" y="20"/>
                    <a:pt x="13" y="18"/>
                  </a:cubicBezTo>
                  <a:cubicBezTo>
                    <a:pt x="15" y="18"/>
                    <a:pt x="20" y="17"/>
                    <a:pt x="20" y="11"/>
                  </a:cubicBezTo>
                  <a:cubicBezTo>
                    <a:pt x="21" y="5"/>
                    <a:pt x="17" y="2"/>
                    <a:pt x="15" y="1"/>
                  </a:cubicBezTo>
                  <a:cubicBezTo>
                    <a:pt x="18" y="1"/>
                    <a:pt x="21" y="0"/>
                    <a:pt x="23" y="7"/>
                  </a:cubicBezTo>
                  <a:cubicBezTo>
                    <a:pt x="25" y="18"/>
                    <a:pt x="20" y="23"/>
                    <a:pt x="16" y="23"/>
                  </a:cubicBez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4" name="Freeform 108">
              <a:extLst>
                <a:ext uri="{FF2B5EF4-FFF2-40B4-BE49-F238E27FC236}">
                  <a16:creationId xmlns:a16="http://schemas.microsoft.com/office/drawing/2014/main" id="{902446EC-5C13-485A-BC99-7AC3F351C1DF}"/>
                </a:ext>
              </a:extLst>
            </p:cNvPr>
            <p:cNvSpPr>
              <a:spLocks/>
            </p:cNvSpPr>
            <p:nvPr/>
          </p:nvSpPr>
          <p:spPr bwMode="auto">
            <a:xfrm>
              <a:off x="5136881" y="3280262"/>
              <a:ext cx="60061" cy="96500"/>
            </a:xfrm>
            <a:custGeom>
              <a:avLst/>
              <a:gdLst>
                <a:gd name="T0" fmla="*/ 16 w 24"/>
                <a:gd name="T1" fmla="*/ 23 h 39"/>
                <a:gd name="T2" fmla="*/ 1 w 24"/>
                <a:gd name="T3" fmla="*/ 39 h 39"/>
                <a:gd name="T4" fmla="*/ 0 w 24"/>
                <a:gd name="T5" fmla="*/ 39 h 39"/>
                <a:gd name="T6" fmla="*/ 12 w 24"/>
                <a:gd name="T7" fmla="*/ 19 h 39"/>
                <a:gd name="T8" fmla="*/ 20 w 24"/>
                <a:gd name="T9" fmla="*/ 12 h 39"/>
                <a:gd name="T10" fmla="*/ 14 w 24"/>
                <a:gd name="T11" fmla="*/ 1 h 39"/>
                <a:gd name="T12" fmla="*/ 22 w 24"/>
                <a:gd name="T13" fmla="*/ 7 h 39"/>
                <a:gd name="T14" fmla="*/ 16 w 24"/>
                <a:gd name="T15" fmla="*/ 23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9">
                  <a:moveTo>
                    <a:pt x="16" y="23"/>
                  </a:moveTo>
                  <a:cubicBezTo>
                    <a:pt x="8" y="23"/>
                    <a:pt x="1" y="39"/>
                    <a:pt x="1" y="39"/>
                  </a:cubicBezTo>
                  <a:cubicBezTo>
                    <a:pt x="0" y="39"/>
                    <a:pt x="0" y="39"/>
                    <a:pt x="0" y="39"/>
                  </a:cubicBezTo>
                  <a:cubicBezTo>
                    <a:pt x="0" y="39"/>
                    <a:pt x="2" y="20"/>
                    <a:pt x="12" y="19"/>
                  </a:cubicBezTo>
                  <a:cubicBezTo>
                    <a:pt x="14" y="18"/>
                    <a:pt x="19" y="17"/>
                    <a:pt x="20" y="12"/>
                  </a:cubicBezTo>
                  <a:cubicBezTo>
                    <a:pt x="20" y="6"/>
                    <a:pt x="16" y="2"/>
                    <a:pt x="14" y="1"/>
                  </a:cubicBezTo>
                  <a:cubicBezTo>
                    <a:pt x="17" y="1"/>
                    <a:pt x="21" y="0"/>
                    <a:pt x="22" y="7"/>
                  </a:cubicBezTo>
                  <a:cubicBezTo>
                    <a:pt x="24" y="18"/>
                    <a:pt x="19" y="23"/>
                    <a:pt x="16" y="23"/>
                  </a:cubicBez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76" name="Oval 75">
            <a:extLst>
              <a:ext uri="{FF2B5EF4-FFF2-40B4-BE49-F238E27FC236}">
                <a16:creationId xmlns:a16="http://schemas.microsoft.com/office/drawing/2014/main" id="{6A12C932-EA50-42C9-B763-65E4B12CFC8D}"/>
              </a:ext>
            </a:extLst>
          </p:cNvPr>
          <p:cNvSpPr/>
          <p:nvPr/>
        </p:nvSpPr>
        <p:spPr>
          <a:xfrm>
            <a:off x="8467219" y="3870709"/>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7" name="Freeform 149">
            <a:extLst>
              <a:ext uri="{FF2B5EF4-FFF2-40B4-BE49-F238E27FC236}">
                <a16:creationId xmlns:a16="http://schemas.microsoft.com/office/drawing/2014/main" id="{CB53E970-E1BE-4177-9012-02EDCBBAFD11}"/>
              </a:ext>
            </a:extLst>
          </p:cNvPr>
          <p:cNvSpPr>
            <a:spLocks noEditPoints="1"/>
          </p:cNvSpPr>
          <p:nvPr/>
        </p:nvSpPr>
        <p:spPr bwMode="auto">
          <a:xfrm>
            <a:off x="8577786" y="4005485"/>
            <a:ext cx="260031" cy="196596"/>
          </a:xfrm>
          <a:custGeom>
            <a:avLst/>
            <a:gdLst>
              <a:gd name="T0" fmla="*/ 57 w 59"/>
              <a:gd name="T1" fmla="*/ 41 h 44"/>
              <a:gd name="T2" fmla="*/ 3 w 59"/>
              <a:gd name="T3" fmla="*/ 44 h 44"/>
              <a:gd name="T4" fmla="*/ 0 w 59"/>
              <a:gd name="T5" fmla="*/ 41 h 44"/>
              <a:gd name="T6" fmla="*/ 3 w 59"/>
              <a:gd name="T7" fmla="*/ 0 h 44"/>
              <a:gd name="T8" fmla="*/ 7 w 59"/>
              <a:gd name="T9" fmla="*/ 8 h 44"/>
              <a:gd name="T10" fmla="*/ 9 w 59"/>
              <a:gd name="T11" fmla="*/ 9 h 44"/>
              <a:gd name="T12" fmla="*/ 25 w 59"/>
              <a:gd name="T13" fmla="*/ 9 h 44"/>
              <a:gd name="T14" fmla="*/ 28 w 59"/>
              <a:gd name="T15" fmla="*/ 10 h 44"/>
              <a:gd name="T16" fmla="*/ 35 w 59"/>
              <a:gd name="T17" fmla="*/ 11 h 44"/>
              <a:gd name="T18" fmla="*/ 37 w 59"/>
              <a:gd name="T19" fmla="*/ 11 h 44"/>
              <a:gd name="T20" fmla="*/ 54 w 59"/>
              <a:gd name="T21" fmla="*/ 18 h 44"/>
              <a:gd name="T22" fmla="*/ 56 w 59"/>
              <a:gd name="T23" fmla="*/ 15 h 44"/>
              <a:gd name="T24" fmla="*/ 56 w 59"/>
              <a:gd name="T25" fmla="*/ 20 h 44"/>
              <a:gd name="T26" fmla="*/ 50 w 59"/>
              <a:gd name="T27" fmla="*/ 24 h 44"/>
              <a:gd name="T28" fmla="*/ 53 w 59"/>
              <a:gd name="T29" fmla="*/ 32 h 44"/>
              <a:gd name="T30" fmla="*/ 41 w 59"/>
              <a:gd name="T31" fmla="*/ 32 h 44"/>
              <a:gd name="T32" fmla="*/ 38 w 59"/>
              <a:gd name="T33" fmla="*/ 35 h 44"/>
              <a:gd name="T34" fmla="*/ 36 w 59"/>
              <a:gd name="T35" fmla="*/ 32 h 44"/>
              <a:gd name="T36" fmla="*/ 28 w 59"/>
              <a:gd name="T37" fmla="*/ 25 h 44"/>
              <a:gd name="T38" fmla="*/ 20 w 59"/>
              <a:gd name="T39" fmla="*/ 31 h 44"/>
              <a:gd name="T40" fmla="*/ 17 w 59"/>
              <a:gd name="T41" fmla="*/ 33 h 44"/>
              <a:gd name="T42" fmla="*/ 14 w 59"/>
              <a:gd name="T43" fmla="*/ 30 h 44"/>
              <a:gd name="T44" fmla="*/ 11 w 59"/>
              <a:gd name="T45" fmla="*/ 28 h 44"/>
              <a:gd name="T46" fmla="*/ 3 w 59"/>
              <a:gd name="T47" fmla="*/ 35 h 44"/>
              <a:gd name="T48" fmla="*/ 38 w 59"/>
              <a:gd name="T49" fmla="*/ 29 h 44"/>
              <a:gd name="T50" fmla="*/ 46 w 59"/>
              <a:gd name="T51" fmla="*/ 25 h 44"/>
              <a:gd name="T52" fmla="*/ 27 w 59"/>
              <a:gd name="T53" fmla="*/ 17 h 44"/>
              <a:gd name="T54" fmla="*/ 25 w 59"/>
              <a:gd name="T55" fmla="*/ 16 h 44"/>
              <a:gd name="T56" fmla="*/ 12 w 59"/>
              <a:gd name="T57" fmla="*/ 19 h 44"/>
              <a:gd name="T58" fmla="*/ 10 w 59"/>
              <a:gd name="T59" fmla="*/ 18 h 44"/>
              <a:gd name="T60" fmla="*/ 3 w 59"/>
              <a:gd name="T61" fmla="*/ 13 h 44"/>
              <a:gd name="T62" fmla="*/ 8 w 59"/>
              <a:gd name="T63" fmla="*/ 26 h 44"/>
              <a:gd name="T64" fmla="*/ 11 w 59"/>
              <a:gd name="T65" fmla="*/ 23 h 44"/>
              <a:gd name="T66" fmla="*/ 13 w 59"/>
              <a:gd name="T67" fmla="*/ 26 h 44"/>
              <a:gd name="T68" fmla="*/ 17 w 59"/>
              <a:gd name="T69" fmla="*/ 28 h 44"/>
              <a:gd name="T70" fmla="*/ 26 w 59"/>
              <a:gd name="T71" fmla="*/ 23 h 44"/>
              <a:gd name="T72" fmla="*/ 28 w 59"/>
              <a:gd name="T73" fmla="*/ 20 h 44"/>
              <a:gd name="T74" fmla="*/ 31 w 59"/>
              <a:gd name="T75" fmla="*/ 23 h 44"/>
              <a:gd name="T76" fmla="*/ 38 w 59"/>
              <a:gd name="T77"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 h="44">
                <a:moveTo>
                  <a:pt x="3" y="41"/>
                </a:moveTo>
                <a:cubicBezTo>
                  <a:pt x="57" y="41"/>
                  <a:pt x="57" y="41"/>
                  <a:pt x="57" y="41"/>
                </a:cubicBezTo>
                <a:cubicBezTo>
                  <a:pt x="57" y="44"/>
                  <a:pt x="57" y="44"/>
                  <a:pt x="57" y="44"/>
                </a:cubicBezTo>
                <a:cubicBezTo>
                  <a:pt x="3" y="44"/>
                  <a:pt x="3" y="44"/>
                  <a:pt x="3" y="44"/>
                </a:cubicBezTo>
                <a:cubicBezTo>
                  <a:pt x="0" y="44"/>
                  <a:pt x="0" y="44"/>
                  <a:pt x="0" y="44"/>
                </a:cubicBezTo>
                <a:cubicBezTo>
                  <a:pt x="0" y="41"/>
                  <a:pt x="0" y="41"/>
                  <a:pt x="0" y="41"/>
                </a:cubicBezTo>
                <a:cubicBezTo>
                  <a:pt x="0" y="0"/>
                  <a:pt x="0" y="0"/>
                  <a:pt x="0" y="0"/>
                </a:cubicBezTo>
                <a:cubicBezTo>
                  <a:pt x="3" y="0"/>
                  <a:pt x="3" y="0"/>
                  <a:pt x="3" y="0"/>
                </a:cubicBezTo>
                <a:cubicBezTo>
                  <a:pt x="3" y="9"/>
                  <a:pt x="3" y="9"/>
                  <a:pt x="3" y="9"/>
                </a:cubicBezTo>
                <a:cubicBezTo>
                  <a:pt x="7" y="8"/>
                  <a:pt x="7" y="8"/>
                  <a:pt x="7" y="8"/>
                </a:cubicBezTo>
                <a:cubicBezTo>
                  <a:pt x="8" y="8"/>
                  <a:pt x="8" y="8"/>
                  <a:pt x="8" y="8"/>
                </a:cubicBezTo>
                <a:cubicBezTo>
                  <a:pt x="9" y="9"/>
                  <a:pt x="9" y="9"/>
                  <a:pt x="9" y="9"/>
                </a:cubicBezTo>
                <a:cubicBezTo>
                  <a:pt x="12" y="15"/>
                  <a:pt x="12" y="15"/>
                  <a:pt x="12" y="15"/>
                </a:cubicBezTo>
                <a:cubicBezTo>
                  <a:pt x="25" y="9"/>
                  <a:pt x="25" y="9"/>
                  <a:pt x="25" y="9"/>
                </a:cubicBezTo>
                <a:cubicBezTo>
                  <a:pt x="28" y="8"/>
                  <a:pt x="28" y="8"/>
                  <a:pt x="28" y="8"/>
                </a:cubicBezTo>
                <a:cubicBezTo>
                  <a:pt x="28" y="10"/>
                  <a:pt x="28" y="10"/>
                  <a:pt x="28" y="10"/>
                </a:cubicBezTo>
                <a:cubicBezTo>
                  <a:pt x="28" y="13"/>
                  <a:pt x="28" y="13"/>
                  <a:pt x="28" y="13"/>
                </a:cubicBezTo>
                <a:cubicBezTo>
                  <a:pt x="35" y="11"/>
                  <a:pt x="35" y="11"/>
                  <a:pt x="35" y="11"/>
                </a:cubicBezTo>
                <a:cubicBezTo>
                  <a:pt x="36" y="11"/>
                  <a:pt x="36" y="11"/>
                  <a:pt x="36" y="11"/>
                </a:cubicBezTo>
                <a:cubicBezTo>
                  <a:pt x="37" y="11"/>
                  <a:pt x="37" y="11"/>
                  <a:pt x="37" y="11"/>
                </a:cubicBezTo>
                <a:cubicBezTo>
                  <a:pt x="48" y="23"/>
                  <a:pt x="48" y="23"/>
                  <a:pt x="48" y="23"/>
                </a:cubicBezTo>
                <a:cubicBezTo>
                  <a:pt x="54" y="18"/>
                  <a:pt x="54" y="18"/>
                  <a:pt x="54" y="18"/>
                </a:cubicBezTo>
                <a:cubicBezTo>
                  <a:pt x="53" y="18"/>
                  <a:pt x="53" y="18"/>
                  <a:pt x="53" y="18"/>
                </a:cubicBezTo>
                <a:cubicBezTo>
                  <a:pt x="53" y="16"/>
                  <a:pt x="55" y="15"/>
                  <a:pt x="56" y="15"/>
                </a:cubicBezTo>
                <a:cubicBezTo>
                  <a:pt x="58" y="15"/>
                  <a:pt x="59" y="16"/>
                  <a:pt x="59" y="18"/>
                </a:cubicBezTo>
                <a:cubicBezTo>
                  <a:pt x="59" y="19"/>
                  <a:pt x="58" y="20"/>
                  <a:pt x="56" y="20"/>
                </a:cubicBezTo>
                <a:cubicBezTo>
                  <a:pt x="56" y="20"/>
                  <a:pt x="56" y="20"/>
                  <a:pt x="55" y="20"/>
                </a:cubicBezTo>
                <a:cubicBezTo>
                  <a:pt x="50" y="24"/>
                  <a:pt x="50" y="24"/>
                  <a:pt x="50" y="24"/>
                </a:cubicBezTo>
                <a:cubicBezTo>
                  <a:pt x="56" y="29"/>
                  <a:pt x="56" y="29"/>
                  <a:pt x="56" y="29"/>
                </a:cubicBezTo>
                <a:cubicBezTo>
                  <a:pt x="53" y="32"/>
                  <a:pt x="53" y="32"/>
                  <a:pt x="53" y="32"/>
                </a:cubicBezTo>
                <a:cubicBezTo>
                  <a:pt x="47" y="27"/>
                  <a:pt x="47" y="27"/>
                  <a:pt x="47" y="27"/>
                </a:cubicBezTo>
                <a:cubicBezTo>
                  <a:pt x="41" y="32"/>
                  <a:pt x="41" y="32"/>
                  <a:pt x="41" y="32"/>
                </a:cubicBezTo>
                <a:cubicBezTo>
                  <a:pt x="41" y="32"/>
                  <a:pt x="41" y="32"/>
                  <a:pt x="41" y="32"/>
                </a:cubicBezTo>
                <a:cubicBezTo>
                  <a:pt x="41" y="33"/>
                  <a:pt x="40" y="35"/>
                  <a:pt x="38" y="35"/>
                </a:cubicBezTo>
                <a:cubicBezTo>
                  <a:pt x="37" y="35"/>
                  <a:pt x="36" y="33"/>
                  <a:pt x="36" y="32"/>
                </a:cubicBezTo>
                <a:cubicBezTo>
                  <a:pt x="36" y="32"/>
                  <a:pt x="36" y="32"/>
                  <a:pt x="36" y="32"/>
                </a:cubicBezTo>
                <a:cubicBezTo>
                  <a:pt x="29" y="25"/>
                  <a:pt x="29" y="25"/>
                  <a:pt x="29" y="25"/>
                </a:cubicBezTo>
                <a:cubicBezTo>
                  <a:pt x="29" y="25"/>
                  <a:pt x="28" y="25"/>
                  <a:pt x="28" y="25"/>
                </a:cubicBezTo>
                <a:cubicBezTo>
                  <a:pt x="28" y="25"/>
                  <a:pt x="27" y="25"/>
                  <a:pt x="27" y="25"/>
                </a:cubicBezTo>
                <a:cubicBezTo>
                  <a:pt x="20" y="31"/>
                  <a:pt x="20" y="31"/>
                  <a:pt x="20" y="31"/>
                </a:cubicBezTo>
                <a:cubicBezTo>
                  <a:pt x="20" y="31"/>
                  <a:pt x="20" y="31"/>
                  <a:pt x="20" y="31"/>
                </a:cubicBezTo>
                <a:cubicBezTo>
                  <a:pt x="20" y="32"/>
                  <a:pt x="18" y="33"/>
                  <a:pt x="17" y="33"/>
                </a:cubicBezTo>
                <a:cubicBezTo>
                  <a:pt x="15" y="33"/>
                  <a:pt x="14" y="32"/>
                  <a:pt x="14" y="31"/>
                </a:cubicBezTo>
                <a:cubicBezTo>
                  <a:pt x="14" y="31"/>
                  <a:pt x="14" y="31"/>
                  <a:pt x="14" y="30"/>
                </a:cubicBezTo>
                <a:cubicBezTo>
                  <a:pt x="12" y="28"/>
                  <a:pt x="12" y="28"/>
                  <a:pt x="12" y="28"/>
                </a:cubicBezTo>
                <a:cubicBezTo>
                  <a:pt x="11" y="28"/>
                  <a:pt x="11" y="28"/>
                  <a:pt x="11" y="28"/>
                </a:cubicBezTo>
                <a:cubicBezTo>
                  <a:pt x="10" y="28"/>
                  <a:pt x="10" y="28"/>
                  <a:pt x="10" y="28"/>
                </a:cubicBezTo>
                <a:cubicBezTo>
                  <a:pt x="3" y="35"/>
                  <a:pt x="3" y="35"/>
                  <a:pt x="3" y="35"/>
                </a:cubicBezTo>
                <a:cubicBezTo>
                  <a:pt x="3" y="41"/>
                  <a:pt x="3" y="41"/>
                  <a:pt x="3" y="41"/>
                </a:cubicBezTo>
                <a:close/>
                <a:moveTo>
                  <a:pt x="38" y="29"/>
                </a:moveTo>
                <a:cubicBezTo>
                  <a:pt x="39" y="29"/>
                  <a:pt x="39" y="29"/>
                  <a:pt x="39" y="30"/>
                </a:cubicBezTo>
                <a:cubicBezTo>
                  <a:pt x="46" y="25"/>
                  <a:pt x="46" y="25"/>
                  <a:pt x="46" y="25"/>
                </a:cubicBezTo>
                <a:cubicBezTo>
                  <a:pt x="35" y="15"/>
                  <a:pt x="35" y="15"/>
                  <a:pt x="35" y="15"/>
                </a:cubicBezTo>
                <a:cubicBezTo>
                  <a:pt x="27" y="17"/>
                  <a:pt x="27" y="17"/>
                  <a:pt x="27" y="17"/>
                </a:cubicBezTo>
                <a:cubicBezTo>
                  <a:pt x="25" y="18"/>
                  <a:pt x="25" y="18"/>
                  <a:pt x="25" y="18"/>
                </a:cubicBezTo>
                <a:cubicBezTo>
                  <a:pt x="25" y="16"/>
                  <a:pt x="25" y="16"/>
                  <a:pt x="25" y="16"/>
                </a:cubicBezTo>
                <a:cubicBezTo>
                  <a:pt x="24" y="13"/>
                  <a:pt x="24" y="13"/>
                  <a:pt x="24" y="13"/>
                </a:cubicBezTo>
                <a:cubicBezTo>
                  <a:pt x="12" y="19"/>
                  <a:pt x="12" y="19"/>
                  <a:pt x="12" y="19"/>
                </a:cubicBezTo>
                <a:cubicBezTo>
                  <a:pt x="11" y="20"/>
                  <a:pt x="11" y="20"/>
                  <a:pt x="11" y="20"/>
                </a:cubicBezTo>
                <a:cubicBezTo>
                  <a:pt x="10" y="18"/>
                  <a:pt x="10" y="18"/>
                  <a:pt x="10" y="18"/>
                </a:cubicBezTo>
                <a:cubicBezTo>
                  <a:pt x="6" y="12"/>
                  <a:pt x="6" y="12"/>
                  <a:pt x="6" y="12"/>
                </a:cubicBezTo>
                <a:cubicBezTo>
                  <a:pt x="3" y="13"/>
                  <a:pt x="3" y="13"/>
                  <a:pt x="3" y="13"/>
                </a:cubicBezTo>
                <a:cubicBezTo>
                  <a:pt x="3" y="32"/>
                  <a:pt x="3" y="32"/>
                  <a:pt x="3" y="32"/>
                </a:cubicBezTo>
                <a:cubicBezTo>
                  <a:pt x="8" y="26"/>
                  <a:pt x="8" y="26"/>
                  <a:pt x="8" y="26"/>
                </a:cubicBezTo>
                <a:cubicBezTo>
                  <a:pt x="8" y="26"/>
                  <a:pt x="8" y="25"/>
                  <a:pt x="8" y="25"/>
                </a:cubicBezTo>
                <a:cubicBezTo>
                  <a:pt x="8" y="24"/>
                  <a:pt x="9" y="23"/>
                  <a:pt x="11" y="23"/>
                </a:cubicBezTo>
                <a:cubicBezTo>
                  <a:pt x="12" y="23"/>
                  <a:pt x="13" y="24"/>
                  <a:pt x="13" y="25"/>
                </a:cubicBezTo>
                <a:cubicBezTo>
                  <a:pt x="13" y="25"/>
                  <a:pt x="13" y="26"/>
                  <a:pt x="13" y="26"/>
                </a:cubicBezTo>
                <a:cubicBezTo>
                  <a:pt x="16" y="28"/>
                  <a:pt x="16" y="28"/>
                  <a:pt x="16" y="28"/>
                </a:cubicBezTo>
                <a:cubicBezTo>
                  <a:pt x="16" y="28"/>
                  <a:pt x="17" y="28"/>
                  <a:pt x="17" y="28"/>
                </a:cubicBezTo>
                <a:cubicBezTo>
                  <a:pt x="17" y="28"/>
                  <a:pt x="18" y="28"/>
                  <a:pt x="18" y="29"/>
                </a:cubicBezTo>
                <a:cubicBezTo>
                  <a:pt x="26" y="23"/>
                  <a:pt x="26" y="23"/>
                  <a:pt x="26" y="23"/>
                </a:cubicBezTo>
                <a:cubicBezTo>
                  <a:pt x="26" y="23"/>
                  <a:pt x="26" y="23"/>
                  <a:pt x="26" y="23"/>
                </a:cubicBezTo>
                <a:cubicBezTo>
                  <a:pt x="26" y="21"/>
                  <a:pt x="27" y="20"/>
                  <a:pt x="28" y="20"/>
                </a:cubicBezTo>
                <a:cubicBezTo>
                  <a:pt x="30" y="20"/>
                  <a:pt x="31" y="21"/>
                  <a:pt x="31" y="23"/>
                </a:cubicBezTo>
                <a:cubicBezTo>
                  <a:pt x="31" y="23"/>
                  <a:pt x="31" y="23"/>
                  <a:pt x="31" y="23"/>
                </a:cubicBezTo>
                <a:cubicBezTo>
                  <a:pt x="37" y="30"/>
                  <a:pt x="37" y="30"/>
                  <a:pt x="37" y="30"/>
                </a:cubicBezTo>
                <a:cubicBezTo>
                  <a:pt x="37" y="29"/>
                  <a:pt x="38" y="29"/>
                  <a:pt x="38" y="29"/>
                </a:cubicBez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4" name="Oval 73">
            <a:extLst>
              <a:ext uri="{FF2B5EF4-FFF2-40B4-BE49-F238E27FC236}">
                <a16:creationId xmlns:a16="http://schemas.microsoft.com/office/drawing/2014/main" id="{831B5434-47C1-4BAE-9DC2-6BAB4BA6AE87}"/>
              </a:ext>
            </a:extLst>
          </p:cNvPr>
          <p:cNvSpPr/>
          <p:nvPr/>
        </p:nvSpPr>
        <p:spPr>
          <a:xfrm>
            <a:off x="8467219" y="4418805"/>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5" name="Freeform 147">
            <a:extLst>
              <a:ext uri="{FF2B5EF4-FFF2-40B4-BE49-F238E27FC236}">
                <a16:creationId xmlns:a16="http://schemas.microsoft.com/office/drawing/2014/main" id="{B684030B-0862-4DEA-90A7-1A129D5E95E4}"/>
              </a:ext>
            </a:extLst>
          </p:cNvPr>
          <p:cNvSpPr>
            <a:spLocks/>
          </p:cNvSpPr>
          <p:nvPr/>
        </p:nvSpPr>
        <p:spPr bwMode="auto">
          <a:xfrm>
            <a:off x="8588940" y="4562631"/>
            <a:ext cx="252460" cy="201703"/>
          </a:xfrm>
          <a:custGeom>
            <a:avLst/>
            <a:gdLst>
              <a:gd name="T0" fmla="*/ 6 w 100"/>
              <a:gd name="T1" fmla="*/ 74 h 79"/>
              <a:gd name="T2" fmla="*/ 100 w 100"/>
              <a:gd name="T3" fmla="*/ 74 h 79"/>
              <a:gd name="T4" fmla="*/ 100 w 100"/>
              <a:gd name="T5" fmla="*/ 79 h 79"/>
              <a:gd name="T6" fmla="*/ 6 w 100"/>
              <a:gd name="T7" fmla="*/ 79 h 79"/>
              <a:gd name="T8" fmla="*/ 0 w 100"/>
              <a:gd name="T9" fmla="*/ 79 h 79"/>
              <a:gd name="T10" fmla="*/ 0 w 100"/>
              <a:gd name="T11" fmla="*/ 74 h 79"/>
              <a:gd name="T12" fmla="*/ 0 w 100"/>
              <a:gd name="T13" fmla="*/ 0 h 79"/>
              <a:gd name="T14" fmla="*/ 6 w 100"/>
              <a:gd name="T15" fmla="*/ 0 h 79"/>
              <a:gd name="T16" fmla="*/ 6 w 100"/>
              <a:gd name="T17" fmla="*/ 42 h 79"/>
              <a:gd name="T18" fmla="*/ 16 w 100"/>
              <a:gd name="T19" fmla="*/ 35 h 79"/>
              <a:gd name="T20" fmla="*/ 20 w 100"/>
              <a:gd name="T21" fmla="*/ 32 h 79"/>
              <a:gd name="T22" fmla="*/ 23 w 100"/>
              <a:gd name="T23" fmla="*/ 37 h 79"/>
              <a:gd name="T24" fmla="*/ 25 w 100"/>
              <a:gd name="T25" fmla="*/ 41 h 79"/>
              <a:gd name="T26" fmla="*/ 28 w 100"/>
              <a:gd name="T27" fmla="*/ 37 h 79"/>
              <a:gd name="T28" fmla="*/ 34 w 100"/>
              <a:gd name="T29" fmla="*/ 34 h 79"/>
              <a:gd name="T30" fmla="*/ 37 w 100"/>
              <a:gd name="T31" fmla="*/ 39 h 79"/>
              <a:gd name="T32" fmla="*/ 39 w 100"/>
              <a:gd name="T33" fmla="*/ 42 h 79"/>
              <a:gd name="T34" fmla="*/ 48 w 100"/>
              <a:gd name="T35" fmla="*/ 37 h 79"/>
              <a:gd name="T36" fmla="*/ 51 w 100"/>
              <a:gd name="T37" fmla="*/ 35 h 79"/>
              <a:gd name="T38" fmla="*/ 53 w 100"/>
              <a:gd name="T39" fmla="*/ 37 h 79"/>
              <a:gd name="T40" fmla="*/ 62 w 100"/>
              <a:gd name="T41" fmla="*/ 25 h 79"/>
              <a:gd name="T42" fmla="*/ 65 w 100"/>
              <a:gd name="T43" fmla="*/ 20 h 79"/>
              <a:gd name="T44" fmla="*/ 69 w 100"/>
              <a:gd name="T45" fmla="*/ 23 h 79"/>
              <a:gd name="T46" fmla="*/ 70 w 100"/>
              <a:gd name="T47" fmla="*/ 25 h 79"/>
              <a:gd name="T48" fmla="*/ 76 w 100"/>
              <a:gd name="T49" fmla="*/ 18 h 79"/>
              <a:gd name="T50" fmla="*/ 70 w 100"/>
              <a:gd name="T51" fmla="*/ 13 h 79"/>
              <a:gd name="T52" fmla="*/ 83 w 100"/>
              <a:gd name="T53" fmla="*/ 7 h 79"/>
              <a:gd name="T54" fmla="*/ 95 w 100"/>
              <a:gd name="T55" fmla="*/ 2 h 79"/>
              <a:gd name="T56" fmla="*/ 93 w 100"/>
              <a:gd name="T57" fmla="*/ 16 h 79"/>
              <a:gd name="T58" fmla="*/ 91 w 100"/>
              <a:gd name="T59" fmla="*/ 30 h 79"/>
              <a:gd name="T60" fmla="*/ 84 w 100"/>
              <a:gd name="T61" fmla="*/ 25 h 79"/>
              <a:gd name="T62" fmla="*/ 77 w 100"/>
              <a:gd name="T63" fmla="*/ 35 h 79"/>
              <a:gd name="T64" fmla="*/ 74 w 100"/>
              <a:gd name="T65" fmla="*/ 41 h 79"/>
              <a:gd name="T66" fmla="*/ 69 w 100"/>
              <a:gd name="T67" fmla="*/ 37 h 79"/>
              <a:gd name="T68" fmla="*/ 67 w 100"/>
              <a:gd name="T69" fmla="*/ 35 h 79"/>
              <a:gd name="T70" fmla="*/ 58 w 100"/>
              <a:gd name="T71" fmla="*/ 48 h 79"/>
              <a:gd name="T72" fmla="*/ 56 w 100"/>
              <a:gd name="T73" fmla="*/ 53 h 79"/>
              <a:gd name="T74" fmla="*/ 51 w 100"/>
              <a:gd name="T75" fmla="*/ 49 h 79"/>
              <a:gd name="T76" fmla="*/ 49 w 100"/>
              <a:gd name="T77" fmla="*/ 49 h 79"/>
              <a:gd name="T78" fmla="*/ 39 w 100"/>
              <a:gd name="T79" fmla="*/ 55 h 79"/>
              <a:gd name="T80" fmla="*/ 34 w 100"/>
              <a:gd name="T81" fmla="*/ 56 h 79"/>
              <a:gd name="T82" fmla="*/ 32 w 100"/>
              <a:gd name="T83" fmla="*/ 53 h 79"/>
              <a:gd name="T84" fmla="*/ 30 w 100"/>
              <a:gd name="T85" fmla="*/ 49 h 79"/>
              <a:gd name="T86" fmla="*/ 28 w 100"/>
              <a:gd name="T87" fmla="*/ 53 h 79"/>
              <a:gd name="T88" fmla="*/ 23 w 100"/>
              <a:gd name="T89" fmla="*/ 56 h 79"/>
              <a:gd name="T90" fmla="*/ 20 w 100"/>
              <a:gd name="T91" fmla="*/ 51 h 79"/>
              <a:gd name="T92" fmla="*/ 18 w 100"/>
              <a:gd name="T93" fmla="*/ 48 h 79"/>
              <a:gd name="T94" fmla="*/ 6 w 100"/>
              <a:gd name="T95" fmla="*/ 56 h 79"/>
              <a:gd name="T96" fmla="*/ 6 w 100"/>
              <a:gd name="T97" fmla="*/ 7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79">
                <a:moveTo>
                  <a:pt x="6" y="74"/>
                </a:moveTo>
                <a:lnTo>
                  <a:pt x="100" y="74"/>
                </a:lnTo>
                <a:lnTo>
                  <a:pt x="100" y="79"/>
                </a:lnTo>
                <a:lnTo>
                  <a:pt x="6" y="79"/>
                </a:lnTo>
                <a:lnTo>
                  <a:pt x="0" y="79"/>
                </a:lnTo>
                <a:lnTo>
                  <a:pt x="0" y="74"/>
                </a:lnTo>
                <a:lnTo>
                  <a:pt x="0" y="0"/>
                </a:lnTo>
                <a:lnTo>
                  <a:pt x="6" y="0"/>
                </a:lnTo>
                <a:lnTo>
                  <a:pt x="6" y="42"/>
                </a:lnTo>
                <a:lnTo>
                  <a:pt x="16" y="35"/>
                </a:lnTo>
                <a:lnTo>
                  <a:pt x="20" y="32"/>
                </a:lnTo>
                <a:lnTo>
                  <a:pt x="23" y="37"/>
                </a:lnTo>
                <a:lnTo>
                  <a:pt x="25" y="41"/>
                </a:lnTo>
                <a:lnTo>
                  <a:pt x="28" y="37"/>
                </a:lnTo>
                <a:lnTo>
                  <a:pt x="34" y="34"/>
                </a:lnTo>
                <a:lnTo>
                  <a:pt x="37" y="39"/>
                </a:lnTo>
                <a:lnTo>
                  <a:pt x="39" y="42"/>
                </a:lnTo>
                <a:lnTo>
                  <a:pt x="48" y="37"/>
                </a:lnTo>
                <a:lnTo>
                  <a:pt x="51" y="35"/>
                </a:lnTo>
                <a:lnTo>
                  <a:pt x="53" y="37"/>
                </a:lnTo>
                <a:lnTo>
                  <a:pt x="62" y="25"/>
                </a:lnTo>
                <a:lnTo>
                  <a:pt x="65" y="20"/>
                </a:lnTo>
                <a:lnTo>
                  <a:pt x="69" y="23"/>
                </a:lnTo>
                <a:lnTo>
                  <a:pt x="70" y="25"/>
                </a:lnTo>
                <a:lnTo>
                  <a:pt x="76" y="18"/>
                </a:lnTo>
                <a:lnTo>
                  <a:pt x="70" y="13"/>
                </a:lnTo>
                <a:lnTo>
                  <a:pt x="83" y="7"/>
                </a:lnTo>
                <a:lnTo>
                  <a:pt x="95" y="2"/>
                </a:lnTo>
                <a:lnTo>
                  <a:pt x="93" y="16"/>
                </a:lnTo>
                <a:lnTo>
                  <a:pt x="91" y="30"/>
                </a:lnTo>
                <a:lnTo>
                  <a:pt x="84" y="25"/>
                </a:lnTo>
                <a:lnTo>
                  <a:pt x="77" y="35"/>
                </a:lnTo>
                <a:lnTo>
                  <a:pt x="74" y="41"/>
                </a:lnTo>
                <a:lnTo>
                  <a:pt x="69" y="37"/>
                </a:lnTo>
                <a:lnTo>
                  <a:pt x="67" y="35"/>
                </a:lnTo>
                <a:lnTo>
                  <a:pt x="58" y="48"/>
                </a:lnTo>
                <a:lnTo>
                  <a:pt x="56" y="53"/>
                </a:lnTo>
                <a:lnTo>
                  <a:pt x="51" y="49"/>
                </a:lnTo>
                <a:lnTo>
                  <a:pt x="49" y="49"/>
                </a:lnTo>
                <a:lnTo>
                  <a:pt x="39" y="55"/>
                </a:lnTo>
                <a:lnTo>
                  <a:pt x="34" y="56"/>
                </a:lnTo>
                <a:lnTo>
                  <a:pt x="32" y="53"/>
                </a:lnTo>
                <a:lnTo>
                  <a:pt x="30" y="49"/>
                </a:lnTo>
                <a:lnTo>
                  <a:pt x="28" y="53"/>
                </a:lnTo>
                <a:lnTo>
                  <a:pt x="23" y="56"/>
                </a:lnTo>
                <a:lnTo>
                  <a:pt x="20" y="51"/>
                </a:lnTo>
                <a:lnTo>
                  <a:pt x="18" y="48"/>
                </a:lnTo>
                <a:lnTo>
                  <a:pt x="6" y="56"/>
                </a:lnTo>
                <a:lnTo>
                  <a:pt x="6" y="74"/>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1" name="Oval 70">
            <a:extLst>
              <a:ext uri="{FF2B5EF4-FFF2-40B4-BE49-F238E27FC236}">
                <a16:creationId xmlns:a16="http://schemas.microsoft.com/office/drawing/2014/main" id="{F1BB8F3C-CEF2-4FD4-8BE5-760E2A8D07CA}"/>
              </a:ext>
            </a:extLst>
          </p:cNvPr>
          <p:cNvSpPr/>
          <p:nvPr/>
        </p:nvSpPr>
        <p:spPr>
          <a:xfrm>
            <a:off x="8467219" y="4966901"/>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2" name="Freeform 113">
            <a:extLst>
              <a:ext uri="{FF2B5EF4-FFF2-40B4-BE49-F238E27FC236}">
                <a16:creationId xmlns:a16="http://schemas.microsoft.com/office/drawing/2014/main" id="{012C9AE4-DA97-4864-A4B5-19216ADD3BCD}"/>
              </a:ext>
            </a:extLst>
          </p:cNvPr>
          <p:cNvSpPr>
            <a:spLocks noEditPoints="1"/>
          </p:cNvSpPr>
          <p:nvPr/>
        </p:nvSpPr>
        <p:spPr bwMode="auto">
          <a:xfrm>
            <a:off x="8633765" y="5266353"/>
            <a:ext cx="149571" cy="98264"/>
          </a:xfrm>
          <a:custGeom>
            <a:avLst/>
            <a:gdLst>
              <a:gd name="T0" fmla="*/ 72 w 73"/>
              <a:gd name="T1" fmla="*/ 32 h 43"/>
              <a:gd name="T2" fmla="*/ 57 w 73"/>
              <a:gd name="T3" fmla="*/ 27 h 43"/>
              <a:gd name="T4" fmla="*/ 59 w 73"/>
              <a:gd name="T5" fmla="*/ 29 h 43"/>
              <a:gd name="T6" fmla="*/ 63 w 73"/>
              <a:gd name="T7" fmla="*/ 26 h 43"/>
              <a:gd name="T8" fmla="*/ 63 w 73"/>
              <a:gd name="T9" fmla="*/ 21 h 43"/>
              <a:gd name="T10" fmla="*/ 59 w 73"/>
              <a:gd name="T11" fmla="*/ 18 h 43"/>
              <a:gd name="T12" fmla="*/ 60 w 73"/>
              <a:gd name="T13" fmla="*/ 17 h 43"/>
              <a:gd name="T14" fmla="*/ 63 w 73"/>
              <a:gd name="T15" fmla="*/ 19 h 43"/>
              <a:gd name="T16" fmla="*/ 61 w 73"/>
              <a:gd name="T17" fmla="*/ 15 h 43"/>
              <a:gd name="T18" fmla="*/ 59 w 73"/>
              <a:gd name="T19" fmla="*/ 15 h 43"/>
              <a:gd name="T20" fmla="*/ 56 w 73"/>
              <a:gd name="T21" fmla="*/ 20 h 43"/>
              <a:gd name="T22" fmla="*/ 60 w 73"/>
              <a:gd name="T23" fmla="*/ 23 h 43"/>
              <a:gd name="T24" fmla="*/ 60 w 73"/>
              <a:gd name="T25" fmla="*/ 26 h 43"/>
              <a:gd name="T26" fmla="*/ 59 w 73"/>
              <a:gd name="T27" fmla="*/ 23 h 43"/>
              <a:gd name="T28" fmla="*/ 55 w 73"/>
              <a:gd name="T29" fmla="*/ 10 h 43"/>
              <a:gd name="T30" fmla="*/ 53 w 73"/>
              <a:gd name="T31" fmla="*/ 2 h 43"/>
              <a:gd name="T32" fmla="*/ 59 w 73"/>
              <a:gd name="T33" fmla="*/ 0 h 43"/>
              <a:gd name="T34" fmla="*/ 63 w 73"/>
              <a:gd name="T35" fmla="*/ 0 h 43"/>
              <a:gd name="T36" fmla="*/ 64 w 73"/>
              <a:gd name="T37" fmla="*/ 7 h 43"/>
              <a:gd name="T38" fmla="*/ 23 w 73"/>
              <a:gd name="T39" fmla="*/ 14 h 43"/>
              <a:gd name="T40" fmla="*/ 1 w 73"/>
              <a:gd name="T41" fmla="*/ 32 h 43"/>
              <a:gd name="T42" fmla="*/ 9 w 73"/>
              <a:gd name="T43" fmla="*/ 7 h 43"/>
              <a:gd name="T44" fmla="*/ 10 w 73"/>
              <a:gd name="T45" fmla="*/ 1 h 43"/>
              <a:gd name="T46" fmla="*/ 15 w 73"/>
              <a:gd name="T47" fmla="*/ 1 h 43"/>
              <a:gd name="T48" fmla="*/ 20 w 73"/>
              <a:gd name="T49" fmla="*/ 2 h 43"/>
              <a:gd name="T50" fmla="*/ 17 w 73"/>
              <a:gd name="T51" fmla="*/ 9 h 43"/>
              <a:gd name="T52" fmla="*/ 16 w 73"/>
              <a:gd name="T53" fmla="*/ 16 h 43"/>
              <a:gd name="T54" fmla="*/ 13 w 73"/>
              <a:gd name="T55" fmla="*/ 14 h 43"/>
              <a:gd name="T56" fmla="*/ 10 w 73"/>
              <a:gd name="T57" fmla="*/ 18 h 43"/>
              <a:gd name="T58" fmla="*/ 13 w 73"/>
              <a:gd name="T59" fmla="*/ 22 h 43"/>
              <a:gd name="T60" fmla="*/ 14 w 73"/>
              <a:gd name="T61" fmla="*/ 26 h 43"/>
              <a:gd name="T62" fmla="*/ 13 w 73"/>
              <a:gd name="T63" fmla="*/ 24 h 43"/>
              <a:gd name="T64" fmla="*/ 10 w 73"/>
              <a:gd name="T65" fmla="*/ 24 h 43"/>
              <a:gd name="T66" fmla="*/ 13 w 73"/>
              <a:gd name="T67" fmla="*/ 29 h 43"/>
              <a:gd name="T68" fmla="*/ 16 w 73"/>
              <a:gd name="T69" fmla="*/ 26 h 43"/>
              <a:gd name="T70" fmla="*/ 16 w 73"/>
              <a:gd name="T71" fmla="*/ 21 h 43"/>
              <a:gd name="T72" fmla="*/ 13 w 73"/>
              <a:gd name="T73" fmla="*/ 18 h 43"/>
              <a:gd name="T74" fmla="*/ 14 w 73"/>
              <a:gd name="T75" fmla="*/ 17 h 43"/>
              <a:gd name="T76" fmla="*/ 17 w 73"/>
              <a:gd name="T77" fmla="*/ 19 h 43"/>
              <a:gd name="T78" fmla="*/ 42 w 73"/>
              <a:gd name="T79" fmla="*/ 9 h 43"/>
              <a:gd name="T80" fmla="*/ 39 w 73"/>
              <a:gd name="T81" fmla="*/ 3 h 43"/>
              <a:gd name="T82" fmla="*/ 34 w 73"/>
              <a:gd name="T83" fmla="*/ 3 h 43"/>
              <a:gd name="T84" fmla="*/ 32 w 73"/>
              <a:gd name="T85" fmla="*/ 9 h 43"/>
              <a:gd name="T86" fmla="*/ 20 w 73"/>
              <a:gd name="T87" fmla="*/ 32 h 43"/>
              <a:gd name="T88" fmla="*/ 54 w 73"/>
              <a:gd name="T89" fmla="*/ 32 h 43"/>
              <a:gd name="T90" fmla="*/ 38 w 73"/>
              <a:gd name="T91" fmla="*/ 23 h 43"/>
              <a:gd name="T92" fmla="*/ 37 w 73"/>
              <a:gd name="T93" fmla="*/ 21 h 43"/>
              <a:gd name="T94" fmla="*/ 37 w 73"/>
              <a:gd name="T95" fmla="*/ 23 h 43"/>
              <a:gd name="T96" fmla="*/ 42 w 73"/>
              <a:gd name="T97" fmla="*/ 28 h 43"/>
              <a:gd name="T98" fmla="*/ 38 w 73"/>
              <a:gd name="T99" fmla="*/ 35 h 43"/>
              <a:gd name="T100" fmla="*/ 36 w 73"/>
              <a:gd name="T101" fmla="*/ 35 h 43"/>
              <a:gd name="T102" fmla="*/ 32 w 73"/>
              <a:gd name="T103" fmla="*/ 29 h 43"/>
              <a:gd name="T104" fmla="*/ 36 w 73"/>
              <a:gd name="T105" fmla="*/ 32 h 43"/>
              <a:gd name="T106" fmla="*/ 38 w 73"/>
              <a:gd name="T107" fmla="*/ 31 h 43"/>
              <a:gd name="T108" fmla="*/ 34 w 73"/>
              <a:gd name="T109" fmla="*/ 26 h 43"/>
              <a:gd name="T110" fmla="*/ 33 w 73"/>
              <a:gd name="T111" fmla="*/ 20 h 43"/>
              <a:gd name="T112" fmla="*/ 38 w 73"/>
              <a:gd name="T113" fmla="*/ 17 h 43"/>
              <a:gd name="T114" fmla="*/ 42 w 73"/>
              <a:gd name="T115"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 h="43">
                <a:moveTo>
                  <a:pt x="64" y="9"/>
                </a:moveTo>
                <a:cubicBezTo>
                  <a:pt x="69" y="12"/>
                  <a:pt x="73" y="18"/>
                  <a:pt x="73" y="26"/>
                </a:cubicBezTo>
                <a:cubicBezTo>
                  <a:pt x="73" y="28"/>
                  <a:pt x="73" y="30"/>
                  <a:pt x="72" y="32"/>
                </a:cubicBezTo>
                <a:cubicBezTo>
                  <a:pt x="67" y="33"/>
                  <a:pt x="62" y="34"/>
                  <a:pt x="57" y="34"/>
                </a:cubicBezTo>
                <a:cubicBezTo>
                  <a:pt x="58" y="33"/>
                  <a:pt x="58" y="33"/>
                  <a:pt x="58" y="32"/>
                </a:cubicBezTo>
                <a:cubicBezTo>
                  <a:pt x="58" y="30"/>
                  <a:pt x="57" y="28"/>
                  <a:pt x="57" y="27"/>
                </a:cubicBezTo>
                <a:cubicBezTo>
                  <a:pt x="57" y="27"/>
                  <a:pt x="57" y="27"/>
                  <a:pt x="57" y="27"/>
                </a:cubicBezTo>
                <a:cubicBezTo>
                  <a:pt x="58" y="27"/>
                  <a:pt x="58" y="28"/>
                  <a:pt x="59" y="28"/>
                </a:cubicBezTo>
                <a:cubicBezTo>
                  <a:pt x="59" y="29"/>
                  <a:pt x="59" y="29"/>
                  <a:pt x="59" y="29"/>
                </a:cubicBezTo>
                <a:cubicBezTo>
                  <a:pt x="61" y="29"/>
                  <a:pt x="61" y="29"/>
                  <a:pt x="61" y="29"/>
                </a:cubicBezTo>
                <a:cubicBezTo>
                  <a:pt x="61" y="28"/>
                  <a:pt x="61" y="28"/>
                  <a:pt x="61" y="28"/>
                </a:cubicBezTo>
                <a:cubicBezTo>
                  <a:pt x="62" y="27"/>
                  <a:pt x="63" y="27"/>
                  <a:pt x="63" y="26"/>
                </a:cubicBezTo>
                <a:cubicBezTo>
                  <a:pt x="64" y="26"/>
                  <a:pt x="64" y="25"/>
                  <a:pt x="64" y="24"/>
                </a:cubicBezTo>
                <a:cubicBezTo>
                  <a:pt x="64" y="23"/>
                  <a:pt x="64" y="23"/>
                  <a:pt x="64" y="22"/>
                </a:cubicBezTo>
                <a:cubicBezTo>
                  <a:pt x="63" y="22"/>
                  <a:pt x="63" y="21"/>
                  <a:pt x="63" y="21"/>
                </a:cubicBezTo>
                <a:cubicBezTo>
                  <a:pt x="63" y="21"/>
                  <a:pt x="62" y="20"/>
                  <a:pt x="61" y="20"/>
                </a:cubicBezTo>
                <a:cubicBezTo>
                  <a:pt x="60" y="19"/>
                  <a:pt x="60" y="19"/>
                  <a:pt x="60" y="19"/>
                </a:cubicBezTo>
                <a:cubicBezTo>
                  <a:pt x="59" y="19"/>
                  <a:pt x="59" y="18"/>
                  <a:pt x="59" y="18"/>
                </a:cubicBezTo>
                <a:cubicBezTo>
                  <a:pt x="59" y="17"/>
                  <a:pt x="59" y="17"/>
                  <a:pt x="59" y="17"/>
                </a:cubicBezTo>
                <a:cubicBezTo>
                  <a:pt x="59" y="17"/>
                  <a:pt x="60" y="17"/>
                  <a:pt x="60" y="17"/>
                </a:cubicBezTo>
                <a:cubicBezTo>
                  <a:pt x="60" y="17"/>
                  <a:pt x="60" y="17"/>
                  <a:pt x="60" y="17"/>
                </a:cubicBezTo>
                <a:cubicBezTo>
                  <a:pt x="60" y="17"/>
                  <a:pt x="60" y="18"/>
                  <a:pt x="60" y="18"/>
                </a:cubicBezTo>
                <a:cubicBezTo>
                  <a:pt x="60" y="19"/>
                  <a:pt x="60" y="19"/>
                  <a:pt x="60" y="19"/>
                </a:cubicBezTo>
                <a:cubicBezTo>
                  <a:pt x="63" y="19"/>
                  <a:pt x="63" y="19"/>
                  <a:pt x="63" y="19"/>
                </a:cubicBezTo>
                <a:cubicBezTo>
                  <a:pt x="64" y="18"/>
                  <a:pt x="64" y="18"/>
                  <a:pt x="64" y="18"/>
                </a:cubicBezTo>
                <a:cubicBezTo>
                  <a:pt x="64" y="17"/>
                  <a:pt x="63" y="17"/>
                  <a:pt x="63" y="16"/>
                </a:cubicBezTo>
                <a:cubicBezTo>
                  <a:pt x="62" y="15"/>
                  <a:pt x="62" y="15"/>
                  <a:pt x="61" y="15"/>
                </a:cubicBezTo>
                <a:cubicBezTo>
                  <a:pt x="61" y="14"/>
                  <a:pt x="61" y="14"/>
                  <a:pt x="61" y="14"/>
                </a:cubicBezTo>
                <a:cubicBezTo>
                  <a:pt x="59" y="14"/>
                  <a:pt x="59" y="14"/>
                  <a:pt x="59" y="14"/>
                </a:cubicBezTo>
                <a:cubicBezTo>
                  <a:pt x="59" y="15"/>
                  <a:pt x="59" y="15"/>
                  <a:pt x="59" y="15"/>
                </a:cubicBezTo>
                <a:cubicBezTo>
                  <a:pt x="58" y="15"/>
                  <a:pt x="57" y="15"/>
                  <a:pt x="57" y="16"/>
                </a:cubicBezTo>
                <a:cubicBezTo>
                  <a:pt x="56" y="17"/>
                  <a:pt x="56" y="17"/>
                  <a:pt x="56" y="18"/>
                </a:cubicBezTo>
                <a:cubicBezTo>
                  <a:pt x="56" y="19"/>
                  <a:pt x="56" y="19"/>
                  <a:pt x="56" y="20"/>
                </a:cubicBezTo>
                <a:cubicBezTo>
                  <a:pt x="57" y="20"/>
                  <a:pt x="57" y="21"/>
                  <a:pt x="57" y="21"/>
                </a:cubicBezTo>
                <a:cubicBezTo>
                  <a:pt x="58" y="21"/>
                  <a:pt x="58" y="22"/>
                  <a:pt x="59" y="22"/>
                </a:cubicBezTo>
                <a:cubicBezTo>
                  <a:pt x="60" y="23"/>
                  <a:pt x="60" y="23"/>
                  <a:pt x="60" y="23"/>
                </a:cubicBezTo>
                <a:cubicBezTo>
                  <a:pt x="60" y="24"/>
                  <a:pt x="60" y="24"/>
                  <a:pt x="60" y="25"/>
                </a:cubicBezTo>
                <a:cubicBezTo>
                  <a:pt x="60" y="25"/>
                  <a:pt x="60" y="25"/>
                  <a:pt x="60" y="26"/>
                </a:cubicBezTo>
                <a:cubicBezTo>
                  <a:pt x="60" y="26"/>
                  <a:pt x="60" y="26"/>
                  <a:pt x="60" y="26"/>
                </a:cubicBezTo>
                <a:cubicBezTo>
                  <a:pt x="60" y="26"/>
                  <a:pt x="59" y="26"/>
                  <a:pt x="59" y="25"/>
                </a:cubicBezTo>
                <a:cubicBezTo>
                  <a:pt x="59" y="25"/>
                  <a:pt x="59" y="25"/>
                  <a:pt x="59" y="24"/>
                </a:cubicBezTo>
                <a:cubicBezTo>
                  <a:pt x="59" y="23"/>
                  <a:pt x="59" y="23"/>
                  <a:pt x="59" y="23"/>
                </a:cubicBezTo>
                <a:cubicBezTo>
                  <a:pt x="56" y="23"/>
                  <a:pt x="56" y="23"/>
                  <a:pt x="56" y="23"/>
                </a:cubicBezTo>
                <a:cubicBezTo>
                  <a:pt x="55" y="19"/>
                  <a:pt x="53" y="16"/>
                  <a:pt x="51" y="13"/>
                </a:cubicBezTo>
                <a:cubicBezTo>
                  <a:pt x="52" y="12"/>
                  <a:pt x="54" y="10"/>
                  <a:pt x="55" y="10"/>
                </a:cubicBezTo>
                <a:cubicBezTo>
                  <a:pt x="55" y="7"/>
                  <a:pt x="55" y="7"/>
                  <a:pt x="55" y="7"/>
                </a:cubicBezTo>
                <a:cubicBezTo>
                  <a:pt x="56" y="7"/>
                  <a:pt x="56" y="7"/>
                  <a:pt x="56" y="7"/>
                </a:cubicBezTo>
                <a:cubicBezTo>
                  <a:pt x="53" y="2"/>
                  <a:pt x="53" y="2"/>
                  <a:pt x="53" y="2"/>
                </a:cubicBezTo>
                <a:cubicBezTo>
                  <a:pt x="57" y="1"/>
                  <a:pt x="57" y="1"/>
                  <a:pt x="57" y="1"/>
                </a:cubicBezTo>
                <a:cubicBezTo>
                  <a:pt x="58" y="3"/>
                  <a:pt x="58" y="3"/>
                  <a:pt x="58" y="3"/>
                </a:cubicBezTo>
                <a:cubicBezTo>
                  <a:pt x="59" y="0"/>
                  <a:pt x="59" y="0"/>
                  <a:pt x="59" y="0"/>
                </a:cubicBezTo>
                <a:cubicBezTo>
                  <a:pt x="62" y="1"/>
                  <a:pt x="62" y="1"/>
                  <a:pt x="62" y="1"/>
                </a:cubicBezTo>
                <a:cubicBezTo>
                  <a:pt x="61" y="3"/>
                  <a:pt x="61" y="3"/>
                  <a:pt x="61" y="3"/>
                </a:cubicBezTo>
                <a:cubicBezTo>
                  <a:pt x="63" y="0"/>
                  <a:pt x="63" y="0"/>
                  <a:pt x="63" y="0"/>
                </a:cubicBezTo>
                <a:cubicBezTo>
                  <a:pt x="66" y="2"/>
                  <a:pt x="66" y="2"/>
                  <a:pt x="66" y="2"/>
                </a:cubicBezTo>
                <a:cubicBezTo>
                  <a:pt x="64" y="7"/>
                  <a:pt x="64" y="7"/>
                  <a:pt x="64" y="7"/>
                </a:cubicBezTo>
                <a:cubicBezTo>
                  <a:pt x="64" y="7"/>
                  <a:pt x="64" y="7"/>
                  <a:pt x="64" y="7"/>
                </a:cubicBezTo>
                <a:cubicBezTo>
                  <a:pt x="64" y="9"/>
                  <a:pt x="64" y="9"/>
                  <a:pt x="64" y="9"/>
                </a:cubicBezTo>
                <a:close/>
                <a:moveTo>
                  <a:pt x="17" y="9"/>
                </a:moveTo>
                <a:cubicBezTo>
                  <a:pt x="19" y="10"/>
                  <a:pt x="21" y="12"/>
                  <a:pt x="23" y="14"/>
                </a:cubicBezTo>
                <a:cubicBezTo>
                  <a:pt x="19" y="19"/>
                  <a:pt x="17" y="26"/>
                  <a:pt x="17" y="32"/>
                </a:cubicBezTo>
                <a:cubicBezTo>
                  <a:pt x="17" y="33"/>
                  <a:pt x="17" y="33"/>
                  <a:pt x="17" y="34"/>
                </a:cubicBezTo>
                <a:cubicBezTo>
                  <a:pt x="11" y="34"/>
                  <a:pt x="6" y="33"/>
                  <a:pt x="1" y="32"/>
                </a:cubicBezTo>
                <a:cubicBezTo>
                  <a:pt x="1" y="30"/>
                  <a:pt x="0" y="28"/>
                  <a:pt x="0" y="26"/>
                </a:cubicBezTo>
                <a:cubicBezTo>
                  <a:pt x="0" y="18"/>
                  <a:pt x="4" y="12"/>
                  <a:pt x="9" y="10"/>
                </a:cubicBezTo>
                <a:cubicBezTo>
                  <a:pt x="9" y="7"/>
                  <a:pt x="9" y="7"/>
                  <a:pt x="9" y="7"/>
                </a:cubicBezTo>
                <a:cubicBezTo>
                  <a:pt x="9" y="7"/>
                  <a:pt x="9" y="7"/>
                  <a:pt x="9" y="7"/>
                </a:cubicBezTo>
                <a:cubicBezTo>
                  <a:pt x="7" y="2"/>
                  <a:pt x="7" y="2"/>
                  <a:pt x="7" y="2"/>
                </a:cubicBezTo>
                <a:cubicBezTo>
                  <a:pt x="10" y="1"/>
                  <a:pt x="10" y="1"/>
                  <a:pt x="10" y="1"/>
                </a:cubicBezTo>
                <a:cubicBezTo>
                  <a:pt x="11" y="3"/>
                  <a:pt x="11" y="3"/>
                  <a:pt x="11" y="3"/>
                </a:cubicBezTo>
                <a:cubicBezTo>
                  <a:pt x="12" y="0"/>
                  <a:pt x="12" y="0"/>
                  <a:pt x="12" y="0"/>
                </a:cubicBezTo>
                <a:cubicBezTo>
                  <a:pt x="15" y="1"/>
                  <a:pt x="15" y="1"/>
                  <a:pt x="15" y="1"/>
                </a:cubicBezTo>
                <a:cubicBezTo>
                  <a:pt x="15" y="3"/>
                  <a:pt x="15" y="3"/>
                  <a:pt x="15" y="3"/>
                </a:cubicBezTo>
                <a:cubicBezTo>
                  <a:pt x="17" y="0"/>
                  <a:pt x="17" y="0"/>
                  <a:pt x="17" y="0"/>
                </a:cubicBezTo>
                <a:cubicBezTo>
                  <a:pt x="20" y="2"/>
                  <a:pt x="20" y="2"/>
                  <a:pt x="20" y="2"/>
                </a:cubicBezTo>
                <a:cubicBezTo>
                  <a:pt x="17" y="7"/>
                  <a:pt x="17" y="7"/>
                  <a:pt x="17" y="7"/>
                </a:cubicBezTo>
                <a:cubicBezTo>
                  <a:pt x="17" y="7"/>
                  <a:pt x="17" y="7"/>
                  <a:pt x="17" y="7"/>
                </a:cubicBezTo>
                <a:cubicBezTo>
                  <a:pt x="17" y="9"/>
                  <a:pt x="17" y="9"/>
                  <a:pt x="17" y="9"/>
                </a:cubicBezTo>
                <a:close/>
                <a:moveTo>
                  <a:pt x="17" y="19"/>
                </a:moveTo>
                <a:cubicBezTo>
                  <a:pt x="17" y="18"/>
                  <a:pt x="17" y="18"/>
                  <a:pt x="17" y="18"/>
                </a:cubicBezTo>
                <a:cubicBezTo>
                  <a:pt x="17" y="17"/>
                  <a:pt x="17" y="17"/>
                  <a:pt x="16" y="16"/>
                </a:cubicBezTo>
                <a:cubicBezTo>
                  <a:pt x="16" y="15"/>
                  <a:pt x="15" y="15"/>
                  <a:pt x="14" y="15"/>
                </a:cubicBezTo>
                <a:cubicBezTo>
                  <a:pt x="14" y="14"/>
                  <a:pt x="14" y="14"/>
                  <a:pt x="14" y="14"/>
                </a:cubicBezTo>
                <a:cubicBezTo>
                  <a:pt x="13" y="14"/>
                  <a:pt x="13" y="14"/>
                  <a:pt x="13" y="14"/>
                </a:cubicBezTo>
                <a:cubicBezTo>
                  <a:pt x="13" y="15"/>
                  <a:pt x="13" y="15"/>
                  <a:pt x="13" y="15"/>
                </a:cubicBezTo>
                <a:cubicBezTo>
                  <a:pt x="12" y="15"/>
                  <a:pt x="11" y="15"/>
                  <a:pt x="10" y="16"/>
                </a:cubicBezTo>
                <a:cubicBezTo>
                  <a:pt x="10" y="17"/>
                  <a:pt x="10" y="17"/>
                  <a:pt x="10" y="18"/>
                </a:cubicBezTo>
                <a:cubicBezTo>
                  <a:pt x="10" y="19"/>
                  <a:pt x="10" y="19"/>
                  <a:pt x="10" y="20"/>
                </a:cubicBezTo>
                <a:cubicBezTo>
                  <a:pt x="10" y="20"/>
                  <a:pt x="10" y="21"/>
                  <a:pt x="11" y="21"/>
                </a:cubicBezTo>
                <a:cubicBezTo>
                  <a:pt x="11" y="21"/>
                  <a:pt x="12" y="22"/>
                  <a:pt x="13" y="22"/>
                </a:cubicBezTo>
                <a:cubicBezTo>
                  <a:pt x="13" y="23"/>
                  <a:pt x="14" y="23"/>
                  <a:pt x="14" y="23"/>
                </a:cubicBezTo>
                <a:cubicBezTo>
                  <a:pt x="14" y="24"/>
                  <a:pt x="14" y="24"/>
                  <a:pt x="14" y="25"/>
                </a:cubicBezTo>
                <a:cubicBezTo>
                  <a:pt x="14" y="25"/>
                  <a:pt x="14" y="25"/>
                  <a:pt x="14" y="26"/>
                </a:cubicBezTo>
                <a:cubicBezTo>
                  <a:pt x="14" y="26"/>
                  <a:pt x="13" y="26"/>
                  <a:pt x="13" y="26"/>
                </a:cubicBezTo>
                <a:cubicBezTo>
                  <a:pt x="13" y="26"/>
                  <a:pt x="13" y="26"/>
                  <a:pt x="13" y="25"/>
                </a:cubicBezTo>
                <a:cubicBezTo>
                  <a:pt x="13" y="25"/>
                  <a:pt x="13" y="25"/>
                  <a:pt x="13" y="24"/>
                </a:cubicBezTo>
                <a:cubicBezTo>
                  <a:pt x="13" y="23"/>
                  <a:pt x="13" y="23"/>
                  <a:pt x="13" y="23"/>
                </a:cubicBezTo>
                <a:cubicBezTo>
                  <a:pt x="10" y="23"/>
                  <a:pt x="10" y="23"/>
                  <a:pt x="10" y="23"/>
                </a:cubicBezTo>
                <a:cubicBezTo>
                  <a:pt x="10" y="24"/>
                  <a:pt x="10" y="24"/>
                  <a:pt x="10" y="24"/>
                </a:cubicBezTo>
                <a:cubicBezTo>
                  <a:pt x="10" y="25"/>
                  <a:pt x="10" y="26"/>
                  <a:pt x="10" y="27"/>
                </a:cubicBezTo>
                <a:cubicBezTo>
                  <a:pt x="11" y="27"/>
                  <a:pt x="12" y="28"/>
                  <a:pt x="13" y="28"/>
                </a:cubicBezTo>
                <a:cubicBezTo>
                  <a:pt x="13" y="29"/>
                  <a:pt x="13" y="29"/>
                  <a:pt x="13" y="29"/>
                </a:cubicBezTo>
                <a:cubicBezTo>
                  <a:pt x="14" y="29"/>
                  <a:pt x="14" y="29"/>
                  <a:pt x="14" y="29"/>
                </a:cubicBezTo>
                <a:cubicBezTo>
                  <a:pt x="14" y="28"/>
                  <a:pt x="14" y="28"/>
                  <a:pt x="14" y="28"/>
                </a:cubicBezTo>
                <a:cubicBezTo>
                  <a:pt x="15" y="27"/>
                  <a:pt x="16" y="27"/>
                  <a:pt x="16" y="26"/>
                </a:cubicBezTo>
                <a:cubicBezTo>
                  <a:pt x="17" y="26"/>
                  <a:pt x="17" y="25"/>
                  <a:pt x="17" y="24"/>
                </a:cubicBezTo>
                <a:cubicBezTo>
                  <a:pt x="17" y="23"/>
                  <a:pt x="17" y="23"/>
                  <a:pt x="17" y="22"/>
                </a:cubicBezTo>
                <a:cubicBezTo>
                  <a:pt x="17" y="22"/>
                  <a:pt x="17" y="21"/>
                  <a:pt x="16" y="21"/>
                </a:cubicBezTo>
                <a:cubicBezTo>
                  <a:pt x="16" y="21"/>
                  <a:pt x="15" y="20"/>
                  <a:pt x="15" y="20"/>
                </a:cubicBezTo>
                <a:cubicBezTo>
                  <a:pt x="14" y="19"/>
                  <a:pt x="13" y="19"/>
                  <a:pt x="13" y="19"/>
                </a:cubicBezTo>
                <a:cubicBezTo>
                  <a:pt x="13" y="19"/>
                  <a:pt x="13" y="18"/>
                  <a:pt x="13" y="18"/>
                </a:cubicBezTo>
                <a:cubicBezTo>
                  <a:pt x="13" y="17"/>
                  <a:pt x="13" y="17"/>
                  <a:pt x="13" y="17"/>
                </a:cubicBezTo>
                <a:cubicBezTo>
                  <a:pt x="13" y="17"/>
                  <a:pt x="13" y="17"/>
                  <a:pt x="13" y="17"/>
                </a:cubicBezTo>
                <a:cubicBezTo>
                  <a:pt x="13" y="17"/>
                  <a:pt x="14" y="17"/>
                  <a:pt x="14" y="17"/>
                </a:cubicBezTo>
                <a:cubicBezTo>
                  <a:pt x="14" y="17"/>
                  <a:pt x="14" y="18"/>
                  <a:pt x="14" y="18"/>
                </a:cubicBezTo>
                <a:cubicBezTo>
                  <a:pt x="14" y="19"/>
                  <a:pt x="14" y="19"/>
                  <a:pt x="14" y="19"/>
                </a:cubicBezTo>
                <a:cubicBezTo>
                  <a:pt x="17" y="19"/>
                  <a:pt x="17" y="19"/>
                  <a:pt x="17" y="19"/>
                </a:cubicBezTo>
                <a:close/>
                <a:moveTo>
                  <a:pt x="42" y="11"/>
                </a:moveTo>
                <a:cubicBezTo>
                  <a:pt x="42" y="9"/>
                  <a:pt x="42" y="9"/>
                  <a:pt x="42" y="9"/>
                </a:cubicBezTo>
                <a:cubicBezTo>
                  <a:pt x="42" y="9"/>
                  <a:pt x="42" y="9"/>
                  <a:pt x="42" y="9"/>
                </a:cubicBezTo>
                <a:cubicBezTo>
                  <a:pt x="45" y="2"/>
                  <a:pt x="45" y="2"/>
                  <a:pt x="45" y="2"/>
                </a:cubicBezTo>
                <a:cubicBezTo>
                  <a:pt x="41" y="0"/>
                  <a:pt x="41" y="0"/>
                  <a:pt x="41" y="0"/>
                </a:cubicBezTo>
                <a:cubicBezTo>
                  <a:pt x="39" y="3"/>
                  <a:pt x="39" y="3"/>
                  <a:pt x="39" y="3"/>
                </a:cubicBezTo>
                <a:cubicBezTo>
                  <a:pt x="39" y="0"/>
                  <a:pt x="39" y="0"/>
                  <a:pt x="39" y="0"/>
                </a:cubicBezTo>
                <a:cubicBezTo>
                  <a:pt x="35" y="0"/>
                  <a:pt x="35" y="0"/>
                  <a:pt x="35" y="0"/>
                </a:cubicBezTo>
                <a:cubicBezTo>
                  <a:pt x="34" y="3"/>
                  <a:pt x="34" y="3"/>
                  <a:pt x="34" y="3"/>
                </a:cubicBezTo>
                <a:cubicBezTo>
                  <a:pt x="33" y="0"/>
                  <a:pt x="33" y="0"/>
                  <a:pt x="33" y="0"/>
                </a:cubicBezTo>
                <a:cubicBezTo>
                  <a:pt x="29" y="2"/>
                  <a:pt x="29" y="2"/>
                  <a:pt x="29" y="2"/>
                </a:cubicBezTo>
                <a:cubicBezTo>
                  <a:pt x="32" y="9"/>
                  <a:pt x="32" y="9"/>
                  <a:pt x="32" y="9"/>
                </a:cubicBezTo>
                <a:cubicBezTo>
                  <a:pt x="31" y="9"/>
                  <a:pt x="31" y="9"/>
                  <a:pt x="31" y="9"/>
                </a:cubicBezTo>
                <a:cubicBezTo>
                  <a:pt x="31" y="12"/>
                  <a:pt x="31" y="12"/>
                  <a:pt x="31" y="12"/>
                </a:cubicBezTo>
                <a:cubicBezTo>
                  <a:pt x="25" y="15"/>
                  <a:pt x="20" y="23"/>
                  <a:pt x="20" y="32"/>
                </a:cubicBezTo>
                <a:cubicBezTo>
                  <a:pt x="20" y="35"/>
                  <a:pt x="21" y="38"/>
                  <a:pt x="22" y="41"/>
                </a:cubicBezTo>
                <a:cubicBezTo>
                  <a:pt x="32" y="43"/>
                  <a:pt x="42" y="43"/>
                  <a:pt x="52" y="41"/>
                </a:cubicBezTo>
                <a:cubicBezTo>
                  <a:pt x="53" y="38"/>
                  <a:pt x="54" y="35"/>
                  <a:pt x="54" y="32"/>
                </a:cubicBezTo>
                <a:cubicBezTo>
                  <a:pt x="54" y="22"/>
                  <a:pt x="49" y="14"/>
                  <a:pt x="42" y="11"/>
                </a:cubicBezTo>
                <a:close/>
                <a:moveTo>
                  <a:pt x="42" y="23"/>
                </a:moveTo>
                <a:cubicBezTo>
                  <a:pt x="38" y="23"/>
                  <a:pt x="38" y="23"/>
                  <a:pt x="38" y="23"/>
                </a:cubicBezTo>
                <a:cubicBezTo>
                  <a:pt x="38" y="23"/>
                  <a:pt x="38" y="23"/>
                  <a:pt x="38" y="23"/>
                </a:cubicBezTo>
                <a:cubicBezTo>
                  <a:pt x="38" y="22"/>
                  <a:pt x="38" y="22"/>
                  <a:pt x="37" y="21"/>
                </a:cubicBezTo>
                <a:cubicBezTo>
                  <a:pt x="37" y="21"/>
                  <a:pt x="37" y="21"/>
                  <a:pt x="37" y="21"/>
                </a:cubicBezTo>
                <a:cubicBezTo>
                  <a:pt x="37" y="21"/>
                  <a:pt x="36" y="21"/>
                  <a:pt x="36" y="21"/>
                </a:cubicBezTo>
                <a:cubicBezTo>
                  <a:pt x="36" y="21"/>
                  <a:pt x="36" y="22"/>
                  <a:pt x="36" y="22"/>
                </a:cubicBezTo>
                <a:cubicBezTo>
                  <a:pt x="36" y="23"/>
                  <a:pt x="36" y="23"/>
                  <a:pt x="37" y="23"/>
                </a:cubicBezTo>
                <a:cubicBezTo>
                  <a:pt x="37" y="24"/>
                  <a:pt x="37" y="24"/>
                  <a:pt x="39" y="25"/>
                </a:cubicBezTo>
                <a:cubicBezTo>
                  <a:pt x="40" y="25"/>
                  <a:pt x="40" y="26"/>
                  <a:pt x="41" y="26"/>
                </a:cubicBezTo>
                <a:cubicBezTo>
                  <a:pt x="41" y="27"/>
                  <a:pt x="41" y="27"/>
                  <a:pt x="42" y="28"/>
                </a:cubicBezTo>
                <a:cubicBezTo>
                  <a:pt x="42" y="28"/>
                  <a:pt x="42" y="29"/>
                  <a:pt x="42" y="30"/>
                </a:cubicBezTo>
                <a:cubicBezTo>
                  <a:pt x="42" y="31"/>
                  <a:pt x="42" y="32"/>
                  <a:pt x="41" y="33"/>
                </a:cubicBezTo>
                <a:cubicBezTo>
                  <a:pt x="40" y="34"/>
                  <a:pt x="39" y="34"/>
                  <a:pt x="38" y="35"/>
                </a:cubicBezTo>
                <a:cubicBezTo>
                  <a:pt x="38" y="36"/>
                  <a:pt x="38" y="36"/>
                  <a:pt x="38" y="36"/>
                </a:cubicBezTo>
                <a:cubicBezTo>
                  <a:pt x="36" y="36"/>
                  <a:pt x="36" y="36"/>
                  <a:pt x="36" y="36"/>
                </a:cubicBezTo>
                <a:cubicBezTo>
                  <a:pt x="36" y="35"/>
                  <a:pt x="36" y="35"/>
                  <a:pt x="36" y="35"/>
                </a:cubicBezTo>
                <a:cubicBezTo>
                  <a:pt x="35" y="35"/>
                  <a:pt x="34" y="34"/>
                  <a:pt x="33" y="33"/>
                </a:cubicBezTo>
                <a:cubicBezTo>
                  <a:pt x="33" y="33"/>
                  <a:pt x="32" y="31"/>
                  <a:pt x="32" y="30"/>
                </a:cubicBezTo>
                <a:cubicBezTo>
                  <a:pt x="32" y="29"/>
                  <a:pt x="32" y="29"/>
                  <a:pt x="32" y="29"/>
                </a:cubicBezTo>
                <a:cubicBezTo>
                  <a:pt x="36" y="29"/>
                  <a:pt x="36" y="29"/>
                  <a:pt x="36" y="29"/>
                </a:cubicBezTo>
                <a:cubicBezTo>
                  <a:pt x="36" y="30"/>
                  <a:pt x="36" y="30"/>
                  <a:pt x="36" y="30"/>
                </a:cubicBezTo>
                <a:cubicBezTo>
                  <a:pt x="36" y="31"/>
                  <a:pt x="36" y="32"/>
                  <a:pt x="36" y="32"/>
                </a:cubicBezTo>
                <a:cubicBezTo>
                  <a:pt x="36" y="32"/>
                  <a:pt x="37" y="32"/>
                  <a:pt x="37" y="32"/>
                </a:cubicBezTo>
                <a:cubicBezTo>
                  <a:pt x="37" y="32"/>
                  <a:pt x="37" y="32"/>
                  <a:pt x="37" y="32"/>
                </a:cubicBezTo>
                <a:cubicBezTo>
                  <a:pt x="38" y="32"/>
                  <a:pt x="38" y="32"/>
                  <a:pt x="38" y="31"/>
                </a:cubicBezTo>
                <a:cubicBezTo>
                  <a:pt x="38" y="30"/>
                  <a:pt x="38" y="30"/>
                  <a:pt x="37" y="29"/>
                </a:cubicBezTo>
                <a:cubicBezTo>
                  <a:pt x="37" y="29"/>
                  <a:pt x="37" y="28"/>
                  <a:pt x="36" y="28"/>
                </a:cubicBezTo>
                <a:cubicBezTo>
                  <a:pt x="35" y="27"/>
                  <a:pt x="34" y="27"/>
                  <a:pt x="34" y="26"/>
                </a:cubicBezTo>
                <a:cubicBezTo>
                  <a:pt x="33" y="26"/>
                  <a:pt x="33" y="25"/>
                  <a:pt x="33" y="25"/>
                </a:cubicBezTo>
                <a:cubicBezTo>
                  <a:pt x="32" y="24"/>
                  <a:pt x="32" y="23"/>
                  <a:pt x="32" y="23"/>
                </a:cubicBezTo>
                <a:cubicBezTo>
                  <a:pt x="32" y="21"/>
                  <a:pt x="32" y="21"/>
                  <a:pt x="33" y="20"/>
                </a:cubicBezTo>
                <a:cubicBezTo>
                  <a:pt x="34" y="19"/>
                  <a:pt x="35" y="19"/>
                  <a:pt x="36" y="19"/>
                </a:cubicBezTo>
                <a:cubicBezTo>
                  <a:pt x="36" y="17"/>
                  <a:pt x="36" y="17"/>
                  <a:pt x="36" y="17"/>
                </a:cubicBezTo>
                <a:cubicBezTo>
                  <a:pt x="38" y="17"/>
                  <a:pt x="38" y="17"/>
                  <a:pt x="38" y="17"/>
                </a:cubicBezTo>
                <a:cubicBezTo>
                  <a:pt x="38" y="19"/>
                  <a:pt x="38" y="19"/>
                  <a:pt x="38" y="19"/>
                </a:cubicBezTo>
                <a:cubicBezTo>
                  <a:pt x="39" y="19"/>
                  <a:pt x="40" y="19"/>
                  <a:pt x="41" y="20"/>
                </a:cubicBezTo>
                <a:cubicBezTo>
                  <a:pt x="41" y="21"/>
                  <a:pt x="42" y="21"/>
                  <a:pt x="42" y="23"/>
                </a:cubicBezTo>
                <a:cubicBezTo>
                  <a:pt x="42" y="23"/>
                  <a:pt x="42" y="23"/>
                  <a:pt x="42" y="23"/>
                </a:cubicBez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3" name="Freeform 326">
            <a:extLst>
              <a:ext uri="{FF2B5EF4-FFF2-40B4-BE49-F238E27FC236}">
                <a16:creationId xmlns:a16="http://schemas.microsoft.com/office/drawing/2014/main" id="{2767E6EC-5627-4FD1-B958-4EDC67F01285}"/>
              </a:ext>
            </a:extLst>
          </p:cNvPr>
          <p:cNvSpPr>
            <a:spLocks noEditPoints="1"/>
          </p:cNvSpPr>
          <p:nvPr/>
        </p:nvSpPr>
        <p:spPr bwMode="auto">
          <a:xfrm>
            <a:off x="8611702" y="5045080"/>
            <a:ext cx="178702" cy="167411"/>
          </a:xfrm>
          <a:custGeom>
            <a:avLst/>
            <a:gdLst>
              <a:gd name="T0" fmla="*/ 2 w 65"/>
              <a:gd name="T1" fmla="*/ 0 h 55"/>
              <a:gd name="T2" fmla="*/ 62 w 65"/>
              <a:gd name="T3" fmla="*/ 0 h 55"/>
              <a:gd name="T4" fmla="*/ 65 w 65"/>
              <a:gd name="T5" fmla="*/ 0 h 55"/>
              <a:gd name="T6" fmla="*/ 65 w 65"/>
              <a:gd name="T7" fmla="*/ 3 h 55"/>
              <a:gd name="T8" fmla="*/ 65 w 65"/>
              <a:gd name="T9" fmla="*/ 37 h 55"/>
              <a:gd name="T10" fmla="*/ 65 w 65"/>
              <a:gd name="T11" fmla="*/ 40 h 55"/>
              <a:gd name="T12" fmla="*/ 62 w 65"/>
              <a:gd name="T13" fmla="*/ 40 h 55"/>
              <a:gd name="T14" fmla="*/ 45 w 65"/>
              <a:gd name="T15" fmla="*/ 40 h 55"/>
              <a:gd name="T16" fmla="*/ 45 w 65"/>
              <a:gd name="T17" fmla="*/ 51 h 55"/>
              <a:gd name="T18" fmla="*/ 52 w 65"/>
              <a:gd name="T19" fmla="*/ 51 h 55"/>
              <a:gd name="T20" fmla="*/ 52 w 65"/>
              <a:gd name="T21" fmla="*/ 55 h 55"/>
              <a:gd name="T22" fmla="*/ 16 w 65"/>
              <a:gd name="T23" fmla="*/ 55 h 55"/>
              <a:gd name="T24" fmla="*/ 16 w 65"/>
              <a:gd name="T25" fmla="*/ 51 h 55"/>
              <a:gd name="T26" fmla="*/ 22 w 65"/>
              <a:gd name="T27" fmla="*/ 51 h 55"/>
              <a:gd name="T28" fmla="*/ 22 w 65"/>
              <a:gd name="T29" fmla="*/ 40 h 55"/>
              <a:gd name="T30" fmla="*/ 2 w 65"/>
              <a:gd name="T31" fmla="*/ 40 h 55"/>
              <a:gd name="T32" fmla="*/ 0 w 65"/>
              <a:gd name="T33" fmla="*/ 40 h 55"/>
              <a:gd name="T34" fmla="*/ 0 w 65"/>
              <a:gd name="T35" fmla="*/ 37 h 55"/>
              <a:gd name="T36" fmla="*/ 0 w 65"/>
              <a:gd name="T37" fmla="*/ 3 h 55"/>
              <a:gd name="T38" fmla="*/ 0 w 65"/>
              <a:gd name="T39" fmla="*/ 0 h 55"/>
              <a:gd name="T40" fmla="*/ 2 w 65"/>
              <a:gd name="T41" fmla="*/ 0 h 55"/>
              <a:gd name="T42" fmla="*/ 20 w 65"/>
              <a:gd name="T43" fmla="*/ 16 h 55"/>
              <a:gd name="T44" fmla="*/ 22 w 65"/>
              <a:gd name="T45" fmla="*/ 18 h 55"/>
              <a:gd name="T46" fmla="*/ 23 w 65"/>
              <a:gd name="T47" fmla="*/ 18 h 55"/>
              <a:gd name="T48" fmla="*/ 33 w 65"/>
              <a:gd name="T49" fmla="*/ 13 h 55"/>
              <a:gd name="T50" fmla="*/ 44 w 65"/>
              <a:gd name="T51" fmla="*/ 18 h 55"/>
              <a:gd name="T52" fmla="*/ 44 w 65"/>
              <a:gd name="T53" fmla="*/ 18 h 55"/>
              <a:gd name="T54" fmla="*/ 46 w 65"/>
              <a:gd name="T55" fmla="*/ 16 h 55"/>
              <a:gd name="T56" fmla="*/ 46 w 65"/>
              <a:gd name="T57" fmla="*/ 15 h 55"/>
              <a:gd name="T58" fmla="*/ 33 w 65"/>
              <a:gd name="T59" fmla="*/ 9 h 55"/>
              <a:gd name="T60" fmla="*/ 20 w 65"/>
              <a:gd name="T61" fmla="*/ 15 h 55"/>
              <a:gd name="T62" fmla="*/ 20 w 65"/>
              <a:gd name="T63" fmla="*/ 16 h 55"/>
              <a:gd name="T64" fmla="*/ 24 w 65"/>
              <a:gd name="T65" fmla="*/ 21 h 55"/>
              <a:gd name="T66" fmla="*/ 26 w 65"/>
              <a:gd name="T67" fmla="*/ 24 h 55"/>
              <a:gd name="T68" fmla="*/ 27 w 65"/>
              <a:gd name="T69" fmla="*/ 23 h 55"/>
              <a:gd name="T70" fmla="*/ 33 w 65"/>
              <a:gd name="T71" fmla="*/ 21 h 55"/>
              <a:gd name="T72" fmla="*/ 39 w 65"/>
              <a:gd name="T73" fmla="*/ 23 h 55"/>
              <a:gd name="T74" fmla="*/ 40 w 65"/>
              <a:gd name="T75" fmla="*/ 24 h 55"/>
              <a:gd name="T76" fmla="*/ 42 w 65"/>
              <a:gd name="T77" fmla="*/ 21 h 55"/>
              <a:gd name="T78" fmla="*/ 42 w 65"/>
              <a:gd name="T79" fmla="*/ 21 h 55"/>
              <a:gd name="T80" fmla="*/ 33 w 65"/>
              <a:gd name="T81" fmla="*/ 17 h 55"/>
              <a:gd name="T82" fmla="*/ 25 w 65"/>
              <a:gd name="T83" fmla="*/ 21 h 55"/>
              <a:gd name="T84" fmla="*/ 24 w 65"/>
              <a:gd name="T85" fmla="*/ 21 h 55"/>
              <a:gd name="T86" fmla="*/ 33 w 65"/>
              <a:gd name="T87" fmla="*/ 24 h 55"/>
              <a:gd name="T88" fmla="*/ 31 w 65"/>
              <a:gd name="T89" fmla="*/ 27 h 55"/>
              <a:gd name="T90" fmla="*/ 33 w 65"/>
              <a:gd name="T91" fmla="*/ 30 h 55"/>
              <a:gd name="T92" fmla="*/ 36 w 65"/>
              <a:gd name="T93" fmla="*/ 27 h 55"/>
              <a:gd name="T94" fmla="*/ 33 w 65"/>
              <a:gd name="T95" fmla="*/ 24 h 55"/>
              <a:gd name="T96" fmla="*/ 59 w 65"/>
              <a:gd name="T97" fmla="*/ 6 h 55"/>
              <a:gd name="T98" fmla="*/ 5 w 65"/>
              <a:gd name="T99" fmla="*/ 6 h 55"/>
              <a:gd name="T100" fmla="*/ 5 w 65"/>
              <a:gd name="T101" fmla="*/ 34 h 55"/>
              <a:gd name="T102" fmla="*/ 59 w 65"/>
              <a:gd name="T103" fmla="*/ 34 h 55"/>
              <a:gd name="T104" fmla="*/ 59 w 65"/>
              <a:gd name="T105"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 h="55">
                <a:moveTo>
                  <a:pt x="2" y="0"/>
                </a:moveTo>
                <a:cubicBezTo>
                  <a:pt x="62" y="0"/>
                  <a:pt x="62" y="0"/>
                  <a:pt x="62" y="0"/>
                </a:cubicBezTo>
                <a:cubicBezTo>
                  <a:pt x="65" y="0"/>
                  <a:pt x="65" y="0"/>
                  <a:pt x="65" y="0"/>
                </a:cubicBezTo>
                <a:cubicBezTo>
                  <a:pt x="65" y="3"/>
                  <a:pt x="65" y="3"/>
                  <a:pt x="65" y="3"/>
                </a:cubicBezTo>
                <a:cubicBezTo>
                  <a:pt x="65" y="37"/>
                  <a:pt x="65" y="37"/>
                  <a:pt x="65" y="37"/>
                </a:cubicBezTo>
                <a:cubicBezTo>
                  <a:pt x="65" y="40"/>
                  <a:pt x="65" y="40"/>
                  <a:pt x="65" y="40"/>
                </a:cubicBezTo>
                <a:cubicBezTo>
                  <a:pt x="62" y="40"/>
                  <a:pt x="62" y="40"/>
                  <a:pt x="62" y="40"/>
                </a:cubicBezTo>
                <a:cubicBezTo>
                  <a:pt x="45" y="40"/>
                  <a:pt x="45" y="40"/>
                  <a:pt x="45" y="40"/>
                </a:cubicBezTo>
                <a:cubicBezTo>
                  <a:pt x="45" y="51"/>
                  <a:pt x="45" y="51"/>
                  <a:pt x="45" y="51"/>
                </a:cubicBezTo>
                <a:cubicBezTo>
                  <a:pt x="52" y="51"/>
                  <a:pt x="52" y="51"/>
                  <a:pt x="52" y="51"/>
                </a:cubicBezTo>
                <a:cubicBezTo>
                  <a:pt x="52" y="55"/>
                  <a:pt x="52" y="55"/>
                  <a:pt x="52" y="55"/>
                </a:cubicBezTo>
                <a:cubicBezTo>
                  <a:pt x="16" y="55"/>
                  <a:pt x="16" y="55"/>
                  <a:pt x="16" y="55"/>
                </a:cubicBezTo>
                <a:cubicBezTo>
                  <a:pt x="16" y="51"/>
                  <a:pt x="16" y="51"/>
                  <a:pt x="16" y="51"/>
                </a:cubicBezTo>
                <a:cubicBezTo>
                  <a:pt x="22" y="51"/>
                  <a:pt x="22" y="51"/>
                  <a:pt x="22" y="51"/>
                </a:cubicBezTo>
                <a:cubicBezTo>
                  <a:pt x="22" y="40"/>
                  <a:pt x="22" y="40"/>
                  <a:pt x="22" y="40"/>
                </a:cubicBezTo>
                <a:cubicBezTo>
                  <a:pt x="2" y="40"/>
                  <a:pt x="2" y="40"/>
                  <a:pt x="2" y="40"/>
                </a:cubicBezTo>
                <a:cubicBezTo>
                  <a:pt x="0" y="40"/>
                  <a:pt x="0" y="40"/>
                  <a:pt x="0" y="40"/>
                </a:cubicBezTo>
                <a:cubicBezTo>
                  <a:pt x="0" y="37"/>
                  <a:pt x="0" y="37"/>
                  <a:pt x="0" y="37"/>
                </a:cubicBezTo>
                <a:cubicBezTo>
                  <a:pt x="0" y="3"/>
                  <a:pt x="0" y="3"/>
                  <a:pt x="0" y="3"/>
                </a:cubicBezTo>
                <a:cubicBezTo>
                  <a:pt x="0" y="0"/>
                  <a:pt x="0" y="0"/>
                  <a:pt x="0" y="0"/>
                </a:cubicBezTo>
                <a:cubicBezTo>
                  <a:pt x="2" y="0"/>
                  <a:pt x="2" y="0"/>
                  <a:pt x="2" y="0"/>
                </a:cubicBezTo>
                <a:close/>
                <a:moveTo>
                  <a:pt x="20" y="16"/>
                </a:moveTo>
                <a:cubicBezTo>
                  <a:pt x="22" y="18"/>
                  <a:pt x="22" y="18"/>
                  <a:pt x="22" y="18"/>
                </a:cubicBezTo>
                <a:cubicBezTo>
                  <a:pt x="22" y="18"/>
                  <a:pt x="22" y="18"/>
                  <a:pt x="23" y="18"/>
                </a:cubicBezTo>
                <a:cubicBezTo>
                  <a:pt x="25" y="14"/>
                  <a:pt x="29" y="13"/>
                  <a:pt x="33" y="13"/>
                </a:cubicBezTo>
                <a:cubicBezTo>
                  <a:pt x="37" y="13"/>
                  <a:pt x="41" y="15"/>
                  <a:pt x="44" y="18"/>
                </a:cubicBezTo>
                <a:cubicBezTo>
                  <a:pt x="44" y="18"/>
                  <a:pt x="44" y="18"/>
                  <a:pt x="44" y="18"/>
                </a:cubicBezTo>
                <a:cubicBezTo>
                  <a:pt x="46" y="16"/>
                  <a:pt x="46" y="16"/>
                  <a:pt x="46" y="16"/>
                </a:cubicBezTo>
                <a:cubicBezTo>
                  <a:pt x="46" y="15"/>
                  <a:pt x="46" y="15"/>
                  <a:pt x="46" y="15"/>
                </a:cubicBezTo>
                <a:cubicBezTo>
                  <a:pt x="42" y="11"/>
                  <a:pt x="38" y="9"/>
                  <a:pt x="33" y="9"/>
                </a:cubicBezTo>
                <a:cubicBezTo>
                  <a:pt x="29" y="9"/>
                  <a:pt x="24" y="11"/>
                  <a:pt x="20" y="15"/>
                </a:cubicBezTo>
                <a:cubicBezTo>
                  <a:pt x="20" y="15"/>
                  <a:pt x="20" y="15"/>
                  <a:pt x="20" y="16"/>
                </a:cubicBezTo>
                <a:close/>
                <a:moveTo>
                  <a:pt x="24" y="21"/>
                </a:moveTo>
                <a:cubicBezTo>
                  <a:pt x="26" y="24"/>
                  <a:pt x="26" y="24"/>
                  <a:pt x="26" y="24"/>
                </a:cubicBezTo>
                <a:cubicBezTo>
                  <a:pt x="27" y="24"/>
                  <a:pt x="27" y="23"/>
                  <a:pt x="27" y="23"/>
                </a:cubicBezTo>
                <a:cubicBezTo>
                  <a:pt x="29" y="21"/>
                  <a:pt x="31" y="21"/>
                  <a:pt x="33" y="21"/>
                </a:cubicBezTo>
                <a:cubicBezTo>
                  <a:pt x="35" y="21"/>
                  <a:pt x="38" y="22"/>
                  <a:pt x="39" y="23"/>
                </a:cubicBezTo>
                <a:cubicBezTo>
                  <a:pt x="39" y="23"/>
                  <a:pt x="40" y="24"/>
                  <a:pt x="40" y="24"/>
                </a:cubicBezTo>
                <a:cubicBezTo>
                  <a:pt x="42" y="21"/>
                  <a:pt x="42" y="21"/>
                  <a:pt x="42" y="21"/>
                </a:cubicBezTo>
                <a:cubicBezTo>
                  <a:pt x="42" y="21"/>
                  <a:pt x="42" y="21"/>
                  <a:pt x="42" y="21"/>
                </a:cubicBezTo>
                <a:cubicBezTo>
                  <a:pt x="39" y="18"/>
                  <a:pt x="36" y="17"/>
                  <a:pt x="33" y="17"/>
                </a:cubicBezTo>
                <a:cubicBezTo>
                  <a:pt x="30" y="17"/>
                  <a:pt x="27" y="18"/>
                  <a:pt x="25" y="21"/>
                </a:cubicBezTo>
                <a:cubicBezTo>
                  <a:pt x="24" y="21"/>
                  <a:pt x="24" y="21"/>
                  <a:pt x="24" y="21"/>
                </a:cubicBezTo>
                <a:close/>
                <a:moveTo>
                  <a:pt x="33" y="24"/>
                </a:moveTo>
                <a:cubicBezTo>
                  <a:pt x="32" y="24"/>
                  <a:pt x="31" y="25"/>
                  <a:pt x="31" y="27"/>
                </a:cubicBezTo>
                <a:cubicBezTo>
                  <a:pt x="31" y="28"/>
                  <a:pt x="32" y="30"/>
                  <a:pt x="33" y="30"/>
                </a:cubicBezTo>
                <a:cubicBezTo>
                  <a:pt x="35" y="30"/>
                  <a:pt x="36" y="28"/>
                  <a:pt x="36" y="27"/>
                </a:cubicBezTo>
                <a:cubicBezTo>
                  <a:pt x="36" y="25"/>
                  <a:pt x="35" y="24"/>
                  <a:pt x="33" y="24"/>
                </a:cubicBezTo>
                <a:close/>
                <a:moveTo>
                  <a:pt x="59" y="6"/>
                </a:moveTo>
                <a:cubicBezTo>
                  <a:pt x="5" y="6"/>
                  <a:pt x="5" y="6"/>
                  <a:pt x="5" y="6"/>
                </a:cubicBezTo>
                <a:cubicBezTo>
                  <a:pt x="5" y="34"/>
                  <a:pt x="5" y="34"/>
                  <a:pt x="5" y="34"/>
                </a:cubicBezTo>
                <a:cubicBezTo>
                  <a:pt x="59" y="34"/>
                  <a:pt x="59" y="34"/>
                  <a:pt x="59" y="34"/>
                </a:cubicBezTo>
                <a:lnTo>
                  <a:pt x="59" y="6"/>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9" name="Oval 68">
            <a:extLst>
              <a:ext uri="{FF2B5EF4-FFF2-40B4-BE49-F238E27FC236}">
                <a16:creationId xmlns:a16="http://schemas.microsoft.com/office/drawing/2014/main" id="{6BF8E14C-39AB-49F0-B006-2DBBB36B6B2F}"/>
              </a:ext>
            </a:extLst>
          </p:cNvPr>
          <p:cNvSpPr/>
          <p:nvPr/>
        </p:nvSpPr>
        <p:spPr>
          <a:xfrm>
            <a:off x="8467219" y="3322613"/>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0" name="Freeform 337">
            <a:extLst>
              <a:ext uri="{FF2B5EF4-FFF2-40B4-BE49-F238E27FC236}">
                <a16:creationId xmlns:a16="http://schemas.microsoft.com/office/drawing/2014/main" id="{903CE861-DBAA-448E-AB1D-4AA3B4489FC6}"/>
              </a:ext>
            </a:extLst>
          </p:cNvPr>
          <p:cNvSpPr>
            <a:spLocks noEditPoints="1"/>
          </p:cNvSpPr>
          <p:nvPr/>
        </p:nvSpPr>
        <p:spPr bwMode="auto">
          <a:xfrm>
            <a:off x="8575981" y="3477334"/>
            <a:ext cx="258720" cy="192020"/>
          </a:xfrm>
          <a:custGeom>
            <a:avLst/>
            <a:gdLst>
              <a:gd name="T0" fmla="*/ 60 w 71"/>
              <a:gd name="T1" fmla="*/ 0 h 52"/>
              <a:gd name="T2" fmla="*/ 65 w 71"/>
              <a:gd name="T3" fmla="*/ 35 h 52"/>
              <a:gd name="T4" fmla="*/ 71 w 71"/>
              <a:gd name="T5" fmla="*/ 47 h 52"/>
              <a:gd name="T6" fmla="*/ 0 w 71"/>
              <a:gd name="T7" fmla="*/ 52 h 52"/>
              <a:gd name="T8" fmla="*/ 10 w 71"/>
              <a:gd name="T9" fmla="*/ 40 h 52"/>
              <a:gd name="T10" fmla="*/ 6 w 71"/>
              <a:gd name="T11" fmla="*/ 35 h 52"/>
              <a:gd name="T12" fmla="*/ 11 w 71"/>
              <a:gd name="T13" fmla="*/ 0 h 52"/>
              <a:gd name="T14" fmla="*/ 27 w 71"/>
              <a:gd name="T15" fmla="*/ 18 h 52"/>
              <a:gd name="T16" fmla="*/ 28 w 71"/>
              <a:gd name="T17" fmla="*/ 21 h 52"/>
              <a:gd name="T18" fmla="*/ 45 w 71"/>
              <a:gd name="T19" fmla="*/ 20 h 52"/>
              <a:gd name="T20" fmla="*/ 44 w 71"/>
              <a:gd name="T21" fmla="*/ 17 h 52"/>
              <a:gd name="T22" fmla="*/ 43 w 71"/>
              <a:gd name="T23" fmla="*/ 15 h 52"/>
              <a:gd name="T24" fmla="*/ 36 w 71"/>
              <a:gd name="T25" fmla="*/ 8 h 52"/>
              <a:gd name="T26" fmla="*/ 31 w 71"/>
              <a:gd name="T27" fmla="*/ 10 h 52"/>
              <a:gd name="T28" fmla="*/ 29 w 71"/>
              <a:gd name="T29" fmla="*/ 17 h 52"/>
              <a:gd name="T30" fmla="*/ 32 w 71"/>
              <a:gd name="T31" fmla="*/ 17 h 52"/>
              <a:gd name="T32" fmla="*/ 40 w 71"/>
              <a:gd name="T33" fmla="*/ 15 h 52"/>
              <a:gd name="T34" fmla="*/ 36 w 71"/>
              <a:gd name="T35" fmla="*/ 11 h 52"/>
              <a:gd name="T36" fmla="*/ 33 w 71"/>
              <a:gd name="T37" fmla="*/ 12 h 52"/>
              <a:gd name="T38" fmla="*/ 32 w 71"/>
              <a:gd name="T39" fmla="*/ 17 h 52"/>
              <a:gd name="T40" fmla="*/ 27 w 71"/>
              <a:gd name="T41" fmla="*/ 30 h 52"/>
              <a:gd name="T42" fmla="*/ 28 w 71"/>
              <a:gd name="T43" fmla="*/ 32 h 52"/>
              <a:gd name="T44" fmla="*/ 45 w 71"/>
              <a:gd name="T45" fmla="*/ 32 h 52"/>
              <a:gd name="T46" fmla="*/ 44 w 71"/>
              <a:gd name="T47" fmla="*/ 29 h 52"/>
              <a:gd name="T48" fmla="*/ 28 w 71"/>
              <a:gd name="T49" fmla="*/ 25 h 52"/>
              <a:gd name="T50" fmla="*/ 27 w 71"/>
              <a:gd name="T51" fmla="*/ 28 h 52"/>
              <a:gd name="T52" fmla="*/ 44 w 71"/>
              <a:gd name="T53" fmla="*/ 28 h 52"/>
              <a:gd name="T54" fmla="*/ 45 w 71"/>
              <a:gd name="T55" fmla="*/ 26 h 52"/>
              <a:gd name="T56" fmla="*/ 28 w 71"/>
              <a:gd name="T57" fmla="*/ 25 h 52"/>
              <a:gd name="T58" fmla="*/ 27 w 71"/>
              <a:gd name="T59" fmla="*/ 22 h 52"/>
              <a:gd name="T60" fmla="*/ 28 w 71"/>
              <a:gd name="T61" fmla="*/ 24 h 52"/>
              <a:gd name="T62" fmla="*/ 45 w 71"/>
              <a:gd name="T63" fmla="*/ 24 h 52"/>
              <a:gd name="T64" fmla="*/ 44 w 71"/>
              <a:gd name="T65" fmla="*/ 21 h 52"/>
              <a:gd name="T66" fmla="*/ 32 w 71"/>
              <a:gd name="T67" fmla="*/ 44 h 52"/>
              <a:gd name="T68" fmla="*/ 42 w 71"/>
              <a:gd name="T69" fmla="*/ 48 h 52"/>
              <a:gd name="T70" fmla="*/ 32 w 71"/>
              <a:gd name="T71" fmla="*/ 44 h 52"/>
              <a:gd name="T72" fmla="*/ 11 w 71"/>
              <a:gd name="T73" fmla="*/ 36 h 52"/>
              <a:gd name="T74" fmla="*/ 60 w 71"/>
              <a:gd name="T75"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52">
                <a:moveTo>
                  <a:pt x="11" y="0"/>
                </a:moveTo>
                <a:cubicBezTo>
                  <a:pt x="60" y="0"/>
                  <a:pt x="60" y="0"/>
                  <a:pt x="60" y="0"/>
                </a:cubicBezTo>
                <a:cubicBezTo>
                  <a:pt x="63" y="0"/>
                  <a:pt x="65" y="3"/>
                  <a:pt x="65" y="5"/>
                </a:cubicBezTo>
                <a:cubicBezTo>
                  <a:pt x="65" y="35"/>
                  <a:pt x="65" y="35"/>
                  <a:pt x="65" y="35"/>
                </a:cubicBezTo>
                <a:cubicBezTo>
                  <a:pt x="65" y="37"/>
                  <a:pt x="64" y="39"/>
                  <a:pt x="61" y="40"/>
                </a:cubicBezTo>
                <a:cubicBezTo>
                  <a:pt x="71" y="47"/>
                  <a:pt x="71" y="47"/>
                  <a:pt x="71" y="47"/>
                </a:cubicBezTo>
                <a:cubicBezTo>
                  <a:pt x="71" y="52"/>
                  <a:pt x="71" y="52"/>
                  <a:pt x="71" y="52"/>
                </a:cubicBezTo>
                <a:cubicBezTo>
                  <a:pt x="0" y="52"/>
                  <a:pt x="0" y="52"/>
                  <a:pt x="0" y="52"/>
                </a:cubicBezTo>
                <a:cubicBezTo>
                  <a:pt x="0" y="47"/>
                  <a:pt x="0" y="47"/>
                  <a:pt x="0" y="47"/>
                </a:cubicBezTo>
                <a:cubicBezTo>
                  <a:pt x="10" y="40"/>
                  <a:pt x="10" y="40"/>
                  <a:pt x="10" y="40"/>
                </a:cubicBezTo>
                <a:cubicBezTo>
                  <a:pt x="10" y="40"/>
                  <a:pt x="10" y="40"/>
                  <a:pt x="10" y="40"/>
                </a:cubicBezTo>
                <a:cubicBezTo>
                  <a:pt x="8" y="39"/>
                  <a:pt x="6" y="37"/>
                  <a:pt x="6" y="35"/>
                </a:cubicBezTo>
                <a:cubicBezTo>
                  <a:pt x="6" y="5"/>
                  <a:pt x="6" y="5"/>
                  <a:pt x="6" y="5"/>
                </a:cubicBezTo>
                <a:cubicBezTo>
                  <a:pt x="6" y="3"/>
                  <a:pt x="8" y="0"/>
                  <a:pt x="11" y="0"/>
                </a:cubicBezTo>
                <a:close/>
                <a:moveTo>
                  <a:pt x="28" y="17"/>
                </a:moveTo>
                <a:cubicBezTo>
                  <a:pt x="27" y="17"/>
                  <a:pt x="27" y="18"/>
                  <a:pt x="27" y="18"/>
                </a:cubicBezTo>
                <a:cubicBezTo>
                  <a:pt x="27" y="20"/>
                  <a:pt x="27" y="20"/>
                  <a:pt x="27" y="20"/>
                </a:cubicBezTo>
                <a:cubicBezTo>
                  <a:pt x="27" y="20"/>
                  <a:pt x="27" y="21"/>
                  <a:pt x="28" y="21"/>
                </a:cubicBezTo>
                <a:cubicBezTo>
                  <a:pt x="44" y="21"/>
                  <a:pt x="44" y="21"/>
                  <a:pt x="44" y="21"/>
                </a:cubicBezTo>
                <a:cubicBezTo>
                  <a:pt x="44" y="21"/>
                  <a:pt x="45" y="20"/>
                  <a:pt x="45" y="20"/>
                </a:cubicBezTo>
                <a:cubicBezTo>
                  <a:pt x="45" y="18"/>
                  <a:pt x="45" y="18"/>
                  <a:pt x="45" y="18"/>
                </a:cubicBezTo>
                <a:cubicBezTo>
                  <a:pt x="45" y="18"/>
                  <a:pt x="44" y="17"/>
                  <a:pt x="44" y="17"/>
                </a:cubicBezTo>
                <a:cubicBezTo>
                  <a:pt x="43" y="17"/>
                  <a:pt x="43" y="17"/>
                  <a:pt x="43" y="17"/>
                </a:cubicBezTo>
                <a:cubicBezTo>
                  <a:pt x="43" y="15"/>
                  <a:pt x="43" y="15"/>
                  <a:pt x="43" y="15"/>
                </a:cubicBezTo>
                <a:cubicBezTo>
                  <a:pt x="43" y="13"/>
                  <a:pt x="42" y="11"/>
                  <a:pt x="41" y="10"/>
                </a:cubicBezTo>
                <a:cubicBezTo>
                  <a:pt x="40" y="9"/>
                  <a:pt x="38" y="8"/>
                  <a:pt x="36" y="8"/>
                </a:cubicBezTo>
                <a:cubicBezTo>
                  <a:pt x="36" y="8"/>
                  <a:pt x="36" y="8"/>
                  <a:pt x="36" y="8"/>
                </a:cubicBezTo>
                <a:cubicBezTo>
                  <a:pt x="34" y="8"/>
                  <a:pt x="32" y="9"/>
                  <a:pt x="31" y="10"/>
                </a:cubicBezTo>
                <a:cubicBezTo>
                  <a:pt x="30" y="11"/>
                  <a:pt x="29" y="13"/>
                  <a:pt x="29" y="15"/>
                </a:cubicBezTo>
                <a:cubicBezTo>
                  <a:pt x="29" y="17"/>
                  <a:pt x="29" y="17"/>
                  <a:pt x="29" y="17"/>
                </a:cubicBezTo>
                <a:cubicBezTo>
                  <a:pt x="28" y="17"/>
                  <a:pt x="28" y="17"/>
                  <a:pt x="28" y="17"/>
                </a:cubicBezTo>
                <a:close/>
                <a:moveTo>
                  <a:pt x="32" y="17"/>
                </a:moveTo>
                <a:cubicBezTo>
                  <a:pt x="40" y="17"/>
                  <a:pt x="40" y="17"/>
                  <a:pt x="40" y="17"/>
                </a:cubicBezTo>
                <a:cubicBezTo>
                  <a:pt x="40" y="15"/>
                  <a:pt x="40" y="15"/>
                  <a:pt x="40" y="15"/>
                </a:cubicBezTo>
                <a:cubicBezTo>
                  <a:pt x="40" y="14"/>
                  <a:pt x="39" y="13"/>
                  <a:pt x="39" y="12"/>
                </a:cubicBezTo>
                <a:cubicBezTo>
                  <a:pt x="38" y="12"/>
                  <a:pt x="37" y="11"/>
                  <a:pt x="36" y="11"/>
                </a:cubicBezTo>
                <a:cubicBezTo>
                  <a:pt x="36" y="11"/>
                  <a:pt x="36" y="11"/>
                  <a:pt x="36" y="11"/>
                </a:cubicBezTo>
                <a:cubicBezTo>
                  <a:pt x="35" y="11"/>
                  <a:pt x="34" y="12"/>
                  <a:pt x="33" y="12"/>
                </a:cubicBezTo>
                <a:cubicBezTo>
                  <a:pt x="32" y="13"/>
                  <a:pt x="32" y="14"/>
                  <a:pt x="32" y="15"/>
                </a:cubicBezTo>
                <a:cubicBezTo>
                  <a:pt x="32" y="17"/>
                  <a:pt x="32" y="17"/>
                  <a:pt x="32" y="17"/>
                </a:cubicBezTo>
                <a:close/>
                <a:moveTo>
                  <a:pt x="28" y="29"/>
                </a:moveTo>
                <a:cubicBezTo>
                  <a:pt x="27" y="29"/>
                  <a:pt x="27" y="30"/>
                  <a:pt x="27" y="30"/>
                </a:cubicBezTo>
                <a:cubicBezTo>
                  <a:pt x="27" y="32"/>
                  <a:pt x="27" y="32"/>
                  <a:pt x="27" y="32"/>
                </a:cubicBezTo>
                <a:cubicBezTo>
                  <a:pt x="27" y="32"/>
                  <a:pt x="27" y="32"/>
                  <a:pt x="28" y="32"/>
                </a:cubicBezTo>
                <a:cubicBezTo>
                  <a:pt x="44" y="32"/>
                  <a:pt x="44" y="32"/>
                  <a:pt x="44" y="32"/>
                </a:cubicBezTo>
                <a:cubicBezTo>
                  <a:pt x="44" y="32"/>
                  <a:pt x="45" y="32"/>
                  <a:pt x="45" y="32"/>
                </a:cubicBezTo>
                <a:cubicBezTo>
                  <a:pt x="45" y="30"/>
                  <a:pt x="45" y="30"/>
                  <a:pt x="45" y="30"/>
                </a:cubicBezTo>
                <a:cubicBezTo>
                  <a:pt x="45" y="30"/>
                  <a:pt x="44" y="29"/>
                  <a:pt x="44" y="29"/>
                </a:cubicBezTo>
                <a:cubicBezTo>
                  <a:pt x="28" y="29"/>
                  <a:pt x="28" y="29"/>
                  <a:pt x="28" y="29"/>
                </a:cubicBezTo>
                <a:close/>
                <a:moveTo>
                  <a:pt x="28" y="25"/>
                </a:moveTo>
                <a:cubicBezTo>
                  <a:pt x="27" y="25"/>
                  <a:pt x="27" y="25"/>
                  <a:pt x="27" y="26"/>
                </a:cubicBezTo>
                <a:cubicBezTo>
                  <a:pt x="27" y="28"/>
                  <a:pt x="27" y="28"/>
                  <a:pt x="27" y="28"/>
                </a:cubicBezTo>
                <a:cubicBezTo>
                  <a:pt x="27" y="28"/>
                  <a:pt x="27" y="28"/>
                  <a:pt x="28" y="28"/>
                </a:cubicBezTo>
                <a:cubicBezTo>
                  <a:pt x="44" y="28"/>
                  <a:pt x="44" y="28"/>
                  <a:pt x="44" y="28"/>
                </a:cubicBezTo>
                <a:cubicBezTo>
                  <a:pt x="44" y="28"/>
                  <a:pt x="45" y="28"/>
                  <a:pt x="45" y="28"/>
                </a:cubicBezTo>
                <a:cubicBezTo>
                  <a:pt x="45" y="26"/>
                  <a:pt x="45" y="26"/>
                  <a:pt x="45" y="26"/>
                </a:cubicBezTo>
                <a:cubicBezTo>
                  <a:pt x="45" y="25"/>
                  <a:pt x="44" y="25"/>
                  <a:pt x="44" y="25"/>
                </a:cubicBezTo>
                <a:cubicBezTo>
                  <a:pt x="28" y="25"/>
                  <a:pt x="28" y="25"/>
                  <a:pt x="28" y="25"/>
                </a:cubicBezTo>
                <a:close/>
                <a:moveTo>
                  <a:pt x="28" y="21"/>
                </a:moveTo>
                <a:cubicBezTo>
                  <a:pt x="27" y="21"/>
                  <a:pt x="27" y="22"/>
                  <a:pt x="27" y="22"/>
                </a:cubicBezTo>
                <a:cubicBezTo>
                  <a:pt x="27" y="24"/>
                  <a:pt x="27" y="24"/>
                  <a:pt x="27" y="24"/>
                </a:cubicBezTo>
                <a:cubicBezTo>
                  <a:pt x="27" y="24"/>
                  <a:pt x="27" y="24"/>
                  <a:pt x="28" y="24"/>
                </a:cubicBezTo>
                <a:cubicBezTo>
                  <a:pt x="44" y="24"/>
                  <a:pt x="44" y="24"/>
                  <a:pt x="44" y="24"/>
                </a:cubicBezTo>
                <a:cubicBezTo>
                  <a:pt x="44" y="24"/>
                  <a:pt x="45" y="24"/>
                  <a:pt x="45" y="24"/>
                </a:cubicBezTo>
                <a:cubicBezTo>
                  <a:pt x="45" y="22"/>
                  <a:pt x="45" y="22"/>
                  <a:pt x="45" y="22"/>
                </a:cubicBezTo>
                <a:cubicBezTo>
                  <a:pt x="45" y="22"/>
                  <a:pt x="44" y="21"/>
                  <a:pt x="44" y="21"/>
                </a:cubicBezTo>
                <a:cubicBezTo>
                  <a:pt x="28" y="21"/>
                  <a:pt x="28" y="21"/>
                  <a:pt x="28" y="21"/>
                </a:cubicBezTo>
                <a:close/>
                <a:moveTo>
                  <a:pt x="32" y="44"/>
                </a:moveTo>
                <a:cubicBezTo>
                  <a:pt x="30" y="48"/>
                  <a:pt x="30" y="48"/>
                  <a:pt x="30" y="48"/>
                </a:cubicBezTo>
                <a:cubicBezTo>
                  <a:pt x="42" y="48"/>
                  <a:pt x="42" y="48"/>
                  <a:pt x="42" y="48"/>
                </a:cubicBezTo>
                <a:cubicBezTo>
                  <a:pt x="39" y="44"/>
                  <a:pt x="39" y="44"/>
                  <a:pt x="39" y="44"/>
                </a:cubicBezTo>
                <a:cubicBezTo>
                  <a:pt x="32" y="44"/>
                  <a:pt x="32" y="44"/>
                  <a:pt x="32" y="44"/>
                </a:cubicBezTo>
                <a:close/>
                <a:moveTo>
                  <a:pt x="11" y="6"/>
                </a:moveTo>
                <a:cubicBezTo>
                  <a:pt x="11" y="36"/>
                  <a:pt x="11" y="36"/>
                  <a:pt x="11" y="36"/>
                </a:cubicBezTo>
                <a:cubicBezTo>
                  <a:pt x="60" y="36"/>
                  <a:pt x="60" y="36"/>
                  <a:pt x="60" y="36"/>
                </a:cubicBezTo>
                <a:cubicBezTo>
                  <a:pt x="60" y="6"/>
                  <a:pt x="60" y="6"/>
                  <a:pt x="60" y="6"/>
                </a:cubicBezTo>
                <a:lnTo>
                  <a:pt x="11" y="6"/>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 name="Oval 57">
            <a:extLst>
              <a:ext uri="{FF2B5EF4-FFF2-40B4-BE49-F238E27FC236}">
                <a16:creationId xmlns:a16="http://schemas.microsoft.com/office/drawing/2014/main" id="{3C5DF7F8-D9C1-441F-A75A-C6E15DBF586C}"/>
              </a:ext>
            </a:extLst>
          </p:cNvPr>
          <p:cNvSpPr/>
          <p:nvPr/>
        </p:nvSpPr>
        <p:spPr>
          <a:xfrm>
            <a:off x="8467219" y="5514999"/>
            <a:ext cx="468000" cy="468000"/>
          </a:xfrm>
          <a:prstGeom prst="ellipse">
            <a:avLst/>
          </a:prstGeom>
          <a:solidFill>
            <a:schemeClr val="accent2"/>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60" name="Picture 59">
            <a:extLst>
              <a:ext uri="{FF2B5EF4-FFF2-40B4-BE49-F238E27FC236}">
                <a16:creationId xmlns:a16="http://schemas.microsoft.com/office/drawing/2014/main" id="{3A07A03C-5448-4E6D-9F4D-7A4817F9027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557917" y="5567945"/>
            <a:ext cx="302131" cy="305555"/>
          </a:xfrm>
          <a:prstGeom prst="rect">
            <a:avLst/>
          </a:prstGeom>
          <a:ln>
            <a:noFill/>
          </a:ln>
        </p:spPr>
      </p:pic>
      <p:sp>
        <p:nvSpPr>
          <p:cNvPr id="37" name="Rounded Rectangle 143">
            <a:extLst>
              <a:ext uri="{FF2B5EF4-FFF2-40B4-BE49-F238E27FC236}">
                <a16:creationId xmlns:a16="http://schemas.microsoft.com/office/drawing/2014/main" id="{107F4F3F-EE0F-4B18-8711-B9C9E9EB7087}"/>
              </a:ext>
            </a:extLst>
          </p:cNvPr>
          <p:cNvSpPr/>
          <p:nvPr/>
        </p:nvSpPr>
        <p:spPr>
          <a:xfrm>
            <a:off x="4346496" y="2694343"/>
            <a:ext cx="3456000" cy="8732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880" marR="0" lvl="1" indent="-182880"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½ hourly or hourly</a:t>
            </a:r>
          </a:p>
          <a:p>
            <a:pPr marL="182880" marR="0" lvl="1" indent="-182880"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terative modelling </a:t>
            </a:r>
          </a:p>
          <a:p>
            <a:pPr marL="182880" marR="0" lvl="1" indent="-182880"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ynamic dispatch of plant </a:t>
            </a:r>
          </a:p>
          <a:p>
            <a:pPr marL="182880" marR="0" lvl="1" indent="-182880"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dogenous interconnector flows </a:t>
            </a:r>
          </a:p>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844083" rtl="0" eaLnBrk="1" fontAlgn="auto" latinLnBrk="0" hangingPunct="1">
              <a:lnSpc>
                <a:spcPct val="100000"/>
              </a:lnSpc>
              <a:spcBef>
                <a:spcPts val="0"/>
              </a:spcBef>
              <a:spcAft>
                <a:spcPts val="369"/>
              </a:spcAft>
              <a:buClrTx/>
              <a:buSzPct val="100000"/>
              <a:buFontTx/>
              <a:buNone/>
              <a:tabLst/>
              <a:defRPr/>
            </a:pPr>
            <a:endParaRPr kumimoji="0" lang="en-GB" sz="1200" b="0" i="0" u="none" strike="noStrike" kern="1200" cap="none" spc="0" normalizeH="0" baseline="0" noProof="0">
              <a:ln>
                <a:noFill/>
              </a:ln>
              <a:solidFill>
                <a:srgbClr val="3C3C3B"/>
              </a:solidFill>
              <a:effectLst/>
              <a:uLnTx/>
              <a:uFillTx/>
              <a:latin typeface="Lato  (body)"/>
              <a:ea typeface="+mn-ea"/>
              <a:cs typeface="+mn-cs"/>
            </a:endParaRPr>
          </a:p>
        </p:txBody>
      </p:sp>
      <p:sp>
        <p:nvSpPr>
          <p:cNvPr id="39" name="TextBox 38">
            <a:extLst>
              <a:ext uri="{FF2B5EF4-FFF2-40B4-BE49-F238E27FC236}">
                <a16:creationId xmlns:a16="http://schemas.microsoft.com/office/drawing/2014/main" id="{7116D9F3-628B-4C37-9BAF-AB749B3C4735}"/>
              </a:ext>
            </a:extLst>
          </p:cNvPr>
          <p:cNvSpPr txBox="1">
            <a:spLocks/>
          </p:cNvSpPr>
          <p:nvPr/>
        </p:nvSpPr>
        <p:spPr>
          <a:xfrm>
            <a:off x="4346496" y="2437752"/>
            <a:ext cx="3456000" cy="256591"/>
          </a:xfrm>
          <a:prstGeom prst="rect">
            <a:avLst/>
          </a:prstGeom>
          <a:solidFill>
            <a:schemeClr val="tx1"/>
          </a:solidFill>
          <a:ln>
            <a:noFill/>
          </a:ln>
        </p:spPr>
        <p:txBody>
          <a:bodyPr vert="horz" wrap="square" lIns="72000" tIns="0" rIns="0" bIns="0" rtlCol="0" anchor="ctr">
            <a:noAutofit/>
          </a:bodyPr>
          <a:lstStyle/>
          <a:p>
            <a:pPr marL="0" marR="0" lvl="0" indent="0" algn="l" defTabSz="844083" rtl="0" eaLnBrk="1" fontAlgn="auto" latinLnBrk="0" hangingPunct="1">
              <a:lnSpc>
                <a:spcPct val="114000"/>
              </a:lnSpc>
              <a:spcBef>
                <a:spcPts val="0"/>
              </a:spcBef>
              <a:spcAft>
                <a:spcPts val="554"/>
              </a:spcAft>
              <a:buClrTx/>
              <a:buSzPct val="100000"/>
              <a:buFontTx/>
              <a:buNone/>
              <a:tabLst/>
              <a:defRPr/>
            </a:pPr>
            <a:r>
              <a:rPr kumimoji="0" lang="en-GB" sz="12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patch model</a:t>
            </a:r>
          </a:p>
        </p:txBody>
      </p:sp>
      <p:sp>
        <p:nvSpPr>
          <p:cNvPr id="40" name="TextBox 39">
            <a:extLst>
              <a:ext uri="{FF2B5EF4-FFF2-40B4-BE49-F238E27FC236}">
                <a16:creationId xmlns:a16="http://schemas.microsoft.com/office/drawing/2014/main" id="{B9A3BE98-A861-45F8-80B2-5875D95D2E8F}"/>
              </a:ext>
            </a:extLst>
          </p:cNvPr>
          <p:cNvSpPr txBox="1">
            <a:spLocks/>
          </p:cNvSpPr>
          <p:nvPr/>
        </p:nvSpPr>
        <p:spPr>
          <a:xfrm>
            <a:off x="4346496" y="4859172"/>
            <a:ext cx="3456000" cy="256591"/>
          </a:xfrm>
          <a:prstGeom prst="rect">
            <a:avLst/>
          </a:prstGeom>
          <a:solidFill>
            <a:schemeClr val="accent5"/>
          </a:solidFill>
          <a:ln>
            <a:noFill/>
          </a:ln>
        </p:spPr>
        <p:txBody>
          <a:bodyPr vert="horz" wrap="square" lIns="72000" tIns="0" rIns="0" bIns="0" rtlCol="0" anchor="ctr">
            <a:noAutofit/>
          </a:bodyPr>
          <a:lstStyle/>
          <a:p>
            <a:pPr marL="0" marR="0" lvl="0" indent="0" algn="l" defTabSz="844083" rtl="0" eaLnBrk="1" fontAlgn="auto" latinLnBrk="0" hangingPunct="1">
              <a:lnSpc>
                <a:spcPct val="114000"/>
              </a:lnSpc>
              <a:spcBef>
                <a:spcPts val="0"/>
              </a:spcBef>
              <a:spcAft>
                <a:spcPts val="554"/>
              </a:spcAft>
              <a:buClrTx/>
              <a:buSzPct val="100000"/>
              <a:buFontTx/>
              <a:buNone/>
              <a:tabLst/>
              <a:defRPr/>
            </a:pPr>
            <a:r>
              <a:rPr kumimoji="0" lang="en-GB" sz="12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vestment decisions module</a:t>
            </a:r>
          </a:p>
        </p:txBody>
      </p:sp>
      <p:grpSp>
        <p:nvGrpSpPr>
          <p:cNvPr id="54" name="Group 53">
            <a:extLst>
              <a:ext uri="{FF2B5EF4-FFF2-40B4-BE49-F238E27FC236}">
                <a16:creationId xmlns:a16="http://schemas.microsoft.com/office/drawing/2014/main" id="{8A2F64FA-FF87-4246-80F2-FB1CEDBF4E76}"/>
              </a:ext>
            </a:extLst>
          </p:cNvPr>
          <p:cNvGrpSpPr/>
          <p:nvPr/>
        </p:nvGrpSpPr>
        <p:grpSpPr>
          <a:xfrm>
            <a:off x="5005419" y="3849719"/>
            <a:ext cx="2138155" cy="727314"/>
            <a:chOff x="4666341" y="3589773"/>
            <a:chExt cx="2138155" cy="727314"/>
          </a:xfrm>
        </p:grpSpPr>
        <p:sp>
          <p:nvSpPr>
            <p:cNvPr id="66" name="Shape 65">
              <a:extLst>
                <a:ext uri="{FF2B5EF4-FFF2-40B4-BE49-F238E27FC236}">
                  <a16:creationId xmlns:a16="http://schemas.microsoft.com/office/drawing/2014/main" id="{E29C092D-5E7C-4A38-8B30-22B01F595BA1}"/>
                </a:ext>
              </a:extLst>
            </p:cNvPr>
            <p:cNvSpPr/>
            <p:nvPr/>
          </p:nvSpPr>
          <p:spPr>
            <a:xfrm rot="12947216" flipH="1">
              <a:off x="5159944" y="3620066"/>
              <a:ext cx="410506" cy="324677"/>
            </a:xfrm>
            <a:prstGeom prst="swooshArrow">
              <a:avLst>
                <a:gd name="adj1" fmla="val 28685"/>
                <a:gd name="adj2" fmla="val 25000"/>
              </a:avLst>
            </a:prstGeom>
            <a:solidFill>
              <a:schemeClr val="tx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hueOff val="0"/>
                    <a:satOff val="0"/>
                    <a:lumOff val="0"/>
                    <a:alphaOff val="0"/>
                  </a:srgbClr>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7" name="TextBox 66">
              <a:extLst>
                <a:ext uri="{FF2B5EF4-FFF2-40B4-BE49-F238E27FC236}">
                  <a16:creationId xmlns:a16="http://schemas.microsoft.com/office/drawing/2014/main" id="{28327A96-E1A8-45B1-9462-901BE763D347}"/>
                </a:ext>
              </a:extLst>
            </p:cNvPr>
            <p:cNvSpPr txBox="1"/>
            <p:nvPr/>
          </p:nvSpPr>
          <p:spPr>
            <a:xfrm>
              <a:off x="4666341" y="4009921"/>
              <a:ext cx="2138155" cy="307166"/>
            </a:xfrm>
            <a:prstGeom prst="rect">
              <a:avLst/>
            </a:prstGeom>
          </p:spPr>
          <p:txBody>
            <a:bodyPr vert="horz" wrap="square" lIns="0" tIns="0" rIns="0" bIns="0" rtlCol="0">
              <a:noAutofit/>
            </a:bodyPr>
            <a:lstStyle/>
            <a:p>
              <a:pPr marL="0" marR="0" lvl="0" indent="0" algn="ctr" defTabSz="844083"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tinuous iteration until an equilibrium is reached</a:t>
              </a:r>
            </a:p>
          </p:txBody>
        </p:sp>
        <p:sp>
          <p:nvSpPr>
            <p:cNvPr id="68" name="Shape 67">
              <a:extLst>
                <a:ext uri="{FF2B5EF4-FFF2-40B4-BE49-F238E27FC236}">
                  <a16:creationId xmlns:a16="http://schemas.microsoft.com/office/drawing/2014/main" id="{C1DF290F-72C8-4BE7-A43B-4C9F4011C7D2}"/>
                </a:ext>
              </a:extLst>
            </p:cNvPr>
            <p:cNvSpPr/>
            <p:nvPr/>
          </p:nvSpPr>
          <p:spPr>
            <a:xfrm rot="2393930" flipH="1">
              <a:off x="5872707" y="3601009"/>
              <a:ext cx="410506" cy="324677"/>
            </a:xfrm>
            <a:prstGeom prst="swooshArrow">
              <a:avLst>
                <a:gd name="adj1" fmla="val 28685"/>
                <a:gd name="adj2" fmla="val 25000"/>
              </a:avLst>
            </a:prstGeom>
            <a:solidFill>
              <a:schemeClr val="accent5"/>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hueOff val="0"/>
                    <a:satOff val="0"/>
                    <a:lumOff val="0"/>
                    <a:alphaOff val="0"/>
                  </a:srgbClr>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113" name="Group 112">
              <a:extLst>
                <a:ext uri="{FF2B5EF4-FFF2-40B4-BE49-F238E27FC236}">
                  <a16:creationId xmlns:a16="http://schemas.microsoft.com/office/drawing/2014/main" id="{E24B42E9-D6ED-466E-A15C-5BA411E09E24}"/>
                </a:ext>
              </a:extLst>
            </p:cNvPr>
            <p:cNvGrpSpPr/>
            <p:nvPr/>
          </p:nvGrpSpPr>
          <p:grpSpPr>
            <a:xfrm>
              <a:off x="5535218" y="3589773"/>
              <a:ext cx="401472" cy="361198"/>
              <a:chOff x="5698484" y="2819093"/>
              <a:chExt cx="225304" cy="202703"/>
            </a:xfrm>
          </p:grpSpPr>
          <p:sp>
            <p:nvSpPr>
              <p:cNvPr id="110" name="Freeform: Shape 109">
                <a:extLst>
                  <a:ext uri="{FF2B5EF4-FFF2-40B4-BE49-F238E27FC236}">
                    <a16:creationId xmlns:a16="http://schemas.microsoft.com/office/drawing/2014/main" id="{A5289D76-F542-489B-B750-785BB3282271}"/>
                  </a:ext>
                </a:extLst>
              </p:cNvPr>
              <p:cNvSpPr/>
              <p:nvPr/>
            </p:nvSpPr>
            <p:spPr>
              <a:xfrm>
                <a:off x="5710034" y="2819093"/>
                <a:ext cx="202704" cy="149702"/>
              </a:xfrm>
              <a:custGeom>
                <a:avLst/>
                <a:gdLst>
                  <a:gd name="connsiteX0" fmla="*/ 64701 w 202704"/>
                  <a:gd name="connsiteY0" fmla="*/ 131853 h 149702"/>
                  <a:gd name="connsiteX1" fmla="*/ 23001 w 202704"/>
                  <a:gd name="connsiteY1" fmla="*/ 133703 h 149702"/>
                  <a:gd name="connsiteX2" fmla="*/ 83552 w 202704"/>
                  <a:gd name="connsiteY2" fmla="*/ 123802 h 149702"/>
                  <a:gd name="connsiteX3" fmla="*/ 36401 w 202704"/>
                  <a:gd name="connsiteY3" fmla="*/ 96452 h 149702"/>
                  <a:gd name="connsiteX4" fmla="*/ 91652 w 202704"/>
                  <a:gd name="connsiteY4" fmla="*/ 118852 h 149702"/>
                  <a:gd name="connsiteX5" fmla="*/ 76352 w 202704"/>
                  <a:gd name="connsiteY5" fmla="*/ 88152 h 149702"/>
                  <a:gd name="connsiteX6" fmla="*/ 98002 w 202704"/>
                  <a:gd name="connsiteY6" fmla="*/ 116402 h 149702"/>
                  <a:gd name="connsiteX7" fmla="*/ 100952 w 202704"/>
                  <a:gd name="connsiteY7" fmla="*/ 54551 h 149702"/>
                  <a:gd name="connsiteX8" fmla="*/ 104252 w 202704"/>
                  <a:gd name="connsiteY8" fmla="*/ 116402 h 149702"/>
                  <a:gd name="connsiteX9" fmla="*/ 126453 w 202704"/>
                  <a:gd name="connsiteY9" fmla="*/ 88152 h 149702"/>
                  <a:gd name="connsiteX10" fmla="*/ 110602 w 202704"/>
                  <a:gd name="connsiteY10" fmla="*/ 118852 h 149702"/>
                  <a:gd name="connsiteX11" fmla="*/ 165853 w 202704"/>
                  <a:gd name="connsiteY11" fmla="*/ 96552 h 149702"/>
                  <a:gd name="connsiteX12" fmla="*/ 118703 w 202704"/>
                  <a:gd name="connsiteY12" fmla="*/ 123902 h 149702"/>
                  <a:gd name="connsiteX13" fmla="*/ 178854 w 202704"/>
                  <a:gd name="connsiteY13" fmla="*/ 134003 h 149702"/>
                  <a:gd name="connsiteX14" fmla="*/ 138703 w 202704"/>
                  <a:gd name="connsiteY14" fmla="*/ 132053 h 149702"/>
                  <a:gd name="connsiteX15" fmla="*/ 190304 w 202704"/>
                  <a:gd name="connsiteY15" fmla="*/ 149703 h 149702"/>
                  <a:gd name="connsiteX16" fmla="*/ 202704 w 202704"/>
                  <a:gd name="connsiteY16" fmla="*/ 101352 h 149702"/>
                  <a:gd name="connsiteX17" fmla="*/ 101352 w 202704"/>
                  <a:gd name="connsiteY17" fmla="*/ 0 h 149702"/>
                  <a:gd name="connsiteX18" fmla="*/ 0 w 202704"/>
                  <a:gd name="connsiteY18" fmla="*/ 101352 h 149702"/>
                  <a:gd name="connsiteX19" fmla="*/ 12300 w 202704"/>
                  <a:gd name="connsiteY19" fmla="*/ 149503 h 149702"/>
                  <a:gd name="connsiteX20" fmla="*/ 64701 w 202704"/>
                  <a:gd name="connsiteY20" fmla="*/ 131853 h 14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704" h="1497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solidFill>
                <a:srgbClr val="FFCC00"/>
              </a:solidFill>
              <a:ln w="49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1" name="Freeform: Shape 110">
                <a:extLst>
                  <a:ext uri="{FF2B5EF4-FFF2-40B4-BE49-F238E27FC236}">
                    <a16:creationId xmlns:a16="http://schemas.microsoft.com/office/drawing/2014/main" id="{A3830B2D-9D16-4C70-BC94-261E645EEB07}"/>
                  </a:ext>
                </a:extLst>
              </p:cNvPr>
              <p:cNvSpPr/>
              <p:nvPr/>
            </p:nvSpPr>
            <p:spPr>
              <a:xfrm>
                <a:off x="5722284" y="2873644"/>
                <a:ext cx="178053" cy="99601"/>
              </a:xfrm>
              <a:custGeom>
                <a:avLst/>
                <a:gdLst>
                  <a:gd name="connsiteX0" fmla="*/ 2550 w 178053"/>
                  <a:gd name="connsiteY0" fmla="*/ 99352 h 99601"/>
                  <a:gd name="connsiteX1" fmla="*/ 23601 w 178053"/>
                  <a:gd name="connsiteY1" fmla="*/ 90102 h 99601"/>
                  <a:gd name="connsiteX2" fmla="*/ 24001 w 178053"/>
                  <a:gd name="connsiteY2" fmla="*/ 89952 h 99601"/>
                  <a:gd name="connsiteX3" fmla="*/ 31601 w 178053"/>
                  <a:gd name="connsiteY3" fmla="*/ 87452 h 99601"/>
                  <a:gd name="connsiteX4" fmla="*/ 31651 w 178053"/>
                  <a:gd name="connsiteY4" fmla="*/ 87452 h 99601"/>
                  <a:gd name="connsiteX5" fmla="*/ 31651 w 178053"/>
                  <a:gd name="connsiteY5" fmla="*/ 87452 h 99601"/>
                  <a:gd name="connsiteX6" fmla="*/ 88852 w 178053"/>
                  <a:gd name="connsiteY6" fmla="*/ 79202 h 99601"/>
                  <a:gd name="connsiteX7" fmla="*/ 146303 w 178053"/>
                  <a:gd name="connsiteY7" fmla="*/ 87552 h 99601"/>
                  <a:gd name="connsiteX8" fmla="*/ 146303 w 178053"/>
                  <a:gd name="connsiteY8" fmla="*/ 87552 h 99601"/>
                  <a:gd name="connsiteX9" fmla="*/ 146303 w 178053"/>
                  <a:gd name="connsiteY9" fmla="*/ 87552 h 99601"/>
                  <a:gd name="connsiteX10" fmla="*/ 153953 w 178053"/>
                  <a:gd name="connsiteY10" fmla="*/ 90102 h 99601"/>
                  <a:gd name="connsiteX11" fmla="*/ 154353 w 178053"/>
                  <a:gd name="connsiteY11" fmla="*/ 90252 h 99601"/>
                  <a:gd name="connsiteX12" fmla="*/ 175504 w 178053"/>
                  <a:gd name="connsiteY12" fmla="*/ 99602 h 99601"/>
                  <a:gd name="connsiteX13" fmla="*/ 178054 w 178053"/>
                  <a:gd name="connsiteY13" fmla="*/ 95252 h 99601"/>
                  <a:gd name="connsiteX14" fmla="*/ 126453 w 178053"/>
                  <a:gd name="connsiteY14" fmla="*/ 77602 h 99601"/>
                  <a:gd name="connsiteX15" fmla="*/ 166604 w 178053"/>
                  <a:gd name="connsiteY15" fmla="*/ 79552 h 99601"/>
                  <a:gd name="connsiteX16" fmla="*/ 106452 w 178053"/>
                  <a:gd name="connsiteY16" fmla="*/ 69351 h 99601"/>
                  <a:gd name="connsiteX17" fmla="*/ 153603 w 178053"/>
                  <a:gd name="connsiteY17" fmla="*/ 42001 h 99601"/>
                  <a:gd name="connsiteX18" fmla="*/ 98352 w 178053"/>
                  <a:gd name="connsiteY18" fmla="*/ 64301 h 99601"/>
                  <a:gd name="connsiteX19" fmla="*/ 114202 w 178053"/>
                  <a:gd name="connsiteY19" fmla="*/ 33601 h 99601"/>
                  <a:gd name="connsiteX20" fmla="*/ 92002 w 178053"/>
                  <a:gd name="connsiteY20" fmla="*/ 61851 h 99601"/>
                  <a:gd name="connsiteX21" fmla="*/ 88702 w 178053"/>
                  <a:gd name="connsiteY21" fmla="*/ 0 h 99601"/>
                  <a:gd name="connsiteX22" fmla="*/ 85752 w 178053"/>
                  <a:gd name="connsiteY22" fmla="*/ 61851 h 99601"/>
                  <a:gd name="connsiteX23" fmla="*/ 64101 w 178053"/>
                  <a:gd name="connsiteY23" fmla="*/ 33601 h 99601"/>
                  <a:gd name="connsiteX24" fmla="*/ 79402 w 178053"/>
                  <a:gd name="connsiteY24" fmla="*/ 64301 h 99601"/>
                  <a:gd name="connsiteX25" fmla="*/ 24151 w 178053"/>
                  <a:gd name="connsiteY25" fmla="*/ 41901 h 99601"/>
                  <a:gd name="connsiteX26" fmla="*/ 71302 w 178053"/>
                  <a:gd name="connsiteY26" fmla="*/ 69251 h 99601"/>
                  <a:gd name="connsiteX27" fmla="*/ 10750 w 178053"/>
                  <a:gd name="connsiteY27" fmla="*/ 79152 h 99601"/>
                  <a:gd name="connsiteX28" fmla="*/ 52451 w 178053"/>
                  <a:gd name="connsiteY28" fmla="*/ 77302 h 99601"/>
                  <a:gd name="connsiteX29" fmla="*/ 0 w 178053"/>
                  <a:gd name="connsiteY29" fmla="*/ 95002 h 99601"/>
                  <a:gd name="connsiteX30" fmla="*/ 2550 w 178053"/>
                  <a:gd name="connsiteY30" fmla="*/ 99352 h 9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8053" h="99601">
                    <a:moveTo>
                      <a:pt x="2550" y="99352"/>
                    </a:moveTo>
                    <a:cubicBezTo>
                      <a:pt x="9150" y="95852"/>
                      <a:pt x="16150" y="92752"/>
                      <a:pt x="23601" y="90102"/>
                    </a:cubicBezTo>
                    <a:cubicBezTo>
                      <a:pt x="23751" y="90052"/>
                      <a:pt x="23851" y="90002"/>
                      <a:pt x="24001" y="89952"/>
                    </a:cubicBezTo>
                    <a:cubicBezTo>
                      <a:pt x="26501" y="89052"/>
                      <a:pt x="29051" y="88202"/>
                      <a:pt x="31601" y="87452"/>
                    </a:cubicBezTo>
                    <a:cubicBezTo>
                      <a:pt x="31601" y="87452"/>
                      <a:pt x="31601" y="87452"/>
                      <a:pt x="31651" y="87452"/>
                    </a:cubicBezTo>
                    <a:lnTo>
                      <a:pt x="31651" y="87452"/>
                    </a:lnTo>
                    <a:cubicBezTo>
                      <a:pt x="49101" y="82152"/>
                      <a:pt x="68451" y="79202"/>
                      <a:pt x="88852" y="79202"/>
                    </a:cubicBezTo>
                    <a:cubicBezTo>
                      <a:pt x="109352" y="79202"/>
                      <a:pt x="128803" y="82202"/>
                      <a:pt x="146303" y="87552"/>
                    </a:cubicBezTo>
                    <a:lnTo>
                      <a:pt x="146303" y="87552"/>
                    </a:lnTo>
                    <a:cubicBezTo>
                      <a:pt x="146303" y="87552"/>
                      <a:pt x="146303" y="87552"/>
                      <a:pt x="146303" y="87552"/>
                    </a:cubicBezTo>
                    <a:cubicBezTo>
                      <a:pt x="148903" y="88352"/>
                      <a:pt x="151453" y="89202"/>
                      <a:pt x="153953" y="90102"/>
                    </a:cubicBezTo>
                    <a:cubicBezTo>
                      <a:pt x="154103" y="90152"/>
                      <a:pt x="154203" y="90202"/>
                      <a:pt x="154353" y="90252"/>
                    </a:cubicBezTo>
                    <a:cubicBezTo>
                      <a:pt x="161853" y="92952"/>
                      <a:pt x="168904" y="96052"/>
                      <a:pt x="175504" y="99602"/>
                    </a:cubicBezTo>
                    <a:cubicBezTo>
                      <a:pt x="176404" y="98152"/>
                      <a:pt x="177204" y="96702"/>
                      <a:pt x="178054" y="95252"/>
                    </a:cubicBezTo>
                    <a:cubicBezTo>
                      <a:pt x="162753" y="87052"/>
                      <a:pt x="145303" y="81052"/>
                      <a:pt x="126453" y="77602"/>
                    </a:cubicBezTo>
                    <a:lnTo>
                      <a:pt x="166604" y="79552"/>
                    </a:lnTo>
                    <a:lnTo>
                      <a:pt x="106452" y="69351"/>
                    </a:lnTo>
                    <a:lnTo>
                      <a:pt x="153603" y="42001"/>
                    </a:lnTo>
                    <a:lnTo>
                      <a:pt x="98352" y="64301"/>
                    </a:lnTo>
                    <a:lnTo>
                      <a:pt x="114202" y="33601"/>
                    </a:lnTo>
                    <a:lnTo>
                      <a:pt x="92002" y="61851"/>
                    </a:lnTo>
                    <a:lnTo>
                      <a:pt x="88702" y="0"/>
                    </a:lnTo>
                    <a:lnTo>
                      <a:pt x="85752" y="61851"/>
                    </a:lnTo>
                    <a:lnTo>
                      <a:pt x="64101" y="33601"/>
                    </a:lnTo>
                    <a:lnTo>
                      <a:pt x="79402" y="64301"/>
                    </a:lnTo>
                    <a:lnTo>
                      <a:pt x="24151" y="41901"/>
                    </a:lnTo>
                    <a:lnTo>
                      <a:pt x="71302" y="69251"/>
                    </a:lnTo>
                    <a:lnTo>
                      <a:pt x="10750" y="79152"/>
                    </a:lnTo>
                    <a:lnTo>
                      <a:pt x="52451" y="77302"/>
                    </a:lnTo>
                    <a:cubicBezTo>
                      <a:pt x="33301" y="80652"/>
                      <a:pt x="15550" y="86702"/>
                      <a:pt x="0" y="95002"/>
                    </a:cubicBezTo>
                    <a:cubicBezTo>
                      <a:pt x="800" y="96452"/>
                      <a:pt x="1650" y="97902"/>
                      <a:pt x="2550" y="99352"/>
                    </a:cubicBezTo>
                    <a:close/>
                  </a:path>
                </a:pathLst>
              </a:custGeom>
              <a:solidFill>
                <a:srgbClr val="FFFFFF"/>
              </a:solidFill>
              <a:ln w="49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2" name="Freeform: Shape 111">
                <a:extLst>
                  <a:ext uri="{FF2B5EF4-FFF2-40B4-BE49-F238E27FC236}">
                    <a16:creationId xmlns:a16="http://schemas.microsoft.com/office/drawing/2014/main" id="{8E840111-43EC-4EA6-B732-38A0F1EE2C8C}"/>
                  </a:ext>
                </a:extLst>
              </p:cNvPr>
              <p:cNvSpPr/>
              <p:nvPr/>
            </p:nvSpPr>
            <p:spPr>
              <a:xfrm>
                <a:off x="5698484" y="2952795"/>
                <a:ext cx="225304" cy="69001"/>
              </a:xfrm>
              <a:custGeom>
                <a:avLst/>
                <a:gdLst>
                  <a:gd name="connsiteX0" fmla="*/ 225305 w 225304"/>
                  <a:gd name="connsiteY0" fmla="*/ 38501 h 69001"/>
                  <a:gd name="connsiteX1" fmla="*/ 112652 w 225304"/>
                  <a:gd name="connsiteY1" fmla="*/ 0 h 69001"/>
                  <a:gd name="connsiteX2" fmla="*/ 0 w 225304"/>
                  <a:gd name="connsiteY2" fmla="*/ 38501 h 69001"/>
                  <a:gd name="connsiteX3" fmla="*/ 32251 w 225304"/>
                  <a:gd name="connsiteY3" fmla="*/ 28951 h 69001"/>
                  <a:gd name="connsiteX4" fmla="*/ 112802 w 225304"/>
                  <a:gd name="connsiteY4" fmla="*/ 69001 h 69001"/>
                  <a:gd name="connsiteX5" fmla="*/ 193304 w 225304"/>
                  <a:gd name="connsiteY5" fmla="*/ 29051 h 69001"/>
                  <a:gd name="connsiteX6" fmla="*/ 225305 w 225304"/>
                  <a:gd name="connsiteY6" fmla="*/ 38501 h 6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304" h="69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solidFill>
                <a:srgbClr val="3C3C3B"/>
              </a:solidFill>
              <a:ln w="49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53" name="Group 52">
            <a:extLst>
              <a:ext uri="{FF2B5EF4-FFF2-40B4-BE49-F238E27FC236}">
                <a16:creationId xmlns:a16="http://schemas.microsoft.com/office/drawing/2014/main" id="{C8520532-23F2-47F0-831E-8AAE4EF5361C}"/>
              </a:ext>
            </a:extLst>
          </p:cNvPr>
          <p:cNvGrpSpPr/>
          <p:nvPr/>
        </p:nvGrpSpPr>
        <p:grpSpPr>
          <a:xfrm>
            <a:off x="3898827" y="2374748"/>
            <a:ext cx="233362" cy="361951"/>
            <a:chOff x="2478819" y="2374748"/>
            <a:chExt cx="233362" cy="361951"/>
          </a:xfrm>
        </p:grpSpPr>
        <p:sp>
          <p:nvSpPr>
            <p:cNvPr id="130" name="IsoscelesTriangle122">
              <a:extLst>
                <a:ext uri="{FF2B5EF4-FFF2-40B4-BE49-F238E27FC236}">
                  <a16:creationId xmlns:a16="http://schemas.microsoft.com/office/drawing/2014/main" id="{F9896D6C-785A-4F9D-80F2-5C8CF658C256}"/>
                </a:ext>
              </a:extLst>
            </p:cNvPr>
            <p:cNvSpPr/>
            <p:nvPr/>
          </p:nvSpPr>
          <p:spPr>
            <a:xfrm rot="5400000">
              <a:off x="2453419" y="2477936"/>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2" name="IsoscelesTriangle122">
              <a:extLst>
                <a:ext uri="{FF2B5EF4-FFF2-40B4-BE49-F238E27FC236}">
                  <a16:creationId xmlns:a16="http://schemas.microsoft.com/office/drawing/2014/main" id="{86D6394E-CA8D-44ED-8364-77D47DDE1A49}"/>
                </a:ext>
              </a:extLst>
            </p:cNvPr>
            <p:cNvSpPr/>
            <p:nvPr/>
          </p:nvSpPr>
          <p:spPr>
            <a:xfrm rot="5400000">
              <a:off x="2375632" y="2477935"/>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133" name="Group 132">
            <a:extLst>
              <a:ext uri="{FF2B5EF4-FFF2-40B4-BE49-F238E27FC236}">
                <a16:creationId xmlns:a16="http://schemas.microsoft.com/office/drawing/2014/main" id="{C32D32AC-F264-45D5-BC72-512A9FBA657B}"/>
              </a:ext>
            </a:extLst>
          </p:cNvPr>
          <p:cNvGrpSpPr/>
          <p:nvPr/>
        </p:nvGrpSpPr>
        <p:grpSpPr>
          <a:xfrm>
            <a:off x="8016805" y="2374748"/>
            <a:ext cx="233362" cy="361951"/>
            <a:chOff x="6632426" y="2217736"/>
            <a:chExt cx="233362" cy="361951"/>
          </a:xfrm>
        </p:grpSpPr>
        <p:sp>
          <p:nvSpPr>
            <p:cNvPr id="131" name="IsoscelesTriangle122">
              <a:extLst>
                <a:ext uri="{FF2B5EF4-FFF2-40B4-BE49-F238E27FC236}">
                  <a16:creationId xmlns:a16="http://schemas.microsoft.com/office/drawing/2014/main" id="{F6DB76E6-A8B3-4EF5-9B90-8B61CE2CF338}"/>
                </a:ext>
              </a:extLst>
            </p:cNvPr>
            <p:cNvSpPr/>
            <p:nvPr/>
          </p:nvSpPr>
          <p:spPr>
            <a:xfrm rot="5400000">
              <a:off x="6607026" y="2320924"/>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6" name="IsoscelesTriangle122">
              <a:extLst>
                <a:ext uri="{FF2B5EF4-FFF2-40B4-BE49-F238E27FC236}">
                  <a16:creationId xmlns:a16="http://schemas.microsoft.com/office/drawing/2014/main" id="{0412E979-46F6-42C1-893C-633A9A148384}"/>
                </a:ext>
              </a:extLst>
            </p:cNvPr>
            <p:cNvSpPr/>
            <p:nvPr/>
          </p:nvSpPr>
          <p:spPr>
            <a:xfrm rot="5400000">
              <a:off x="6529239" y="2320923"/>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12" name="Group 11">
            <a:extLst>
              <a:ext uri="{FF2B5EF4-FFF2-40B4-BE49-F238E27FC236}">
                <a16:creationId xmlns:a16="http://schemas.microsoft.com/office/drawing/2014/main" id="{6403C9EC-C392-474B-AFAB-9245F88D26C1}"/>
              </a:ext>
            </a:extLst>
          </p:cNvPr>
          <p:cNvGrpSpPr/>
          <p:nvPr/>
        </p:nvGrpSpPr>
        <p:grpSpPr>
          <a:xfrm>
            <a:off x="1619034" y="1208474"/>
            <a:ext cx="8952736" cy="1120111"/>
            <a:chOff x="2114162" y="1208474"/>
            <a:chExt cx="8952736" cy="1120111"/>
          </a:xfrm>
        </p:grpSpPr>
        <p:cxnSp>
          <p:nvCxnSpPr>
            <p:cNvPr id="36" name="Straight Connector 35">
              <a:extLst>
                <a:ext uri="{FF2B5EF4-FFF2-40B4-BE49-F238E27FC236}">
                  <a16:creationId xmlns:a16="http://schemas.microsoft.com/office/drawing/2014/main" id="{C3DC2BBF-C134-49AD-8921-76F706754AE5}"/>
                </a:ext>
              </a:extLst>
            </p:cNvPr>
            <p:cNvCxnSpPr>
              <a:cxnSpLocks/>
              <a:stCxn id="13" idx="0"/>
              <a:endCxn id="15" idx="2"/>
            </p:cNvCxnSpPr>
            <p:nvPr/>
          </p:nvCxnSpPr>
          <p:spPr>
            <a:xfrm flipV="1">
              <a:off x="6590530" y="2230481"/>
              <a:ext cx="0" cy="9810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ounded Rectangle 81">
              <a:extLst>
                <a:ext uri="{FF2B5EF4-FFF2-40B4-BE49-F238E27FC236}">
                  <a16:creationId xmlns:a16="http://schemas.microsoft.com/office/drawing/2014/main" id="{37785761-6360-40E6-95A4-F05D6EAA781D}"/>
                </a:ext>
              </a:extLst>
            </p:cNvPr>
            <p:cNvSpPr/>
            <p:nvPr/>
          </p:nvSpPr>
          <p:spPr>
            <a:xfrm>
              <a:off x="2114162" y="1800182"/>
              <a:ext cx="2160000" cy="42015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rbon</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ETS)</a:t>
              </a:r>
            </a:p>
          </p:txBody>
        </p:sp>
        <p:sp>
          <p:nvSpPr>
            <p:cNvPr id="15" name="Rounded Rectangle 83">
              <a:extLst>
                <a:ext uri="{FF2B5EF4-FFF2-40B4-BE49-F238E27FC236}">
                  <a16:creationId xmlns:a16="http://schemas.microsoft.com/office/drawing/2014/main" id="{F7BF12C2-C4F0-4318-9EDC-82C79E2A6D4C}"/>
                </a:ext>
              </a:extLst>
            </p:cNvPr>
            <p:cNvSpPr/>
            <p:nvPr/>
          </p:nvSpPr>
          <p:spPr>
            <a:xfrm>
              <a:off x="5510530" y="1810322"/>
              <a:ext cx="2160000" cy="420159"/>
            </a:xfrm>
            <a:prstGeom prst="roundRect">
              <a:avLst/>
            </a:prstGeom>
            <a:solidFill>
              <a:schemeClr val="tx2"/>
            </a:solidFill>
            <a:ln w="19050">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wer markets </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ES)</a:t>
              </a:r>
            </a:p>
          </p:txBody>
        </p:sp>
        <p:sp>
          <p:nvSpPr>
            <p:cNvPr id="46" name="Rounded Rectangle 85">
              <a:extLst>
                <a:ext uri="{FF2B5EF4-FFF2-40B4-BE49-F238E27FC236}">
                  <a16:creationId xmlns:a16="http://schemas.microsoft.com/office/drawing/2014/main" id="{3032EE2A-1AA9-46C3-8E4D-8EA72BB34102}"/>
                </a:ext>
              </a:extLst>
            </p:cNvPr>
            <p:cNvSpPr/>
            <p:nvPr/>
          </p:nvSpPr>
          <p:spPr>
            <a:xfrm>
              <a:off x="8906898" y="1809997"/>
              <a:ext cx="2160000" cy="42015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 Commodities &amp; Gas </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GLO/GAS)</a:t>
              </a:r>
            </a:p>
          </p:txBody>
        </p:sp>
        <p:cxnSp>
          <p:nvCxnSpPr>
            <p:cNvPr id="61" name="Straight Arrow Connector 60">
              <a:extLst>
                <a:ext uri="{FF2B5EF4-FFF2-40B4-BE49-F238E27FC236}">
                  <a16:creationId xmlns:a16="http://schemas.microsoft.com/office/drawing/2014/main" id="{67B087C4-AF81-4C23-B57E-05A815B20D75}"/>
                </a:ext>
              </a:extLst>
            </p:cNvPr>
            <p:cNvCxnSpPr>
              <a:cxnSpLocks/>
            </p:cNvCxnSpPr>
            <p:nvPr/>
          </p:nvCxnSpPr>
          <p:spPr>
            <a:xfrm>
              <a:off x="7748714" y="2020076"/>
              <a:ext cx="1080000" cy="0"/>
            </a:xfrm>
            <a:prstGeom prst="straightConnector1">
              <a:avLst/>
            </a:prstGeom>
            <a:ln w="9525" cmpd="sng">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60B1BA16-15B8-4626-9F72-2C58D034E1D2}"/>
                </a:ext>
              </a:extLst>
            </p:cNvPr>
            <p:cNvCxnSpPr>
              <a:cxnSpLocks/>
            </p:cNvCxnSpPr>
            <p:nvPr/>
          </p:nvCxnSpPr>
          <p:spPr>
            <a:xfrm>
              <a:off x="4352346" y="2010262"/>
              <a:ext cx="1080000" cy="0"/>
            </a:xfrm>
            <a:prstGeom prst="straightConnector1">
              <a:avLst/>
            </a:prstGeom>
            <a:ln w="9525" cmpd="sng">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ounded Rectangle 83">
              <a:extLst>
                <a:ext uri="{FF2B5EF4-FFF2-40B4-BE49-F238E27FC236}">
                  <a16:creationId xmlns:a16="http://schemas.microsoft.com/office/drawing/2014/main" id="{C4E7F931-00FA-4CF4-A8CE-02B32576FCD6}"/>
                </a:ext>
              </a:extLst>
            </p:cNvPr>
            <p:cNvSpPr/>
            <p:nvPr/>
          </p:nvSpPr>
          <p:spPr>
            <a:xfrm>
              <a:off x="5510530" y="1208474"/>
              <a:ext cx="2160000" cy="420159"/>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ydrogen</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HY)</a:t>
              </a:r>
            </a:p>
          </p:txBody>
        </p:sp>
        <p:cxnSp>
          <p:nvCxnSpPr>
            <p:cNvPr id="24" name="Connector: Elbow 23">
              <a:extLst>
                <a:ext uri="{FF2B5EF4-FFF2-40B4-BE49-F238E27FC236}">
                  <a16:creationId xmlns:a16="http://schemas.microsoft.com/office/drawing/2014/main" id="{A285493E-B51E-4A84-8188-88C7B6F7B60F}"/>
                </a:ext>
              </a:extLst>
            </p:cNvPr>
            <p:cNvCxnSpPr>
              <a:cxnSpLocks/>
              <a:stCxn id="93" idx="3"/>
              <a:endCxn id="46" idx="0"/>
            </p:cNvCxnSpPr>
            <p:nvPr/>
          </p:nvCxnSpPr>
          <p:spPr>
            <a:xfrm>
              <a:off x="7670530" y="1418554"/>
              <a:ext cx="2316368" cy="39144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A85C7A62-1252-4A5C-9154-6A1616864812}"/>
                </a:ext>
              </a:extLst>
            </p:cNvPr>
            <p:cNvCxnSpPr>
              <a:cxnSpLocks/>
              <a:stCxn id="14" idx="0"/>
              <a:endCxn id="93" idx="1"/>
            </p:cNvCxnSpPr>
            <p:nvPr/>
          </p:nvCxnSpPr>
          <p:spPr>
            <a:xfrm rot="5400000" flipH="1" flipV="1">
              <a:off x="4161532" y="451184"/>
              <a:ext cx="381628" cy="2316368"/>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98DE3E1-AD0C-423C-8DFB-64905163FD4C}"/>
                </a:ext>
              </a:extLst>
            </p:cNvPr>
            <p:cNvCxnSpPr>
              <a:cxnSpLocks/>
              <a:stCxn id="93" idx="2"/>
              <a:endCxn id="15" idx="0"/>
            </p:cNvCxnSpPr>
            <p:nvPr/>
          </p:nvCxnSpPr>
          <p:spPr>
            <a:xfrm>
              <a:off x="6590530" y="1628633"/>
              <a:ext cx="0" cy="181689"/>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31"/>
          </p:nvPr>
        </p:nvSpPr>
        <p:spPr>
          <a:xfrm>
            <a:off x="381599" y="79401"/>
            <a:ext cx="872355" cy="184666"/>
          </a:xfrm>
        </p:spPr>
        <p:txBody>
          <a:bodyPr/>
          <a:lstStyle/>
          <a:p>
            <a:r>
              <a:rPr lang="en-GB"/>
              <a:t>	Appendix</a:t>
            </a:r>
          </a:p>
        </p:txBody>
      </p:sp>
      <p:sp>
        <p:nvSpPr>
          <p:cNvPr id="95" name="Oval 94">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II</a:t>
            </a:r>
          </a:p>
        </p:txBody>
      </p:sp>
    </p:spTree>
    <p:extLst>
      <p:ext uri="{BB962C8B-B14F-4D97-AF65-F5344CB8AC3E}">
        <p14:creationId xmlns:p14="http://schemas.microsoft.com/office/powerpoint/2010/main" val="8516877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B4302B-2C31-2ABC-9B4E-B49BC7A26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02B4302B-2C31-2ABC-9B4E-B49BC7A264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5FF1EDC5-7C8A-5307-ED76-FB25D4631DEF}"/>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3" name="Title 2">
            <a:extLst>
              <a:ext uri="{FF2B5EF4-FFF2-40B4-BE49-F238E27FC236}">
                <a16:creationId xmlns:a16="http://schemas.microsoft.com/office/drawing/2014/main" id="{21F35926-E83B-D990-BE0C-912B46091C30}"/>
              </a:ext>
            </a:extLst>
          </p:cNvPr>
          <p:cNvSpPr>
            <a:spLocks noGrp="1"/>
          </p:cNvSpPr>
          <p:nvPr>
            <p:ph type="title"/>
          </p:nvPr>
        </p:nvSpPr>
        <p:spPr/>
        <p:txBody>
          <a:bodyPr vert="horz"/>
          <a:lstStyle/>
          <a:p>
            <a:r>
              <a:rPr lang="en-GB"/>
              <a:t>Glossary</a:t>
            </a:r>
          </a:p>
        </p:txBody>
      </p:sp>
      <p:sp>
        <p:nvSpPr>
          <p:cNvPr id="12" name="Text Placeholder 11">
            <a:extLst>
              <a:ext uri="{FF2B5EF4-FFF2-40B4-BE49-F238E27FC236}">
                <a16:creationId xmlns:a16="http://schemas.microsoft.com/office/drawing/2014/main" id="{82B4B76B-1E9C-DC7A-F1FE-3141912A0C25}"/>
              </a:ext>
            </a:extLst>
          </p:cNvPr>
          <p:cNvSpPr>
            <a:spLocks noGrp="1"/>
          </p:cNvSpPr>
          <p:nvPr>
            <p:ph type="body" sz="quarter" idx="32"/>
          </p:nvPr>
        </p:nvSpPr>
        <p:spPr/>
        <p:txBody>
          <a:bodyPr/>
          <a:lstStyle/>
          <a:p>
            <a:endParaRPr lang="en-GB"/>
          </a:p>
        </p:txBody>
      </p:sp>
      <p:sp>
        <p:nvSpPr>
          <p:cNvPr id="11" name="Text Placeholder 10">
            <a:extLst>
              <a:ext uri="{FF2B5EF4-FFF2-40B4-BE49-F238E27FC236}">
                <a16:creationId xmlns:a16="http://schemas.microsoft.com/office/drawing/2014/main" id="{1CE2D436-B7F7-31C6-C5E6-CDA9DCD3E9BA}"/>
              </a:ext>
            </a:extLst>
          </p:cNvPr>
          <p:cNvSpPr>
            <a:spLocks noGrp="1"/>
          </p:cNvSpPr>
          <p:nvPr>
            <p:ph type="body" sz="quarter" idx="31"/>
          </p:nvPr>
        </p:nvSpPr>
        <p:spPr>
          <a:xfrm>
            <a:off x="381599" y="79401"/>
            <a:ext cx="872355" cy="184666"/>
          </a:xfrm>
        </p:spPr>
        <p:txBody>
          <a:bodyPr/>
          <a:lstStyle/>
          <a:p>
            <a:r>
              <a:rPr lang="en-GB"/>
              <a:t>	Appendix</a:t>
            </a:r>
          </a:p>
        </p:txBody>
      </p:sp>
      <p:sp>
        <p:nvSpPr>
          <p:cNvPr id="13" name="Rectangle 12">
            <a:extLst>
              <a:ext uri="{FF2B5EF4-FFF2-40B4-BE49-F238E27FC236}">
                <a16:creationId xmlns:a16="http://schemas.microsoft.com/office/drawing/2014/main" id="{48E072EF-0D47-81CB-7FDB-00F9664E99D2}"/>
              </a:ext>
            </a:extLst>
          </p:cNvPr>
          <p:cNvSpPr/>
          <p:nvPr/>
        </p:nvSpPr>
        <p:spPr>
          <a:xfrm>
            <a:off x="381000" y="1710172"/>
            <a:ext cx="5372100" cy="4342444"/>
          </a:xfrm>
          <a:prstGeom prst="rect">
            <a:avLst/>
          </a:prstGeom>
          <a:solidFill>
            <a:schemeClr val="accent3">
              <a:lumMod val="20000"/>
              <a:lumOff val="80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Ancillary services: </a:t>
            </a:r>
            <a:r>
              <a:rPr kumimoji="0" lang="en-GB" sz="1200" b="0" i="0" u="none" strike="noStrike" kern="1200" cap="none" spc="0" normalizeH="0" baseline="0" noProof="0">
                <a:ln>
                  <a:noFill/>
                </a:ln>
                <a:solidFill>
                  <a:srgbClr val="3C3C3B"/>
                </a:solidFill>
                <a:effectLst/>
                <a:uLnTx/>
                <a:uFillTx/>
                <a:latin typeface="Lato"/>
                <a:ea typeface="+mn-ea"/>
                <a:cs typeface="+mn-cs"/>
              </a:rPr>
              <a:t>functions that help grid operators maintain a reliable electricity system</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Battery duration:</a:t>
            </a:r>
            <a:r>
              <a:rPr kumimoji="0" lang="en-GB" sz="1200" b="0" i="0" u="none" strike="noStrike" kern="1200" cap="none" spc="0" normalizeH="0" baseline="0" noProof="0">
                <a:ln>
                  <a:noFill/>
                </a:ln>
                <a:solidFill>
                  <a:srgbClr val="3C3C3B"/>
                </a:solidFill>
                <a:effectLst/>
                <a:uLnTx/>
                <a:uFillTx/>
                <a:latin typeface="Lato"/>
                <a:ea typeface="+mn-ea"/>
                <a:cs typeface="+mn-cs"/>
              </a:rPr>
              <a:t> ratio of MWh to MW for the asset, in hours</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Battery degradation</a:t>
            </a:r>
            <a:r>
              <a:rPr kumimoji="0" lang="en-GB" sz="1200" b="0" i="0" u="none" strike="noStrike" kern="1200" cap="none" spc="0" normalizeH="0" baseline="0" noProof="0">
                <a:ln>
                  <a:noFill/>
                </a:ln>
                <a:solidFill>
                  <a:srgbClr val="3C3C3B"/>
                </a:solidFill>
                <a:effectLst/>
                <a:uLnTx/>
                <a:uFillTx/>
                <a:latin typeface="Lato"/>
                <a:ea typeface="+mn-ea"/>
                <a:cs typeface="+mn-cs"/>
              </a:rPr>
              <a:t>: decrease in storage capacity and depth of discharge of batteries with time and use</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Gross margins:</a:t>
            </a:r>
            <a:r>
              <a:rPr kumimoji="0" lang="en-GB" sz="1200" b="0" i="0" u="none" strike="noStrike" kern="1200" cap="none" spc="0" normalizeH="0" baseline="0" noProof="0">
                <a:ln>
                  <a:noFill/>
                </a:ln>
                <a:solidFill>
                  <a:srgbClr val="3C3C3B"/>
                </a:solidFill>
                <a:effectLst/>
                <a:uLnTx/>
                <a:uFillTx/>
                <a:latin typeface="Lato"/>
                <a:ea typeface="+mn-ea"/>
                <a:cs typeface="+mn-cs"/>
              </a:rPr>
              <a:t> net trading profit from buying and selling power in the wholesale market and ancillary services only; does not include any fixed charges, additional variable costs or benefits that may apply or other cashflows </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Inertia:</a:t>
            </a:r>
            <a:r>
              <a:rPr kumimoji="0" lang="en-GB" sz="1200" b="0" i="0" u="none" strike="noStrike" kern="1200" cap="none" spc="0" normalizeH="0" baseline="0" noProof="0">
                <a:ln>
                  <a:noFill/>
                </a:ln>
                <a:solidFill>
                  <a:srgbClr val="3C3C3B"/>
                </a:solidFill>
                <a:effectLst/>
                <a:uLnTx/>
                <a:uFillTx/>
                <a:latin typeface="Lato"/>
                <a:ea typeface="+mn-ea"/>
                <a:cs typeface="+mn-cs"/>
              </a:rPr>
              <a:t> Inertia in power systems refers to the energy stored in large synchronous generators, which gives them the tendency to remain rotating and historically has been a key source of grid reliability. </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Price spread:</a:t>
            </a:r>
            <a:r>
              <a:rPr kumimoji="0" lang="en-GB" sz="1200" b="0" i="0" u="none" strike="noStrike" kern="1200" cap="none" spc="0" normalizeH="0" baseline="0" noProof="0">
                <a:ln>
                  <a:noFill/>
                </a:ln>
                <a:solidFill>
                  <a:srgbClr val="3C3C3B"/>
                </a:solidFill>
                <a:effectLst/>
                <a:uLnTx/>
                <a:uFillTx/>
                <a:latin typeface="Lato"/>
                <a:ea typeface="+mn-ea"/>
                <a:cs typeface="+mn-cs"/>
              </a:rPr>
              <a:t> volume-weighted average captured discharging price minus charging price over a period</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Variable renewables</a:t>
            </a:r>
            <a:r>
              <a:rPr kumimoji="0" lang="en-GB" sz="1200" b="0" i="0" u="none" strike="noStrike" kern="1200" cap="none" spc="0" normalizeH="0" baseline="0" noProof="0">
                <a:ln>
                  <a:noFill/>
                </a:ln>
                <a:solidFill>
                  <a:srgbClr val="3C3C3B"/>
                </a:solidFill>
                <a:effectLst/>
                <a:uLnTx/>
                <a:uFillTx/>
                <a:latin typeface="Lato"/>
                <a:ea typeface="+mn-ea"/>
                <a:cs typeface="+mn-cs"/>
              </a:rPr>
              <a:t>: weather-dependent renewables i.e. wind and solar</a:t>
            </a:r>
          </a:p>
        </p:txBody>
      </p:sp>
      <p:sp>
        <p:nvSpPr>
          <p:cNvPr id="16" name="Text Placeholder 65">
            <a:extLst>
              <a:ext uri="{FF2B5EF4-FFF2-40B4-BE49-F238E27FC236}">
                <a16:creationId xmlns:a16="http://schemas.microsoft.com/office/drawing/2014/main" id="{7377F8E2-51FA-2CE9-854F-0662D232B655}"/>
              </a:ext>
            </a:extLst>
          </p:cNvPr>
          <p:cNvSpPr txBox="1">
            <a:spLocks/>
          </p:cNvSpPr>
          <p:nvPr/>
        </p:nvSpPr>
        <p:spPr>
          <a:xfrm>
            <a:off x="495300" y="1277840"/>
            <a:ext cx="5257800" cy="252000"/>
          </a:xfrm>
          <a:prstGeom prst="rect">
            <a:avLst/>
          </a:prstGeom>
          <a:solidFill>
            <a:schemeClr val="bg2"/>
          </a:solidFill>
        </p:spPr>
        <p:txBody>
          <a:bodyPr vert="horz" lIns="180000" tIns="0" rIns="0" bIns="0" rtlCol="0" anchor="ctr">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mn-lt"/>
                <a:ea typeface="Lato Black" panose="020F0502020204030203" pitchFamily="34" charset="0"/>
                <a:cs typeface="Lato Black"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rPr>
              <a:t>Key terms</a:t>
            </a:r>
          </a:p>
        </p:txBody>
      </p:sp>
      <p:sp>
        <p:nvSpPr>
          <p:cNvPr id="17" name="Text Placeholder 7">
            <a:extLst>
              <a:ext uri="{FF2B5EF4-FFF2-40B4-BE49-F238E27FC236}">
                <a16:creationId xmlns:a16="http://schemas.microsoft.com/office/drawing/2014/main" id="{5E5F3628-7FFE-EB97-D491-F6EDB4A06B9A}"/>
              </a:ext>
            </a:extLst>
          </p:cNvPr>
          <p:cNvSpPr txBox="1">
            <a:spLocks/>
          </p:cNvSpPr>
          <p:nvPr/>
        </p:nvSpPr>
        <p:spPr>
          <a:xfrm>
            <a:off x="381000" y="1279040"/>
            <a:ext cx="252000" cy="252413"/>
          </a:xfrm>
          <a:prstGeom prst="ellipse">
            <a:avLst/>
          </a:prstGeom>
          <a:solidFill>
            <a:schemeClr val="accent2"/>
          </a:solidFill>
        </p:spPr>
        <p:txBody>
          <a:bodyPr vert="horz" lIns="0" tIns="0" rIns="0" bIns="0" rtlCol="0" anchor="ctr" anchorCtr="0">
            <a:noAutofit/>
          </a:bodyPr>
          <a:lstStyle>
            <a:lvl1pPr marL="0" indent="0" algn="ctr" defTabSz="685783" rtl="0" eaLnBrk="1" latinLnBrk="0" hangingPunct="1">
              <a:lnSpc>
                <a:spcPct val="100000"/>
              </a:lnSpc>
              <a:spcBef>
                <a:spcPts val="750"/>
              </a:spcBef>
              <a:buFont typeface="Wingdings" panose="05000000000000000000" pitchFamily="2" charset="2"/>
              <a:buNone/>
              <a:defRPr sz="1200" b="1" kern="1200">
                <a:solidFill>
                  <a:schemeClr val="tx1"/>
                </a:solidFill>
                <a:latin typeface="+mn-lt"/>
                <a:ea typeface="+mn-ea"/>
                <a:cs typeface="+mn-cs"/>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A</a:t>
            </a:r>
          </a:p>
        </p:txBody>
      </p:sp>
      <p:sp>
        <p:nvSpPr>
          <p:cNvPr id="18" name="Rectangle 17">
            <a:extLst>
              <a:ext uri="{FF2B5EF4-FFF2-40B4-BE49-F238E27FC236}">
                <a16:creationId xmlns:a16="http://schemas.microsoft.com/office/drawing/2014/main" id="{7AB0721A-8C43-E2E3-8CBC-4F1E2CCE0FF8}"/>
              </a:ext>
            </a:extLst>
          </p:cNvPr>
          <p:cNvSpPr/>
          <p:nvPr/>
        </p:nvSpPr>
        <p:spPr>
          <a:xfrm>
            <a:off x="6447151" y="1719797"/>
            <a:ext cx="5372100" cy="4342444"/>
          </a:xfrm>
          <a:prstGeom prst="rect">
            <a:avLst/>
          </a:prstGeom>
          <a:solidFill>
            <a:schemeClr val="accent3">
              <a:lumMod val="20000"/>
              <a:lumOff val="80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BESS: </a:t>
            </a:r>
            <a:r>
              <a:rPr kumimoji="0" lang="en-GB" sz="1200" b="0" i="0" u="none" strike="noStrike" kern="1200" cap="none" spc="0" normalizeH="0" baseline="0" noProof="0">
                <a:ln>
                  <a:noFill/>
                </a:ln>
                <a:solidFill>
                  <a:srgbClr val="3C3C3B"/>
                </a:solidFill>
                <a:effectLst/>
                <a:uLnTx/>
                <a:uFillTx/>
                <a:latin typeface="Lato"/>
                <a:ea typeface="+mn-ea"/>
                <a:cs typeface="+mn-cs"/>
              </a:rPr>
              <a:t>Battery Energy Storage System</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CAPEX: </a:t>
            </a:r>
            <a:r>
              <a:rPr kumimoji="0" lang="en-GB" sz="1200" b="0" i="0" u="none" strike="noStrike" kern="1200" cap="none" spc="0" normalizeH="0" baseline="0" noProof="0">
                <a:ln>
                  <a:noFill/>
                </a:ln>
                <a:solidFill>
                  <a:srgbClr val="3C3C3B"/>
                </a:solidFill>
                <a:effectLst/>
                <a:uLnTx/>
                <a:uFillTx/>
                <a:latin typeface="Lato"/>
                <a:ea typeface="+mn-ea"/>
                <a:cs typeface="+mn-cs"/>
              </a:rPr>
              <a:t>Capital expenditure</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CCS</a:t>
            </a:r>
            <a:r>
              <a:rPr kumimoji="0" lang="en-GB" sz="1200" b="0" i="0" u="none" strike="noStrike" kern="1200" cap="none" spc="0" normalizeH="0" baseline="0" noProof="0">
                <a:ln>
                  <a:noFill/>
                </a:ln>
                <a:solidFill>
                  <a:srgbClr val="3C3C3B"/>
                </a:solidFill>
                <a:effectLst/>
                <a:uLnTx/>
                <a:uFillTx/>
                <a:latin typeface="Lato"/>
                <a:ea typeface="+mn-ea"/>
                <a:cs typeface="+mn-cs"/>
              </a:rPr>
              <a:t>: Carbon, capture and storage</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DS3</a:t>
            </a:r>
            <a:r>
              <a:rPr kumimoji="0" lang="en-GB" sz="1200" b="0" i="0" u="none" strike="noStrike" kern="1200" cap="none" spc="0" normalizeH="0" baseline="0" noProof="0">
                <a:ln>
                  <a:noFill/>
                </a:ln>
                <a:solidFill>
                  <a:srgbClr val="3C3C3B"/>
                </a:solidFill>
                <a:effectLst/>
                <a:uLnTx/>
                <a:uFillTx/>
                <a:latin typeface="Lato"/>
                <a:ea typeface="+mn-ea"/>
                <a:cs typeface="+mn-cs"/>
              </a:rPr>
              <a:t>: Delivering a Secure, Sustainable Electricity System</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FCR(-D/-N)</a:t>
            </a:r>
            <a:r>
              <a:rPr kumimoji="0" lang="en-GB" sz="1200" b="0" i="0" u="none" strike="noStrike" kern="1200" cap="none" spc="0" normalizeH="0" baseline="0" noProof="0">
                <a:ln>
                  <a:noFill/>
                </a:ln>
                <a:solidFill>
                  <a:srgbClr val="3C3C3B"/>
                </a:solidFill>
                <a:effectLst/>
                <a:uLnTx/>
                <a:uFillTx/>
                <a:latin typeface="Lato"/>
                <a:ea typeface="+mn-ea"/>
                <a:cs typeface="+mn-cs"/>
              </a:rPr>
              <a:t>: Frequency containment reserves(-disturbance/normal)</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GW(h): </a:t>
            </a:r>
            <a:r>
              <a:rPr kumimoji="0" lang="en-GB" sz="1200" b="0" i="0" u="none" strike="noStrike" kern="1200" cap="none" spc="0" normalizeH="0" baseline="0" noProof="0">
                <a:ln>
                  <a:noFill/>
                </a:ln>
                <a:solidFill>
                  <a:srgbClr val="3C3C3B"/>
                </a:solidFill>
                <a:effectLst/>
                <a:uLnTx/>
                <a:uFillTx/>
                <a:latin typeface="Lato"/>
                <a:ea typeface="+mn-ea"/>
                <a:cs typeface="+mn-cs"/>
              </a:rPr>
              <a:t>Gigawatt (hour)</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IRRs:</a:t>
            </a:r>
            <a:r>
              <a:rPr kumimoji="0" lang="en-GB" sz="1200" b="0" i="0" u="none" strike="noStrike" kern="1200" cap="none" spc="0" normalizeH="0" baseline="0" noProof="0">
                <a:ln>
                  <a:noFill/>
                </a:ln>
                <a:solidFill>
                  <a:srgbClr val="3C3C3B"/>
                </a:solidFill>
                <a:effectLst/>
                <a:uLnTx/>
                <a:uFillTx/>
                <a:latin typeface="Lato"/>
                <a:ea typeface="+mn-ea"/>
                <a:cs typeface="+mn-cs"/>
              </a:rPr>
              <a:t> internal rate of return</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I-SEM: </a:t>
            </a:r>
            <a:r>
              <a:rPr kumimoji="0" lang="en-GB" sz="1200" b="0" i="0" u="none" strike="noStrike" kern="1200" cap="none" spc="0" normalizeH="0" baseline="0" noProof="0">
                <a:ln>
                  <a:noFill/>
                </a:ln>
                <a:solidFill>
                  <a:srgbClr val="3C3C3B"/>
                </a:solidFill>
                <a:effectLst/>
                <a:uLnTx/>
                <a:uFillTx/>
                <a:latin typeface="Lato"/>
                <a:ea typeface="+mn-ea"/>
                <a:cs typeface="+mn-cs"/>
              </a:rPr>
              <a:t>Integrated Single Electricity Market </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MSD</a:t>
            </a:r>
            <a:r>
              <a:rPr kumimoji="0" lang="en-GB" sz="1200" b="0" i="0" u="none" strike="noStrike" kern="1200" cap="none" spc="0" normalizeH="0" baseline="0" noProof="0">
                <a:ln>
                  <a:noFill/>
                </a:ln>
                <a:solidFill>
                  <a:srgbClr val="3C3C3B"/>
                </a:solidFill>
                <a:effectLst/>
                <a:uLnTx/>
                <a:uFillTx/>
                <a:latin typeface="Lato"/>
                <a:ea typeface="+mn-ea"/>
                <a:cs typeface="+mn-cs"/>
              </a:rPr>
              <a:t>: Mercato per il </a:t>
            </a:r>
            <a:r>
              <a:rPr kumimoji="0" lang="en-GB" sz="1200" b="0" i="0" u="none" strike="noStrike" kern="1200" cap="none" spc="0" normalizeH="0" baseline="0" noProof="0" err="1">
                <a:ln>
                  <a:noFill/>
                </a:ln>
                <a:solidFill>
                  <a:srgbClr val="3C3C3B"/>
                </a:solidFill>
                <a:effectLst/>
                <a:uLnTx/>
                <a:uFillTx/>
                <a:latin typeface="Lato"/>
                <a:ea typeface="+mn-ea"/>
                <a:cs typeface="+mn-cs"/>
              </a:rPr>
              <a:t>Servizio</a:t>
            </a:r>
            <a:r>
              <a:rPr kumimoji="0" lang="en-GB" sz="1200" b="0" i="0" u="none" strike="noStrike" kern="1200" cap="none" spc="0" normalizeH="0" baseline="0" noProof="0">
                <a:ln>
                  <a:noFill/>
                </a:ln>
                <a:solidFill>
                  <a:srgbClr val="3C3C3B"/>
                </a:solidFill>
                <a:effectLst/>
                <a:uLnTx/>
                <a:uFillTx/>
                <a:latin typeface="Lato"/>
                <a:ea typeface="+mn-ea"/>
                <a:cs typeface="+mn-cs"/>
              </a:rPr>
              <a:t> di </a:t>
            </a:r>
            <a:r>
              <a:rPr kumimoji="0" lang="en-GB" sz="1200" b="0" i="0" u="none" strike="noStrike" kern="1200" cap="none" spc="0" normalizeH="0" baseline="0" noProof="0" err="1">
                <a:ln>
                  <a:noFill/>
                </a:ln>
                <a:solidFill>
                  <a:srgbClr val="3C3C3B"/>
                </a:solidFill>
                <a:effectLst/>
                <a:uLnTx/>
                <a:uFillTx/>
                <a:latin typeface="Lato"/>
                <a:ea typeface="+mn-ea"/>
                <a:cs typeface="+mn-cs"/>
              </a:rPr>
              <a:t>Dispacciamento</a:t>
            </a:r>
            <a:r>
              <a:rPr kumimoji="0" lang="en-GB" sz="1200" b="0" i="0" u="none" strike="noStrike" kern="1200" cap="none" spc="0" normalizeH="0" baseline="0" noProof="0">
                <a:ln>
                  <a:noFill/>
                </a:ln>
                <a:solidFill>
                  <a:srgbClr val="3C3C3B"/>
                </a:solidFill>
                <a:effectLst/>
                <a:uLnTx/>
                <a:uFillTx/>
                <a:latin typeface="Lato"/>
                <a:ea typeface="+mn-ea"/>
                <a:cs typeface="+mn-cs"/>
              </a:rPr>
              <a:t> (Italian Ancillary services market)</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MW(h): </a:t>
            </a:r>
            <a:r>
              <a:rPr kumimoji="0" lang="en-GB" sz="1200" b="0" i="0" u="none" strike="noStrike" kern="1200" cap="none" spc="0" normalizeH="0" baseline="0" noProof="0">
                <a:ln>
                  <a:noFill/>
                </a:ln>
                <a:solidFill>
                  <a:srgbClr val="3C3C3B"/>
                </a:solidFill>
                <a:effectLst/>
                <a:uLnTx/>
                <a:uFillTx/>
                <a:latin typeface="Lato"/>
                <a:ea typeface="+mn-ea"/>
                <a:cs typeface="+mn-cs"/>
              </a:rPr>
              <a:t>Megawatt (hour)</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NPV</a:t>
            </a:r>
            <a:r>
              <a:rPr kumimoji="0" lang="en-GB" sz="1200" b="0" i="0" u="none" strike="noStrike" kern="1200" cap="none" spc="0" normalizeH="0" baseline="0" noProof="0">
                <a:ln>
                  <a:noFill/>
                </a:ln>
                <a:solidFill>
                  <a:srgbClr val="3C3C3B"/>
                </a:solidFill>
                <a:effectLst/>
                <a:uLnTx/>
                <a:uFillTx/>
                <a:latin typeface="Lato"/>
                <a:ea typeface="+mn-ea"/>
                <a:cs typeface="+mn-cs"/>
              </a:rPr>
              <a:t>: Net Present Value</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OEM</a:t>
            </a:r>
            <a:r>
              <a:rPr kumimoji="0" lang="en-GB" sz="1200" b="0" i="0" u="none" strike="noStrike" kern="1200" cap="none" spc="0" normalizeH="0" baseline="0" noProof="0">
                <a:ln>
                  <a:noFill/>
                </a:ln>
                <a:solidFill>
                  <a:srgbClr val="3C3C3B"/>
                </a:solidFill>
                <a:effectLst/>
                <a:uLnTx/>
                <a:uFillTx/>
                <a:latin typeface="Lato"/>
                <a:ea typeface="+mn-ea"/>
                <a:cs typeface="+mn-cs"/>
              </a:rPr>
              <a:t>: original equipment manufacturer</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PICASSO: </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mn-ea"/>
                <a:cs typeface="+mn-cs"/>
              </a:rPr>
              <a:t>The Platform for the International Coordination of Automated Frequency Restoration and Stable System Operation</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mn-ea"/>
                <a:cs typeface="+mn-cs"/>
              </a:rPr>
              <a:t>RES</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mn-ea"/>
                <a:cs typeface="+mn-cs"/>
              </a:rPr>
              <a:t>: Renewable energy systems</a:t>
            </a:r>
          </a:p>
          <a:p>
            <a:pPr marL="182880" marR="0" lvl="0" indent="-182880" algn="just"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mn-ea"/>
                <a:cs typeface="+mn-cs"/>
              </a:rPr>
              <a:t>TW(h):</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mn-ea"/>
                <a:cs typeface="+mn-cs"/>
              </a:rPr>
              <a:t> Terawatt (hour)</a:t>
            </a:r>
          </a:p>
        </p:txBody>
      </p:sp>
      <p:sp>
        <p:nvSpPr>
          <p:cNvPr id="19" name="Text Placeholder 65">
            <a:extLst>
              <a:ext uri="{FF2B5EF4-FFF2-40B4-BE49-F238E27FC236}">
                <a16:creationId xmlns:a16="http://schemas.microsoft.com/office/drawing/2014/main" id="{4CC353A0-68C4-FC04-8B73-58D2FC0BE087}"/>
              </a:ext>
            </a:extLst>
          </p:cNvPr>
          <p:cNvSpPr txBox="1">
            <a:spLocks/>
          </p:cNvSpPr>
          <p:nvPr/>
        </p:nvSpPr>
        <p:spPr>
          <a:xfrm>
            <a:off x="6561451" y="1277840"/>
            <a:ext cx="5257800" cy="252000"/>
          </a:xfrm>
          <a:prstGeom prst="rect">
            <a:avLst/>
          </a:prstGeom>
          <a:solidFill>
            <a:schemeClr val="bg2"/>
          </a:solidFill>
        </p:spPr>
        <p:txBody>
          <a:bodyPr vert="horz" lIns="180000" tIns="0" rIns="0" bIns="0" rtlCol="0" anchor="ctr">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mn-lt"/>
                <a:ea typeface="Lato Black" panose="020F0502020204030203" pitchFamily="34" charset="0"/>
                <a:cs typeface="Lato Black"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rPr>
              <a:t>Abbreviations</a:t>
            </a:r>
          </a:p>
        </p:txBody>
      </p:sp>
      <p:sp>
        <p:nvSpPr>
          <p:cNvPr id="20" name="Text Placeholder 7">
            <a:extLst>
              <a:ext uri="{FF2B5EF4-FFF2-40B4-BE49-F238E27FC236}">
                <a16:creationId xmlns:a16="http://schemas.microsoft.com/office/drawing/2014/main" id="{AEE0B586-EDB9-90A0-6DF3-3CF121502814}"/>
              </a:ext>
            </a:extLst>
          </p:cNvPr>
          <p:cNvSpPr txBox="1">
            <a:spLocks/>
          </p:cNvSpPr>
          <p:nvPr/>
        </p:nvSpPr>
        <p:spPr>
          <a:xfrm>
            <a:off x="6447151" y="1279040"/>
            <a:ext cx="252000" cy="252413"/>
          </a:xfrm>
          <a:prstGeom prst="ellipse">
            <a:avLst/>
          </a:prstGeom>
          <a:solidFill>
            <a:schemeClr val="accent2"/>
          </a:solidFill>
        </p:spPr>
        <p:txBody>
          <a:bodyPr vert="horz" lIns="0" tIns="0" rIns="0" bIns="0" rtlCol="0" anchor="ctr" anchorCtr="0">
            <a:noAutofit/>
          </a:bodyPr>
          <a:lstStyle>
            <a:lvl1pPr marL="0" indent="0" algn="ctr" defTabSz="685783" rtl="0" eaLnBrk="1" latinLnBrk="0" hangingPunct="1">
              <a:lnSpc>
                <a:spcPct val="100000"/>
              </a:lnSpc>
              <a:spcBef>
                <a:spcPts val="750"/>
              </a:spcBef>
              <a:buFont typeface="Wingdings" panose="05000000000000000000" pitchFamily="2" charset="2"/>
              <a:buNone/>
              <a:defRPr sz="1200" b="1" kern="1200">
                <a:solidFill>
                  <a:schemeClr val="tx1"/>
                </a:solidFill>
                <a:latin typeface="+mn-lt"/>
                <a:ea typeface="+mn-ea"/>
                <a:cs typeface="+mn-cs"/>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B</a:t>
            </a:r>
          </a:p>
        </p:txBody>
      </p:sp>
      <p:sp>
        <p:nvSpPr>
          <p:cNvPr id="14" name="Oval 1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III</a:t>
            </a:r>
          </a:p>
        </p:txBody>
      </p:sp>
    </p:spTree>
    <p:extLst>
      <p:ext uri="{BB962C8B-B14F-4D97-AF65-F5344CB8AC3E}">
        <p14:creationId xmlns:p14="http://schemas.microsoft.com/office/powerpoint/2010/main" val="389691205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1083516-2429-C9D7-5BBC-88A92DD6B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think-cell data - do not delete" hidden="1">
                        <a:extLst>
                          <a:ext uri="{FF2B5EF4-FFF2-40B4-BE49-F238E27FC236}">
                            <a16:creationId xmlns:a16="http://schemas.microsoft.com/office/drawing/2014/main" id="{31083516-2429-C9D7-5BBC-88A92DD6B2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AA4BDDD8-4AF8-ED07-4A66-8E18FD3F9E3D}"/>
              </a:ext>
            </a:extLst>
          </p:cNvPr>
          <p:cNvSpPr>
            <a:spLocks noGrp="1"/>
          </p:cNvSpPr>
          <p:nvPr>
            <p:ph type="body" sz="quarter" idx="36"/>
          </p:nvPr>
        </p:nvSpPr>
        <p:spPr/>
        <p:txBody>
          <a:bodyPr/>
          <a:lstStyle/>
          <a:p>
            <a:pPr fontAlgn="base">
              <a:spcAft>
                <a:spcPct val="0"/>
              </a:spcAft>
              <a:buClr>
                <a:srgbClr val="000000"/>
              </a:buClr>
              <a:buSzPct val="100000"/>
            </a:pPr>
            <a:r>
              <a:rPr lang="en-GB" sz="1200" b="1">
                <a:solidFill>
                  <a:schemeClr val="bg1"/>
                </a:solidFill>
                <a:latin typeface="+mj-lt"/>
                <a:ea typeface="Lato" panose="020F0502020204030203" pitchFamily="34" charset="0"/>
                <a:cs typeface="Lato" panose="020F0502020204030203" pitchFamily="34" charset="0"/>
                <a:sym typeface="Lato" panose="020F0502020204030203" pitchFamily="34" charset="0"/>
              </a:rPr>
              <a:t>Publication</a:t>
            </a:r>
          </a:p>
          <a:p>
            <a:pPr fontAlgn="base">
              <a:spcAft>
                <a:spcPct val="0"/>
              </a:spcAft>
              <a:buClr>
                <a:srgbClr val="000000"/>
              </a:buClr>
              <a:buSzPct val="100000"/>
            </a:pPr>
            <a:r>
              <a:rPr lang="en-GB" b="0">
                <a:latin typeface="+mj-lt"/>
              </a:rPr>
              <a:t>European Battery Market Attractiveness Report</a:t>
            </a:r>
            <a:endParaRPr lang="en-GB" sz="600" b="0">
              <a:solidFill>
                <a:schemeClr val="bg1"/>
              </a:solidFill>
              <a:latin typeface="+mj-lt"/>
              <a:ea typeface="Lato" panose="020F0502020204030203" pitchFamily="34" charset="0"/>
              <a:cs typeface="Lato" panose="020F0502020204030203" pitchFamily="34" charset="0"/>
              <a:sym typeface="Lato" panose="020F0502020204030203" pitchFamily="34" charset="0"/>
            </a:endParaRPr>
          </a:p>
          <a:p>
            <a:pPr fontAlgn="base">
              <a:spcAft>
                <a:spcPct val="0"/>
              </a:spcAft>
              <a:buClr>
                <a:srgbClr val="000000"/>
              </a:buClr>
              <a:buSzPct val="100000"/>
            </a:pPr>
            <a:r>
              <a:rPr lang="en-GB" sz="1200" b="1">
                <a:solidFill>
                  <a:schemeClr val="bg1"/>
                </a:solidFill>
                <a:latin typeface="+mj-lt"/>
                <a:ea typeface="Lato" panose="020F0502020204030203" pitchFamily="34" charset="0"/>
                <a:cs typeface="Lato" panose="020F0502020204030203" pitchFamily="34" charset="0"/>
                <a:sym typeface="Lato" panose="020F0502020204030203" pitchFamily="34" charset="0"/>
              </a:rPr>
              <a:t>Date</a:t>
            </a:r>
          </a:p>
          <a:p>
            <a:pPr fontAlgn="base">
              <a:spcAft>
                <a:spcPct val="0"/>
              </a:spcAft>
              <a:buClr>
                <a:srgbClr val="000000"/>
              </a:buClr>
              <a:buSzPct val="100000"/>
            </a:pP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February 2024</a:t>
            </a:r>
          </a:p>
          <a:p>
            <a:pPr fontAlgn="base">
              <a:spcAft>
                <a:spcPct val="0"/>
              </a:spcAft>
              <a:buClr>
                <a:srgbClr val="000000"/>
              </a:buClr>
              <a:buSzPct val="100000"/>
            </a:pPr>
            <a:endParaRPr lang="en-GB" sz="6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a:p>
            <a:pPr fontAlgn="base">
              <a:spcAft>
                <a:spcPct val="0"/>
              </a:spcAft>
              <a:buClr>
                <a:srgbClr val="000000"/>
              </a:buClr>
              <a:buSzPct val="100000"/>
            </a:pPr>
            <a:endParaRPr lang="en-GB" sz="1200" b="1">
              <a:solidFill>
                <a:schemeClr val="bg1"/>
              </a:solidFill>
              <a:latin typeface="+mj-lt"/>
              <a:ea typeface="Lato" panose="020F0502020204030203" pitchFamily="34" charset="0"/>
              <a:cs typeface="Lato" panose="020F0502020204030203" pitchFamily="34" charset="0"/>
              <a:sym typeface="Lato" panose="020F0502020204030203" pitchFamily="34" charset="0"/>
            </a:endParaRPr>
          </a:p>
          <a:p>
            <a:pPr fontAlgn="base">
              <a:spcAft>
                <a:spcPct val="0"/>
              </a:spcAft>
              <a:buClr>
                <a:srgbClr val="000000"/>
              </a:buClr>
              <a:buSzPct val="100000"/>
            </a:pPr>
            <a:r>
              <a:rPr lang="en-GB" sz="1200" b="1">
                <a:solidFill>
                  <a:schemeClr val="bg1"/>
                </a:solidFill>
                <a:latin typeface="+mj-lt"/>
                <a:ea typeface="Lato" panose="020F0502020204030203" pitchFamily="34" charset="0"/>
                <a:cs typeface="Lato" panose="020F0502020204030203" pitchFamily="34" charset="0"/>
                <a:sym typeface="Lato" panose="020F0502020204030203" pitchFamily="34" charset="0"/>
              </a:rPr>
              <a:t>Prepared by</a:t>
            </a:r>
            <a:endParaRPr lang="en-GB" sz="12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a:p>
            <a:pPr fontAlgn="base">
              <a:spcAft>
                <a:spcPct val="0"/>
              </a:spcAft>
              <a:buClr>
                <a:srgbClr val="000000"/>
              </a:buClr>
              <a:buSzPct val="100000"/>
            </a:pPr>
            <a:r>
              <a:rPr lang="en-GB" b="0">
                <a:latin typeface="+mj-lt"/>
              </a:rPr>
              <a:t>Gedian Wang</a:t>
            </a:r>
          </a:p>
          <a:p>
            <a:pPr fontAlgn="base">
              <a:spcAft>
                <a:spcPct val="0"/>
              </a:spcAft>
              <a:buClr>
                <a:srgbClr val="000000"/>
              </a:buClr>
              <a:buSzPct val="100000"/>
            </a:pPr>
            <a:r>
              <a:rPr lang="en-GB" b="0">
                <a:latin typeface="+mj-lt"/>
              </a:rPr>
              <a:t>(</a:t>
            </a:r>
            <a:r>
              <a:rPr lang="en-GB" b="0" u="sng">
                <a:latin typeface="+mj-lt"/>
              </a:rPr>
              <a:t>Gedian.wang@auroraer.com</a:t>
            </a:r>
            <a:r>
              <a:rPr lang="en-GB" b="0">
                <a:latin typeface="+mj-lt"/>
              </a:rPr>
              <a:t>)</a:t>
            </a:r>
          </a:p>
          <a:p>
            <a:pPr fontAlgn="base">
              <a:spcAft>
                <a:spcPct val="0"/>
              </a:spcAft>
              <a:buClr>
                <a:srgbClr val="000000"/>
              </a:buClr>
              <a:buSzPct val="100000"/>
            </a:pP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Aulia Rahmayanti</a:t>
            </a:r>
          </a:p>
          <a:p>
            <a:pPr fontAlgn="base">
              <a:spcAft>
                <a:spcPct val="0"/>
              </a:spcAft>
              <a:buClr>
                <a:srgbClr val="000000"/>
              </a:buClr>
              <a:buSzPct val="100000"/>
            </a:pPr>
            <a:r>
              <a:rPr lang="en-GB" b="0">
                <a:latin typeface="+mj-lt"/>
              </a:rPr>
              <a:t>(</a:t>
            </a:r>
            <a:r>
              <a:rPr lang="en-GB" b="0" u="sng">
                <a:latin typeface="+mj-lt"/>
              </a:rPr>
              <a:t>Aulia.rahmayanti@auroraer.com</a:t>
            </a:r>
            <a:r>
              <a:rPr lang="en-GB" b="0">
                <a:latin typeface="+mj-lt"/>
              </a:rPr>
              <a:t>)</a:t>
            </a:r>
            <a:endPar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endParaRPr>
          </a:p>
          <a:p>
            <a:pPr fontAlgn="base">
              <a:spcAft>
                <a:spcPct val="0"/>
              </a:spcAft>
              <a:buClr>
                <a:srgbClr val="000000"/>
              </a:buClr>
              <a:buSzPct val="100000"/>
            </a:pP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Guillermo Rios</a:t>
            </a:r>
          </a:p>
          <a:p>
            <a:pPr fontAlgn="base">
              <a:spcAft>
                <a:spcPct val="0"/>
              </a:spcAft>
              <a:buClr>
                <a:srgbClr val="000000"/>
              </a:buClr>
              <a:buSzPct val="100000"/>
            </a:pPr>
            <a:r>
              <a:rPr lang="en-GB" b="0" kern="1200">
                <a:latin typeface="+mj-lt"/>
                <a:ea typeface="+mn-ea"/>
                <a:cs typeface="+mn-cs"/>
              </a:rPr>
              <a:t>(</a:t>
            </a:r>
            <a:r>
              <a:rPr lang="en-GB" b="0" u="sng">
                <a:latin typeface="+mj-lt"/>
                <a:ea typeface="+mn-ea"/>
                <a:cs typeface="+mn-cs"/>
              </a:rPr>
              <a:t>G</a:t>
            </a:r>
            <a:r>
              <a:rPr lang="en-GB" b="0" u="sng" kern="1200">
                <a:latin typeface="+mj-lt"/>
                <a:ea typeface="+mn-ea"/>
                <a:cs typeface="+mn-cs"/>
              </a:rPr>
              <a:t>uillermo.riospavia@auroraer.com</a:t>
            </a:r>
            <a:r>
              <a:rPr lang="en-GB" b="0" kern="1200">
                <a:latin typeface="+mj-lt"/>
                <a:ea typeface="+mn-ea"/>
                <a:cs typeface="+mn-cs"/>
              </a:rPr>
              <a:t>)</a:t>
            </a:r>
            <a:br>
              <a:rPr lang="en-GB" sz="1200" kern="1200">
                <a:solidFill>
                  <a:schemeClr val="bg1"/>
                </a:solidFill>
                <a:latin typeface="+mj-lt"/>
                <a:ea typeface="+mn-ea"/>
                <a:cs typeface="+mn-cs"/>
              </a:rPr>
            </a:br>
            <a:endParaRPr lang="en-GB" sz="1200" kern="1200">
              <a:solidFill>
                <a:schemeClr val="bg1"/>
              </a:solidFill>
              <a:latin typeface="+mj-lt"/>
              <a:ea typeface="+mn-ea"/>
              <a:cs typeface="+mn-cs"/>
            </a:endParaRPr>
          </a:p>
          <a:p>
            <a:pPr fontAlgn="base">
              <a:spcAft>
                <a:spcPct val="0"/>
              </a:spcAft>
              <a:buClr>
                <a:srgbClr val="000000"/>
              </a:buClr>
              <a:buSzPct val="100000"/>
            </a:pPr>
            <a:endParaRPr lang="en-GB" sz="6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a:p>
            <a:pPr fontAlgn="base">
              <a:spcAft>
                <a:spcPct val="0"/>
              </a:spcAft>
              <a:buClr>
                <a:srgbClr val="000000"/>
              </a:buClr>
              <a:buSzPct val="100000"/>
            </a:pPr>
            <a:r>
              <a:rPr lang="en-GB" sz="1200" b="1">
                <a:solidFill>
                  <a:schemeClr val="bg1"/>
                </a:solidFill>
                <a:latin typeface="+mj-lt"/>
                <a:ea typeface="Lato" panose="020F0502020204030203" pitchFamily="34" charset="0"/>
                <a:cs typeface="Lato" panose="020F0502020204030203" pitchFamily="34" charset="0"/>
                <a:sym typeface="Lato" panose="020F0502020204030203" pitchFamily="34" charset="0"/>
              </a:rPr>
              <a:t>Approved by</a:t>
            </a:r>
          </a:p>
          <a:p>
            <a:pPr fontAlgn="base">
              <a:spcAft>
                <a:spcPct val="0"/>
              </a:spcAft>
              <a:buClr>
                <a:srgbClr val="000000"/>
              </a:buClr>
              <a:buSzPct val="100000"/>
            </a:pP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Ryan Alexander</a:t>
            </a:r>
            <a:b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b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a:t>
            </a:r>
            <a:r>
              <a:rPr lang="en-GB" sz="1200" b="0" u="sng">
                <a:solidFill>
                  <a:schemeClr val="bg1"/>
                </a:solidFill>
                <a:latin typeface="+mj-lt"/>
                <a:ea typeface="Lato" panose="020F0502020204030203" pitchFamily="34" charset="0"/>
                <a:cs typeface="Lato" panose="020F0502020204030203" pitchFamily="34" charset="0"/>
                <a:sym typeface="Lato" panose="020F0502020204030203" pitchFamily="34" charset="0"/>
              </a:rPr>
              <a:t>R</a:t>
            </a:r>
            <a:r>
              <a:rPr lang="en-GB" b="0" u="sng">
                <a:latin typeface="+mj-lt"/>
              </a:rPr>
              <a:t>yan.alexander</a:t>
            </a:r>
            <a:r>
              <a:rPr lang="en-GB" sz="1200" b="0" u="sng">
                <a:solidFill>
                  <a:schemeClr val="bg1"/>
                </a:solidFill>
                <a:latin typeface="+mj-lt"/>
                <a:ea typeface="Lato" panose="020F0502020204030203" pitchFamily="34" charset="0"/>
                <a:cs typeface="Lato" panose="020F0502020204030203" pitchFamily="34" charset="0"/>
                <a:sym typeface="Lato" panose="020F0502020204030203" pitchFamily="34" charset="0"/>
              </a:rPr>
              <a:t>@auroraer.com</a:t>
            </a: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a:t>
            </a:r>
          </a:p>
          <a:p>
            <a:pPr fontAlgn="base">
              <a:spcAft>
                <a:spcPct val="0"/>
              </a:spcAft>
              <a:buClr>
                <a:srgbClr val="000000"/>
              </a:buClr>
              <a:buSzPct val="100000"/>
            </a:pP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Eva Zimmerman</a:t>
            </a:r>
          </a:p>
          <a:p>
            <a:pPr fontAlgn="base">
              <a:spcAft>
                <a:spcPct val="0"/>
              </a:spcAft>
              <a:buClr>
                <a:srgbClr val="000000"/>
              </a:buClr>
              <a:buSzPct val="100000"/>
            </a:pPr>
            <a:r>
              <a:rPr lang="en-GB" b="0">
                <a:latin typeface="+mj-lt"/>
              </a:rPr>
              <a:t>(</a:t>
            </a:r>
            <a:r>
              <a:rPr lang="en-GB" b="0">
                <a:latin typeface="+mj-lt"/>
                <a:hlinkClick r:id="rId5">
                  <a:extLst>
                    <a:ext uri="{A12FA001-AC4F-418D-AE19-62706E023703}">
                      <ahyp:hlinkClr xmlns:ahyp="http://schemas.microsoft.com/office/drawing/2018/hyperlinkcolor" val="tx"/>
                    </a:ext>
                  </a:extLst>
                </a:hlinkClick>
              </a:rPr>
              <a:t>Eva.zimmerman@auroraer.com</a:t>
            </a:r>
            <a:r>
              <a:rPr lang="en-GB" b="0">
                <a:latin typeface="+mj-lt"/>
              </a:rPr>
              <a:t>)</a:t>
            </a:r>
          </a:p>
          <a:p>
            <a:pPr fontAlgn="base">
              <a:spcAft>
                <a:spcPct val="0"/>
              </a:spcAft>
              <a:buClr>
                <a:srgbClr val="000000"/>
              </a:buClr>
              <a:buSzPct val="100000"/>
            </a:pP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Richard Howard</a:t>
            </a:r>
          </a:p>
          <a:p>
            <a:pPr fontAlgn="base">
              <a:spcAft>
                <a:spcPct val="0"/>
              </a:spcAft>
              <a:buClr>
                <a:srgbClr val="000000"/>
              </a:buClr>
              <a:buSzPct val="100000"/>
            </a:pPr>
            <a:r>
              <a:rPr lang="en-GB" b="0">
                <a:latin typeface="+mj-lt"/>
              </a:rPr>
              <a:t>(</a:t>
            </a:r>
            <a:r>
              <a:rPr lang="en-GB" b="0" u="sng">
                <a:latin typeface="+mj-lt"/>
              </a:rPr>
              <a:t>R</a:t>
            </a: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hlinkClick r:id="rId6">
                  <a:extLst>
                    <a:ext uri="{A12FA001-AC4F-418D-AE19-62706E023703}">
                      <ahyp:hlinkClr xmlns:ahyp="http://schemas.microsoft.com/office/drawing/2018/hyperlinkcolor" val="tx"/>
                    </a:ext>
                  </a:extLst>
                </a:hlinkClick>
              </a:rPr>
              <a:t>ichard.howard@auroraer.com</a:t>
            </a:r>
            <a:r>
              <a:rPr lang="en-GB" sz="1200" b="0">
                <a:solidFill>
                  <a:schemeClr val="bg1"/>
                </a:solidFill>
                <a:latin typeface="+mj-lt"/>
                <a:ea typeface="Lato" panose="020F0502020204030203" pitchFamily="34" charset="0"/>
                <a:cs typeface="Lato" panose="020F0502020204030203" pitchFamily="34" charset="0"/>
                <a:sym typeface="Lato" panose="020F0502020204030203" pitchFamily="34" charset="0"/>
              </a:rPr>
              <a:t>) </a:t>
            </a:r>
          </a:p>
          <a:p>
            <a:endParaRPr lang="en-GB"/>
          </a:p>
        </p:txBody>
      </p:sp>
    </p:spTree>
    <p:extLst>
      <p:ext uri="{BB962C8B-B14F-4D97-AF65-F5344CB8AC3E}">
        <p14:creationId xmlns:p14="http://schemas.microsoft.com/office/powerpoint/2010/main" val="51994866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22510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E69CE6-A077-4331-9700-35F6304FA5F3}"/>
              </a:ext>
            </a:extLst>
          </p:cNvPr>
          <p:cNvGraphicFramePr>
            <a:graphicFrameLocks noChangeAspect="1"/>
          </p:cNvGraphicFramePr>
          <p:nvPr>
            <p:custDataLst>
              <p:tags r:id="rId1"/>
            </p:custDataLst>
            <p:extLst>
              <p:ext uri="{D42A27DB-BD31-4B8C-83A1-F6EECF244321}">
                <p14:modId xmlns:p14="http://schemas.microsoft.com/office/powerpoint/2010/main" val="305949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7" name="Object 6" hidden="1">
                        <a:extLst>
                          <a:ext uri="{FF2B5EF4-FFF2-40B4-BE49-F238E27FC236}">
                            <a16:creationId xmlns:a16="http://schemas.microsoft.com/office/drawing/2014/main" id="{97E69CE6-A077-4331-9700-35F6304FA5F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aphicFrame>
        <p:nvGraphicFramePr>
          <p:cNvPr id="29" name="Tabelle 7">
            <a:extLst>
              <a:ext uri="{FF2B5EF4-FFF2-40B4-BE49-F238E27FC236}">
                <a16:creationId xmlns:a16="http://schemas.microsoft.com/office/drawing/2014/main" id="{0AE3B140-67E4-44FA-B526-26335D138AEE}"/>
              </a:ext>
            </a:extLst>
          </p:cNvPr>
          <p:cNvGraphicFramePr>
            <a:graphicFrameLocks noGrp="1"/>
          </p:cNvGraphicFramePr>
          <p:nvPr>
            <p:custDataLst>
              <p:tags r:id="rId2"/>
            </p:custDataLst>
            <p:extLst>
              <p:ext uri="{D42A27DB-BD31-4B8C-83A1-F6EECF244321}">
                <p14:modId xmlns:p14="http://schemas.microsoft.com/office/powerpoint/2010/main" val="980201262"/>
              </p:ext>
            </p:extLst>
          </p:nvPr>
        </p:nvGraphicFramePr>
        <p:xfrm>
          <a:off x="381001" y="1846263"/>
          <a:ext cx="5644800" cy="4022720"/>
        </p:xfrm>
        <a:graphic>
          <a:graphicData uri="http://schemas.openxmlformats.org/drawingml/2006/table">
            <a:tbl>
              <a:tblPr firstRow="1" bandRow="1">
                <a:effectLst/>
                <a:tableStyleId>{5C22544A-7EE6-4342-B048-85BDC9FD1C3A}</a:tableStyleId>
              </a:tblPr>
              <a:tblGrid>
                <a:gridCol w="604800">
                  <a:extLst>
                    <a:ext uri="{9D8B030D-6E8A-4147-A177-3AD203B41FA5}">
                      <a16:colId xmlns:a16="http://schemas.microsoft.com/office/drawing/2014/main" val="4231638837"/>
                    </a:ext>
                  </a:extLst>
                </a:gridCol>
                <a:gridCol w="1108800">
                  <a:extLst>
                    <a:ext uri="{9D8B030D-6E8A-4147-A177-3AD203B41FA5}">
                      <a16:colId xmlns:a16="http://schemas.microsoft.com/office/drawing/2014/main" val="2561383920"/>
                    </a:ext>
                  </a:extLst>
                </a:gridCol>
                <a:gridCol w="108000">
                  <a:extLst>
                    <a:ext uri="{9D8B030D-6E8A-4147-A177-3AD203B41FA5}">
                      <a16:colId xmlns:a16="http://schemas.microsoft.com/office/drawing/2014/main" val="872547697"/>
                    </a:ext>
                  </a:extLst>
                </a:gridCol>
                <a:gridCol w="3823200">
                  <a:extLst>
                    <a:ext uri="{9D8B030D-6E8A-4147-A177-3AD203B41FA5}">
                      <a16:colId xmlns:a16="http://schemas.microsoft.com/office/drawing/2014/main" val="3029055405"/>
                    </a:ext>
                  </a:extLst>
                </a:gridCol>
              </a:tblGrid>
              <a:tr h="350767">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ank</a:t>
                      </a:r>
                    </a:p>
                  </a:txBody>
                  <a:tcPr anchor="b">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anchor="b">
                    <a:lnR w="12700" cmpd="sng">
                      <a:noFill/>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200" b="1" i="0" kern="1200">
                        <a:solidFill>
                          <a:schemeClr val="tx1"/>
                        </a:solidFill>
                        <a:latin typeface="+mn-lt"/>
                        <a:ea typeface="Lato" panose="020F0502020204030203" pitchFamily="34" charset="0"/>
                        <a:cs typeface="Lato" panose="020F0502020204030203" pitchFamily="34" charset="0"/>
                      </a:endParaRPr>
                    </a:p>
                  </a:txBody>
                  <a:tcPr marL="0" marR="0" marT="0" marB="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a:solidFill>
                            <a:schemeClr val="tx1"/>
                          </a:solidFill>
                          <a:latin typeface="+mn-lt"/>
                          <a:ea typeface="Lato" panose="020F0502020204030203" pitchFamily="34" charset="0"/>
                          <a:cs typeface="Lato" panose="020F0502020204030203" pitchFamily="34" charset="0"/>
                        </a:rPr>
                        <a:t>Market attractiveness score</a:t>
                      </a:r>
                    </a:p>
                  </a:txBody>
                  <a:tcPr anchor="b">
                    <a:lnL w="12700" cmpd="sng">
                      <a:noFill/>
                    </a:lnL>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5036239"/>
                  </a:ext>
                </a:extLst>
              </a:tr>
              <a:tr h="366695">
                <a:tc>
                  <a:txBody>
                    <a:bodyPr/>
                    <a:lstStyle/>
                    <a:p>
                      <a:pPr algn="ctr" rtl="0" fontAlgn="b"/>
                      <a:r>
                        <a:rPr lang="en-GB" sz="1200" b="1" i="0" u="none" strike="noStrike">
                          <a:solidFill>
                            <a:schemeClr val="tx1"/>
                          </a:solidFill>
                          <a:effectLst/>
                          <a:latin typeface="+mn-lt"/>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0" fontAlgn="b"/>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6695">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9210508"/>
                  </a:ext>
                </a:extLst>
              </a:tr>
              <a:tr h="366695">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8080983"/>
                  </a:ext>
                </a:extLst>
              </a:tr>
              <a:tr h="366695">
                <a:tc rowSpan="2">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8261833"/>
                  </a:ext>
                </a:extLst>
              </a:tr>
              <a:tr h="366695">
                <a:tc vMerge="1">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8506081"/>
                  </a:ext>
                </a:extLst>
              </a:tr>
              <a:tr h="366695">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9309152"/>
                  </a:ext>
                </a:extLst>
              </a:tr>
              <a:tr h="371698">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0424253"/>
                  </a:ext>
                </a:extLst>
              </a:tr>
              <a:tr h="366695">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5004117"/>
                  </a:ext>
                </a:extLst>
              </a:tr>
              <a:tr h="366695">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675267"/>
                  </a:ext>
                </a:extLst>
              </a:tr>
              <a:tr h="366695">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mn-lt"/>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7503049"/>
                  </a:ext>
                </a:extLst>
              </a:tr>
            </a:tbl>
          </a:graphicData>
        </a:graphic>
      </p:graphicFrame>
      <p:sp>
        <p:nvSpPr>
          <p:cNvPr id="11" name="Text Placeholder 10">
            <a:extLst>
              <a:ext uri="{FF2B5EF4-FFF2-40B4-BE49-F238E27FC236}">
                <a16:creationId xmlns:a16="http://schemas.microsoft.com/office/drawing/2014/main" id="{E2460F63-9058-462F-A725-052F6C8CA663}"/>
              </a:ext>
            </a:extLst>
          </p:cNvPr>
          <p:cNvSpPr>
            <a:spLocks noGrp="1"/>
          </p:cNvSpPr>
          <p:nvPr>
            <p:ph type="body" sz="quarter" idx="28"/>
          </p:nvPr>
        </p:nvSpPr>
        <p:spPr>
          <a:xfrm>
            <a:off x="6447700" y="2004472"/>
            <a:ext cx="5376000" cy="1682512"/>
          </a:xfrm>
        </p:spPr>
        <p:txBody>
          <a:bodyPr>
            <a:spAutoFit/>
          </a:bodyPr>
          <a:lstStyle/>
          <a:p>
            <a:pPr marL="182880" indent="-182880">
              <a:buFont typeface="Wingdings" panose="05000000000000000000" pitchFamily="2" charset="2"/>
              <a:buChar char="§"/>
            </a:pP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a:t>has the most robust installed battery capacity and pipeline in Europe of over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GW </a:t>
            </a:r>
            <a:r>
              <a:rPr lang="en-GB"/>
              <a:t>and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GW </a:t>
            </a:r>
            <a:r>
              <a:rPr lang="en-GB"/>
              <a:t>respectively which, supported by favourable revenue streams, make it the most attractive market in Europe.</a:t>
            </a:r>
          </a:p>
          <a:p>
            <a:pPr marL="182880" indent="-182880">
              <a:buFont typeface="Wingdings" panose="05000000000000000000" pitchFamily="2" charset="2"/>
              <a:buChar char="§"/>
            </a:pPr>
            <a:r>
              <a:rPr lang="en-GB"/>
              <a:t>An ambitious target of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a:t>GW of battery by 2030, coupled with favourable merchant project IRRs and recent access for grid-scale batteries to the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a:t>make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a:t>the second most attractive market in Europe.</a:t>
            </a:r>
            <a:endParaRPr lang="en-GB">
              <a:highlight>
                <a:srgbClr val="FFFF00"/>
              </a:highlight>
            </a:endParaRPr>
          </a:p>
          <a:p>
            <a:pPr marL="182880" indent="-182880">
              <a:buFont typeface="Wingdings" panose="05000000000000000000" pitchFamily="2" charset="2"/>
              <a:buChar char="§"/>
            </a:pPr>
            <a:r>
              <a:rPr lang="en-GB"/>
              <a:t>Large daily spreads along with high capacity market prices drives strong future revenue potential that makes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a:t>the third most attractive market.</a:t>
            </a:r>
          </a:p>
        </p:txBody>
      </p:sp>
      <p:sp>
        <p:nvSpPr>
          <p:cNvPr id="83" name="Text Placeholder 82">
            <a:extLst>
              <a:ext uri="{FF2B5EF4-FFF2-40B4-BE49-F238E27FC236}">
                <a16:creationId xmlns:a16="http://schemas.microsoft.com/office/drawing/2014/main" id="{6A0005FD-4826-4740-91A2-AC6435294573}"/>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83F456BF-D62F-4BA3-9D8F-8884BA87F243}"/>
              </a:ext>
            </a:extLst>
          </p:cNvPr>
          <p:cNvSpPr>
            <a:spLocks noGrp="1"/>
          </p:cNvSpPr>
          <p:nvPr>
            <p:ph type="title"/>
          </p:nvPr>
        </p:nvSpPr>
        <p:spPr/>
        <p:txBody>
          <a:bodyPr vert="horz"/>
          <a:lstStyle/>
          <a:p>
            <a:r>
              <a:rPr lang="en-GB"/>
              <a:t>The most attractive European market for </a:t>
            </a:r>
            <a:r>
              <a:rPr lang="en-GB">
                <a:solidFill>
                  <a:schemeClr val="tx1"/>
                </a:solidFill>
              </a:rPr>
              <a:t>battery storage is </a:t>
            </a:r>
            <a:r>
              <a:rPr kumimoji="0" lang="en-GB" sz="24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a:solidFill>
                  <a:schemeClr val="tx1"/>
                </a:solidFill>
              </a:rPr>
              <a:t>, followed by </a:t>
            </a:r>
            <a:r>
              <a:rPr kumimoji="0" lang="en-GB" sz="24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a:solidFill>
                  <a:schemeClr val="tx1"/>
                </a:solidFill>
              </a:rPr>
              <a:t> and</a:t>
            </a:r>
            <a:r>
              <a:rPr lang="en-GB" sz="2400" b="0">
                <a:solidFill>
                  <a:srgbClr val="3C3C3B"/>
                </a:solidFill>
              </a:rPr>
              <a:t> </a:t>
            </a:r>
            <a:r>
              <a:rPr lang="en-GB" sz="2400" b="0">
                <a:solidFill>
                  <a:schemeClr val="accent5"/>
                </a:solidFill>
              </a:rPr>
              <a:t> </a:t>
            </a:r>
            <a:r>
              <a:rPr lang="en-GB" sz="2400" b="0" err="1">
                <a:solidFill>
                  <a:srgbClr val="808080"/>
                </a:solidFill>
                <a:highlight>
                  <a:srgbClr val="808080"/>
                </a:highlight>
              </a:rPr>
              <a:t>xxxx</a:t>
            </a:r>
            <a:r>
              <a:rPr lang="en-GB" sz="2400" b="0">
                <a:solidFill>
                  <a:schemeClr val="accent5"/>
                </a:solidFill>
                <a:highlight>
                  <a:srgbClr val="808080"/>
                </a:highlight>
              </a:rPr>
              <a:t>          </a:t>
            </a:r>
            <a:endParaRPr lang="en-GB">
              <a:solidFill>
                <a:schemeClr val="accent5"/>
              </a:solidFill>
              <a:highlight>
                <a:srgbClr val="808080"/>
              </a:highlight>
            </a:endParaRPr>
          </a:p>
        </p:txBody>
      </p:sp>
      <p:sp>
        <p:nvSpPr>
          <p:cNvPr id="13" name="Text Placeholder 12">
            <a:extLst>
              <a:ext uri="{FF2B5EF4-FFF2-40B4-BE49-F238E27FC236}">
                <a16:creationId xmlns:a16="http://schemas.microsoft.com/office/drawing/2014/main" id="{AA8D66F7-D561-450B-AD23-FA057EB4625E}"/>
              </a:ext>
            </a:extLst>
          </p:cNvPr>
          <p:cNvSpPr>
            <a:spLocks noGrp="1"/>
          </p:cNvSpPr>
          <p:nvPr>
            <p:ph type="body" sz="quarter" idx="30"/>
          </p:nvPr>
        </p:nvSpPr>
        <p:spPr>
          <a:xfrm>
            <a:off x="377858" y="1284094"/>
            <a:ext cx="11428799" cy="369332"/>
          </a:xfrm>
        </p:spPr>
        <p:txBody>
          <a:bodyPr/>
          <a:lstStyle/>
          <a:p>
            <a:r>
              <a:rPr lang="en-GB" b="0" i="1"/>
              <a:t>Installed capacity of battery storage across Europe currently stands at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b="0" i="1"/>
              <a:t>GW, making up less than 1% of total installed capacity. It is projected to grow nearly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b="0" i="1"/>
              <a:t>to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b="0" i="1"/>
              <a:t>GW by 2030, requiring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b="0" i="1"/>
              <a:t>bn € CAPEX investment.</a:t>
            </a:r>
          </a:p>
        </p:txBody>
      </p:sp>
      <p:sp>
        <p:nvSpPr>
          <p:cNvPr id="14" name="Text Placeholder 13">
            <a:extLst>
              <a:ext uri="{FF2B5EF4-FFF2-40B4-BE49-F238E27FC236}">
                <a16:creationId xmlns:a16="http://schemas.microsoft.com/office/drawing/2014/main" id="{F855AB51-154C-4ACC-86AC-961DF1ABBAB6}"/>
              </a:ext>
            </a:extLst>
          </p:cNvPr>
          <p:cNvSpPr>
            <a:spLocks noGrp="1"/>
          </p:cNvSpPr>
          <p:nvPr>
            <p:ph type="body" sz="quarter" idx="31"/>
          </p:nvPr>
        </p:nvSpPr>
        <p:spPr>
          <a:xfrm>
            <a:off x="377858" y="79401"/>
            <a:ext cx="1561646" cy="184666"/>
          </a:xfrm>
        </p:spPr>
        <p:txBody>
          <a:bodyPr/>
          <a:lstStyle/>
          <a:p>
            <a:r>
              <a:rPr lang="en-GB"/>
              <a:t>	Executive Summary</a:t>
            </a:r>
          </a:p>
        </p:txBody>
      </p:sp>
      <p:graphicFrame>
        <p:nvGraphicFramePr>
          <p:cNvPr id="10" name="Chart 9">
            <a:extLst>
              <a:ext uri="{FF2B5EF4-FFF2-40B4-BE49-F238E27FC236}">
                <a16:creationId xmlns:a16="http://schemas.microsoft.com/office/drawing/2014/main" id="{DEBD5C28-78BF-4808-6C04-76D39290E0CB}"/>
              </a:ext>
            </a:extLst>
          </p:cNvPr>
          <p:cNvGraphicFramePr/>
          <p:nvPr>
            <p:custDataLst>
              <p:tags r:id="rId3"/>
            </p:custDataLst>
            <p:extLst>
              <p:ext uri="{D42A27DB-BD31-4B8C-83A1-F6EECF244321}">
                <p14:modId xmlns:p14="http://schemas.microsoft.com/office/powerpoint/2010/main" val="2861478430"/>
              </p:ext>
            </p:extLst>
          </p:nvPr>
        </p:nvGraphicFramePr>
        <p:xfrm>
          <a:off x="2135188" y="2130425"/>
          <a:ext cx="3979862" cy="3822700"/>
        </p:xfrm>
        <a:graphic>
          <a:graphicData uri="http://schemas.openxmlformats.org/drawingml/2006/chart">
            <c:chart xmlns:c="http://schemas.openxmlformats.org/drawingml/2006/chart" xmlns:r="http://schemas.openxmlformats.org/officeDocument/2006/relationships" r:id="rId17"/>
          </a:graphicData>
        </a:graphic>
      </p:graphicFrame>
      <p:sp>
        <p:nvSpPr>
          <p:cNvPr id="6" name="Rectangle 5">
            <a:extLst>
              <a:ext uri="{FF2B5EF4-FFF2-40B4-BE49-F238E27FC236}">
                <a16:creationId xmlns:a16="http://schemas.microsoft.com/office/drawing/2014/main" id="{6025B2FA-75A6-4C40-AFA4-7D9E289248A8}"/>
              </a:ext>
            </a:extLst>
          </p:cNvPr>
          <p:cNvSpPr/>
          <p:nvPr>
            <p:custDataLst>
              <p:tags r:id="rId4"/>
            </p:custDataLst>
          </p:nvPr>
        </p:nvSpPr>
        <p:spPr bwMode="auto">
          <a:xfrm>
            <a:off x="431800" y="6146800"/>
            <a:ext cx="179388" cy="133350"/>
          </a:xfrm>
          <a:prstGeom prst="rect">
            <a:avLst/>
          </a:prstGeom>
          <a:solidFill>
            <a:schemeClr val="accent3"/>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8" name="Rectangle 7">
            <a:extLst>
              <a:ext uri="{FF2B5EF4-FFF2-40B4-BE49-F238E27FC236}">
                <a16:creationId xmlns:a16="http://schemas.microsoft.com/office/drawing/2014/main" id="{D0B4CDBE-4512-40EC-8CFA-320A8237C17F}"/>
              </a:ext>
            </a:extLst>
          </p:cNvPr>
          <p:cNvSpPr/>
          <p:nvPr>
            <p:custDataLst>
              <p:tags r:id="rId5"/>
            </p:custDataLst>
          </p:nvPr>
        </p:nvSpPr>
        <p:spPr bwMode="auto">
          <a:xfrm>
            <a:off x="1414463" y="6146800"/>
            <a:ext cx="179388" cy="133350"/>
          </a:xfrm>
          <a:prstGeom prst="rect">
            <a:avLst/>
          </a:prstGeom>
          <a:solidFill>
            <a:srgbClr val="A6964E"/>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9" name="Rectangle 8">
            <a:extLst>
              <a:ext uri="{FF2B5EF4-FFF2-40B4-BE49-F238E27FC236}">
                <a16:creationId xmlns:a16="http://schemas.microsoft.com/office/drawing/2014/main" id="{F7DF2755-F3FE-462D-A34A-FE9A79B8F778}"/>
              </a:ext>
            </a:extLst>
          </p:cNvPr>
          <p:cNvSpPr/>
          <p:nvPr>
            <p:custDataLst>
              <p:tags r:id="rId6"/>
            </p:custDataLst>
          </p:nvPr>
        </p:nvSpPr>
        <p:spPr bwMode="auto">
          <a:xfrm>
            <a:off x="2817813" y="6146800"/>
            <a:ext cx="179388" cy="133350"/>
          </a:xfrm>
          <a:prstGeom prst="rect">
            <a:avLst/>
          </a:prstGeom>
          <a:solidFill>
            <a:srgbClr val="6F854E"/>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12" name="Rectangle 11">
            <a:extLst>
              <a:ext uri="{FF2B5EF4-FFF2-40B4-BE49-F238E27FC236}">
                <a16:creationId xmlns:a16="http://schemas.microsoft.com/office/drawing/2014/main" id="{45269A73-EA38-0340-EE63-D03966284413}"/>
              </a:ext>
            </a:extLst>
          </p:cNvPr>
          <p:cNvSpPr/>
          <p:nvPr>
            <p:custDataLst>
              <p:tags r:id="rId7"/>
            </p:custDataLst>
          </p:nvPr>
        </p:nvSpPr>
        <p:spPr bwMode="auto">
          <a:xfrm>
            <a:off x="4117975" y="6146800"/>
            <a:ext cx="179388" cy="133350"/>
          </a:xfrm>
          <a:prstGeom prst="rect">
            <a:avLst/>
          </a:prstGeom>
          <a:solidFill>
            <a:srgbClr val="4E5F6E"/>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5" name="Text Placeholder 19">
            <a:extLst>
              <a:ext uri="{FF2B5EF4-FFF2-40B4-BE49-F238E27FC236}">
                <a16:creationId xmlns:a16="http://schemas.microsoft.com/office/drawing/2014/main" id="{9F9869AF-B0F6-4E89-B216-4EC18C7334C2}"/>
              </a:ext>
            </a:extLst>
          </p:cNvPr>
          <p:cNvSpPr>
            <a:spLocks noGrp="1"/>
          </p:cNvSpPr>
          <p:nvPr>
            <p:custDataLst>
              <p:tags r:id="rId8"/>
            </p:custDataLst>
          </p:nvPr>
        </p:nvSpPr>
        <p:spPr bwMode="auto">
          <a:xfrm>
            <a:off x="661988" y="6142038"/>
            <a:ext cx="650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9BE57C0-7AA5-44BD-A4EF-F78436A4A153}" type="datetime'''''Ma''''r''''k''''''''''e''''t'''' s''i''z''e'''''''''">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Market size</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4"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auto">
          <a:xfrm>
            <a:off x="1644650" y="6142038"/>
            <a:ext cx="1071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592A138-9C04-4B55-98A7-4CBF7E11EEB5}" type="datetime'''''P''''''o''li''''''''''''c''''y'' env''i''''''ron''''ment'">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Policy environment</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3"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auto">
          <a:xfrm>
            <a:off x="3048000" y="6142038"/>
            <a:ext cx="968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Revenue Streams</a:t>
            </a:r>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0" name="Text Placeholder 19">
            <a:extLst>
              <a:ext uri="{FF2B5EF4-FFF2-40B4-BE49-F238E27FC236}">
                <a16:creationId xmlns:a16="http://schemas.microsoft.com/office/drawing/2014/main" id="{E8685836-5D15-0ED0-9A31-499049FDF2BA}"/>
              </a:ext>
            </a:extLst>
          </p:cNvPr>
          <p:cNvSpPr>
            <a:spLocks noGrp="1"/>
          </p:cNvSpPr>
          <p:nvPr>
            <p:custDataLst>
              <p:tags r:id="rId11"/>
            </p:custDataLst>
          </p:nvPr>
        </p:nvSpPr>
        <p:spPr bwMode="auto">
          <a:xfrm>
            <a:off x="4348163" y="6142038"/>
            <a:ext cx="1019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06D3C6B3-EFE9-4996-B24F-1A3029635B8A}" type="datetime'P''''''''''roject'''' E''''c''''on''o''''m''''''''''''''ics'">
              <a:rPr lang="en-GB" altLang="en-US" sz="1000" smtClean="0">
                <a:solidFill>
                  <a:srgbClr val="3C3C3B"/>
                </a:solidFill>
                <a:ea typeface="+mn-ea"/>
                <a:cs typeface="+mn-cs"/>
              </a:rPr>
              <a:pPr lvl="0">
                <a:spcBef>
                  <a:spcPct val="0"/>
                </a:spcBef>
                <a:spcAft>
                  <a:spcPct val="0"/>
                </a:spcAft>
                <a:defRPr/>
              </a:pPr>
              <a:t>Project Economics</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49" name="Text Placeholder 12">
            <a:extLst>
              <a:ext uri="{FF2B5EF4-FFF2-40B4-BE49-F238E27FC236}">
                <a16:creationId xmlns:a16="http://schemas.microsoft.com/office/drawing/2014/main" id="{A87D1537-469D-4A23-B6AF-4685729DAC13}"/>
              </a:ext>
            </a:extLst>
          </p:cNvPr>
          <p:cNvSpPr txBox="1">
            <a:spLocks/>
          </p:cNvSpPr>
          <p:nvPr/>
        </p:nvSpPr>
        <p:spPr>
          <a:xfrm>
            <a:off x="6447700" y="1717135"/>
            <a:ext cx="5376000" cy="184150"/>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sng"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Top markets</a:t>
            </a:r>
          </a:p>
        </p:txBody>
      </p:sp>
      <p:sp>
        <p:nvSpPr>
          <p:cNvPr id="79" name="Text Placeholder 10">
            <a:extLst>
              <a:ext uri="{FF2B5EF4-FFF2-40B4-BE49-F238E27FC236}">
                <a16:creationId xmlns:a16="http://schemas.microsoft.com/office/drawing/2014/main" id="{DA1C6B01-A730-0209-C0E2-B470D255F0E5}"/>
              </a:ext>
            </a:extLst>
          </p:cNvPr>
          <p:cNvSpPr txBox="1">
            <a:spLocks/>
          </p:cNvSpPr>
          <p:nvPr/>
        </p:nvSpPr>
        <p:spPr>
          <a:xfrm>
            <a:off x="6448325" y="4280525"/>
            <a:ext cx="5373416" cy="1867178"/>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2880" marR="0" lvl="0" indent="-182880" algn="l" defTabSz="685783" rtl="0" eaLnBrk="1" fontAlgn="auto" latinLnBrk="0" hangingPunct="1">
              <a:lnSpc>
                <a:spcPct val="100000"/>
              </a:lnSpc>
              <a:spcBef>
                <a:spcPts val="75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US"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s</a:t>
            </a:r>
            <a:r>
              <a:rPr kumimoji="0" lang="en-US"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US" sz="1200" b="0" i="0" u="none" strike="noStrike" kern="1200" cap="none" spc="0" normalizeH="0" baseline="0" noProof="0" err="1">
                <a:ln>
                  <a:noFill/>
                </a:ln>
                <a:solidFill>
                  <a:srgbClr val="3C3C3B"/>
                </a:solidFill>
                <a:effectLst/>
                <a:uLnTx/>
                <a:uFillTx/>
                <a:latin typeface="Lato" panose="020F0502020204030203" pitchFamily="34" charset="0"/>
                <a:sym typeface="Lato" panose="020F0502020204030203" pitchFamily="34" charset="0"/>
              </a:rPr>
              <a:t>mn</a:t>
            </a:r>
            <a:r>
              <a:rPr kumimoji="0" lang="en-US"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 scheme to support at least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US"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GW of storage projects and a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US"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GW deployment target by 2030 from its updated NECP makes it an attractive market, though is hampered by lower frequency response prices.</a:t>
            </a:r>
            <a:endPar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a:p>
            <a:pPr marL="182880" marR="0" lvl="0" indent="-182880" algn="l" defTabSz="685783" rtl="0" eaLnBrk="1" fontAlgn="auto" latinLnBrk="0" hangingPunct="1">
              <a:lnSpc>
                <a:spcPct val="100000"/>
              </a:lnSpc>
              <a:spcBef>
                <a:spcPts val="750"/>
              </a:spcBef>
              <a:spcAft>
                <a:spcPts val="0"/>
              </a:spcAft>
              <a:buClrTx/>
              <a:buSzTx/>
              <a:buFont typeface="Wingdings" panose="05000000000000000000" pitchFamily="2" charset="2"/>
              <a:buChar char="§"/>
              <a:tabLst/>
              <a:defRPr/>
            </a:pPr>
            <a:r>
              <a:rPr lang="en-GB">
                <a:solidFill>
                  <a:srgbClr val="3C3C3B"/>
                </a:solidFill>
              </a:rPr>
              <a:t>A</a:t>
            </a:r>
            <a:r>
              <a:rPr kumimoji="0" lang="en-GB" sz="1200" b="0" i="0" u="none" strike="noStrike" kern="1200" cap="none" spc="0" normalizeH="0" baseline="0" noProof="0" err="1">
                <a:ln>
                  <a:noFill/>
                </a:ln>
                <a:solidFill>
                  <a:srgbClr val="3C3C3B"/>
                </a:solidFill>
                <a:effectLst/>
                <a:uLnTx/>
                <a:uFillTx/>
                <a:latin typeface="Lato" panose="020F0502020204030203" pitchFamily="34" charset="0"/>
                <a:sym typeface="Lato" panose="020F0502020204030203" pitchFamily="34" charset="0"/>
              </a:rPr>
              <a:t>uctions</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for the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Capacity Market expected in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points to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as an interesting market with potential for contracted revenues.</a:t>
            </a:r>
            <a:endParaRPr kumimoji="0" lang="en-US"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a:p>
            <a:pPr marL="182880" indent="-182880">
              <a:buFont typeface="Wingdings" panose="05000000000000000000" pitchFamily="2" charset="2"/>
              <a:buChar char="§"/>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Ancillary services markets, such as FCR and </a:t>
            </a:r>
            <a:r>
              <a:rPr kumimoji="0" lang="en-GB" sz="1200" b="0" i="0" u="none" strike="noStrike" kern="1200" cap="none" spc="0" normalizeH="0" baseline="0" noProof="0" err="1">
                <a:ln>
                  <a:noFill/>
                </a:ln>
                <a:solidFill>
                  <a:srgbClr val="3C3C3B"/>
                </a:solidFill>
                <a:effectLst/>
                <a:uLnTx/>
                <a:uFillTx/>
                <a:latin typeface="Lato" panose="020F0502020204030203" pitchFamily="34" charset="0"/>
                <a:sym typeface="Lato" panose="020F0502020204030203" pitchFamily="34" charset="0"/>
              </a:rPr>
              <a:t>aFRR</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which will open as a part of ongoing balancing market reform in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akes it an interesting market to watch. Additionally, high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derating factors in the CM (</a:t>
            </a:r>
            <a:r>
              <a:rPr kumimoji="0" lang="en-GB" sz="12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for 4hr batteries and </a:t>
            </a:r>
            <a:r>
              <a:rPr lang="en-GB" err="1">
                <a:solidFill>
                  <a:srgbClr val="808080"/>
                </a:solidFill>
                <a:highlight>
                  <a:srgbClr val="808080"/>
                </a:highlight>
              </a:rPr>
              <a:t>xxxxx</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for 2hr batteries) make it lucrative for batteries.</a:t>
            </a:r>
          </a:p>
        </p:txBody>
      </p:sp>
      <p:sp>
        <p:nvSpPr>
          <p:cNvPr id="80" name="Text Placeholder 12">
            <a:extLst>
              <a:ext uri="{FF2B5EF4-FFF2-40B4-BE49-F238E27FC236}">
                <a16:creationId xmlns:a16="http://schemas.microsoft.com/office/drawing/2014/main" id="{68456858-7BA2-8977-4337-0D1B60C8D388}"/>
              </a:ext>
            </a:extLst>
          </p:cNvPr>
          <p:cNvSpPr txBox="1">
            <a:spLocks/>
          </p:cNvSpPr>
          <p:nvPr/>
        </p:nvSpPr>
        <p:spPr>
          <a:xfrm>
            <a:off x="6430657" y="4000147"/>
            <a:ext cx="5376000" cy="184150"/>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sng"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Markets to watch</a:t>
            </a:r>
          </a:p>
        </p:txBody>
      </p:sp>
      <p:sp>
        <p:nvSpPr>
          <p:cNvPr id="32" name="Oval 31">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
        <p:nvSpPr>
          <p:cNvPr id="5" name="Text Placeholder 16">
            <a:extLst>
              <a:ext uri="{FF2B5EF4-FFF2-40B4-BE49-F238E27FC236}">
                <a16:creationId xmlns:a16="http://schemas.microsoft.com/office/drawing/2014/main" id="{18C1438A-4522-CD9F-72DF-E19D1ECC6732}"/>
              </a:ext>
            </a:extLst>
          </p:cNvPr>
          <p:cNvSpPr txBox="1">
            <a:spLocks/>
          </p:cNvSpPr>
          <p:nvPr/>
        </p:nvSpPr>
        <p:spPr>
          <a:xfrm>
            <a:off x="381600" y="6474841"/>
            <a:ext cx="11428800"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2" name="Rectangle 1">
            <a:extLst>
              <a:ext uri="{FF2B5EF4-FFF2-40B4-BE49-F238E27FC236}">
                <a16:creationId xmlns:a16="http://schemas.microsoft.com/office/drawing/2014/main" id="{0FF45FDA-EF1F-AAA7-730B-417102AAEB5A}"/>
              </a:ext>
            </a:extLst>
          </p:cNvPr>
          <p:cNvSpPr/>
          <p:nvPr/>
        </p:nvSpPr>
        <p:spPr>
          <a:xfrm>
            <a:off x="6286500" y="1653426"/>
            <a:ext cx="5734050" cy="4691887"/>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4" name="Group 3">
            <a:extLst>
              <a:ext uri="{FF2B5EF4-FFF2-40B4-BE49-F238E27FC236}">
                <a16:creationId xmlns:a16="http://schemas.microsoft.com/office/drawing/2014/main" id="{F2BA1D77-F500-E5F5-B33A-C5766A0E5EE8}"/>
              </a:ext>
            </a:extLst>
          </p:cNvPr>
          <p:cNvGrpSpPr/>
          <p:nvPr/>
        </p:nvGrpSpPr>
        <p:grpSpPr>
          <a:xfrm>
            <a:off x="7658366" y="3731668"/>
            <a:ext cx="2647407" cy="1001486"/>
            <a:chOff x="8251369" y="2255520"/>
            <a:chExt cx="2647407" cy="1001486"/>
          </a:xfrm>
        </p:grpSpPr>
        <p:sp>
          <p:nvSpPr>
            <p:cNvPr id="15" name="Rectangle: Rounded Corners 14">
              <a:extLst>
                <a:ext uri="{FF2B5EF4-FFF2-40B4-BE49-F238E27FC236}">
                  <a16:creationId xmlns:a16="http://schemas.microsoft.com/office/drawing/2014/main" id="{1572145B-F23C-7006-2B8B-F8A6259A2A61}"/>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6" name="TextBox 15">
              <a:extLst>
                <a:ext uri="{FF2B5EF4-FFF2-40B4-BE49-F238E27FC236}">
                  <a16:creationId xmlns:a16="http://schemas.microsoft.com/office/drawing/2014/main" id="{8E088D18-A753-F6DE-983C-CCB8F0A91137}"/>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1549924663"/>
      </p:ext>
    </p:extLst>
  </p:cSld>
  <p:clrMapOvr>
    <a:masterClrMapping/>
  </p:clrMapOvr>
  <p:extLst>
    <p:ext uri="{6950BFC3-D8DA-4A85-94F7-54DA5524770B}">
      <p188:commentRel xmlns:p188="http://schemas.microsoft.com/office/powerpoint/2018/8/main" r:id="rId1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0E87C1E-9585-4510-8E24-84EE5FE90452}"/>
              </a:ext>
            </a:extLst>
          </p:cNvPr>
          <p:cNvGraphicFramePr>
            <a:graphicFrameLocks noChangeAspect="1"/>
          </p:cNvGraphicFramePr>
          <p:nvPr>
            <p:custDataLst>
              <p:tags r:id="rId1"/>
            </p:custDataLst>
            <p:extLst>
              <p:ext uri="{D42A27DB-BD31-4B8C-83A1-F6EECF244321}">
                <p14:modId xmlns:p14="http://schemas.microsoft.com/office/powerpoint/2010/main" val="1682711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1" name="Object 10" hidden="1">
                        <a:extLst>
                          <a:ext uri="{FF2B5EF4-FFF2-40B4-BE49-F238E27FC236}">
                            <a16:creationId xmlns:a16="http://schemas.microsoft.com/office/drawing/2014/main" id="{00E87C1E-9585-4510-8E24-84EE5FE904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6" name="Tabelle 7">
            <a:extLst>
              <a:ext uri="{FF2B5EF4-FFF2-40B4-BE49-F238E27FC236}">
                <a16:creationId xmlns:a16="http://schemas.microsoft.com/office/drawing/2014/main" id="{5B94777B-2F77-3FC9-C713-EECC1F6D910E}"/>
              </a:ext>
            </a:extLst>
          </p:cNvPr>
          <p:cNvGraphicFramePr>
            <a:graphicFrameLocks noGrp="1"/>
          </p:cNvGraphicFramePr>
          <p:nvPr>
            <p:custDataLst>
              <p:tags r:id="rId2"/>
            </p:custDataLst>
            <p:extLst>
              <p:ext uri="{D42A27DB-BD31-4B8C-83A1-F6EECF244321}">
                <p14:modId xmlns:p14="http://schemas.microsoft.com/office/powerpoint/2010/main" val="1844070853"/>
              </p:ext>
            </p:extLst>
          </p:nvPr>
        </p:nvGraphicFramePr>
        <p:xfrm>
          <a:off x="381001" y="1220504"/>
          <a:ext cx="11440885" cy="4808930"/>
        </p:xfrm>
        <a:graphic>
          <a:graphicData uri="http://schemas.openxmlformats.org/drawingml/2006/table">
            <a:tbl>
              <a:tblPr firstRow="1" bandRow="1">
                <a:effectLst/>
                <a:tableStyleId>{5C22544A-7EE6-4342-B048-85BDC9FD1C3A}</a:tableStyleId>
              </a:tblPr>
              <a:tblGrid>
                <a:gridCol w="1016748">
                  <a:extLst>
                    <a:ext uri="{9D8B030D-6E8A-4147-A177-3AD203B41FA5}">
                      <a16:colId xmlns:a16="http://schemas.microsoft.com/office/drawing/2014/main" val="2561383920"/>
                    </a:ext>
                  </a:extLst>
                </a:gridCol>
                <a:gridCol w="1056233">
                  <a:extLst>
                    <a:ext uri="{9D8B030D-6E8A-4147-A177-3AD203B41FA5}">
                      <a16:colId xmlns:a16="http://schemas.microsoft.com/office/drawing/2014/main" val="1721703981"/>
                    </a:ext>
                  </a:extLst>
                </a:gridCol>
                <a:gridCol w="703888">
                  <a:extLst>
                    <a:ext uri="{9D8B030D-6E8A-4147-A177-3AD203B41FA5}">
                      <a16:colId xmlns:a16="http://schemas.microsoft.com/office/drawing/2014/main" val="1988698611"/>
                    </a:ext>
                  </a:extLst>
                </a:gridCol>
                <a:gridCol w="1428322">
                  <a:extLst>
                    <a:ext uri="{9D8B030D-6E8A-4147-A177-3AD203B41FA5}">
                      <a16:colId xmlns:a16="http://schemas.microsoft.com/office/drawing/2014/main" val="1182285847"/>
                    </a:ext>
                  </a:extLst>
                </a:gridCol>
                <a:gridCol w="78971">
                  <a:extLst>
                    <a:ext uri="{9D8B030D-6E8A-4147-A177-3AD203B41FA5}">
                      <a16:colId xmlns:a16="http://schemas.microsoft.com/office/drawing/2014/main" val="872547697"/>
                    </a:ext>
                  </a:extLst>
                </a:gridCol>
                <a:gridCol w="7156723">
                  <a:extLst>
                    <a:ext uri="{9D8B030D-6E8A-4147-A177-3AD203B41FA5}">
                      <a16:colId xmlns:a16="http://schemas.microsoft.com/office/drawing/2014/main" val="3029055405"/>
                    </a:ext>
                  </a:extLst>
                </a:gridCol>
              </a:tblGrid>
              <a:tr h="429298">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anchor="b">
                    <a:lnR w="12700" cmpd="sng">
                      <a:noFill/>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Current rank</a:t>
                      </a:r>
                      <a:r>
                        <a:rPr lang="en-GB" sz="1100" b="1" i="0" strike="noStrike"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1</a:t>
                      </a:r>
                      <a:r>
                        <a:rPr lang="en-GB" sz="11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 (3</a:t>
                      </a:r>
                      <a:r>
                        <a:rPr lang="en-GB" sz="1100" b="1" i="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d</a:t>
                      </a:r>
                      <a:r>
                        <a:rPr lang="en-GB" sz="11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 edition)</a:t>
                      </a:r>
                    </a:p>
                  </a:txBody>
                  <a:tcPr anchor="b">
                    <a:lnL w="12700" cmpd="sng">
                      <a:noFill/>
                    </a:lnL>
                    <a:lnR w="12700" cmpd="sng">
                      <a:noFill/>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Change in rank </a:t>
                      </a:r>
                    </a:p>
                  </a:txBody>
                  <a:tcPr anchor="b">
                    <a:lnL w="12700" cmpd="sng">
                      <a:noFill/>
                    </a:lnL>
                    <a:lnR w="12700" cmpd="sng">
                      <a:noFill/>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Previous rank (2</a:t>
                      </a:r>
                      <a:r>
                        <a:rPr lang="en-GB" sz="1100" b="1" i="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nd</a:t>
                      </a:r>
                      <a:r>
                        <a:rPr lang="en-GB" sz="11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 edition)</a:t>
                      </a:r>
                    </a:p>
                  </a:txBody>
                  <a:tcPr anchor="b">
                    <a:lnL w="12700" cmpd="sng">
                      <a:noFill/>
                    </a:lnL>
                    <a:lnR w="12700" cmpd="sng">
                      <a:noFill/>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i="0" kern="1200">
                        <a:solidFill>
                          <a:schemeClr val="tx1"/>
                        </a:solidFill>
                        <a:latin typeface="+mn-lt"/>
                        <a:ea typeface="Lato" panose="020F0502020204030203" pitchFamily="34" charset="0"/>
                        <a:cs typeface="Lato" panose="020F0502020204030203" pitchFamily="34" charset="0"/>
                      </a:endParaRPr>
                    </a:p>
                  </a:txBody>
                  <a:tcPr marL="0" marR="0" marT="0" marB="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y change drivers and recent highlights</a:t>
                      </a:r>
                    </a:p>
                  </a:txBody>
                  <a:tcPr anchor="b">
                    <a:lnL w="12700" cmpd="sng">
                      <a:noFill/>
                    </a:lnL>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5036239"/>
                  </a:ext>
                </a:extLst>
              </a:tr>
              <a:tr h="429298">
                <a:tc>
                  <a:txBody>
                    <a:bodyPr/>
                    <a:lstStyle/>
                    <a:p>
                      <a:pPr marL="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en-GB" sz="1100" b="0" i="0" u="none" strike="noStrike">
                          <a:solidFill>
                            <a:schemeClr val="tx1"/>
                          </a:solidFill>
                          <a:effectLst/>
                          <a:latin typeface="+mn-lt"/>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rtl="0" fontAlgn="b">
                        <a:buFont typeface="Wingdings" panose="05000000000000000000" pitchFamily="2" charset="2"/>
                        <a:buChar char="§"/>
                      </a:pPr>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16475">
                <a:tc>
                  <a:txBody>
                    <a:bodyPr/>
                    <a:lstStyle/>
                    <a:p>
                      <a:pPr marL="0" marR="0" indent="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en-GB" sz="1100" b="0" i="0" u="none" strike="noStrike">
                          <a:solidFill>
                            <a:schemeClr val="tx1"/>
                          </a:solidFill>
                          <a:effectLst/>
                          <a:latin typeface="+mn-lt"/>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rtl="0" fontAlgn="b">
                        <a:buFont typeface="Wingdings" panose="05000000000000000000" pitchFamily="2" charset="2"/>
                        <a:buChar char="§"/>
                      </a:pPr>
                      <a:endParaRPr lang="en-GB"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9210508"/>
                  </a:ext>
                </a:extLst>
              </a:tr>
              <a:tr h="429298">
                <a:tc>
                  <a:txBody>
                    <a:bodyPr/>
                    <a:lstStyle/>
                    <a:p>
                      <a:pPr marL="0" marR="0" indent="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en-GB" sz="1100" b="0" i="0" u="none" strike="noStrike">
                          <a:solidFill>
                            <a:schemeClr val="tx1"/>
                          </a:solidFill>
                          <a:effectLst/>
                          <a:latin typeface="+mn-lt"/>
                        </a:rPr>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rtl="0" fontAlgn="b">
                        <a:buFont typeface="Wingdings" panose="05000000000000000000" pitchFamily="2" charset="2"/>
                        <a:buChar char="§"/>
                      </a:pPr>
                      <a:endParaRPr lang="en-GB"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8080983"/>
                  </a:ext>
                </a:extLst>
              </a:tr>
              <a:tr h="371802">
                <a:tc>
                  <a:txBody>
                    <a:bodyPr/>
                    <a:lstStyle/>
                    <a:p>
                      <a:pPr marL="0" marR="0" indent="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rtl="0" fontAlgn="b"/>
                      <a:r>
                        <a:rPr lang="en-GB" sz="1100" b="0" i="0" u="none" strike="noStrike">
                          <a:solidFill>
                            <a:schemeClr val="tx1"/>
                          </a:solidFill>
                          <a:effectLst/>
                          <a:latin typeface="+mn-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rtl="0" fontAlgn="b">
                        <a:buFont typeface="Wingdings" panose="05000000000000000000" pitchFamily="2" charset="2"/>
                        <a:buChar char="§"/>
                      </a:pPr>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8261833"/>
                  </a:ext>
                </a:extLst>
              </a:tr>
              <a:tr h="442211">
                <a:tc>
                  <a:txBody>
                    <a:bodyPr/>
                    <a:lstStyle/>
                    <a:p>
                      <a:pPr marL="0" marR="0" indent="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8506081"/>
                  </a:ext>
                </a:extLst>
              </a:tr>
              <a:tr h="578297">
                <a:tc>
                  <a:txBody>
                    <a:bodyPr/>
                    <a:lstStyle/>
                    <a:p>
                      <a:pPr marL="0" marR="0" indent="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en-GB" sz="1100" b="0" i="0" u="none" strike="noStrike">
                          <a:solidFill>
                            <a:schemeClr val="tx1"/>
                          </a:solidFill>
                          <a:effectLst/>
                          <a:latin typeface="+mn-lt"/>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rtl="0" fontAlgn="b">
                        <a:buFont typeface="Wingdings" panose="05000000000000000000" pitchFamily="2" charset="2"/>
                        <a:buChar char="§"/>
                      </a:pPr>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9309152"/>
                  </a:ext>
                </a:extLst>
              </a:tr>
              <a:tr h="426720">
                <a:tc>
                  <a:txBody>
                    <a:bodyPr/>
                    <a:lstStyle/>
                    <a:p>
                      <a:pPr marL="0" marR="0" indent="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en-GB" sz="1100" b="0" i="0" u="none" strike="noStrike">
                          <a:solidFill>
                            <a:schemeClr val="tx1"/>
                          </a:solidFill>
                          <a:effectLst/>
                          <a:latin typeface="+mn-lt"/>
                        </a:rPr>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0424253"/>
                  </a:ext>
                </a:extLst>
              </a:tr>
              <a:tr h="318302">
                <a:tc>
                  <a:txBody>
                    <a:bodyPr/>
                    <a:lstStyle/>
                    <a:p>
                      <a:pPr algn="ctr"/>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0" i="0" u="none" strike="noStrike">
                          <a:solidFill>
                            <a:schemeClr val="tx1"/>
                          </a:solidFill>
                          <a:effectLst/>
                          <a:latin typeface="+mn-lt"/>
                        </a:rPr>
                        <a:t>8</a:t>
                      </a:r>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4677424"/>
                  </a:ext>
                </a:extLst>
              </a:tr>
              <a:tr h="337931">
                <a:tc>
                  <a:txBody>
                    <a:bodyPr/>
                    <a:lstStyle/>
                    <a:p>
                      <a:pPr marL="0" marR="0" indent="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en-GB" sz="1100" b="0" i="0" u="none" strike="noStrike">
                          <a:solidFill>
                            <a:schemeClr val="tx1"/>
                          </a:solidFill>
                          <a:effectLst/>
                          <a:latin typeface="+mn-lt"/>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rtl="0" fontAlgn="b">
                        <a:buFont typeface="Wingdings" panose="05000000000000000000" pitchFamily="2" charset="2"/>
                        <a:buChar char="§"/>
                      </a:pPr>
                      <a:endParaRPr lang="en-GB" sz="11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675267"/>
                  </a:ext>
                </a:extLst>
              </a:tr>
              <a:tr h="429298">
                <a:tc>
                  <a:txBody>
                    <a:bodyPr/>
                    <a:lstStyle/>
                    <a:p>
                      <a:pPr marL="0" marR="0" indent="0" algn="ctr" rtl="0" eaLnBrk="1" fontAlgn="b" latinLnBrk="0" hangingPunct="1">
                        <a:spcBef>
                          <a:spcPts val="0"/>
                        </a:spcBef>
                        <a:spcAft>
                          <a:spcPts val="0"/>
                        </a:spcAft>
                      </a:pPr>
                      <a:endParaRPr lang="en-GB" sz="1100" b="0" i="0" u="none" strike="noStrike">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en-GB" sz="1100" b="0" i="0" u="none" strike="noStrike">
                          <a:solidFill>
                            <a:schemeClr val="tx1"/>
                          </a:solidFill>
                          <a:effectLst/>
                          <a:latin typeface="+mn-lt"/>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1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0" marR="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rtl="0" fontAlgn="b">
                        <a:buFont typeface="Wingdings" panose="05000000000000000000" pitchFamily="2" charset="2"/>
                        <a:buChar char="§"/>
                      </a:pPr>
                      <a:endParaRPr lang="en-GB" sz="1100" b="0" i="0" u="none" strike="noStrike">
                        <a:solidFill>
                          <a:schemeClr val="tx1"/>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7503049"/>
                  </a:ext>
                </a:extLst>
              </a:tr>
            </a:tbl>
          </a:graphicData>
        </a:graphic>
      </p:graphicFrame>
      <p:sp>
        <p:nvSpPr>
          <p:cNvPr id="15" name="Text Placeholder 14">
            <a:extLst>
              <a:ext uri="{FF2B5EF4-FFF2-40B4-BE49-F238E27FC236}">
                <a16:creationId xmlns:a16="http://schemas.microsoft.com/office/drawing/2014/main" id="{F2DE912A-6156-413D-9593-B6C8E6346BA5}"/>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p:cNvSpPr>
            <a:spLocks noGrp="1"/>
          </p:cNvSpPr>
          <p:nvPr>
            <p:ph type="title"/>
          </p:nvPr>
        </p:nvSpPr>
        <p:spPr>
          <a:xfrm>
            <a:off x="381599" y="411856"/>
            <a:ext cx="9033864" cy="609398"/>
          </a:xfrm>
        </p:spPr>
        <p:txBody>
          <a:bodyPr vert="horz"/>
          <a:lstStyle/>
          <a:p>
            <a:r>
              <a:rPr kumimoji="0" lang="en-GB" sz="2400" b="0" i="0" u="none" strike="noStrike" kern="1200" cap="none" spc="0" normalizeH="0" baseline="0" noProof="0">
                <a:ln>
                  <a:noFill/>
                </a:ln>
                <a:solidFill>
                  <a:srgbClr val="3C3C3B"/>
                </a:solidFill>
                <a:effectLst/>
                <a:highlight>
                  <a:srgbClr val="808080"/>
                </a:highlight>
                <a:uLnTx/>
                <a:uFillTx/>
                <a:latin typeface="Lato" panose="020F0502020204030203" pitchFamily="34" charset="0"/>
                <a:sym typeface="Lato" panose="020F0502020204030203" pitchFamily="34" charset="0"/>
              </a:rPr>
              <a:t>              </a:t>
            </a:r>
            <a:r>
              <a:rPr lang="en-GB"/>
              <a:t> was the most attractive market; </a:t>
            </a:r>
            <a:r>
              <a:rPr lang="en-GB">
                <a:highlight>
                  <a:srgbClr val="808080"/>
                </a:highlight>
              </a:rPr>
              <a:t>            </a:t>
            </a:r>
            <a:r>
              <a:rPr lang="en-GB"/>
              <a:t> has dropped down the rankings</a:t>
            </a:r>
          </a:p>
        </p:txBody>
      </p:sp>
      <p:sp>
        <p:nvSpPr>
          <p:cNvPr id="17" name="Text Placeholder 16">
            <a:extLst>
              <a:ext uri="{FF2B5EF4-FFF2-40B4-BE49-F238E27FC236}">
                <a16:creationId xmlns:a16="http://schemas.microsoft.com/office/drawing/2014/main" id="{94F64E20-A1AF-4E19-B519-1D51BB9E9E03}"/>
              </a:ext>
            </a:extLst>
          </p:cNvPr>
          <p:cNvSpPr>
            <a:spLocks noGrp="1"/>
          </p:cNvSpPr>
          <p:nvPr>
            <p:ph type="body" sz="quarter" idx="31"/>
          </p:nvPr>
        </p:nvSpPr>
        <p:spPr>
          <a:xfrm>
            <a:off x="381599" y="79401"/>
            <a:ext cx="1561646" cy="184666"/>
          </a:xfrm>
        </p:spPr>
        <p:txBody>
          <a:bodyPr/>
          <a:lstStyle/>
          <a:p>
            <a:r>
              <a:rPr lang="en-GB"/>
              <a:t>	Executive Summary</a:t>
            </a:r>
          </a:p>
        </p:txBody>
      </p:sp>
      <p:sp>
        <p:nvSpPr>
          <p:cNvPr id="6" name="Rectangle 5" hidden="1">
            <a:extLst>
              <a:ext uri="{FF2B5EF4-FFF2-40B4-BE49-F238E27FC236}">
                <a16:creationId xmlns:a16="http://schemas.microsoft.com/office/drawing/2014/main" id="{F95D4778-C2AF-45CE-9FE3-544033DF4A70}"/>
              </a:ext>
            </a:extLst>
          </p:cNvPr>
          <p:cNvSpPr/>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2" name="Rectangle 1">
            <a:extLst>
              <a:ext uri="{FF2B5EF4-FFF2-40B4-BE49-F238E27FC236}">
                <a16:creationId xmlns:a16="http://schemas.microsoft.com/office/drawing/2014/main" id="{C805FE5F-4E26-3DA1-E8C9-ECFECD3E88A2}"/>
              </a:ext>
            </a:extLst>
          </p:cNvPr>
          <p:cNvSpPr/>
          <p:nvPr/>
        </p:nvSpPr>
        <p:spPr>
          <a:xfrm>
            <a:off x="912795" y="6229230"/>
            <a:ext cx="10366409" cy="155798"/>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1" i="1" u="none" strike="noStrike" kern="1200" cap="none" spc="0" normalizeH="0" baseline="0" noProof="0">
              <a:ln>
                <a:noFill/>
              </a:ln>
              <a:solidFill>
                <a:srgbClr val="3C3C3B"/>
              </a:solidFill>
              <a:effectLst/>
              <a:uLnTx/>
              <a:uFillTx/>
              <a:latin typeface="Lato"/>
              <a:ea typeface="+mn-ea"/>
              <a:cs typeface="+mn-cs"/>
            </a:endParaRPr>
          </a:p>
        </p:txBody>
      </p:sp>
      <p:sp>
        <p:nvSpPr>
          <p:cNvPr id="21" name="Oval 20">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
        <p:nvSpPr>
          <p:cNvPr id="7" name="Text Placeholder 16">
            <a:extLst>
              <a:ext uri="{FF2B5EF4-FFF2-40B4-BE49-F238E27FC236}">
                <a16:creationId xmlns:a16="http://schemas.microsoft.com/office/drawing/2014/main" id="{04958C82-3759-CE93-FAA3-7782CCDA7A2B}"/>
              </a:ext>
            </a:extLst>
          </p:cNvPr>
          <p:cNvSpPr txBox="1">
            <a:spLocks noGrp="1"/>
          </p:cNvSpPr>
          <p:nvPr>
            <p:ph type="body" sz="quarter" idx="32"/>
          </p:nvPr>
        </p:nvSpPr>
        <p:spPr>
          <a:xfrm>
            <a:off x="381000" y="6475413"/>
            <a:ext cx="11430000"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27" name="Isosceles Triangle 26">
            <a:extLst>
              <a:ext uri="{FF2B5EF4-FFF2-40B4-BE49-F238E27FC236}">
                <a16:creationId xmlns:a16="http://schemas.microsoft.com/office/drawing/2014/main" id="{67B043C9-A43E-7E15-EC49-07F9CD962584}"/>
              </a:ext>
            </a:extLst>
          </p:cNvPr>
          <p:cNvSpPr/>
          <p:nvPr/>
        </p:nvSpPr>
        <p:spPr>
          <a:xfrm>
            <a:off x="2736511" y="2275021"/>
            <a:ext cx="165100" cy="177800"/>
          </a:xfrm>
          <a:prstGeom prst="triangle">
            <a:avLst/>
          </a:prstGeom>
          <a:solidFill>
            <a:srgbClr val="A6B727"/>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28" name="Isosceles Triangle 27">
            <a:extLst>
              <a:ext uri="{FF2B5EF4-FFF2-40B4-BE49-F238E27FC236}">
                <a16:creationId xmlns:a16="http://schemas.microsoft.com/office/drawing/2014/main" id="{306BC881-4E8A-D34B-3C04-E18D9565A6C6}"/>
              </a:ext>
            </a:extLst>
          </p:cNvPr>
          <p:cNvSpPr/>
          <p:nvPr/>
        </p:nvSpPr>
        <p:spPr>
          <a:xfrm>
            <a:off x="2736511" y="2824787"/>
            <a:ext cx="165100" cy="177800"/>
          </a:xfrm>
          <a:prstGeom prst="triangle">
            <a:avLst/>
          </a:prstGeom>
          <a:solidFill>
            <a:srgbClr val="A6B727"/>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29" name="Isosceles Triangle 28">
            <a:extLst>
              <a:ext uri="{FF2B5EF4-FFF2-40B4-BE49-F238E27FC236}">
                <a16:creationId xmlns:a16="http://schemas.microsoft.com/office/drawing/2014/main" id="{2962B49D-8865-A287-F0BB-7F7B6864A666}"/>
              </a:ext>
            </a:extLst>
          </p:cNvPr>
          <p:cNvSpPr/>
          <p:nvPr/>
        </p:nvSpPr>
        <p:spPr>
          <a:xfrm>
            <a:off x="2736510" y="3231008"/>
            <a:ext cx="165100" cy="177800"/>
          </a:xfrm>
          <a:prstGeom prst="triangle">
            <a:avLst/>
          </a:prstGeom>
          <a:solidFill>
            <a:srgbClr val="A6B727"/>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0" name="Isosceles Triangle 29">
            <a:extLst>
              <a:ext uri="{FF2B5EF4-FFF2-40B4-BE49-F238E27FC236}">
                <a16:creationId xmlns:a16="http://schemas.microsoft.com/office/drawing/2014/main" id="{7ACD9B80-3232-93E5-0E33-C00F9381FD6F}"/>
              </a:ext>
            </a:extLst>
          </p:cNvPr>
          <p:cNvSpPr/>
          <p:nvPr/>
        </p:nvSpPr>
        <p:spPr>
          <a:xfrm rot="10800000">
            <a:off x="2736511" y="3625917"/>
            <a:ext cx="165100" cy="177800"/>
          </a:xfrm>
          <a:prstGeom prst="triangle">
            <a:avLst/>
          </a:prstGeom>
          <a:solidFill>
            <a:srgbClr val="FF670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1" name="Isosceles Triangle 30">
            <a:extLst>
              <a:ext uri="{FF2B5EF4-FFF2-40B4-BE49-F238E27FC236}">
                <a16:creationId xmlns:a16="http://schemas.microsoft.com/office/drawing/2014/main" id="{AED4A9F6-2CAB-8D68-9C5C-AFD518920E26}"/>
              </a:ext>
            </a:extLst>
          </p:cNvPr>
          <p:cNvSpPr/>
          <p:nvPr/>
        </p:nvSpPr>
        <p:spPr>
          <a:xfrm>
            <a:off x="2736511" y="4153211"/>
            <a:ext cx="165100" cy="177800"/>
          </a:xfrm>
          <a:prstGeom prst="triangle">
            <a:avLst/>
          </a:prstGeom>
          <a:solidFill>
            <a:srgbClr val="A6B727"/>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3" name="Isosceles Triangle 32">
            <a:extLst>
              <a:ext uri="{FF2B5EF4-FFF2-40B4-BE49-F238E27FC236}">
                <a16:creationId xmlns:a16="http://schemas.microsoft.com/office/drawing/2014/main" id="{9003A234-B99E-97DC-B9EA-E7E1F6A046DE}"/>
              </a:ext>
            </a:extLst>
          </p:cNvPr>
          <p:cNvSpPr/>
          <p:nvPr/>
        </p:nvSpPr>
        <p:spPr>
          <a:xfrm rot="10800000">
            <a:off x="2736512" y="4611752"/>
            <a:ext cx="165100" cy="177800"/>
          </a:xfrm>
          <a:prstGeom prst="triangle">
            <a:avLst/>
          </a:prstGeom>
          <a:solidFill>
            <a:srgbClr val="FF670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4" name="Isosceles Triangle 33">
            <a:extLst>
              <a:ext uri="{FF2B5EF4-FFF2-40B4-BE49-F238E27FC236}">
                <a16:creationId xmlns:a16="http://schemas.microsoft.com/office/drawing/2014/main" id="{F7135184-79DD-8554-9580-49CC458EFCE0}"/>
              </a:ext>
            </a:extLst>
          </p:cNvPr>
          <p:cNvSpPr/>
          <p:nvPr/>
        </p:nvSpPr>
        <p:spPr>
          <a:xfrm rot="10800000">
            <a:off x="2736512" y="5742637"/>
            <a:ext cx="165100" cy="177800"/>
          </a:xfrm>
          <a:prstGeom prst="triangle">
            <a:avLst/>
          </a:prstGeom>
          <a:solidFill>
            <a:srgbClr val="FF670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5" name="Isosceles Triangle 34">
            <a:extLst>
              <a:ext uri="{FF2B5EF4-FFF2-40B4-BE49-F238E27FC236}">
                <a16:creationId xmlns:a16="http://schemas.microsoft.com/office/drawing/2014/main" id="{FE2C0AC2-B570-4E0E-84BE-6E2902529EF1}"/>
              </a:ext>
            </a:extLst>
          </p:cNvPr>
          <p:cNvSpPr/>
          <p:nvPr/>
        </p:nvSpPr>
        <p:spPr>
          <a:xfrm>
            <a:off x="2736511" y="5342456"/>
            <a:ext cx="165100" cy="177800"/>
          </a:xfrm>
          <a:prstGeom prst="triangle">
            <a:avLst/>
          </a:prstGeom>
          <a:solidFill>
            <a:srgbClr val="A6B727"/>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Tree>
    <p:extLst>
      <p:ext uri="{BB962C8B-B14F-4D97-AF65-F5344CB8AC3E}">
        <p14:creationId xmlns:p14="http://schemas.microsoft.com/office/powerpoint/2010/main" val="117944353"/>
      </p:ext>
    </p:extLst>
  </p:cSld>
  <p:clrMapOvr>
    <a:masterClrMapping/>
  </p:clrMapOvr>
  <p:extLst>
    <p:ext uri="{6950BFC3-D8DA-4A85-94F7-54DA5524770B}">
      <p188:commentRel xmlns:p188="http://schemas.microsoft.com/office/powerpoint/2018/8/main" r:id="rId5"/>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1722390"/>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3912866"/>
          </a:xfrm>
        </p:spPr>
        <p:txBody>
          <a:bodyPr/>
          <a:lstStyle/>
          <a:p>
            <a:r>
              <a:rPr lang="en-GB" sz="1400" dirty="0">
                <a:hlinkClick r:id="rId6" action="ppaction://hlinksldjump"/>
              </a:rPr>
              <a:t>Executive summary</a:t>
            </a:r>
            <a:endParaRPr lang="en-GB" sz="1400" dirty="0"/>
          </a:p>
          <a:p>
            <a:r>
              <a:rPr lang="en-GB" sz="1400" dirty="0">
                <a:hlinkClick r:id="rId7" action="ppaction://hlinksldjump"/>
              </a:rPr>
              <a:t>Introduction to battery storage</a:t>
            </a:r>
            <a:r>
              <a:rPr lang="en-GB" sz="1400" dirty="0"/>
              <a:t>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2" name="Group 1">
            <a:extLst>
              <a:ext uri="{FF2B5EF4-FFF2-40B4-BE49-F238E27FC236}">
                <a16:creationId xmlns:a16="http://schemas.microsoft.com/office/drawing/2014/main" id="{24A9BD01-C11D-669C-3741-20CD773F2A64}"/>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792D2839-A858-4707-5462-418B680216C1}"/>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6" name="TextBox 5">
              <a:extLst>
                <a:ext uri="{FF2B5EF4-FFF2-40B4-BE49-F238E27FC236}">
                  <a16:creationId xmlns:a16="http://schemas.microsoft.com/office/drawing/2014/main" id="{39C4A369-1863-B2EF-D426-E41A59C89568}"/>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16986777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0894E5-D962-F36C-F2BA-2B9AAD8FCB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B60894E5-D962-F36C-F2BA-2B9AAD8FCB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1D2E9AA-7FE4-78B0-D36B-3C959C0CA05E}"/>
              </a:ext>
            </a:extLst>
          </p:cNvPr>
          <p:cNvSpPr>
            <a:spLocks noGrp="1"/>
          </p:cNvSpPr>
          <p:nvPr>
            <p:ph type="body" sz="quarter" idx="27"/>
          </p:nvPr>
        </p:nvSpPr>
        <p:spPr>
          <a:xfrm>
            <a:off x="380996" y="2860467"/>
            <a:ext cx="3038479" cy="738664"/>
          </a:xfrm>
        </p:spPr>
        <p:txBody>
          <a:bodyPr/>
          <a:lstStyle/>
          <a:p>
            <a:r>
              <a:rPr lang="en-GB" sz="2400" i="1"/>
              <a:t>Introduction to battery storage</a:t>
            </a:r>
          </a:p>
        </p:txBody>
      </p:sp>
      <p:sp>
        <p:nvSpPr>
          <p:cNvPr id="3" name="Text Placeholder 2">
            <a:extLst>
              <a:ext uri="{FF2B5EF4-FFF2-40B4-BE49-F238E27FC236}">
                <a16:creationId xmlns:a16="http://schemas.microsoft.com/office/drawing/2014/main" id="{A54D5BFC-8DFA-9E5F-B542-1941CC42EBC7}"/>
              </a:ext>
            </a:extLst>
          </p:cNvPr>
          <p:cNvSpPr>
            <a:spLocks noGrp="1"/>
          </p:cNvSpPr>
          <p:nvPr>
            <p:ph type="body" sz="quarter" idx="28"/>
          </p:nvPr>
        </p:nvSpPr>
        <p:spPr>
          <a:xfrm>
            <a:off x="3814481" y="1270000"/>
            <a:ext cx="8009220" cy="5180905"/>
          </a:xfrm>
        </p:spPr>
        <p:txBody>
          <a:bodyPr vert="horz" lIns="0" tIns="0" rIns="0" bIns="0" rtlCol="0" anchor="t">
            <a:spAutoFit/>
          </a:bodyPr>
          <a:lstStyle/>
          <a:p>
            <a:pPr marL="182880" indent="-182880">
              <a:buFont typeface="Wingdings" panose="05000000000000000000" pitchFamily="2" charset="2"/>
              <a:buChar char="§"/>
            </a:pPr>
            <a:r>
              <a:rPr lang="en-GB">
                <a:ea typeface="Lato"/>
                <a:cs typeface="Lato"/>
              </a:rPr>
              <a:t>Battery Energy Storage Systems (BESS or batteries) are devices that enable excess energy from variable generators, like solar and wind, to be stored and then discharged in periods of high demand or to provide grid services like frequency response and balancing. </a:t>
            </a:r>
            <a:endParaRPr lang="en-GB"/>
          </a:p>
          <a:p>
            <a:pPr algn="ctr">
              <a:spcBef>
                <a:spcPts val="300"/>
              </a:spcBef>
            </a:pPr>
            <a:r>
              <a:rPr lang="en-GB" b="1">
                <a:ea typeface="Lato"/>
                <a:cs typeface="Lato"/>
              </a:rPr>
              <a:t>**This report focuses on assessing the prospects for utility-scale battery business models.**</a:t>
            </a:r>
            <a:endParaRPr lang="en-GB" b="1">
              <a:latin typeface="Lato"/>
              <a:ea typeface="Lato"/>
              <a:cs typeface="Lato"/>
            </a:endParaRPr>
          </a:p>
          <a:p>
            <a:pPr marL="182880" indent="-182880">
              <a:spcBef>
                <a:spcPts val="400"/>
              </a:spcBef>
              <a:buFont typeface="Wingdings" panose="05000000000000000000" pitchFamily="2" charset="2"/>
              <a:buChar char="§"/>
            </a:pPr>
            <a:r>
              <a:rPr lang="en-GB">
                <a:latin typeface="Lato"/>
                <a:ea typeface="Lato"/>
                <a:cs typeface="Lato"/>
              </a:rPr>
              <a:t>Rising flexibility needs and BESS buildout are primarily driven by decarbonisation efforts and its underlying drivers :</a:t>
            </a:r>
          </a:p>
          <a:p>
            <a:pPr marL="365760" lvl="1" indent="-182880">
              <a:spcBef>
                <a:spcPts val="300"/>
              </a:spcBef>
              <a:buFont typeface="Symbol" panose="05050102010706020507" pitchFamily="18" charset="2"/>
              <a:buChar char="-"/>
            </a:pPr>
            <a:r>
              <a:rPr lang="en-GB" sz="1200">
                <a:latin typeface="Lato"/>
                <a:ea typeface="Lato"/>
                <a:cs typeface="Lato"/>
              </a:rPr>
              <a:t>Fast deployment of variable (i.e., weather dependent) renewables capacity in the energy mix</a:t>
            </a:r>
          </a:p>
          <a:p>
            <a:pPr marL="365760" lvl="1" indent="-182880">
              <a:spcBef>
                <a:spcPts val="300"/>
              </a:spcBef>
              <a:buFont typeface="Symbol" panose="05050102010706020507" pitchFamily="18" charset="2"/>
              <a:buChar char="-"/>
            </a:pPr>
            <a:r>
              <a:rPr lang="en-GB" sz="1200">
                <a:latin typeface="+mn-lt"/>
                <a:ea typeface="Lato"/>
                <a:cs typeface="Lato"/>
              </a:rPr>
              <a:t>Retirement of traditional baseload and thermal assets in an effort to decarbonise</a:t>
            </a:r>
            <a:r>
              <a:rPr lang="en-GB">
                <a:latin typeface="+mn-lt"/>
                <a:ea typeface="Lato"/>
                <a:cs typeface="Lato"/>
              </a:rPr>
              <a:t> </a:t>
            </a:r>
            <a:endParaRPr lang="en-GB" sz="1200">
              <a:latin typeface="+mn-lt"/>
            </a:endParaRPr>
          </a:p>
          <a:p>
            <a:pPr marL="365760" lvl="1" indent="-182880">
              <a:spcBef>
                <a:spcPts val="300"/>
              </a:spcBef>
              <a:buFont typeface="Symbol" panose="05050102010706020507" pitchFamily="18" charset="2"/>
              <a:buChar char="-"/>
            </a:pPr>
            <a:r>
              <a:rPr lang="en-GB" sz="1200">
                <a:latin typeface="Lato"/>
                <a:ea typeface="Lato"/>
                <a:cs typeface="Lato"/>
              </a:rPr>
              <a:t>Rising power demand driven by electrification of transport and heat and hydrogen production through electrolysis</a:t>
            </a:r>
            <a:endParaRPr lang="en-GB">
              <a:latin typeface="Lato"/>
              <a:ea typeface="Lato"/>
              <a:cs typeface="Lato"/>
            </a:endParaRPr>
          </a:p>
          <a:p>
            <a:pPr marL="182880" indent="-182880">
              <a:spcBef>
                <a:spcPts val="400"/>
              </a:spcBef>
              <a:buFont typeface="Wingdings" panose="05000000000000000000" pitchFamily="2" charset="2"/>
              <a:buChar char="§"/>
            </a:pPr>
            <a:r>
              <a:rPr lang="en-GB">
                <a:ea typeface="Lato"/>
                <a:cs typeface="Lato"/>
              </a:rPr>
              <a:t>Based on Aurora‘s Central forecast scenario, Europe will see a </a:t>
            </a:r>
            <a:r>
              <a:rPr lang="en-GB">
                <a:highlight>
                  <a:srgbClr val="808080"/>
                </a:highlight>
                <a:ea typeface="Lato"/>
                <a:cs typeface="Lato"/>
              </a:rPr>
              <a:t>      </a:t>
            </a:r>
            <a:r>
              <a:rPr lang="en-GB">
                <a:ea typeface="Lato"/>
                <a:cs typeface="Lato"/>
              </a:rPr>
              <a:t>GW increase in variable renewables capacity by 2030, accounting for </a:t>
            </a:r>
            <a:r>
              <a:rPr lang="en-GB">
                <a:highlight>
                  <a:srgbClr val="808080"/>
                </a:highlight>
                <a:ea typeface="Lato"/>
                <a:cs typeface="Lato"/>
              </a:rPr>
              <a:t>      </a:t>
            </a:r>
            <a:r>
              <a:rPr lang="en-GB">
                <a:ea typeface="Lato"/>
                <a:cs typeface="Lato"/>
              </a:rPr>
              <a:t>% of total generation.</a:t>
            </a:r>
          </a:p>
          <a:p>
            <a:pPr marL="182880" indent="-182880">
              <a:spcBef>
                <a:spcPts val="400"/>
              </a:spcBef>
              <a:buFont typeface="Wingdings" panose="05000000000000000000" pitchFamily="2" charset="2"/>
              <a:buChar char="§"/>
            </a:pPr>
            <a:r>
              <a:rPr lang="en-GB">
                <a:ea typeface="Lato"/>
                <a:cs typeface="Lato"/>
              </a:rPr>
              <a:t>Expected reduction in conventional thermal generation by </a:t>
            </a:r>
            <a:r>
              <a:rPr lang="en-GB">
                <a:highlight>
                  <a:srgbClr val="808080"/>
                </a:highlight>
                <a:ea typeface="Lato"/>
                <a:cs typeface="Lato"/>
              </a:rPr>
              <a:t>       </a:t>
            </a:r>
            <a:r>
              <a:rPr lang="en-GB">
                <a:ea typeface="Lato"/>
                <a:cs typeface="Lato"/>
              </a:rPr>
              <a:t>% through to 2050 results in loss of grid services including inertia, which </a:t>
            </a:r>
            <a:r>
              <a:rPr lang="en-GB">
                <a:effectLst/>
                <a:latin typeface="+mj-lt"/>
                <a:ea typeface="Calibri" panose="020F0502020204030204" pitchFamily="34" charset="0"/>
                <a:cs typeface="Arial"/>
              </a:rPr>
              <a:t>drives the need for increased ancillary services where batteries can play a key role.</a:t>
            </a:r>
          </a:p>
          <a:p>
            <a:pPr marL="182880" indent="-182880">
              <a:spcBef>
                <a:spcPts val="400"/>
              </a:spcBef>
              <a:buFont typeface="Wingdings" panose="05000000000000000000" pitchFamily="2" charset="2"/>
              <a:buChar char="§"/>
            </a:pPr>
            <a:r>
              <a:rPr lang="en-GB">
                <a:ea typeface="Lato"/>
                <a:cs typeface="Lato"/>
              </a:rPr>
              <a:t>Total power demand in Europe is expected to increase by </a:t>
            </a:r>
            <a:r>
              <a:rPr lang="en-GB">
                <a:highlight>
                  <a:srgbClr val="808080"/>
                </a:highlight>
                <a:ea typeface="Lato"/>
                <a:cs typeface="Lato"/>
              </a:rPr>
              <a:t>        </a:t>
            </a:r>
            <a:r>
              <a:rPr lang="en-GB">
                <a:ea typeface="Lato"/>
                <a:cs typeface="Lato"/>
              </a:rPr>
              <a:t>% to 2050, mainly driven by increased electrification of heating and transport and hydrogen production through electrolysis.</a:t>
            </a:r>
          </a:p>
          <a:p>
            <a:pPr marL="182880" indent="-182880">
              <a:spcBef>
                <a:spcPts val="400"/>
              </a:spcBef>
              <a:buFont typeface="Wingdings" panose="05000000000000000000" pitchFamily="2" charset="2"/>
              <a:buChar char="§"/>
            </a:pPr>
            <a:r>
              <a:rPr lang="en-GB">
                <a:ea typeface="Lato"/>
                <a:cs typeface="Lato"/>
              </a:rPr>
              <a:t>To ensure continued grid operability, additional markets are used across Europe to procure a variety of ancillary services which include Frequency Response, System Strength, Energy Balancing (Reserve), etc. Batteries are one of multiple technologies able to provide these services, but have a competitive edge of rapid response and high efficiency.</a:t>
            </a:r>
          </a:p>
          <a:p>
            <a:pPr marL="182880" indent="-182880">
              <a:spcBef>
                <a:spcPts val="400"/>
              </a:spcBef>
              <a:buFont typeface="Wingdings" panose="05000000000000000000" pitchFamily="2" charset="2"/>
              <a:buChar char="§"/>
            </a:pPr>
            <a:r>
              <a:rPr lang="en-GB">
                <a:ea typeface="Lato"/>
                <a:cs typeface="Lato"/>
              </a:rPr>
              <a:t>Lithium-ion BESS are composed of multiple raw materials, most notably lithium. Due to supply chain squeezes in 2021, lithium prices rose to all-time highs in 2022. However, lithium prices have since decreased by </a:t>
            </a:r>
            <a:r>
              <a:rPr lang="en-GB">
                <a:highlight>
                  <a:srgbClr val="808080"/>
                </a:highlight>
                <a:ea typeface="Lato"/>
                <a:cs typeface="Lato"/>
              </a:rPr>
              <a:t>       </a:t>
            </a:r>
            <a:r>
              <a:rPr lang="en-GB">
                <a:ea typeface="Lato"/>
                <a:cs typeface="Lato"/>
              </a:rPr>
              <a:t>% over the course of 2023, driven by rising supply and weak demand for EVs.</a:t>
            </a:r>
          </a:p>
          <a:p>
            <a:pPr marL="182880" indent="-182880">
              <a:spcBef>
                <a:spcPts val="400"/>
              </a:spcBef>
              <a:buFont typeface="Wingdings" panose="05000000000000000000" pitchFamily="2" charset="2"/>
              <a:buChar char="§"/>
            </a:pPr>
            <a:r>
              <a:rPr lang="en-GB">
                <a:ea typeface="Lato"/>
                <a:cs typeface="Lato"/>
              </a:rPr>
              <a:t>The observed price decreases sees battery system CAPEX fall, bringing total costs for representative 1hr, 2hr and 4hr assets in 2023 to </a:t>
            </a:r>
            <a:r>
              <a:rPr lang="en-GB">
                <a:highlight>
                  <a:srgbClr val="808080"/>
                </a:highlight>
                <a:ea typeface="Lato"/>
                <a:cs typeface="Lato"/>
              </a:rPr>
              <a:t>             </a:t>
            </a:r>
            <a:r>
              <a:rPr lang="en-GB">
                <a:ea typeface="Lato"/>
                <a:cs typeface="Lato"/>
              </a:rPr>
              <a:t>, </a:t>
            </a:r>
            <a:r>
              <a:rPr lang="en-GB">
                <a:highlight>
                  <a:srgbClr val="808080"/>
                </a:highlight>
                <a:ea typeface="Lato"/>
                <a:cs typeface="Lato"/>
              </a:rPr>
              <a:t>              </a:t>
            </a:r>
            <a:r>
              <a:rPr lang="en-GB">
                <a:ea typeface="Lato"/>
                <a:cs typeface="Lato"/>
              </a:rPr>
              <a:t>, and </a:t>
            </a:r>
            <a:r>
              <a:rPr lang="en-GB">
                <a:highlight>
                  <a:srgbClr val="808080"/>
                </a:highlight>
                <a:ea typeface="Lato"/>
                <a:cs typeface="Lato"/>
              </a:rPr>
              <a:t>           </a:t>
            </a:r>
            <a:r>
              <a:rPr lang="en-GB" b="0">
                <a:ea typeface="Lato"/>
                <a:cs typeface="Lato"/>
              </a:rPr>
              <a:t>€</a:t>
            </a:r>
            <a:r>
              <a:rPr lang="en-GB">
                <a:ea typeface="Lato"/>
                <a:cs typeface="Lato"/>
              </a:rPr>
              <a:t>/kW respectively. </a:t>
            </a:r>
            <a:endParaRPr lang="en-GB"/>
          </a:p>
          <a:p>
            <a:pPr marL="182880" indent="-182880">
              <a:spcBef>
                <a:spcPts val="400"/>
              </a:spcBef>
              <a:buFont typeface="Wingdings" panose="05000000000000000000" pitchFamily="2" charset="2"/>
              <a:buChar char="§"/>
            </a:pPr>
            <a:r>
              <a:rPr lang="en-GB">
                <a:ea typeface="Lato"/>
                <a:cs typeface="Lato"/>
              </a:rPr>
              <a:t>Looking forward, battery CAPEX declines by at least </a:t>
            </a:r>
            <a:r>
              <a:rPr lang="en-GB">
                <a:highlight>
                  <a:srgbClr val="808080"/>
                </a:highlight>
                <a:ea typeface="Lato"/>
                <a:cs typeface="Lato"/>
              </a:rPr>
              <a:t>            </a:t>
            </a:r>
            <a:r>
              <a:rPr lang="en-GB">
                <a:ea typeface="Lato"/>
                <a:cs typeface="Lato"/>
              </a:rPr>
              <a:t>% until 2030 due to technological learning and the upscaling of large battery production.</a:t>
            </a:r>
          </a:p>
        </p:txBody>
      </p:sp>
      <p:sp>
        <p:nvSpPr>
          <p:cNvPr id="4" name="Text Placeholder 3">
            <a:extLst>
              <a:ext uri="{FF2B5EF4-FFF2-40B4-BE49-F238E27FC236}">
                <a16:creationId xmlns:a16="http://schemas.microsoft.com/office/drawing/2014/main" id="{3EA8580F-9D35-BCC2-AB02-2390E8BA4C92}"/>
              </a:ext>
            </a:extLst>
          </p:cNvPr>
          <p:cNvSpPr>
            <a:spLocks noGrp="1"/>
          </p:cNvSpPr>
          <p:nvPr>
            <p:ph type="body" sz="quarter" idx="22"/>
          </p:nvPr>
        </p:nvSpPr>
        <p:spPr>
          <a:xfrm>
            <a:off x="3814481" y="6715169"/>
            <a:ext cx="1455527" cy="110800"/>
          </a:xfrm>
        </p:spPr>
        <p:txBody>
          <a:bodyPr/>
          <a:lstStyle/>
          <a:p>
            <a:r>
              <a:rPr lang="en-GB"/>
              <a:t>Source: Aurora Energy Research</a:t>
            </a:r>
          </a:p>
        </p:txBody>
      </p:sp>
      <p:sp>
        <p:nvSpPr>
          <p:cNvPr id="6" name="Text Placeholder 5">
            <a:extLst>
              <a:ext uri="{FF2B5EF4-FFF2-40B4-BE49-F238E27FC236}">
                <a16:creationId xmlns:a16="http://schemas.microsoft.com/office/drawing/2014/main" id="{46E5013F-10F2-4FE5-EDE2-7140DEDED6AD}"/>
              </a:ext>
            </a:extLst>
          </p:cNvPr>
          <p:cNvSpPr>
            <a:spLocks noGrp="1"/>
          </p:cNvSpPr>
          <p:nvPr>
            <p:ph type="body" sz="quarter" idx="31"/>
          </p:nvPr>
        </p:nvSpPr>
        <p:spPr>
          <a:xfrm>
            <a:off x="3814481" y="79401"/>
            <a:ext cx="2318263" cy="184666"/>
          </a:xfrm>
        </p:spPr>
        <p:txBody>
          <a:bodyPr/>
          <a:lstStyle/>
          <a:p>
            <a:r>
              <a:rPr lang="en-GB"/>
              <a:t>	Introduction to battery storage</a:t>
            </a:r>
          </a:p>
        </p:txBody>
      </p:sp>
      <p:grpSp>
        <p:nvGrpSpPr>
          <p:cNvPr id="56" name="Group 55">
            <a:extLst>
              <a:ext uri="{FF2B5EF4-FFF2-40B4-BE49-F238E27FC236}">
                <a16:creationId xmlns:a16="http://schemas.microsoft.com/office/drawing/2014/main" id="{F5266A61-181B-9DBD-D84C-CA2519C1DD57}"/>
              </a:ext>
            </a:extLst>
          </p:cNvPr>
          <p:cNvGrpSpPr/>
          <p:nvPr/>
        </p:nvGrpSpPr>
        <p:grpSpPr>
          <a:xfrm>
            <a:off x="931881" y="3942667"/>
            <a:ext cx="1820776" cy="2095484"/>
            <a:chOff x="931881" y="3897746"/>
            <a:chExt cx="1820776" cy="2095484"/>
          </a:xfrm>
        </p:grpSpPr>
        <p:grpSp>
          <p:nvGrpSpPr>
            <p:cNvPr id="30" name="Group 251">
              <a:extLst>
                <a:ext uri="{FF2B5EF4-FFF2-40B4-BE49-F238E27FC236}">
                  <a16:creationId xmlns:a16="http://schemas.microsoft.com/office/drawing/2014/main" id="{DCA168A9-1D39-4482-B2B8-F0276253969F}"/>
                </a:ext>
              </a:extLst>
            </p:cNvPr>
            <p:cNvGrpSpPr/>
            <p:nvPr/>
          </p:nvGrpSpPr>
          <p:grpSpPr>
            <a:xfrm>
              <a:off x="931881" y="4151782"/>
              <a:ext cx="1605264" cy="1841448"/>
              <a:chOff x="5416933" y="1367621"/>
              <a:chExt cx="1051294" cy="1317934"/>
            </a:xfrm>
          </p:grpSpPr>
          <p:sp>
            <p:nvSpPr>
              <p:cNvPr id="31" name="Freeform 238">
                <a:extLst>
                  <a:ext uri="{FF2B5EF4-FFF2-40B4-BE49-F238E27FC236}">
                    <a16:creationId xmlns:a16="http://schemas.microsoft.com/office/drawing/2014/main" id="{149E73A8-F607-6FAC-875D-2654D9ACB9F4}"/>
                  </a:ext>
                </a:extLst>
              </p:cNvPr>
              <p:cNvSpPr>
                <a:spLocks/>
              </p:cNvSpPr>
              <p:nvPr/>
            </p:nvSpPr>
            <p:spPr bwMode="auto">
              <a:xfrm>
                <a:off x="5416933" y="1367621"/>
                <a:ext cx="555605" cy="329248"/>
              </a:xfrm>
              <a:custGeom>
                <a:avLst/>
                <a:gdLst/>
                <a:ahLst/>
                <a:cxnLst>
                  <a:cxn ang="0">
                    <a:pos x="89" y="361"/>
                  </a:cxn>
                  <a:cxn ang="0">
                    <a:pos x="89" y="361"/>
                  </a:cxn>
                  <a:cxn ang="0">
                    <a:pos x="95" y="323"/>
                  </a:cxn>
                  <a:cxn ang="0">
                    <a:pos x="225" y="229"/>
                  </a:cxn>
                  <a:cxn ang="0">
                    <a:pos x="188" y="115"/>
                  </a:cxn>
                  <a:cxn ang="0">
                    <a:pos x="27" y="115"/>
                  </a:cxn>
                  <a:cxn ang="0">
                    <a:pos x="0" y="88"/>
                  </a:cxn>
                  <a:cxn ang="0">
                    <a:pos x="0" y="88"/>
                  </a:cxn>
                  <a:cxn ang="0">
                    <a:pos x="27" y="61"/>
                  </a:cxn>
                  <a:cxn ang="0">
                    <a:pos x="188" y="61"/>
                  </a:cxn>
                  <a:cxn ang="0">
                    <a:pos x="201" y="0"/>
                  </a:cxn>
                  <a:cxn ang="0">
                    <a:pos x="246" y="0"/>
                  </a:cxn>
                  <a:cxn ang="0">
                    <a:pos x="228" y="88"/>
                  </a:cxn>
                  <a:cxn ang="0">
                    <a:pos x="465" y="325"/>
                  </a:cxn>
                  <a:cxn ang="0">
                    <a:pos x="702" y="88"/>
                  </a:cxn>
                  <a:cxn ang="0">
                    <a:pos x="685" y="0"/>
                  </a:cxn>
                  <a:cxn ang="0">
                    <a:pos x="729" y="0"/>
                  </a:cxn>
                  <a:cxn ang="0">
                    <a:pos x="742" y="61"/>
                  </a:cxn>
                  <a:cxn ang="0">
                    <a:pos x="903" y="61"/>
                  </a:cxn>
                  <a:cxn ang="0">
                    <a:pos x="930" y="88"/>
                  </a:cxn>
                  <a:cxn ang="0">
                    <a:pos x="930" y="88"/>
                  </a:cxn>
                  <a:cxn ang="0">
                    <a:pos x="903" y="115"/>
                  </a:cxn>
                  <a:cxn ang="0">
                    <a:pos x="742" y="115"/>
                  </a:cxn>
                  <a:cxn ang="0">
                    <a:pos x="705" y="229"/>
                  </a:cxn>
                  <a:cxn ang="0">
                    <a:pos x="835" y="323"/>
                  </a:cxn>
                  <a:cxn ang="0">
                    <a:pos x="841" y="361"/>
                  </a:cxn>
                  <a:cxn ang="0">
                    <a:pos x="841" y="361"/>
                  </a:cxn>
                  <a:cxn ang="0">
                    <a:pos x="803" y="367"/>
                  </a:cxn>
                  <a:cxn ang="0">
                    <a:pos x="673" y="273"/>
                  </a:cxn>
                  <a:cxn ang="0">
                    <a:pos x="577" y="343"/>
                  </a:cxn>
                  <a:cxn ang="0">
                    <a:pos x="626" y="496"/>
                  </a:cxn>
                  <a:cxn ang="0">
                    <a:pos x="609" y="530"/>
                  </a:cxn>
                  <a:cxn ang="0">
                    <a:pos x="609" y="530"/>
                  </a:cxn>
                  <a:cxn ang="0">
                    <a:pos x="575" y="513"/>
                  </a:cxn>
                  <a:cxn ang="0">
                    <a:pos x="525" y="360"/>
                  </a:cxn>
                  <a:cxn ang="0">
                    <a:pos x="465" y="366"/>
                  </a:cxn>
                  <a:cxn ang="0">
                    <a:pos x="405" y="360"/>
                  </a:cxn>
                  <a:cxn ang="0">
                    <a:pos x="356" y="513"/>
                  </a:cxn>
                  <a:cxn ang="0">
                    <a:pos x="322" y="530"/>
                  </a:cxn>
                  <a:cxn ang="0">
                    <a:pos x="322" y="530"/>
                  </a:cxn>
                  <a:cxn ang="0">
                    <a:pos x="304" y="496"/>
                  </a:cxn>
                  <a:cxn ang="0">
                    <a:pos x="354" y="343"/>
                  </a:cxn>
                  <a:cxn ang="0">
                    <a:pos x="257" y="273"/>
                  </a:cxn>
                  <a:cxn ang="0">
                    <a:pos x="127" y="367"/>
                  </a:cxn>
                  <a:cxn ang="0">
                    <a:pos x="89" y="361"/>
                  </a:cxn>
                </a:cxnLst>
                <a:rect l="0" t="0" r="r" b="b"/>
                <a:pathLst>
                  <a:path w="930" h="535">
                    <a:moveTo>
                      <a:pt x="89" y="361"/>
                    </a:moveTo>
                    <a:cubicBezTo>
                      <a:pt x="89" y="361"/>
                      <a:pt x="89" y="361"/>
                      <a:pt x="89" y="361"/>
                    </a:cubicBezTo>
                    <a:cubicBezTo>
                      <a:pt x="80" y="349"/>
                      <a:pt x="83" y="332"/>
                      <a:pt x="95" y="323"/>
                    </a:cubicBezTo>
                    <a:cubicBezTo>
                      <a:pt x="225" y="229"/>
                      <a:pt x="225" y="229"/>
                      <a:pt x="225" y="229"/>
                    </a:cubicBezTo>
                    <a:cubicBezTo>
                      <a:pt x="205" y="195"/>
                      <a:pt x="192" y="156"/>
                      <a:pt x="188" y="115"/>
                    </a:cubicBezTo>
                    <a:cubicBezTo>
                      <a:pt x="27" y="115"/>
                      <a:pt x="27" y="115"/>
                      <a:pt x="27" y="115"/>
                    </a:cubicBezTo>
                    <a:cubicBezTo>
                      <a:pt x="13" y="115"/>
                      <a:pt x="0" y="103"/>
                      <a:pt x="0" y="88"/>
                    </a:cubicBezTo>
                    <a:cubicBezTo>
                      <a:pt x="0" y="88"/>
                      <a:pt x="0" y="88"/>
                      <a:pt x="0" y="88"/>
                    </a:cubicBezTo>
                    <a:cubicBezTo>
                      <a:pt x="0" y="73"/>
                      <a:pt x="13" y="61"/>
                      <a:pt x="27" y="61"/>
                    </a:cubicBezTo>
                    <a:cubicBezTo>
                      <a:pt x="188" y="61"/>
                      <a:pt x="188" y="61"/>
                      <a:pt x="188" y="61"/>
                    </a:cubicBezTo>
                    <a:cubicBezTo>
                      <a:pt x="190" y="40"/>
                      <a:pt x="195" y="19"/>
                      <a:pt x="201" y="0"/>
                    </a:cubicBezTo>
                    <a:cubicBezTo>
                      <a:pt x="246" y="0"/>
                      <a:pt x="246" y="0"/>
                      <a:pt x="246" y="0"/>
                    </a:cubicBezTo>
                    <a:cubicBezTo>
                      <a:pt x="235" y="27"/>
                      <a:pt x="228" y="57"/>
                      <a:pt x="228" y="88"/>
                    </a:cubicBezTo>
                    <a:cubicBezTo>
                      <a:pt x="228" y="219"/>
                      <a:pt x="334" y="325"/>
                      <a:pt x="465" y="325"/>
                    </a:cubicBezTo>
                    <a:cubicBezTo>
                      <a:pt x="596" y="325"/>
                      <a:pt x="702" y="219"/>
                      <a:pt x="702" y="88"/>
                    </a:cubicBezTo>
                    <a:cubicBezTo>
                      <a:pt x="702" y="57"/>
                      <a:pt x="696" y="27"/>
                      <a:pt x="685" y="0"/>
                    </a:cubicBezTo>
                    <a:cubicBezTo>
                      <a:pt x="729" y="0"/>
                      <a:pt x="729" y="0"/>
                      <a:pt x="729" y="0"/>
                    </a:cubicBezTo>
                    <a:cubicBezTo>
                      <a:pt x="736" y="19"/>
                      <a:pt x="740" y="40"/>
                      <a:pt x="742" y="61"/>
                    </a:cubicBezTo>
                    <a:cubicBezTo>
                      <a:pt x="903" y="61"/>
                      <a:pt x="903" y="61"/>
                      <a:pt x="903" y="61"/>
                    </a:cubicBezTo>
                    <a:cubicBezTo>
                      <a:pt x="918" y="61"/>
                      <a:pt x="930" y="73"/>
                      <a:pt x="930" y="88"/>
                    </a:cubicBezTo>
                    <a:cubicBezTo>
                      <a:pt x="930" y="88"/>
                      <a:pt x="930" y="88"/>
                      <a:pt x="930" y="88"/>
                    </a:cubicBezTo>
                    <a:cubicBezTo>
                      <a:pt x="930" y="103"/>
                      <a:pt x="918" y="115"/>
                      <a:pt x="903" y="115"/>
                    </a:cubicBezTo>
                    <a:cubicBezTo>
                      <a:pt x="742" y="115"/>
                      <a:pt x="742" y="115"/>
                      <a:pt x="742" y="115"/>
                    </a:cubicBezTo>
                    <a:cubicBezTo>
                      <a:pt x="738" y="156"/>
                      <a:pt x="725" y="195"/>
                      <a:pt x="705" y="229"/>
                    </a:cubicBezTo>
                    <a:cubicBezTo>
                      <a:pt x="835" y="323"/>
                      <a:pt x="835" y="323"/>
                      <a:pt x="835" y="323"/>
                    </a:cubicBezTo>
                    <a:cubicBezTo>
                      <a:pt x="847" y="332"/>
                      <a:pt x="850" y="349"/>
                      <a:pt x="841" y="361"/>
                    </a:cubicBezTo>
                    <a:cubicBezTo>
                      <a:pt x="841" y="361"/>
                      <a:pt x="841" y="361"/>
                      <a:pt x="841" y="361"/>
                    </a:cubicBezTo>
                    <a:cubicBezTo>
                      <a:pt x="832" y="373"/>
                      <a:pt x="815" y="376"/>
                      <a:pt x="803" y="367"/>
                    </a:cubicBezTo>
                    <a:cubicBezTo>
                      <a:pt x="673" y="273"/>
                      <a:pt x="673" y="273"/>
                      <a:pt x="673" y="273"/>
                    </a:cubicBezTo>
                    <a:cubicBezTo>
                      <a:pt x="647" y="303"/>
                      <a:pt x="614" y="327"/>
                      <a:pt x="577" y="343"/>
                    </a:cubicBezTo>
                    <a:cubicBezTo>
                      <a:pt x="626" y="496"/>
                      <a:pt x="626" y="496"/>
                      <a:pt x="626" y="496"/>
                    </a:cubicBezTo>
                    <a:cubicBezTo>
                      <a:pt x="631" y="510"/>
                      <a:pt x="623" y="525"/>
                      <a:pt x="609" y="530"/>
                    </a:cubicBezTo>
                    <a:cubicBezTo>
                      <a:pt x="609" y="530"/>
                      <a:pt x="609" y="530"/>
                      <a:pt x="609" y="530"/>
                    </a:cubicBezTo>
                    <a:cubicBezTo>
                      <a:pt x="595" y="535"/>
                      <a:pt x="579" y="527"/>
                      <a:pt x="575" y="513"/>
                    </a:cubicBezTo>
                    <a:cubicBezTo>
                      <a:pt x="525" y="360"/>
                      <a:pt x="525" y="360"/>
                      <a:pt x="525" y="360"/>
                    </a:cubicBezTo>
                    <a:cubicBezTo>
                      <a:pt x="506" y="364"/>
                      <a:pt x="486" y="366"/>
                      <a:pt x="465" y="366"/>
                    </a:cubicBezTo>
                    <a:cubicBezTo>
                      <a:pt x="445" y="366"/>
                      <a:pt x="425" y="364"/>
                      <a:pt x="405" y="360"/>
                    </a:cubicBezTo>
                    <a:cubicBezTo>
                      <a:pt x="356" y="513"/>
                      <a:pt x="356" y="513"/>
                      <a:pt x="356" y="513"/>
                    </a:cubicBezTo>
                    <a:cubicBezTo>
                      <a:pt x="351" y="527"/>
                      <a:pt x="336" y="535"/>
                      <a:pt x="322" y="530"/>
                    </a:cubicBezTo>
                    <a:cubicBezTo>
                      <a:pt x="322" y="530"/>
                      <a:pt x="322" y="530"/>
                      <a:pt x="322" y="530"/>
                    </a:cubicBezTo>
                    <a:cubicBezTo>
                      <a:pt x="307" y="525"/>
                      <a:pt x="300" y="510"/>
                      <a:pt x="304" y="496"/>
                    </a:cubicBezTo>
                    <a:cubicBezTo>
                      <a:pt x="354" y="343"/>
                      <a:pt x="354" y="343"/>
                      <a:pt x="354" y="343"/>
                    </a:cubicBezTo>
                    <a:cubicBezTo>
                      <a:pt x="317" y="327"/>
                      <a:pt x="284" y="303"/>
                      <a:pt x="257" y="273"/>
                    </a:cubicBezTo>
                    <a:cubicBezTo>
                      <a:pt x="127" y="367"/>
                      <a:pt x="127" y="367"/>
                      <a:pt x="127" y="367"/>
                    </a:cubicBezTo>
                    <a:cubicBezTo>
                      <a:pt x="115" y="376"/>
                      <a:pt x="98" y="373"/>
                      <a:pt x="89" y="361"/>
                    </a:cubicBez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32" name="Freeform 240">
                <a:extLst>
                  <a:ext uri="{FF2B5EF4-FFF2-40B4-BE49-F238E27FC236}">
                    <a16:creationId xmlns:a16="http://schemas.microsoft.com/office/drawing/2014/main" id="{7FF0EF88-BC92-C9A4-35B5-F1200BCE4B13}"/>
                  </a:ext>
                </a:extLst>
              </p:cNvPr>
              <p:cNvSpPr>
                <a:spLocks noEditPoints="1"/>
              </p:cNvSpPr>
              <p:nvPr/>
            </p:nvSpPr>
            <p:spPr bwMode="auto">
              <a:xfrm>
                <a:off x="5528903" y="2356307"/>
                <a:ext cx="875169" cy="329248"/>
              </a:xfrm>
              <a:custGeom>
                <a:avLst/>
                <a:gdLst/>
                <a:ahLst/>
                <a:cxnLst>
                  <a:cxn ang="0">
                    <a:pos x="820" y="280"/>
                  </a:cxn>
                  <a:cxn ang="0">
                    <a:pos x="820" y="28"/>
                  </a:cxn>
                  <a:cxn ang="0">
                    <a:pos x="792" y="0"/>
                  </a:cxn>
                  <a:cxn ang="0">
                    <a:pos x="453" y="0"/>
                  </a:cxn>
                  <a:cxn ang="0">
                    <a:pos x="449" y="0"/>
                  </a:cxn>
                  <a:cxn ang="0">
                    <a:pos x="15" y="0"/>
                  </a:cxn>
                  <a:cxn ang="0">
                    <a:pos x="0" y="14"/>
                  </a:cxn>
                  <a:cxn ang="0">
                    <a:pos x="0" y="294"/>
                  </a:cxn>
                  <a:cxn ang="0">
                    <a:pos x="15" y="308"/>
                  </a:cxn>
                  <a:cxn ang="0">
                    <a:pos x="449" y="308"/>
                  </a:cxn>
                  <a:cxn ang="0">
                    <a:pos x="453" y="308"/>
                  </a:cxn>
                  <a:cxn ang="0">
                    <a:pos x="792" y="308"/>
                  </a:cxn>
                  <a:cxn ang="0">
                    <a:pos x="820" y="280"/>
                  </a:cxn>
                  <a:cxn ang="0">
                    <a:pos x="780" y="279"/>
                  </a:cxn>
                  <a:cxn ang="0">
                    <a:pos x="780" y="29"/>
                  </a:cxn>
                  <a:cxn ang="0">
                    <a:pos x="41" y="29"/>
                  </a:cxn>
                  <a:cxn ang="0">
                    <a:pos x="41" y="279"/>
                  </a:cxn>
                  <a:cxn ang="0">
                    <a:pos x="780" y="279"/>
                  </a:cxn>
                </a:cxnLst>
                <a:rect l="0" t="0" r="r" b="b"/>
                <a:pathLst>
                  <a:path w="820" h="308">
                    <a:moveTo>
                      <a:pt x="820" y="280"/>
                    </a:moveTo>
                    <a:cubicBezTo>
                      <a:pt x="820" y="28"/>
                      <a:pt x="820" y="28"/>
                      <a:pt x="820" y="28"/>
                    </a:cubicBezTo>
                    <a:cubicBezTo>
                      <a:pt x="820" y="13"/>
                      <a:pt x="808" y="0"/>
                      <a:pt x="792" y="0"/>
                    </a:cubicBezTo>
                    <a:cubicBezTo>
                      <a:pt x="453" y="0"/>
                      <a:pt x="453" y="0"/>
                      <a:pt x="453" y="0"/>
                    </a:cubicBezTo>
                    <a:cubicBezTo>
                      <a:pt x="449" y="0"/>
                      <a:pt x="449" y="0"/>
                      <a:pt x="449" y="0"/>
                    </a:cubicBezTo>
                    <a:cubicBezTo>
                      <a:pt x="15" y="0"/>
                      <a:pt x="15" y="0"/>
                      <a:pt x="15" y="0"/>
                    </a:cubicBezTo>
                    <a:cubicBezTo>
                      <a:pt x="7" y="0"/>
                      <a:pt x="0" y="6"/>
                      <a:pt x="0" y="14"/>
                    </a:cubicBezTo>
                    <a:cubicBezTo>
                      <a:pt x="0" y="294"/>
                      <a:pt x="0" y="294"/>
                      <a:pt x="0" y="294"/>
                    </a:cubicBezTo>
                    <a:cubicBezTo>
                      <a:pt x="0" y="302"/>
                      <a:pt x="7" y="308"/>
                      <a:pt x="15" y="308"/>
                    </a:cubicBezTo>
                    <a:cubicBezTo>
                      <a:pt x="449" y="308"/>
                      <a:pt x="449" y="308"/>
                      <a:pt x="449" y="308"/>
                    </a:cubicBezTo>
                    <a:cubicBezTo>
                      <a:pt x="453" y="308"/>
                      <a:pt x="453" y="308"/>
                      <a:pt x="453" y="308"/>
                    </a:cubicBezTo>
                    <a:cubicBezTo>
                      <a:pt x="792" y="308"/>
                      <a:pt x="792" y="308"/>
                      <a:pt x="792" y="308"/>
                    </a:cubicBezTo>
                    <a:cubicBezTo>
                      <a:pt x="808" y="308"/>
                      <a:pt x="820" y="295"/>
                      <a:pt x="820" y="280"/>
                    </a:cubicBezTo>
                    <a:close/>
                    <a:moveTo>
                      <a:pt x="780" y="279"/>
                    </a:moveTo>
                    <a:cubicBezTo>
                      <a:pt x="780" y="29"/>
                      <a:pt x="780" y="29"/>
                      <a:pt x="780" y="29"/>
                    </a:cubicBezTo>
                    <a:cubicBezTo>
                      <a:pt x="41" y="29"/>
                      <a:pt x="41" y="29"/>
                      <a:pt x="41" y="29"/>
                    </a:cubicBezTo>
                    <a:cubicBezTo>
                      <a:pt x="41" y="279"/>
                      <a:pt x="41" y="279"/>
                      <a:pt x="41" y="279"/>
                    </a:cubicBezTo>
                    <a:cubicBezTo>
                      <a:pt x="780" y="279"/>
                      <a:pt x="780" y="279"/>
                      <a:pt x="780" y="279"/>
                    </a:cubicBezTo>
                    <a:close/>
                  </a:path>
                </a:pathLst>
              </a:custGeom>
              <a:solidFill>
                <a:srgbClr val="000000"/>
              </a:solidFill>
              <a:ln w="3175" cap="flat">
                <a:solidFill>
                  <a:srgbClr val="FFD519"/>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33" name="Freeform 241">
                <a:extLst>
                  <a:ext uri="{FF2B5EF4-FFF2-40B4-BE49-F238E27FC236}">
                    <a16:creationId xmlns:a16="http://schemas.microsoft.com/office/drawing/2014/main" id="{4EDBCD39-8839-35E1-14B6-687BADE830F4}"/>
                  </a:ext>
                </a:extLst>
              </p:cNvPr>
              <p:cNvSpPr>
                <a:spLocks/>
              </p:cNvSpPr>
              <p:nvPr/>
            </p:nvSpPr>
            <p:spPr bwMode="auto">
              <a:xfrm>
                <a:off x="6422229" y="2441040"/>
                <a:ext cx="45998" cy="160993"/>
              </a:xfrm>
              <a:custGeom>
                <a:avLst/>
                <a:gdLst/>
                <a:ahLst/>
                <a:cxnLst>
                  <a:cxn ang="0">
                    <a:pos x="43" y="116"/>
                  </a:cxn>
                  <a:cxn ang="0">
                    <a:pos x="43" y="34"/>
                  </a:cxn>
                  <a:cxn ang="0">
                    <a:pos x="8" y="0"/>
                  </a:cxn>
                  <a:cxn ang="0">
                    <a:pos x="0" y="0"/>
                  </a:cxn>
                  <a:cxn ang="0">
                    <a:pos x="0" y="151"/>
                  </a:cxn>
                  <a:cxn ang="0">
                    <a:pos x="8" y="151"/>
                  </a:cxn>
                  <a:cxn ang="0">
                    <a:pos x="43" y="116"/>
                  </a:cxn>
                </a:cxnLst>
                <a:rect l="0" t="0" r="r" b="b"/>
                <a:pathLst>
                  <a:path w="43" h="151">
                    <a:moveTo>
                      <a:pt x="43" y="116"/>
                    </a:moveTo>
                    <a:cubicBezTo>
                      <a:pt x="43" y="34"/>
                      <a:pt x="43" y="34"/>
                      <a:pt x="43" y="34"/>
                    </a:cubicBezTo>
                    <a:cubicBezTo>
                      <a:pt x="43" y="15"/>
                      <a:pt x="27" y="0"/>
                      <a:pt x="8" y="0"/>
                    </a:cubicBezTo>
                    <a:cubicBezTo>
                      <a:pt x="0" y="0"/>
                      <a:pt x="0" y="0"/>
                      <a:pt x="0" y="0"/>
                    </a:cubicBezTo>
                    <a:cubicBezTo>
                      <a:pt x="0" y="151"/>
                      <a:pt x="0" y="151"/>
                      <a:pt x="0" y="151"/>
                    </a:cubicBezTo>
                    <a:cubicBezTo>
                      <a:pt x="8" y="151"/>
                      <a:pt x="8" y="151"/>
                      <a:pt x="8" y="151"/>
                    </a:cubicBezTo>
                    <a:cubicBezTo>
                      <a:pt x="27" y="151"/>
                      <a:pt x="43" y="135"/>
                      <a:pt x="43" y="116"/>
                    </a:cubicBez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34" name="Freeform 242">
                <a:extLst>
                  <a:ext uri="{FF2B5EF4-FFF2-40B4-BE49-F238E27FC236}">
                    <a16:creationId xmlns:a16="http://schemas.microsoft.com/office/drawing/2014/main" id="{2ACBCC1C-2F12-A6A6-A683-05604871058E}"/>
                  </a:ext>
                </a:extLst>
              </p:cNvPr>
              <p:cNvSpPr>
                <a:spLocks/>
              </p:cNvSpPr>
              <p:nvPr/>
            </p:nvSpPr>
            <p:spPr bwMode="auto">
              <a:xfrm>
                <a:off x="5594268" y="2407146"/>
                <a:ext cx="188833" cy="226358"/>
              </a:xfrm>
              <a:custGeom>
                <a:avLst/>
                <a:gdLst/>
                <a:ahLst/>
                <a:cxnLst>
                  <a:cxn ang="0">
                    <a:pos x="0" y="0"/>
                  </a:cxn>
                  <a:cxn ang="0">
                    <a:pos x="0" y="187"/>
                  </a:cxn>
                  <a:cxn ang="0">
                    <a:pos x="89" y="187"/>
                  </a:cxn>
                  <a:cxn ang="0">
                    <a:pos x="156" y="0"/>
                  </a:cxn>
                  <a:cxn ang="0">
                    <a:pos x="0" y="0"/>
                  </a:cxn>
                  <a:cxn ang="0">
                    <a:pos x="0" y="0"/>
                  </a:cxn>
                </a:cxnLst>
                <a:rect l="0" t="0" r="r" b="b"/>
                <a:pathLst>
                  <a:path w="156" h="187">
                    <a:moveTo>
                      <a:pt x="0" y="0"/>
                    </a:moveTo>
                    <a:lnTo>
                      <a:pt x="0" y="187"/>
                    </a:lnTo>
                    <a:lnTo>
                      <a:pt x="89" y="187"/>
                    </a:lnTo>
                    <a:lnTo>
                      <a:pt x="156" y="0"/>
                    </a:lnTo>
                    <a:lnTo>
                      <a:pt x="0" y="0"/>
                    </a:lnTo>
                    <a:lnTo>
                      <a:pt x="0" y="0"/>
                    </a:ln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35" name="Freeform 243">
                <a:extLst>
                  <a:ext uri="{FF2B5EF4-FFF2-40B4-BE49-F238E27FC236}">
                    <a16:creationId xmlns:a16="http://schemas.microsoft.com/office/drawing/2014/main" id="{6C967097-C4E4-522C-E3C9-5477BD1274FF}"/>
                  </a:ext>
                </a:extLst>
              </p:cNvPr>
              <p:cNvSpPr>
                <a:spLocks/>
              </p:cNvSpPr>
              <p:nvPr/>
            </p:nvSpPr>
            <p:spPr bwMode="auto">
              <a:xfrm>
                <a:off x="5724999" y="2407146"/>
                <a:ext cx="272356" cy="226358"/>
              </a:xfrm>
              <a:custGeom>
                <a:avLst/>
                <a:gdLst/>
                <a:ahLst/>
                <a:cxnLst>
                  <a:cxn ang="0">
                    <a:pos x="76" y="0"/>
                  </a:cxn>
                  <a:cxn ang="0">
                    <a:pos x="0" y="212"/>
                  </a:cxn>
                  <a:cxn ang="0">
                    <a:pos x="179" y="212"/>
                  </a:cxn>
                  <a:cxn ang="0">
                    <a:pos x="255" y="0"/>
                  </a:cxn>
                  <a:cxn ang="0">
                    <a:pos x="76" y="0"/>
                  </a:cxn>
                </a:cxnLst>
                <a:rect l="0" t="0" r="r" b="b"/>
                <a:pathLst>
                  <a:path w="255" h="212">
                    <a:moveTo>
                      <a:pt x="76" y="0"/>
                    </a:moveTo>
                    <a:cubicBezTo>
                      <a:pt x="0" y="212"/>
                      <a:pt x="0" y="212"/>
                      <a:pt x="0" y="212"/>
                    </a:cubicBezTo>
                    <a:cubicBezTo>
                      <a:pt x="59" y="212"/>
                      <a:pt x="119" y="212"/>
                      <a:pt x="179" y="212"/>
                    </a:cubicBezTo>
                    <a:cubicBezTo>
                      <a:pt x="255" y="0"/>
                      <a:pt x="255" y="0"/>
                      <a:pt x="255" y="0"/>
                    </a:cubicBezTo>
                    <a:cubicBezTo>
                      <a:pt x="195" y="0"/>
                      <a:pt x="135" y="0"/>
                      <a:pt x="76" y="0"/>
                    </a:cubicBez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36" name="Oval 244">
                <a:extLst>
                  <a:ext uri="{FF2B5EF4-FFF2-40B4-BE49-F238E27FC236}">
                    <a16:creationId xmlns:a16="http://schemas.microsoft.com/office/drawing/2014/main" id="{26DD85CB-338E-8B8F-9551-2213920FE479}"/>
                  </a:ext>
                </a:extLst>
              </p:cNvPr>
              <p:cNvSpPr>
                <a:spLocks noChangeArrowheads="1"/>
              </p:cNvSpPr>
              <p:nvPr/>
            </p:nvSpPr>
            <p:spPr bwMode="auto">
              <a:xfrm>
                <a:off x="6214028" y="2470091"/>
                <a:ext cx="104100" cy="104100"/>
              </a:xfrm>
              <a:prstGeom prst="ellipse">
                <a:avLst/>
              </a:pr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37" name="Oval 245">
                <a:extLst>
                  <a:ext uri="{FF2B5EF4-FFF2-40B4-BE49-F238E27FC236}">
                    <a16:creationId xmlns:a16="http://schemas.microsoft.com/office/drawing/2014/main" id="{AD92264B-DF16-91F2-31A2-E53B2FC9F39B}"/>
                  </a:ext>
                </a:extLst>
              </p:cNvPr>
              <p:cNvSpPr>
                <a:spLocks noChangeArrowheads="1"/>
              </p:cNvSpPr>
              <p:nvPr/>
            </p:nvSpPr>
            <p:spPr bwMode="auto">
              <a:xfrm>
                <a:off x="5612425" y="2464038"/>
                <a:ext cx="104100" cy="105311"/>
              </a:xfrm>
              <a:prstGeom prst="ellipse">
                <a:avLst/>
              </a:prstGeom>
              <a:solidFill>
                <a:srgbClr val="EBB700"/>
              </a:solidFill>
              <a:ln w="3175" cap="flat">
                <a:solidFill>
                  <a:srgbClr val="FFD519"/>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38" name="Freeform 246">
                <a:extLst>
                  <a:ext uri="{FF2B5EF4-FFF2-40B4-BE49-F238E27FC236}">
                    <a16:creationId xmlns:a16="http://schemas.microsoft.com/office/drawing/2014/main" id="{6BE28177-AC8D-2BDE-5F37-23E2D18EDE29}"/>
                  </a:ext>
                </a:extLst>
              </p:cNvPr>
              <p:cNvSpPr>
                <a:spLocks/>
              </p:cNvSpPr>
              <p:nvPr/>
            </p:nvSpPr>
            <p:spPr bwMode="auto">
              <a:xfrm>
                <a:off x="5634213" y="2510036"/>
                <a:ext cx="60523" cy="14526"/>
              </a:xfrm>
              <a:custGeom>
                <a:avLst/>
                <a:gdLst/>
                <a:ahLst/>
                <a:cxnLst>
                  <a:cxn ang="0">
                    <a:pos x="0" y="12"/>
                  </a:cxn>
                  <a:cxn ang="0">
                    <a:pos x="50" y="12"/>
                  </a:cxn>
                  <a:cxn ang="0">
                    <a:pos x="50" y="0"/>
                  </a:cxn>
                  <a:cxn ang="0">
                    <a:pos x="0" y="0"/>
                  </a:cxn>
                  <a:cxn ang="0">
                    <a:pos x="0" y="12"/>
                  </a:cxn>
                  <a:cxn ang="0">
                    <a:pos x="0" y="12"/>
                  </a:cxn>
                </a:cxnLst>
                <a:rect l="0" t="0" r="r" b="b"/>
                <a:pathLst>
                  <a:path w="50" h="12">
                    <a:moveTo>
                      <a:pt x="0" y="12"/>
                    </a:moveTo>
                    <a:lnTo>
                      <a:pt x="50" y="12"/>
                    </a:lnTo>
                    <a:lnTo>
                      <a:pt x="50" y="0"/>
                    </a:lnTo>
                    <a:lnTo>
                      <a:pt x="0" y="0"/>
                    </a:lnTo>
                    <a:lnTo>
                      <a:pt x="0" y="12"/>
                    </a:lnTo>
                    <a:lnTo>
                      <a:pt x="0" y="12"/>
                    </a:ln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39" name="Freeform 247">
                <a:extLst>
                  <a:ext uri="{FF2B5EF4-FFF2-40B4-BE49-F238E27FC236}">
                    <a16:creationId xmlns:a16="http://schemas.microsoft.com/office/drawing/2014/main" id="{571141ED-6143-8029-8994-0765D6607B61}"/>
                  </a:ext>
                </a:extLst>
              </p:cNvPr>
              <p:cNvSpPr>
                <a:spLocks/>
              </p:cNvSpPr>
              <p:nvPr/>
            </p:nvSpPr>
            <p:spPr bwMode="auto">
              <a:xfrm>
                <a:off x="6229764" y="2485827"/>
                <a:ext cx="72628" cy="72628"/>
              </a:xfrm>
              <a:custGeom>
                <a:avLst/>
                <a:gdLst/>
                <a:ahLst/>
                <a:cxnLst>
                  <a:cxn ang="0">
                    <a:pos x="0" y="35"/>
                  </a:cxn>
                  <a:cxn ang="0">
                    <a:pos x="0" y="25"/>
                  </a:cxn>
                  <a:cxn ang="0">
                    <a:pos x="25" y="25"/>
                  </a:cxn>
                  <a:cxn ang="0">
                    <a:pos x="25" y="0"/>
                  </a:cxn>
                  <a:cxn ang="0">
                    <a:pos x="35" y="0"/>
                  </a:cxn>
                  <a:cxn ang="0">
                    <a:pos x="35" y="25"/>
                  </a:cxn>
                  <a:cxn ang="0">
                    <a:pos x="60" y="25"/>
                  </a:cxn>
                  <a:cxn ang="0">
                    <a:pos x="60" y="35"/>
                  </a:cxn>
                  <a:cxn ang="0">
                    <a:pos x="35" y="35"/>
                  </a:cxn>
                  <a:cxn ang="0">
                    <a:pos x="35" y="60"/>
                  </a:cxn>
                  <a:cxn ang="0">
                    <a:pos x="25" y="60"/>
                  </a:cxn>
                  <a:cxn ang="0">
                    <a:pos x="25" y="35"/>
                  </a:cxn>
                  <a:cxn ang="0">
                    <a:pos x="0" y="35"/>
                  </a:cxn>
                  <a:cxn ang="0">
                    <a:pos x="0" y="35"/>
                  </a:cxn>
                </a:cxnLst>
                <a:rect l="0" t="0" r="r" b="b"/>
                <a:pathLst>
                  <a:path w="60" h="60">
                    <a:moveTo>
                      <a:pt x="0" y="35"/>
                    </a:moveTo>
                    <a:lnTo>
                      <a:pt x="0" y="25"/>
                    </a:lnTo>
                    <a:lnTo>
                      <a:pt x="25" y="25"/>
                    </a:lnTo>
                    <a:lnTo>
                      <a:pt x="25" y="0"/>
                    </a:lnTo>
                    <a:lnTo>
                      <a:pt x="35" y="0"/>
                    </a:lnTo>
                    <a:lnTo>
                      <a:pt x="35" y="25"/>
                    </a:lnTo>
                    <a:lnTo>
                      <a:pt x="60" y="25"/>
                    </a:lnTo>
                    <a:lnTo>
                      <a:pt x="60" y="35"/>
                    </a:lnTo>
                    <a:lnTo>
                      <a:pt x="35" y="35"/>
                    </a:lnTo>
                    <a:lnTo>
                      <a:pt x="35" y="60"/>
                    </a:lnTo>
                    <a:lnTo>
                      <a:pt x="25" y="60"/>
                    </a:lnTo>
                    <a:lnTo>
                      <a:pt x="25" y="35"/>
                    </a:lnTo>
                    <a:lnTo>
                      <a:pt x="0" y="35"/>
                    </a:lnTo>
                    <a:lnTo>
                      <a:pt x="0" y="35"/>
                    </a:lnTo>
                    <a:close/>
                  </a:path>
                </a:pathLst>
              </a:custGeom>
              <a:solidFill>
                <a:srgbClr val="EBB700"/>
              </a:solidFill>
              <a:ln w="3175" cap="flat">
                <a:solidFill>
                  <a:srgbClr val="FFD519"/>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40" name="Freeform 248">
                <a:extLst>
                  <a:ext uri="{FF2B5EF4-FFF2-40B4-BE49-F238E27FC236}">
                    <a16:creationId xmlns:a16="http://schemas.microsoft.com/office/drawing/2014/main" id="{D04F914E-A88D-0A7C-718A-FDBCA2CA39C3}"/>
                  </a:ext>
                </a:extLst>
              </p:cNvPr>
              <p:cNvSpPr>
                <a:spLocks/>
              </p:cNvSpPr>
              <p:nvPr/>
            </p:nvSpPr>
            <p:spPr bwMode="auto">
              <a:xfrm>
                <a:off x="5620898" y="2125107"/>
                <a:ext cx="194886" cy="157361"/>
              </a:xfrm>
              <a:custGeom>
                <a:avLst/>
                <a:gdLst/>
                <a:ahLst/>
                <a:cxnLst>
                  <a:cxn ang="0">
                    <a:pos x="81" y="130"/>
                  </a:cxn>
                  <a:cxn ang="0">
                    <a:pos x="121" y="65"/>
                  </a:cxn>
                  <a:cxn ang="0">
                    <a:pos x="161" y="0"/>
                  </a:cxn>
                  <a:cxn ang="0">
                    <a:pos x="81" y="0"/>
                  </a:cxn>
                  <a:cxn ang="0">
                    <a:pos x="0" y="0"/>
                  </a:cxn>
                  <a:cxn ang="0">
                    <a:pos x="40" y="65"/>
                  </a:cxn>
                  <a:cxn ang="0">
                    <a:pos x="81" y="130"/>
                  </a:cxn>
                  <a:cxn ang="0">
                    <a:pos x="81" y="130"/>
                  </a:cxn>
                </a:cxnLst>
                <a:rect l="0" t="0" r="r" b="b"/>
                <a:pathLst>
                  <a:path w="161" h="130">
                    <a:moveTo>
                      <a:pt x="81" y="130"/>
                    </a:moveTo>
                    <a:lnTo>
                      <a:pt x="121" y="65"/>
                    </a:lnTo>
                    <a:lnTo>
                      <a:pt x="161" y="0"/>
                    </a:lnTo>
                    <a:lnTo>
                      <a:pt x="81" y="0"/>
                    </a:lnTo>
                    <a:lnTo>
                      <a:pt x="0" y="0"/>
                    </a:lnTo>
                    <a:lnTo>
                      <a:pt x="40" y="65"/>
                    </a:lnTo>
                    <a:lnTo>
                      <a:pt x="81" y="130"/>
                    </a:lnTo>
                    <a:lnTo>
                      <a:pt x="81" y="130"/>
                    </a:ln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41" name="Freeform 249">
                <a:extLst>
                  <a:ext uri="{FF2B5EF4-FFF2-40B4-BE49-F238E27FC236}">
                    <a16:creationId xmlns:a16="http://schemas.microsoft.com/office/drawing/2014/main" id="{67BBB655-29E9-598D-2478-34002225BB82}"/>
                  </a:ext>
                </a:extLst>
              </p:cNvPr>
              <p:cNvSpPr>
                <a:spLocks noEditPoints="1"/>
              </p:cNvSpPr>
              <p:nvPr/>
            </p:nvSpPr>
            <p:spPr bwMode="auto">
              <a:xfrm>
                <a:off x="5658422" y="1869698"/>
                <a:ext cx="119837" cy="236042"/>
              </a:xfrm>
              <a:custGeom>
                <a:avLst/>
                <a:gdLst/>
                <a:ahLst/>
                <a:cxnLst>
                  <a:cxn ang="0">
                    <a:pos x="0" y="0"/>
                  </a:cxn>
                  <a:cxn ang="0">
                    <a:pos x="99" y="0"/>
                  </a:cxn>
                  <a:cxn ang="0">
                    <a:pos x="99" y="7"/>
                  </a:cxn>
                  <a:cxn ang="0">
                    <a:pos x="0" y="7"/>
                  </a:cxn>
                  <a:cxn ang="0">
                    <a:pos x="0" y="0"/>
                  </a:cxn>
                  <a:cxn ang="0">
                    <a:pos x="0" y="0"/>
                  </a:cxn>
                  <a:cxn ang="0">
                    <a:pos x="99" y="24"/>
                  </a:cxn>
                  <a:cxn ang="0">
                    <a:pos x="99" y="38"/>
                  </a:cxn>
                  <a:cxn ang="0">
                    <a:pos x="0" y="38"/>
                  </a:cxn>
                  <a:cxn ang="0">
                    <a:pos x="0" y="24"/>
                  </a:cxn>
                  <a:cxn ang="0">
                    <a:pos x="99" y="24"/>
                  </a:cxn>
                  <a:cxn ang="0">
                    <a:pos x="99" y="24"/>
                  </a:cxn>
                  <a:cxn ang="0">
                    <a:pos x="99" y="55"/>
                  </a:cxn>
                  <a:cxn ang="0">
                    <a:pos x="99" y="79"/>
                  </a:cxn>
                  <a:cxn ang="0">
                    <a:pos x="0" y="79"/>
                  </a:cxn>
                  <a:cxn ang="0">
                    <a:pos x="0" y="55"/>
                  </a:cxn>
                  <a:cxn ang="0">
                    <a:pos x="99" y="55"/>
                  </a:cxn>
                  <a:cxn ang="0">
                    <a:pos x="99" y="55"/>
                  </a:cxn>
                  <a:cxn ang="0">
                    <a:pos x="99" y="96"/>
                  </a:cxn>
                  <a:cxn ang="0">
                    <a:pos x="99" y="130"/>
                  </a:cxn>
                  <a:cxn ang="0">
                    <a:pos x="0" y="130"/>
                  </a:cxn>
                  <a:cxn ang="0">
                    <a:pos x="0" y="96"/>
                  </a:cxn>
                  <a:cxn ang="0">
                    <a:pos x="99" y="96"/>
                  </a:cxn>
                  <a:cxn ang="0">
                    <a:pos x="99" y="96"/>
                  </a:cxn>
                  <a:cxn ang="0">
                    <a:pos x="99" y="147"/>
                  </a:cxn>
                  <a:cxn ang="0">
                    <a:pos x="99" y="195"/>
                  </a:cxn>
                  <a:cxn ang="0">
                    <a:pos x="0" y="195"/>
                  </a:cxn>
                  <a:cxn ang="0">
                    <a:pos x="0" y="147"/>
                  </a:cxn>
                  <a:cxn ang="0">
                    <a:pos x="99" y="147"/>
                  </a:cxn>
                  <a:cxn ang="0">
                    <a:pos x="99" y="147"/>
                  </a:cxn>
                </a:cxnLst>
                <a:rect l="0" t="0" r="r" b="b"/>
                <a:pathLst>
                  <a:path w="99" h="195">
                    <a:moveTo>
                      <a:pt x="0" y="0"/>
                    </a:moveTo>
                    <a:lnTo>
                      <a:pt x="99" y="0"/>
                    </a:lnTo>
                    <a:lnTo>
                      <a:pt x="99" y="7"/>
                    </a:lnTo>
                    <a:lnTo>
                      <a:pt x="0" y="7"/>
                    </a:lnTo>
                    <a:lnTo>
                      <a:pt x="0" y="0"/>
                    </a:lnTo>
                    <a:lnTo>
                      <a:pt x="0" y="0"/>
                    </a:lnTo>
                    <a:close/>
                    <a:moveTo>
                      <a:pt x="99" y="24"/>
                    </a:moveTo>
                    <a:lnTo>
                      <a:pt x="99" y="38"/>
                    </a:lnTo>
                    <a:lnTo>
                      <a:pt x="0" y="38"/>
                    </a:lnTo>
                    <a:lnTo>
                      <a:pt x="0" y="24"/>
                    </a:lnTo>
                    <a:lnTo>
                      <a:pt x="99" y="24"/>
                    </a:lnTo>
                    <a:lnTo>
                      <a:pt x="99" y="24"/>
                    </a:lnTo>
                    <a:close/>
                    <a:moveTo>
                      <a:pt x="99" y="55"/>
                    </a:moveTo>
                    <a:lnTo>
                      <a:pt x="99" y="79"/>
                    </a:lnTo>
                    <a:lnTo>
                      <a:pt x="0" y="79"/>
                    </a:lnTo>
                    <a:lnTo>
                      <a:pt x="0" y="55"/>
                    </a:lnTo>
                    <a:lnTo>
                      <a:pt x="99" y="55"/>
                    </a:lnTo>
                    <a:lnTo>
                      <a:pt x="99" y="55"/>
                    </a:lnTo>
                    <a:close/>
                    <a:moveTo>
                      <a:pt x="99" y="96"/>
                    </a:moveTo>
                    <a:lnTo>
                      <a:pt x="99" y="130"/>
                    </a:lnTo>
                    <a:lnTo>
                      <a:pt x="0" y="130"/>
                    </a:lnTo>
                    <a:lnTo>
                      <a:pt x="0" y="96"/>
                    </a:lnTo>
                    <a:lnTo>
                      <a:pt x="99" y="96"/>
                    </a:lnTo>
                    <a:lnTo>
                      <a:pt x="99" y="96"/>
                    </a:lnTo>
                    <a:close/>
                    <a:moveTo>
                      <a:pt x="99" y="147"/>
                    </a:moveTo>
                    <a:lnTo>
                      <a:pt x="99" y="195"/>
                    </a:lnTo>
                    <a:lnTo>
                      <a:pt x="0" y="195"/>
                    </a:lnTo>
                    <a:lnTo>
                      <a:pt x="0" y="147"/>
                    </a:lnTo>
                    <a:lnTo>
                      <a:pt x="99" y="147"/>
                    </a:lnTo>
                    <a:lnTo>
                      <a:pt x="99" y="147"/>
                    </a:ln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42" name="Freeform 250">
                <a:extLst>
                  <a:ext uri="{FF2B5EF4-FFF2-40B4-BE49-F238E27FC236}">
                    <a16:creationId xmlns:a16="http://schemas.microsoft.com/office/drawing/2014/main" id="{DD007B51-FF66-FE7F-F334-84AD5F603E00}"/>
                  </a:ext>
                </a:extLst>
              </p:cNvPr>
              <p:cNvSpPr>
                <a:spLocks/>
              </p:cNvSpPr>
              <p:nvPr/>
            </p:nvSpPr>
            <p:spPr bwMode="auto">
              <a:xfrm>
                <a:off x="5900516" y="2125107"/>
                <a:ext cx="196096" cy="157361"/>
              </a:xfrm>
              <a:custGeom>
                <a:avLst/>
                <a:gdLst/>
                <a:ahLst/>
                <a:cxnLst>
                  <a:cxn ang="0">
                    <a:pos x="81" y="130"/>
                  </a:cxn>
                  <a:cxn ang="0">
                    <a:pos x="121" y="65"/>
                  </a:cxn>
                  <a:cxn ang="0">
                    <a:pos x="162" y="0"/>
                  </a:cxn>
                  <a:cxn ang="0">
                    <a:pos x="81" y="0"/>
                  </a:cxn>
                  <a:cxn ang="0">
                    <a:pos x="0" y="0"/>
                  </a:cxn>
                  <a:cxn ang="0">
                    <a:pos x="40" y="65"/>
                  </a:cxn>
                  <a:cxn ang="0">
                    <a:pos x="81" y="130"/>
                  </a:cxn>
                  <a:cxn ang="0">
                    <a:pos x="81" y="130"/>
                  </a:cxn>
                </a:cxnLst>
                <a:rect l="0" t="0" r="r" b="b"/>
                <a:pathLst>
                  <a:path w="162" h="130">
                    <a:moveTo>
                      <a:pt x="81" y="130"/>
                    </a:moveTo>
                    <a:lnTo>
                      <a:pt x="121" y="65"/>
                    </a:lnTo>
                    <a:lnTo>
                      <a:pt x="162" y="0"/>
                    </a:lnTo>
                    <a:lnTo>
                      <a:pt x="81" y="0"/>
                    </a:lnTo>
                    <a:lnTo>
                      <a:pt x="0" y="0"/>
                    </a:lnTo>
                    <a:lnTo>
                      <a:pt x="40" y="65"/>
                    </a:lnTo>
                    <a:lnTo>
                      <a:pt x="81" y="130"/>
                    </a:lnTo>
                    <a:lnTo>
                      <a:pt x="81" y="130"/>
                    </a:ln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43" name="Freeform 251">
                <a:extLst>
                  <a:ext uri="{FF2B5EF4-FFF2-40B4-BE49-F238E27FC236}">
                    <a16:creationId xmlns:a16="http://schemas.microsoft.com/office/drawing/2014/main" id="{BBD581DE-ABE6-04E4-0E02-CBFBE8CBBB96}"/>
                  </a:ext>
                </a:extLst>
              </p:cNvPr>
              <p:cNvSpPr>
                <a:spLocks noEditPoints="1"/>
              </p:cNvSpPr>
              <p:nvPr/>
            </p:nvSpPr>
            <p:spPr bwMode="auto">
              <a:xfrm>
                <a:off x="5939251" y="1869698"/>
                <a:ext cx="118626" cy="236042"/>
              </a:xfrm>
              <a:custGeom>
                <a:avLst/>
                <a:gdLst/>
                <a:ahLst/>
                <a:cxnLst>
                  <a:cxn ang="0">
                    <a:pos x="0" y="0"/>
                  </a:cxn>
                  <a:cxn ang="0">
                    <a:pos x="98" y="0"/>
                  </a:cxn>
                  <a:cxn ang="0">
                    <a:pos x="98" y="7"/>
                  </a:cxn>
                  <a:cxn ang="0">
                    <a:pos x="0" y="7"/>
                  </a:cxn>
                  <a:cxn ang="0">
                    <a:pos x="0" y="0"/>
                  </a:cxn>
                  <a:cxn ang="0">
                    <a:pos x="0" y="0"/>
                  </a:cxn>
                  <a:cxn ang="0">
                    <a:pos x="98" y="24"/>
                  </a:cxn>
                  <a:cxn ang="0">
                    <a:pos x="98" y="38"/>
                  </a:cxn>
                  <a:cxn ang="0">
                    <a:pos x="0" y="38"/>
                  </a:cxn>
                  <a:cxn ang="0">
                    <a:pos x="0" y="24"/>
                  </a:cxn>
                  <a:cxn ang="0">
                    <a:pos x="98" y="24"/>
                  </a:cxn>
                  <a:cxn ang="0">
                    <a:pos x="98" y="24"/>
                  </a:cxn>
                  <a:cxn ang="0">
                    <a:pos x="98" y="55"/>
                  </a:cxn>
                  <a:cxn ang="0">
                    <a:pos x="98" y="79"/>
                  </a:cxn>
                  <a:cxn ang="0">
                    <a:pos x="0" y="79"/>
                  </a:cxn>
                  <a:cxn ang="0">
                    <a:pos x="0" y="55"/>
                  </a:cxn>
                  <a:cxn ang="0">
                    <a:pos x="98" y="55"/>
                  </a:cxn>
                  <a:cxn ang="0">
                    <a:pos x="98" y="55"/>
                  </a:cxn>
                  <a:cxn ang="0">
                    <a:pos x="98" y="96"/>
                  </a:cxn>
                  <a:cxn ang="0">
                    <a:pos x="98" y="130"/>
                  </a:cxn>
                  <a:cxn ang="0">
                    <a:pos x="0" y="130"/>
                  </a:cxn>
                  <a:cxn ang="0">
                    <a:pos x="0" y="96"/>
                  </a:cxn>
                  <a:cxn ang="0">
                    <a:pos x="98" y="96"/>
                  </a:cxn>
                  <a:cxn ang="0">
                    <a:pos x="98" y="96"/>
                  </a:cxn>
                  <a:cxn ang="0">
                    <a:pos x="98" y="147"/>
                  </a:cxn>
                  <a:cxn ang="0">
                    <a:pos x="98" y="195"/>
                  </a:cxn>
                  <a:cxn ang="0">
                    <a:pos x="0" y="195"/>
                  </a:cxn>
                  <a:cxn ang="0">
                    <a:pos x="0" y="147"/>
                  </a:cxn>
                  <a:cxn ang="0">
                    <a:pos x="98" y="147"/>
                  </a:cxn>
                  <a:cxn ang="0">
                    <a:pos x="98" y="147"/>
                  </a:cxn>
                </a:cxnLst>
                <a:rect l="0" t="0" r="r" b="b"/>
                <a:pathLst>
                  <a:path w="98" h="195">
                    <a:moveTo>
                      <a:pt x="0" y="0"/>
                    </a:moveTo>
                    <a:lnTo>
                      <a:pt x="98" y="0"/>
                    </a:lnTo>
                    <a:lnTo>
                      <a:pt x="98" y="7"/>
                    </a:lnTo>
                    <a:lnTo>
                      <a:pt x="0" y="7"/>
                    </a:lnTo>
                    <a:lnTo>
                      <a:pt x="0" y="0"/>
                    </a:lnTo>
                    <a:lnTo>
                      <a:pt x="0" y="0"/>
                    </a:lnTo>
                    <a:close/>
                    <a:moveTo>
                      <a:pt x="98" y="24"/>
                    </a:moveTo>
                    <a:lnTo>
                      <a:pt x="98" y="38"/>
                    </a:lnTo>
                    <a:lnTo>
                      <a:pt x="0" y="38"/>
                    </a:lnTo>
                    <a:lnTo>
                      <a:pt x="0" y="24"/>
                    </a:lnTo>
                    <a:lnTo>
                      <a:pt x="98" y="24"/>
                    </a:lnTo>
                    <a:lnTo>
                      <a:pt x="98" y="24"/>
                    </a:lnTo>
                    <a:close/>
                    <a:moveTo>
                      <a:pt x="98" y="55"/>
                    </a:moveTo>
                    <a:lnTo>
                      <a:pt x="98" y="79"/>
                    </a:lnTo>
                    <a:lnTo>
                      <a:pt x="0" y="79"/>
                    </a:lnTo>
                    <a:lnTo>
                      <a:pt x="0" y="55"/>
                    </a:lnTo>
                    <a:lnTo>
                      <a:pt x="98" y="55"/>
                    </a:lnTo>
                    <a:lnTo>
                      <a:pt x="98" y="55"/>
                    </a:lnTo>
                    <a:close/>
                    <a:moveTo>
                      <a:pt x="98" y="96"/>
                    </a:moveTo>
                    <a:lnTo>
                      <a:pt x="98" y="130"/>
                    </a:lnTo>
                    <a:lnTo>
                      <a:pt x="0" y="130"/>
                    </a:lnTo>
                    <a:lnTo>
                      <a:pt x="0" y="96"/>
                    </a:lnTo>
                    <a:lnTo>
                      <a:pt x="98" y="96"/>
                    </a:lnTo>
                    <a:lnTo>
                      <a:pt x="98" y="96"/>
                    </a:lnTo>
                    <a:close/>
                    <a:moveTo>
                      <a:pt x="98" y="147"/>
                    </a:moveTo>
                    <a:lnTo>
                      <a:pt x="98" y="195"/>
                    </a:lnTo>
                    <a:lnTo>
                      <a:pt x="0" y="195"/>
                    </a:lnTo>
                    <a:lnTo>
                      <a:pt x="0" y="147"/>
                    </a:lnTo>
                    <a:lnTo>
                      <a:pt x="98" y="147"/>
                    </a:lnTo>
                    <a:lnTo>
                      <a:pt x="98" y="147"/>
                    </a:ln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44" name="Freeform 252">
                <a:extLst>
                  <a:ext uri="{FF2B5EF4-FFF2-40B4-BE49-F238E27FC236}">
                    <a16:creationId xmlns:a16="http://schemas.microsoft.com/office/drawing/2014/main" id="{BBB5CD37-2C52-7F48-455E-BC44BD74CED4}"/>
                  </a:ext>
                </a:extLst>
              </p:cNvPr>
              <p:cNvSpPr>
                <a:spLocks/>
              </p:cNvSpPr>
              <p:nvPr/>
            </p:nvSpPr>
            <p:spPr bwMode="auto">
              <a:xfrm>
                <a:off x="6181345" y="2125107"/>
                <a:ext cx="194886" cy="157361"/>
              </a:xfrm>
              <a:custGeom>
                <a:avLst/>
                <a:gdLst/>
                <a:ahLst/>
                <a:cxnLst>
                  <a:cxn ang="0">
                    <a:pos x="81" y="130"/>
                  </a:cxn>
                  <a:cxn ang="0">
                    <a:pos x="121" y="65"/>
                  </a:cxn>
                  <a:cxn ang="0">
                    <a:pos x="161" y="0"/>
                  </a:cxn>
                  <a:cxn ang="0">
                    <a:pos x="81" y="0"/>
                  </a:cxn>
                  <a:cxn ang="0">
                    <a:pos x="0" y="0"/>
                  </a:cxn>
                  <a:cxn ang="0">
                    <a:pos x="40" y="65"/>
                  </a:cxn>
                  <a:cxn ang="0">
                    <a:pos x="81" y="130"/>
                  </a:cxn>
                  <a:cxn ang="0">
                    <a:pos x="81" y="130"/>
                  </a:cxn>
                </a:cxnLst>
                <a:rect l="0" t="0" r="r" b="b"/>
                <a:pathLst>
                  <a:path w="161" h="130">
                    <a:moveTo>
                      <a:pt x="81" y="130"/>
                    </a:moveTo>
                    <a:lnTo>
                      <a:pt x="121" y="65"/>
                    </a:lnTo>
                    <a:lnTo>
                      <a:pt x="161" y="0"/>
                    </a:lnTo>
                    <a:lnTo>
                      <a:pt x="81" y="0"/>
                    </a:lnTo>
                    <a:lnTo>
                      <a:pt x="0" y="0"/>
                    </a:lnTo>
                    <a:lnTo>
                      <a:pt x="40" y="65"/>
                    </a:lnTo>
                    <a:lnTo>
                      <a:pt x="81" y="130"/>
                    </a:lnTo>
                    <a:lnTo>
                      <a:pt x="81" y="130"/>
                    </a:ln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45" name="Freeform 253">
                <a:extLst>
                  <a:ext uri="{FF2B5EF4-FFF2-40B4-BE49-F238E27FC236}">
                    <a16:creationId xmlns:a16="http://schemas.microsoft.com/office/drawing/2014/main" id="{DB2288B7-FA10-C0DD-3B4B-9F0FFEBC5456}"/>
                  </a:ext>
                </a:extLst>
              </p:cNvPr>
              <p:cNvSpPr>
                <a:spLocks noEditPoints="1"/>
              </p:cNvSpPr>
              <p:nvPr/>
            </p:nvSpPr>
            <p:spPr bwMode="auto">
              <a:xfrm>
                <a:off x="6218870" y="1869698"/>
                <a:ext cx="119837" cy="236042"/>
              </a:xfrm>
              <a:custGeom>
                <a:avLst/>
                <a:gdLst/>
                <a:ahLst/>
                <a:cxnLst>
                  <a:cxn ang="0">
                    <a:pos x="0" y="0"/>
                  </a:cxn>
                  <a:cxn ang="0">
                    <a:pos x="99" y="0"/>
                  </a:cxn>
                  <a:cxn ang="0">
                    <a:pos x="99" y="7"/>
                  </a:cxn>
                  <a:cxn ang="0">
                    <a:pos x="0" y="7"/>
                  </a:cxn>
                  <a:cxn ang="0">
                    <a:pos x="0" y="0"/>
                  </a:cxn>
                  <a:cxn ang="0">
                    <a:pos x="0" y="0"/>
                  </a:cxn>
                  <a:cxn ang="0">
                    <a:pos x="99" y="24"/>
                  </a:cxn>
                  <a:cxn ang="0">
                    <a:pos x="99" y="38"/>
                  </a:cxn>
                  <a:cxn ang="0">
                    <a:pos x="0" y="38"/>
                  </a:cxn>
                  <a:cxn ang="0">
                    <a:pos x="0" y="24"/>
                  </a:cxn>
                  <a:cxn ang="0">
                    <a:pos x="99" y="24"/>
                  </a:cxn>
                  <a:cxn ang="0">
                    <a:pos x="99" y="24"/>
                  </a:cxn>
                  <a:cxn ang="0">
                    <a:pos x="99" y="55"/>
                  </a:cxn>
                  <a:cxn ang="0">
                    <a:pos x="99" y="79"/>
                  </a:cxn>
                  <a:cxn ang="0">
                    <a:pos x="0" y="79"/>
                  </a:cxn>
                  <a:cxn ang="0">
                    <a:pos x="0" y="55"/>
                  </a:cxn>
                  <a:cxn ang="0">
                    <a:pos x="99" y="55"/>
                  </a:cxn>
                  <a:cxn ang="0">
                    <a:pos x="99" y="55"/>
                  </a:cxn>
                  <a:cxn ang="0">
                    <a:pos x="99" y="96"/>
                  </a:cxn>
                  <a:cxn ang="0">
                    <a:pos x="99" y="130"/>
                  </a:cxn>
                  <a:cxn ang="0">
                    <a:pos x="0" y="130"/>
                  </a:cxn>
                  <a:cxn ang="0">
                    <a:pos x="0" y="96"/>
                  </a:cxn>
                  <a:cxn ang="0">
                    <a:pos x="99" y="96"/>
                  </a:cxn>
                  <a:cxn ang="0">
                    <a:pos x="99" y="96"/>
                  </a:cxn>
                  <a:cxn ang="0">
                    <a:pos x="99" y="147"/>
                  </a:cxn>
                  <a:cxn ang="0">
                    <a:pos x="99" y="195"/>
                  </a:cxn>
                  <a:cxn ang="0">
                    <a:pos x="0" y="195"/>
                  </a:cxn>
                  <a:cxn ang="0">
                    <a:pos x="0" y="147"/>
                  </a:cxn>
                  <a:cxn ang="0">
                    <a:pos x="99" y="147"/>
                  </a:cxn>
                  <a:cxn ang="0">
                    <a:pos x="99" y="147"/>
                  </a:cxn>
                </a:cxnLst>
                <a:rect l="0" t="0" r="r" b="b"/>
                <a:pathLst>
                  <a:path w="99" h="195">
                    <a:moveTo>
                      <a:pt x="0" y="0"/>
                    </a:moveTo>
                    <a:lnTo>
                      <a:pt x="99" y="0"/>
                    </a:lnTo>
                    <a:lnTo>
                      <a:pt x="99" y="7"/>
                    </a:lnTo>
                    <a:lnTo>
                      <a:pt x="0" y="7"/>
                    </a:lnTo>
                    <a:lnTo>
                      <a:pt x="0" y="0"/>
                    </a:lnTo>
                    <a:lnTo>
                      <a:pt x="0" y="0"/>
                    </a:lnTo>
                    <a:close/>
                    <a:moveTo>
                      <a:pt x="99" y="24"/>
                    </a:moveTo>
                    <a:lnTo>
                      <a:pt x="99" y="38"/>
                    </a:lnTo>
                    <a:lnTo>
                      <a:pt x="0" y="38"/>
                    </a:lnTo>
                    <a:lnTo>
                      <a:pt x="0" y="24"/>
                    </a:lnTo>
                    <a:lnTo>
                      <a:pt x="99" y="24"/>
                    </a:lnTo>
                    <a:lnTo>
                      <a:pt x="99" y="24"/>
                    </a:lnTo>
                    <a:close/>
                    <a:moveTo>
                      <a:pt x="99" y="55"/>
                    </a:moveTo>
                    <a:lnTo>
                      <a:pt x="99" y="79"/>
                    </a:lnTo>
                    <a:lnTo>
                      <a:pt x="0" y="79"/>
                    </a:lnTo>
                    <a:lnTo>
                      <a:pt x="0" y="55"/>
                    </a:lnTo>
                    <a:lnTo>
                      <a:pt x="99" y="55"/>
                    </a:lnTo>
                    <a:lnTo>
                      <a:pt x="99" y="55"/>
                    </a:lnTo>
                    <a:close/>
                    <a:moveTo>
                      <a:pt x="99" y="96"/>
                    </a:moveTo>
                    <a:lnTo>
                      <a:pt x="99" y="130"/>
                    </a:lnTo>
                    <a:lnTo>
                      <a:pt x="0" y="130"/>
                    </a:lnTo>
                    <a:lnTo>
                      <a:pt x="0" y="96"/>
                    </a:lnTo>
                    <a:lnTo>
                      <a:pt x="99" y="96"/>
                    </a:lnTo>
                    <a:lnTo>
                      <a:pt x="99" y="96"/>
                    </a:lnTo>
                    <a:close/>
                    <a:moveTo>
                      <a:pt x="99" y="147"/>
                    </a:moveTo>
                    <a:lnTo>
                      <a:pt x="99" y="195"/>
                    </a:lnTo>
                    <a:lnTo>
                      <a:pt x="0" y="195"/>
                    </a:lnTo>
                    <a:lnTo>
                      <a:pt x="0" y="147"/>
                    </a:lnTo>
                    <a:lnTo>
                      <a:pt x="99" y="147"/>
                    </a:lnTo>
                    <a:lnTo>
                      <a:pt x="99" y="147"/>
                    </a:lnTo>
                    <a:close/>
                  </a:path>
                </a:pathLst>
              </a:custGeom>
              <a:solidFill>
                <a:srgbClr val="000000"/>
              </a:solidFill>
              <a:ln w="3175" cap="flat">
                <a:solidFill>
                  <a:srgbClr val="000000"/>
                </a:solidFill>
                <a:prstDash val="solid"/>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grpSp>
        <p:sp>
          <p:nvSpPr>
            <p:cNvPr id="46" name="Freeform 17">
              <a:extLst>
                <a:ext uri="{FF2B5EF4-FFF2-40B4-BE49-F238E27FC236}">
                  <a16:creationId xmlns:a16="http://schemas.microsoft.com/office/drawing/2014/main" id="{E0F27765-537D-0789-1774-7EDD56DF305B}"/>
                </a:ext>
              </a:extLst>
            </p:cNvPr>
            <p:cNvSpPr>
              <a:spLocks noEditPoints="1"/>
            </p:cNvSpPr>
            <p:nvPr/>
          </p:nvSpPr>
          <p:spPr bwMode="auto">
            <a:xfrm>
              <a:off x="1904281" y="3897746"/>
              <a:ext cx="848376" cy="757138"/>
            </a:xfrm>
            <a:custGeom>
              <a:avLst/>
              <a:gdLst/>
              <a:ahLst/>
              <a:cxnLst>
                <a:cxn ang="0">
                  <a:pos x="53" y="193"/>
                </a:cxn>
                <a:cxn ang="0">
                  <a:pos x="53" y="212"/>
                </a:cxn>
                <a:cxn ang="0">
                  <a:pos x="56" y="214"/>
                </a:cxn>
                <a:cxn ang="0">
                  <a:pos x="47" y="322"/>
                </a:cxn>
                <a:cxn ang="0">
                  <a:pos x="53" y="214"/>
                </a:cxn>
                <a:cxn ang="0">
                  <a:pos x="8" y="232"/>
                </a:cxn>
                <a:cxn ang="0">
                  <a:pos x="4" y="225"/>
                </a:cxn>
                <a:cxn ang="0">
                  <a:pos x="45" y="211"/>
                </a:cxn>
                <a:cxn ang="0">
                  <a:pos x="99" y="232"/>
                </a:cxn>
                <a:cxn ang="0">
                  <a:pos x="65" y="203"/>
                </a:cxn>
                <a:cxn ang="0">
                  <a:pos x="106" y="231"/>
                </a:cxn>
                <a:cxn ang="0">
                  <a:pos x="57" y="148"/>
                </a:cxn>
                <a:cxn ang="0">
                  <a:pos x="53" y="191"/>
                </a:cxn>
                <a:cxn ang="0">
                  <a:pos x="49" y="148"/>
                </a:cxn>
                <a:cxn ang="0">
                  <a:pos x="57" y="148"/>
                </a:cxn>
                <a:cxn ang="0">
                  <a:pos x="187" y="95"/>
                </a:cxn>
                <a:cxn ang="0">
                  <a:pos x="171" y="95"/>
                </a:cxn>
                <a:cxn ang="0">
                  <a:pos x="179" y="0"/>
                </a:cxn>
                <a:cxn ang="0">
                  <a:pos x="267" y="173"/>
                </a:cxn>
                <a:cxn ang="0">
                  <a:pos x="202" y="117"/>
                </a:cxn>
                <a:cxn ang="0">
                  <a:pos x="275" y="159"/>
                </a:cxn>
                <a:cxn ang="0">
                  <a:pos x="267" y="173"/>
                </a:cxn>
                <a:cxn ang="0">
                  <a:pos x="78" y="171"/>
                </a:cxn>
                <a:cxn ang="0">
                  <a:pos x="156" y="117"/>
                </a:cxn>
                <a:cxn ang="0">
                  <a:pos x="163" y="132"/>
                </a:cxn>
                <a:cxn ang="0">
                  <a:pos x="185" y="138"/>
                </a:cxn>
                <a:cxn ang="0">
                  <a:pos x="168" y="347"/>
                </a:cxn>
                <a:cxn ang="0">
                  <a:pos x="179" y="139"/>
                </a:cxn>
                <a:cxn ang="0">
                  <a:pos x="161" y="116"/>
                </a:cxn>
                <a:cxn ang="0">
                  <a:pos x="197" y="116"/>
                </a:cxn>
                <a:cxn ang="0">
                  <a:pos x="161" y="116"/>
                </a:cxn>
                <a:cxn ang="0">
                  <a:pos x="309" y="192"/>
                </a:cxn>
                <a:cxn ang="0">
                  <a:pos x="301" y="192"/>
                </a:cxn>
                <a:cxn ang="0">
                  <a:pos x="305" y="143"/>
                </a:cxn>
                <a:cxn ang="0">
                  <a:pos x="351" y="232"/>
                </a:cxn>
                <a:cxn ang="0">
                  <a:pos x="317" y="203"/>
                </a:cxn>
                <a:cxn ang="0">
                  <a:pos x="357" y="231"/>
                </a:cxn>
                <a:cxn ang="0">
                  <a:pos x="260" y="232"/>
                </a:cxn>
                <a:cxn ang="0">
                  <a:pos x="256" y="225"/>
                </a:cxn>
                <a:cxn ang="0">
                  <a:pos x="297" y="211"/>
                </a:cxn>
                <a:cxn ang="0">
                  <a:pos x="308" y="214"/>
                </a:cxn>
                <a:cxn ang="0">
                  <a:pos x="299" y="322"/>
                </a:cxn>
                <a:cxn ang="0">
                  <a:pos x="305" y="214"/>
                </a:cxn>
                <a:cxn ang="0">
                  <a:pos x="296" y="203"/>
                </a:cxn>
                <a:cxn ang="0">
                  <a:pos x="314" y="203"/>
                </a:cxn>
                <a:cxn ang="0">
                  <a:pos x="296" y="203"/>
                </a:cxn>
              </a:cxnLst>
              <a:rect l="0" t="0" r="r" b="b"/>
              <a:pathLst>
                <a:path w="359" h="347">
                  <a:moveTo>
                    <a:pt x="44" y="203"/>
                  </a:moveTo>
                  <a:cubicBezTo>
                    <a:pt x="44" y="197"/>
                    <a:pt x="48" y="193"/>
                    <a:pt x="53" y="193"/>
                  </a:cubicBezTo>
                  <a:cubicBezTo>
                    <a:pt x="58" y="193"/>
                    <a:pt x="62" y="197"/>
                    <a:pt x="62" y="203"/>
                  </a:cubicBezTo>
                  <a:cubicBezTo>
                    <a:pt x="62" y="208"/>
                    <a:pt x="58" y="212"/>
                    <a:pt x="53" y="212"/>
                  </a:cubicBezTo>
                  <a:cubicBezTo>
                    <a:pt x="48" y="212"/>
                    <a:pt x="44" y="208"/>
                    <a:pt x="44" y="203"/>
                  </a:cubicBezTo>
                  <a:close/>
                  <a:moveTo>
                    <a:pt x="56" y="214"/>
                  </a:moveTo>
                  <a:cubicBezTo>
                    <a:pt x="59" y="322"/>
                    <a:pt x="59" y="322"/>
                    <a:pt x="59" y="322"/>
                  </a:cubicBezTo>
                  <a:cubicBezTo>
                    <a:pt x="47" y="322"/>
                    <a:pt x="47" y="322"/>
                    <a:pt x="47" y="322"/>
                  </a:cubicBezTo>
                  <a:cubicBezTo>
                    <a:pt x="50" y="214"/>
                    <a:pt x="50" y="214"/>
                    <a:pt x="50" y="214"/>
                  </a:cubicBezTo>
                  <a:cubicBezTo>
                    <a:pt x="51" y="214"/>
                    <a:pt x="52" y="214"/>
                    <a:pt x="53" y="214"/>
                  </a:cubicBezTo>
                  <a:cubicBezTo>
                    <a:pt x="54" y="214"/>
                    <a:pt x="55" y="214"/>
                    <a:pt x="56" y="214"/>
                  </a:cubicBezTo>
                  <a:close/>
                  <a:moveTo>
                    <a:pt x="8" y="232"/>
                  </a:moveTo>
                  <a:cubicBezTo>
                    <a:pt x="5" y="234"/>
                    <a:pt x="2" y="233"/>
                    <a:pt x="1" y="231"/>
                  </a:cubicBezTo>
                  <a:cubicBezTo>
                    <a:pt x="0" y="229"/>
                    <a:pt x="1" y="226"/>
                    <a:pt x="4" y="225"/>
                  </a:cubicBezTo>
                  <a:cubicBezTo>
                    <a:pt x="41" y="203"/>
                    <a:pt x="41" y="203"/>
                    <a:pt x="41" y="203"/>
                  </a:cubicBezTo>
                  <a:cubicBezTo>
                    <a:pt x="42" y="206"/>
                    <a:pt x="43" y="209"/>
                    <a:pt x="45" y="211"/>
                  </a:cubicBezTo>
                  <a:cubicBezTo>
                    <a:pt x="8" y="232"/>
                    <a:pt x="8" y="232"/>
                    <a:pt x="8" y="232"/>
                  </a:cubicBezTo>
                  <a:close/>
                  <a:moveTo>
                    <a:pt x="99" y="232"/>
                  </a:moveTo>
                  <a:cubicBezTo>
                    <a:pt x="62" y="211"/>
                    <a:pt x="62" y="211"/>
                    <a:pt x="62" y="211"/>
                  </a:cubicBezTo>
                  <a:cubicBezTo>
                    <a:pt x="64" y="209"/>
                    <a:pt x="65" y="206"/>
                    <a:pt x="65" y="203"/>
                  </a:cubicBezTo>
                  <a:cubicBezTo>
                    <a:pt x="103" y="225"/>
                    <a:pt x="103" y="225"/>
                    <a:pt x="103" y="225"/>
                  </a:cubicBezTo>
                  <a:cubicBezTo>
                    <a:pt x="106" y="226"/>
                    <a:pt x="107" y="229"/>
                    <a:pt x="106" y="231"/>
                  </a:cubicBezTo>
                  <a:cubicBezTo>
                    <a:pt x="104" y="233"/>
                    <a:pt x="101" y="234"/>
                    <a:pt x="99" y="232"/>
                  </a:cubicBezTo>
                  <a:close/>
                  <a:moveTo>
                    <a:pt x="57" y="148"/>
                  </a:moveTo>
                  <a:cubicBezTo>
                    <a:pt x="57" y="192"/>
                    <a:pt x="57" y="192"/>
                    <a:pt x="57" y="192"/>
                  </a:cubicBezTo>
                  <a:cubicBezTo>
                    <a:pt x="56" y="191"/>
                    <a:pt x="55" y="191"/>
                    <a:pt x="53" y="191"/>
                  </a:cubicBezTo>
                  <a:cubicBezTo>
                    <a:pt x="52" y="191"/>
                    <a:pt x="50" y="191"/>
                    <a:pt x="49" y="192"/>
                  </a:cubicBezTo>
                  <a:cubicBezTo>
                    <a:pt x="49" y="148"/>
                    <a:pt x="49" y="148"/>
                    <a:pt x="49" y="148"/>
                  </a:cubicBezTo>
                  <a:cubicBezTo>
                    <a:pt x="49" y="145"/>
                    <a:pt x="51" y="143"/>
                    <a:pt x="53" y="143"/>
                  </a:cubicBezTo>
                  <a:cubicBezTo>
                    <a:pt x="56" y="143"/>
                    <a:pt x="57" y="145"/>
                    <a:pt x="57" y="148"/>
                  </a:cubicBezTo>
                  <a:close/>
                  <a:moveTo>
                    <a:pt x="187" y="11"/>
                  </a:moveTo>
                  <a:cubicBezTo>
                    <a:pt x="187" y="95"/>
                    <a:pt x="187" y="95"/>
                    <a:pt x="187" y="95"/>
                  </a:cubicBezTo>
                  <a:cubicBezTo>
                    <a:pt x="185" y="94"/>
                    <a:pt x="182" y="93"/>
                    <a:pt x="179" y="93"/>
                  </a:cubicBezTo>
                  <a:cubicBezTo>
                    <a:pt x="176" y="93"/>
                    <a:pt x="174" y="94"/>
                    <a:pt x="171" y="95"/>
                  </a:cubicBezTo>
                  <a:cubicBezTo>
                    <a:pt x="171" y="11"/>
                    <a:pt x="171" y="11"/>
                    <a:pt x="171" y="11"/>
                  </a:cubicBezTo>
                  <a:cubicBezTo>
                    <a:pt x="171" y="5"/>
                    <a:pt x="175" y="0"/>
                    <a:pt x="179" y="0"/>
                  </a:cubicBezTo>
                  <a:cubicBezTo>
                    <a:pt x="184" y="0"/>
                    <a:pt x="187" y="5"/>
                    <a:pt x="187" y="11"/>
                  </a:cubicBezTo>
                  <a:close/>
                  <a:moveTo>
                    <a:pt x="267" y="173"/>
                  </a:moveTo>
                  <a:cubicBezTo>
                    <a:pt x="195" y="132"/>
                    <a:pt x="195" y="132"/>
                    <a:pt x="195" y="132"/>
                  </a:cubicBezTo>
                  <a:cubicBezTo>
                    <a:pt x="199" y="128"/>
                    <a:pt x="202" y="123"/>
                    <a:pt x="202" y="117"/>
                  </a:cubicBezTo>
                  <a:cubicBezTo>
                    <a:pt x="202" y="117"/>
                    <a:pt x="202" y="117"/>
                    <a:pt x="202" y="117"/>
                  </a:cubicBezTo>
                  <a:cubicBezTo>
                    <a:pt x="275" y="159"/>
                    <a:pt x="275" y="159"/>
                    <a:pt x="275" y="159"/>
                  </a:cubicBezTo>
                  <a:cubicBezTo>
                    <a:pt x="280" y="162"/>
                    <a:pt x="282" y="168"/>
                    <a:pt x="280" y="171"/>
                  </a:cubicBezTo>
                  <a:cubicBezTo>
                    <a:pt x="278" y="175"/>
                    <a:pt x="272" y="176"/>
                    <a:pt x="267" y="173"/>
                  </a:cubicBezTo>
                  <a:close/>
                  <a:moveTo>
                    <a:pt x="92" y="173"/>
                  </a:moveTo>
                  <a:cubicBezTo>
                    <a:pt x="86" y="176"/>
                    <a:pt x="80" y="175"/>
                    <a:pt x="78" y="171"/>
                  </a:cubicBezTo>
                  <a:cubicBezTo>
                    <a:pt x="76" y="168"/>
                    <a:pt x="78" y="162"/>
                    <a:pt x="83" y="159"/>
                  </a:cubicBezTo>
                  <a:cubicBezTo>
                    <a:pt x="156" y="117"/>
                    <a:pt x="156" y="117"/>
                    <a:pt x="156" y="117"/>
                  </a:cubicBezTo>
                  <a:cubicBezTo>
                    <a:pt x="157" y="117"/>
                    <a:pt x="157" y="117"/>
                    <a:pt x="157" y="117"/>
                  </a:cubicBezTo>
                  <a:cubicBezTo>
                    <a:pt x="157" y="123"/>
                    <a:pt x="159" y="128"/>
                    <a:pt x="163" y="132"/>
                  </a:cubicBezTo>
                  <a:cubicBezTo>
                    <a:pt x="92" y="173"/>
                    <a:pt x="92" y="173"/>
                    <a:pt x="92" y="173"/>
                  </a:cubicBezTo>
                  <a:close/>
                  <a:moveTo>
                    <a:pt x="185" y="138"/>
                  </a:moveTo>
                  <a:cubicBezTo>
                    <a:pt x="190" y="347"/>
                    <a:pt x="190" y="347"/>
                    <a:pt x="190" y="347"/>
                  </a:cubicBezTo>
                  <a:cubicBezTo>
                    <a:pt x="168" y="347"/>
                    <a:pt x="168" y="347"/>
                    <a:pt x="168" y="347"/>
                  </a:cubicBezTo>
                  <a:cubicBezTo>
                    <a:pt x="174" y="138"/>
                    <a:pt x="174" y="138"/>
                    <a:pt x="174" y="138"/>
                  </a:cubicBezTo>
                  <a:cubicBezTo>
                    <a:pt x="175" y="138"/>
                    <a:pt x="177" y="139"/>
                    <a:pt x="179" y="139"/>
                  </a:cubicBezTo>
                  <a:cubicBezTo>
                    <a:pt x="181" y="139"/>
                    <a:pt x="183" y="138"/>
                    <a:pt x="185" y="138"/>
                  </a:cubicBezTo>
                  <a:close/>
                  <a:moveTo>
                    <a:pt x="161" y="116"/>
                  </a:moveTo>
                  <a:cubicBezTo>
                    <a:pt x="161" y="106"/>
                    <a:pt x="169" y="98"/>
                    <a:pt x="179" y="98"/>
                  </a:cubicBezTo>
                  <a:cubicBezTo>
                    <a:pt x="189" y="98"/>
                    <a:pt x="197" y="106"/>
                    <a:pt x="197" y="116"/>
                  </a:cubicBezTo>
                  <a:cubicBezTo>
                    <a:pt x="197" y="126"/>
                    <a:pt x="189" y="134"/>
                    <a:pt x="179" y="134"/>
                  </a:cubicBezTo>
                  <a:cubicBezTo>
                    <a:pt x="169" y="134"/>
                    <a:pt x="161" y="126"/>
                    <a:pt x="161" y="116"/>
                  </a:cubicBezTo>
                  <a:close/>
                  <a:moveTo>
                    <a:pt x="309" y="148"/>
                  </a:moveTo>
                  <a:cubicBezTo>
                    <a:pt x="309" y="192"/>
                    <a:pt x="309" y="192"/>
                    <a:pt x="309" y="192"/>
                  </a:cubicBezTo>
                  <a:cubicBezTo>
                    <a:pt x="308" y="191"/>
                    <a:pt x="307" y="191"/>
                    <a:pt x="305" y="191"/>
                  </a:cubicBezTo>
                  <a:cubicBezTo>
                    <a:pt x="304" y="191"/>
                    <a:pt x="302" y="191"/>
                    <a:pt x="301" y="192"/>
                  </a:cubicBezTo>
                  <a:cubicBezTo>
                    <a:pt x="301" y="148"/>
                    <a:pt x="301" y="148"/>
                    <a:pt x="301" y="148"/>
                  </a:cubicBezTo>
                  <a:cubicBezTo>
                    <a:pt x="301" y="145"/>
                    <a:pt x="303" y="143"/>
                    <a:pt x="305" y="143"/>
                  </a:cubicBezTo>
                  <a:cubicBezTo>
                    <a:pt x="307" y="143"/>
                    <a:pt x="309" y="145"/>
                    <a:pt x="309" y="148"/>
                  </a:cubicBezTo>
                  <a:close/>
                  <a:moveTo>
                    <a:pt x="351" y="232"/>
                  </a:moveTo>
                  <a:cubicBezTo>
                    <a:pt x="314" y="211"/>
                    <a:pt x="314" y="211"/>
                    <a:pt x="314" y="211"/>
                  </a:cubicBezTo>
                  <a:cubicBezTo>
                    <a:pt x="315" y="209"/>
                    <a:pt x="317" y="206"/>
                    <a:pt x="317" y="203"/>
                  </a:cubicBezTo>
                  <a:cubicBezTo>
                    <a:pt x="355" y="225"/>
                    <a:pt x="355" y="225"/>
                    <a:pt x="355" y="225"/>
                  </a:cubicBezTo>
                  <a:cubicBezTo>
                    <a:pt x="357" y="226"/>
                    <a:pt x="359" y="229"/>
                    <a:pt x="357" y="231"/>
                  </a:cubicBezTo>
                  <a:cubicBezTo>
                    <a:pt x="356" y="233"/>
                    <a:pt x="353" y="234"/>
                    <a:pt x="351" y="232"/>
                  </a:cubicBezTo>
                  <a:close/>
                  <a:moveTo>
                    <a:pt x="260" y="232"/>
                  </a:moveTo>
                  <a:cubicBezTo>
                    <a:pt x="257" y="234"/>
                    <a:pt x="254" y="233"/>
                    <a:pt x="253" y="231"/>
                  </a:cubicBezTo>
                  <a:cubicBezTo>
                    <a:pt x="252" y="229"/>
                    <a:pt x="253" y="226"/>
                    <a:pt x="256" y="225"/>
                  </a:cubicBezTo>
                  <a:cubicBezTo>
                    <a:pt x="293" y="203"/>
                    <a:pt x="293" y="203"/>
                    <a:pt x="293" y="203"/>
                  </a:cubicBezTo>
                  <a:cubicBezTo>
                    <a:pt x="294" y="206"/>
                    <a:pt x="295" y="209"/>
                    <a:pt x="297" y="211"/>
                  </a:cubicBezTo>
                  <a:cubicBezTo>
                    <a:pt x="260" y="232"/>
                    <a:pt x="260" y="232"/>
                    <a:pt x="260" y="232"/>
                  </a:cubicBezTo>
                  <a:close/>
                  <a:moveTo>
                    <a:pt x="308" y="214"/>
                  </a:moveTo>
                  <a:cubicBezTo>
                    <a:pt x="311" y="322"/>
                    <a:pt x="311" y="322"/>
                    <a:pt x="311" y="322"/>
                  </a:cubicBezTo>
                  <a:cubicBezTo>
                    <a:pt x="299" y="322"/>
                    <a:pt x="299" y="322"/>
                    <a:pt x="299" y="322"/>
                  </a:cubicBezTo>
                  <a:cubicBezTo>
                    <a:pt x="302" y="214"/>
                    <a:pt x="302" y="214"/>
                    <a:pt x="302" y="214"/>
                  </a:cubicBezTo>
                  <a:cubicBezTo>
                    <a:pt x="303" y="214"/>
                    <a:pt x="304" y="214"/>
                    <a:pt x="305" y="214"/>
                  </a:cubicBezTo>
                  <a:cubicBezTo>
                    <a:pt x="306" y="214"/>
                    <a:pt x="307" y="214"/>
                    <a:pt x="308" y="214"/>
                  </a:cubicBezTo>
                  <a:close/>
                  <a:moveTo>
                    <a:pt x="296" y="203"/>
                  </a:moveTo>
                  <a:cubicBezTo>
                    <a:pt x="296" y="197"/>
                    <a:pt x="300" y="193"/>
                    <a:pt x="305" y="193"/>
                  </a:cubicBezTo>
                  <a:cubicBezTo>
                    <a:pt x="310" y="193"/>
                    <a:pt x="314" y="197"/>
                    <a:pt x="314" y="203"/>
                  </a:cubicBezTo>
                  <a:cubicBezTo>
                    <a:pt x="314" y="208"/>
                    <a:pt x="310" y="212"/>
                    <a:pt x="305" y="212"/>
                  </a:cubicBezTo>
                  <a:cubicBezTo>
                    <a:pt x="300" y="212"/>
                    <a:pt x="296" y="208"/>
                    <a:pt x="296" y="203"/>
                  </a:cubicBezTo>
                  <a:close/>
                </a:path>
              </a:pathLst>
            </a:custGeom>
            <a:solidFill>
              <a:srgbClr val="000000"/>
            </a:solid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grpSp>
      <p:sp>
        <p:nvSpPr>
          <p:cNvPr id="25" name="Oval 24">
            <a:extLst>
              <a:ext uri="{FF2B5EF4-FFF2-40B4-BE49-F238E27FC236}">
                <a16:creationId xmlns:a16="http://schemas.microsoft.com/office/drawing/2014/main" id="{0BC58E50-522D-428B-9F05-49819E4DF99C}"/>
              </a:ext>
            </a:extLst>
          </p:cNvPr>
          <p:cNvSpPr/>
          <p:nvPr/>
        </p:nvSpPr>
        <p:spPr>
          <a:xfrm>
            <a:off x="3814481"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8" name="Text Placeholder 16">
            <a:extLst>
              <a:ext uri="{FF2B5EF4-FFF2-40B4-BE49-F238E27FC236}">
                <a16:creationId xmlns:a16="http://schemas.microsoft.com/office/drawing/2014/main" id="{ACA37D7A-3F9E-740B-9966-6329FC8957EE}"/>
              </a:ext>
            </a:extLst>
          </p:cNvPr>
          <p:cNvSpPr txBox="1">
            <a:spLocks noGrp="1"/>
          </p:cNvSpPr>
          <p:nvPr>
            <p:ph type="body" sz="quarter" idx="32"/>
          </p:nvPr>
        </p:nvSpPr>
        <p:spPr>
          <a:xfrm>
            <a:off x="3814763" y="6475413"/>
            <a:ext cx="8008937"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5" name="Rectangle 4">
            <a:extLst>
              <a:ext uri="{FF2B5EF4-FFF2-40B4-BE49-F238E27FC236}">
                <a16:creationId xmlns:a16="http://schemas.microsoft.com/office/drawing/2014/main" id="{884664D9-41C2-596D-13FD-AFB14B80513E}"/>
              </a:ext>
            </a:extLst>
          </p:cNvPr>
          <p:cNvSpPr/>
          <p:nvPr/>
        </p:nvSpPr>
        <p:spPr>
          <a:xfrm>
            <a:off x="3982279" y="1245492"/>
            <a:ext cx="7926186" cy="5180905"/>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1055794565"/>
      </p:ext>
    </p:extLst>
  </p:cSld>
  <p:clrMapOvr>
    <a:masterClrMapping/>
  </p:clrMapOvr>
  <p:extLst>
    <p:ext uri="{6950BFC3-D8DA-4A85-94F7-54DA5524770B}">
      <p188:commentRel xmlns:p188="http://schemas.microsoft.com/office/powerpoint/2018/8/main" r:id="rId4"/>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662C496A-51AB-C4EF-2648-50C98E9EE2F5}"/>
              </a:ext>
            </a:extLst>
          </p:cNvPr>
          <p:cNvGraphicFramePr>
            <a:graphicFrameLocks noChangeAspect="1"/>
          </p:cNvGraphicFramePr>
          <p:nvPr>
            <p:custDataLst>
              <p:tags r:id="rId1"/>
            </p:custDataLst>
            <p:extLst>
              <p:ext uri="{D42A27DB-BD31-4B8C-83A1-F6EECF244321}">
                <p14:modId xmlns:p14="http://schemas.microsoft.com/office/powerpoint/2010/main" val="3417031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0" name="think-cell data - do not delete" hidden="1">
                        <a:extLst>
                          <a:ext uri="{FF2B5EF4-FFF2-40B4-BE49-F238E27FC236}">
                            <a16:creationId xmlns:a16="http://schemas.microsoft.com/office/drawing/2014/main" id="{662C496A-51AB-C4EF-2648-50C98E9EE2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8" name="Rectangle: Rounded Corners 47">
            <a:extLst>
              <a:ext uri="{FF2B5EF4-FFF2-40B4-BE49-F238E27FC236}">
                <a16:creationId xmlns:a16="http://schemas.microsoft.com/office/drawing/2014/main" id="{085E5457-0FDD-0656-CCAF-4CE0B65D449B}"/>
              </a:ext>
            </a:extLst>
          </p:cNvPr>
          <p:cNvSpPr/>
          <p:nvPr/>
        </p:nvSpPr>
        <p:spPr>
          <a:xfrm>
            <a:off x="448852" y="3445919"/>
            <a:ext cx="2527670" cy="2899393"/>
          </a:xfrm>
          <a:prstGeom prst="roundRect">
            <a:avLst>
              <a:gd name="adj" fmla="val 9082"/>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4" name="Rectangle: Rounded Corners 23">
            <a:extLst>
              <a:ext uri="{FF2B5EF4-FFF2-40B4-BE49-F238E27FC236}">
                <a16:creationId xmlns:a16="http://schemas.microsoft.com/office/drawing/2014/main" id="{B2BE4CA9-825D-9EE1-6891-F35C8C32E8A6}"/>
              </a:ext>
            </a:extLst>
          </p:cNvPr>
          <p:cNvSpPr/>
          <p:nvPr/>
        </p:nvSpPr>
        <p:spPr>
          <a:xfrm>
            <a:off x="398237" y="3429000"/>
            <a:ext cx="2628900" cy="1053809"/>
          </a:xfrm>
          <a:prstGeom prst="roundRect">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b="1"/>
          </a:p>
          <a:p>
            <a:pPr algn="ctr"/>
            <a:endParaRPr lang="en-GB" sz="1200" b="1"/>
          </a:p>
          <a:p>
            <a:pPr algn="ctr"/>
            <a:endParaRPr lang="en-GB" sz="1200" b="1"/>
          </a:p>
          <a:p>
            <a:pPr algn="ctr"/>
            <a:r>
              <a:rPr lang="en-GB" sz="1200" b="1"/>
              <a:t>Battery technology</a:t>
            </a:r>
          </a:p>
        </p:txBody>
      </p:sp>
      <p:sp>
        <p:nvSpPr>
          <p:cNvPr id="51" name="Rectangle: Rounded Corners 50">
            <a:extLst>
              <a:ext uri="{FF2B5EF4-FFF2-40B4-BE49-F238E27FC236}">
                <a16:creationId xmlns:a16="http://schemas.microsoft.com/office/drawing/2014/main" id="{B70C289C-7936-BFB6-61DF-435CE3295BAC}"/>
              </a:ext>
            </a:extLst>
          </p:cNvPr>
          <p:cNvSpPr/>
          <p:nvPr/>
        </p:nvSpPr>
        <p:spPr>
          <a:xfrm>
            <a:off x="3369931" y="3445918"/>
            <a:ext cx="2527670" cy="2899393"/>
          </a:xfrm>
          <a:prstGeom prst="roundRect">
            <a:avLst>
              <a:gd name="adj" fmla="val 9082"/>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2" name="Rectangle: Rounded Corners 51">
            <a:extLst>
              <a:ext uri="{FF2B5EF4-FFF2-40B4-BE49-F238E27FC236}">
                <a16:creationId xmlns:a16="http://schemas.microsoft.com/office/drawing/2014/main" id="{E595BF84-795E-B58D-13AF-7115907C1945}"/>
              </a:ext>
            </a:extLst>
          </p:cNvPr>
          <p:cNvSpPr/>
          <p:nvPr/>
        </p:nvSpPr>
        <p:spPr>
          <a:xfrm>
            <a:off x="3322621" y="3429000"/>
            <a:ext cx="2628900" cy="1053809"/>
          </a:xfrm>
          <a:prstGeom prst="roundRect">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b="1"/>
          </a:p>
          <a:p>
            <a:pPr algn="ctr"/>
            <a:endParaRPr lang="en-GB" sz="1200" b="1"/>
          </a:p>
          <a:p>
            <a:pPr algn="ctr"/>
            <a:endParaRPr lang="en-GB" sz="1200" b="1"/>
          </a:p>
          <a:p>
            <a:pPr algn="ctr"/>
            <a:r>
              <a:rPr lang="en-GB" sz="1200" b="1"/>
              <a:t>Power Capacity</a:t>
            </a:r>
          </a:p>
        </p:txBody>
      </p:sp>
      <p:sp>
        <p:nvSpPr>
          <p:cNvPr id="53" name="Rectangle: Rounded Corners 52">
            <a:extLst>
              <a:ext uri="{FF2B5EF4-FFF2-40B4-BE49-F238E27FC236}">
                <a16:creationId xmlns:a16="http://schemas.microsoft.com/office/drawing/2014/main" id="{EC8AA9BA-AB59-4B43-1370-008F0F13AE33}"/>
              </a:ext>
            </a:extLst>
          </p:cNvPr>
          <p:cNvSpPr/>
          <p:nvPr/>
        </p:nvSpPr>
        <p:spPr>
          <a:xfrm>
            <a:off x="6294315" y="3467567"/>
            <a:ext cx="2527670" cy="2892260"/>
          </a:xfrm>
          <a:prstGeom prst="roundRect">
            <a:avLst>
              <a:gd name="adj" fmla="val 9082"/>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4" name="Rectangle: Rounded Corners 53">
            <a:extLst>
              <a:ext uri="{FF2B5EF4-FFF2-40B4-BE49-F238E27FC236}">
                <a16:creationId xmlns:a16="http://schemas.microsoft.com/office/drawing/2014/main" id="{860F6110-78A1-69BC-42A9-7803C1ECB45D}"/>
              </a:ext>
            </a:extLst>
          </p:cNvPr>
          <p:cNvSpPr/>
          <p:nvPr/>
        </p:nvSpPr>
        <p:spPr>
          <a:xfrm>
            <a:off x="6247005" y="3429000"/>
            <a:ext cx="2628900" cy="1053809"/>
          </a:xfrm>
          <a:prstGeom prst="roundRect">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b="1"/>
          </a:p>
          <a:p>
            <a:pPr algn="ctr"/>
            <a:endParaRPr lang="en-GB" sz="1200" b="1"/>
          </a:p>
          <a:p>
            <a:pPr algn="ctr"/>
            <a:endParaRPr lang="en-GB" sz="1200" b="1"/>
          </a:p>
          <a:p>
            <a:pPr algn="ctr"/>
            <a:r>
              <a:rPr lang="en-GB" sz="1200" b="1"/>
              <a:t>Duration</a:t>
            </a:r>
          </a:p>
        </p:txBody>
      </p:sp>
      <p:sp>
        <p:nvSpPr>
          <p:cNvPr id="55" name="Rectangle: Rounded Corners 54">
            <a:extLst>
              <a:ext uri="{FF2B5EF4-FFF2-40B4-BE49-F238E27FC236}">
                <a16:creationId xmlns:a16="http://schemas.microsoft.com/office/drawing/2014/main" id="{6381E4F4-18A5-348C-2DF6-E6BD006DD659}"/>
              </a:ext>
            </a:extLst>
          </p:cNvPr>
          <p:cNvSpPr/>
          <p:nvPr/>
        </p:nvSpPr>
        <p:spPr>
          <a:xfrm>
            <a:off x="9233020" y="3417308"/>
            <a:ext cx="2527670" cy="2928003"/>
          </a:xfrm>
          <a:prstGeom prst="roundRect">
            <a:avLst>
              <a:gd name="adj" fmla="val 9082"/>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6" name="Rectangle: Rounded Corners 55">
            <a:extLst>
              <a:ext uri="{FF2B5EF4-FFF2-40B4-BE49-F238E27FC236}">
                <a16:creationId xmlns:a16="http://schemas.microsoft.com/office/drawing/2014/main" id="{59E32550-5575-691E-F2CF-DB7561C1E29A}"/>
              </a:ext>
            </a:extLst>
          </p:cNvPr>
          <p:cNvSpPr/>
          <p:nvPr/>
        </p:nvSpPr>
        <p:spPr>
          <a:xfrm>
            <a:off x="9182405" y="3429000"/>
            <a:ext cx="2628900" cy="1053809"/>
          </a:xfrm>
          <a:prstGeom prst="roundRect">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00" b="1"/>
          </a:p>
          <a:p>
            <a:pPr algn="ctr"/>
            <a:endParaRPr lang="en-GB" sz="1200" b="1"/>
          </a:p>
          <a:p>
            <a:pPr algn="ctr"/>
            <a:endParaRPr lang="en-GB" sz="1200" b="1"/>
          </a:p>
          <a:p>
            <a:pPr algn="ctr"/>
            <a:r>
              <a:rPr lang="en-GB" sz="1200" b="1"/>
              <a:t>Grid connection</a:t>
            </a:r>
          </a:p>
        </p:txBody>
      </p:sp>
      <p:sp>
        <p:nvSpPr>
          <p:cNvPr id="20" name="Text Placeholder 19">
            <a:extLst>
              <a:ext uri="{FF2B5EF4-FFF2-40B4-BE49-F238E27FC236}">
                <a16:creationId xmlns:a16="http://schemas.microsoft.com/office/drawing/2014/main" id="{670DFDA4-5068-6F62-5962-540BE799DE9C}"/>
              </a:ext>
            </a:extLst>
          </p:cNvPr>
          <p:cNvSpPr>
            <a:spLocks noGrp="1"/>
          </p:cNvSpPr>
          <p:nvPr>
            <p:ph type="body" sz="quarter" idx="28"/>
          </p:nvPr>
        </p:nvSpPr>
        <p:spPr>
          <a:xfrm>
            <a:off x="381001" y="1710172"/>
            <a:ext cx="11442699" cy="1128514"/>
          </a:xfrm>
        </p:spPr>
        <p:txBody>
          <a:bodyPr/>
          <a:lstStyle/>
          <a:p>
            <a:pPr marL="171450" indent="-171450">
              <a:buFont typeface="Wingdings" panose="05000000000000000000" pitchFamily="2" charset="2"/>
              <a:buChar char="§"/>
            </a:pPr>
            <a:r>
              <a:rPr lang="en-GB"/>
              <a:t>A battery stores electrical energy by converting into chemical energy within chemical bonds of battery components, as a form of electrochemical storage.</a:t>
            </a:r>
          </a:p>
          <a:p>
            <a:pPr marL="171450" indent="-171450">
              <a:buFont typeface="Wingdings" panose="05000000000000000000" pitchFamily="2" charset="2"/>
              <a:buChar char="§"/>
            </a:pPr>
            <a:r>
              <a:rPr lang="en-GB"/>
              <a:t>Battery Energy Storage Systems (BESS) are large, utility-scale assets that combine many battery cells into a packed structure, aggregating to give larger power capacities and including the necessary electronics, control systems and hardware to enable connection to the power grid.</a:t>
            </a:r>
          </a:p>
          <a:p>
            <a:pPr marL="171450" indent="-171450">
              <a:buFont typeface="Wingdings" panose="05000000000000000000" pitchFamily="2" charset="2"/>
              <a:buChar char="§"/>
            </a:pPr>
            <a:r>
              <a:rPr lang="en-GB"/>
              <a:t>BESS assets typically charge and discharge from the grid, generating revenue through energy trading in wholesale or balancing markets, or through offering ancillary services to the grid such as frequency response and voltage control.</a:t>
            </a:r>
          </a:p>
        </p:txBody>
      </p:sp>
      <p:sp>
        <p:nvSpPr>
          <p:cNvPr id="19" name="Text Placeholder 18">
            <a:extLst>
              <a:ext uri="{FF2B5EF4-FFF2-40B4-BE49-F238E27FC236}">
                <a16:creationId xmlns:a16="http://schemas.microsoft.com/office/drawing/2014/main" id="{310894A0-4CA5-A356-024D-4809F75ABF10}"/>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4" name="Title 3">
            <a:extLst>
              <a:ext uri="{FF2B5EF4-FFF2-40B4-BE49-F238E27FC236}">
                <a16:creationId xmlns:a16="http://schemas.microsoft.com/office/drawing/2014/main" id="{8162D16A-4A93-5138-860A-D22D94F06D92}"/>
              </a:ext>
            </a:extLst>
          </p:cNvPr>
          <p:cNvSpPr>
            <a:spLocks noGrp="1"/>
          </p:cNvSpPr>
          <p:nvPr>
            <p:ph type="title"/>
          </p:nvPr>
        </p:nvSpPr>
        <p:spPr/>
        <p:txBody>
          <a:bodyPr vert="horz"/>
          <a:lstStyle/>
          <a:p>
            <a:r>
              <a:rPr lang="en-US">
                <a:latin typeface="Lato"/>
                <a:ea typeface="Lato"/>
                <a:cs typeface="Lato"/>
              </a:rPr>
              <a:t>Batteries store electricity by converting between electrical and chemical energy when charging and discharging</a:t>
            </a:r>
            <a:endParaRPr lang="en-US"/>
          </a:p>
        </p:txBody>
      </p:sp>
      <p:sp>
        <p:nvSpPr>
          <p:cNvPr id="23" name="Text Placeholder 22">
            <a:extLst>
              <a:ext uri="{FF2B5EF4-FFF2-40B4-BE49-F238E27FC236}">
                <a16:creationId xmlns:a16="http://schemas.microsoft.com/office/drawing/2014/main" id="{8BCA441A-FD5A-C3E3-C97E-D9DE36B794F1}"/>
              </a:ext>
            </a:extLst>
          </p:cNvPr>
          <p:cNvSpPr>
            <a:spLocks noGrp="1"/>
          </p:cNvSpPr>
          <p:nvPr>
            <p:ph type="body" sz="quarter" idx="32"/>
          </p:nvPr>
        </p:nvSpPr>
        <p:spPr>
          <a:xfrm>
            <a:off x="381600" y="6474841"/>
            <a:ext cx="11428800" cy="110800"/>
          </a:xfrm>
        </p:spPr>
        <p:txBody>
          <a:bodyPr/>
          <a:lstStyle/>
          <a:p>
            <a:r>
              <a:rPr lang="en-GB"/>
              <a:t>1) For more information on alternative technologies, see slide 30. 2) Energy capacity is the total amount of energy able to be stored by the asset, defined in megawatt-hours (MWh).</a:t>
            </a:r>
          </a:p>
        </p:txBody>
      </p:sp>
      <p:sp>
        <p:nvSpPr>
          <p:cNvPr id="17" name="Text Placeholder 15">
            <a:extLst>
              <a:ext uri="{FF2B5EF4-FFF2-40B4-BE49-F238E27FC236}">
                <a16:creationId xmlns:a16="http://schemas.microsoft.com/office/drawing/2014/main" id="{9391F1BB-F8C0-553A-4F62-D0B4A14EE0B9}"/>
              </a:ext>
            </a:extLst>
          </p:cNvPr>
          <p:cNvSpPr txBox="1">
            <a:spLocks/>
          </p:cNvSpPr>
          <p:nvPr/>
        </p:nvSpPr>
        <p:spPr>
          <a:xfrm>
            <a:off x="6447700" y="1710172"/>
            <a:ext cx="5376000" cy="854080"/>
          </a:xfrm>
          <a:prstGeom prst="rect">
            <a:avLst/>
          </a:prstGeom>
        </p:spPr>
        <p:txBody>
          <a:bodyPr vert="horz"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14" name="Rectangle: Rounded Corners 13">
            <a:extLst>
              <a:ext uri="{FF2B5EF4-FFF2-40B4-BE49-F238E27FC236}">
                <a16:creationId xmlns:a16="http://schemas.microsoft.com/office/drawing/2014/main" id="{093C17D0-ADEF-0B6E-D94F-FF97587D0083}"/>
              </a:ext>
            </a:extLst>
          </p:cNvPr>
          <p:cNvSpPr/>
          <p:nvPr/>
        </p:nvSpPr>
        <p:spPr>
          <a:xfrm>
            <a:off x="367099" y="1293822"/>
            <a:ext cx="11442700" cy="252000"/>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200" b="1"/>
              <a:t>What is a Battery Energy Storage System (BESS)?</a:t>
            </a:r>
          </a:p>
        </p:txBody>
      </p:sp>
      <p:sp>
        <p:nvSpPr>
          <p:cNvPr id="30" name="TextBox 29">
            <a:extLst>
              <a:ext uri="{FF2B5EF4-FFF2-40B4-BE49-F238E27FC236}">
                <a16:creationId xmlns:a16="http://schemas.microsoft.com/office/drawing/2014/main" id="{9D27B665-7175-0A73-38DE-0BB85AEC8E32}"/>
              </a:ext>
            </a:extLst>
          </p:cNvPr>
          <p:cNvSpPr txBox="1"/>
          <p:nvPr/>
        </p:nvSpPr>
        <p:spPr>
          <a:xfrm>
            <a:off x="1127693" y="4648157"/>
            <a:ext cx="1169988" cy="215444"/>
          </a:xfrm>
          <a:prstGeom prst="rect">
            <a:avLst/>
          </a:prstGeom>
          <a:noFill/>
        </p:spPr>
        <p:txBody>
          <a:bodyPr wrap="square" lIns="0" tIns="0" rIns="0" bIns="0" rtlCol="0">
            <a:spAutoFit/>
          </a:bodyPr>
          <a:lstStyle/>
          <a:p>
            <a:pPr algn="ctr">
              <a:spcBef>
                <a:spcPts val="600"/>
              </a:spcBef>
            </a:pPr>
            <a:r>
              <a:rPr lang="en-GB" sz="1400" b="1"/>
              <a:t>Li-ion</a:t>
            </a:r>
          </a:p>
        </p:txBody>
      </p:sp>
      <p:sp>
        <p:nvSpPr>
          <p:cNvPr id="31" name="TextBox 30">
            <a:extLst>
              <a:ext uri="{FF2B5EF4-FFF2-40B4-BE49-F238E27FC236}">
                <a16:creationId xmlns:a16="http://schemas.microsoft.com/office/drawing/2014/main" id="{BE92DAEC-3170-2791-BB5F-E163348B76F0}"/>
              </a:ext>
            </a:extLst>
          </p:cNvPr>
          <p:cNvSpPr txBox="1"/>
          <p:nvPr/>
        </p:nvSpPr>
        <p:spPr>
          <a:xfrm>
            <a:off x="6785974" y="4648157"/>
            <a:ext cx="1550962" cy="215444"/>
          </a:xfrm>
          <a:prstGeom prst="rect">
            <a:avLst/>
          </a:prstGeom>
          <a:noFill/>
        </p:spPr>
        <p:txBody>
          <a:bodyPr wrap="square" lIns="0" tIns="0" rIns="0" bIns="0" rtlCol="0">
            <a:spAutoFit/>
          </a:bodyPr>
          <a:lstStyle/>
          <a:p>
            <a:pPr algn="ctr">
              <a:spcBef>
                <a:spcPts val="600"/>
              </a:spcBef>
            </a:pPr>
            <a:r>
              <a:rPr lang="en-GB" sz="1400" b="1"/>
              <a:t>0.5 – 4 hours</a:t>
            </a:r>
          </a:p>
        </p:txBody>
      </p:sp>
      <p:sp>
        <p:nvSpPr>
          <p:cNvPr id="32" name="TextBox 31">
            <a:extLst>
              <a:ext uri="{FF2B5EF4-FFF2-40B4-BE49-F238E27FC236}">
                <a16:creationId xmlns:a16="http://schemas.microsoft.com/office/drawing/2014/main" id="{67B3F513-082C-EE87-A46B-6CBE2398BCBE}"/>
              </a:ext>
            </a:extLst>
          </p:cNvPr>
          <p:cNvSpPr txBox="1"/>
          <p:nvPr/>
        </p:nvSpPr>
        <p:spPr>
          <a:xfrm>
            <a:off x="3696777" y="4648157"/>
            <a:ext cx="1880588" cy="215444"/>
          </a:xfrm>
          <a:prstGeom prst="rect">
            <a:avLst/>
          </a:prstGeom>
          <a:noFill/>
        </p:spPr>
        <p:txBody>
          <a:bodyPr wrap="square" lIns="0" tIns="0" rIns="0" bIns="0" rtlCol="0">
            <a:spAutoFit/>
          </a:bodyPr>
          <a:lstStyle/>
          <a:p>
            <a:pPr algn="ctr">
              <a:spcBef>
                <a:spcPts val="600"/>
              </a:spcBef>
            </a:pPr>
            <a:r>
              <a:rPr lang="en-GB" sz="1400" b="1"/>
              <a:t>10 – 100MW</a:t>
            </a:r>
          </a:p>
        </p:txBody>
      </p:sp>
      <p:sp>
        <p:nvSpPr>
          <p:cNvPr id="33" name="TextBox 32">
            <a:extLst>
              <a:ext uri="{FF2B5EF4-FFF2-40B4-BE49-F238E27FC236}">
                <a16:creationId xmlns:a16="http://schemas.microsoft.com/office/drawing/2014/main" id="{79A0BD0C-4C9C-9C5B-DD66-EA7E12C4141E}"/>
              </a:ext>
            </a:extLst>
          </p:cNvPr>
          <p:cNvSpPr txBox="1"/>
          <p:nvPr/>
        </p:nvSpPr>
        <p:spPr>
          <a:xfrm>
            <a:off x="9393996" y="4637997"/>
            <a:ext cx="2205718" cy="215444"/>
          </a:xfrm>
          <a:prstGeom prst="rect">
            <a:avLst/>
          </a:prstGeom>
          <a:noFill/>
        </p:spPr>
        <p:txBody>
          <a:bodyPr wrap="square" lIns="0" tIns="0" rIns="0" bIns="0" rtlCol="0">
            <a:spAutoFit/>
          </a:bodyPr>
          <a:lstStyle/>
          <a:p>
            <a:pPr algn="ctr">
              <a:spcBef>
                <a:spcPts val="600"/>
              </a:spcBef>
            </a:pPr>
            <a:r>
              <a:rPr lang="en-GB" sz="1400" b="1"/>
              <a:t>Grid-connected</a:t>
            </a:r>
          </a:p>
        </p:txBody>
      </p:sp>
      <p:sp>
        <p:nvSpPr>
          <p:cNvPr id="41" name="Text Placeholder 19">
            <a:extLst>
              <a:ext uri="{FF2B5EF4-FFF2-40B4-BE49-F238E27FC236}">
                <a16:creationId xmlns:a16="http://schemas.microsoft.com/office/drawing/2014/main" id="{75E226EA-B29C-154C-7B57-E54F7A82CFD4}"/>
              </a:ext>
            </a:extLst>
          </p:cNvPr>
          <p:cNvSpPr txBox="1">
            <a:spLocks/>
          </p:cNvSpPr>
          <p:nvPr/>
        </p:nvSpPr>
        <p:spPr>
          <a:xfrm>
            <a:off x="567348" y="5119364"/>
            <a:ext cx="2290679" cy="110799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GB"/>
              <a:t>Most utility-scale batteries to date are based on lithium-ion chemistries. Other technologies</a:t>
            </a:r>
            <a:r>
              <a:rPr lang="en-GB" baseline="30000"/>
              <a:t>1</a:t>
            </a:r>
            <a:r>
              <a:rPr lang="en-GB"/>
              <a:t> are yet to reach mass commercial deployment but are maturing.</a:t>
            </a:r>
          </a:p>
        </p:txBody>
      </p:sp>
      <p:sp>
        <p:nvSpPr>
          <p:cNvPr id="45" name="Text Placeholder 19">
            <a:extLst>
              <a:ext uri="{FF2B5EF4-FFF2-40B4-BE49-F238E27FC236}">
                <a16:creationId xmlns:a16="http://schemas.microsoft.com/office/drawing/2014/main" id="{7E5A66AE-16F2-AE2B-3867-C93610254E69}"/>
              </a:ext>
            </a:extLst>
          </p:cNvPr>
          <p:cNvSpPr txBox="1">
            <a:spLocks/>
          </p:cNvSpPr>
          <p:nvPr/>
        </p:nvSpPr>
        <p:spPr>
          <a:xfrm>
            <a:off x="3461759" y="4987160"/>
            <a:ext cx="2368576" cy="129266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GB"/>
              <a:t>Power capacity refers to the maximum power that BESS can charge or discharge at. Though utility scale capacities have typically been under 100MW, larger projects have been emerging in some markets.</a:t>
            </a:r>
          </a:p>
        </p:txBody>
      </p:sp>
      <p:sp>
        <p:nvSpPr>
          <p:cNvPr id="46" name="Text Placeholder 19">
            <a:extLst>
              <a:ext uri="{FF2B5EF4-FFF2-40B4-BE49-F238E27FC236}">
                <a16:creationId xmlns:a16="http://schemas.microsoft.com/office/drawing/2014/main" id="{77F95C9B-B4F2-0279-72D2-10ADADD0A428}"/>
              </a:ext>
            </a:extLst>
          </p:cNvPr>
          <p:cNvSpPr txBox="1">
            <a:spLocks/>
          </p:cNvSpPr>
          <p:nvPr/>
        </p:nvSpPr>
        <p:spPr>
          <a:xfrm>
            <a:off x="6386143" y="4987160"/>
            <a:ext cx="2368576" cy="1331134"/>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spcBef>
                <a:spcPts val="300"/>
              </a:spcBef>
              <a:buFont typeface="Arial" panose="020B0604020202020204" pitchFamily="34" charset="0"/>
              <a:buChar char="•"/>
            </a:pPr>
            <a:r>
              <a:rPr lang="en-GB"/>
              <a:t>Duration refers to the length of time that BESS can operate at its maximum power capacity, given the energy capacity</a:t>
            </a:r>
            <a:r>
              <a:rPr lang="en-GB" baseline="30000"/>
              <a:t>2</a:t>
            </a:r>
            <a:r>
              <a:rPr lang="en-GB"/>
              <a:t> of the BESS.</a:t>
            </a:r>
          </a:p>
          <a:p>
            <a:pPr marL="171450" indent="-171450">
              <a:spcBef>
                <a:spcPts val="300"/>
              </a:spcBef>
              <a:buFont typeface="Arial" panose="020B0604020202020204" pitchFamily="34" charset="0"/>
              <a:buChar char="•"/>
            </a:pPr>
            <a:r>
              <a:rPr lang="en-GB"/>
              <a:t>Duration is defined by dividing energy capacity (MWh) by power capacity (MW).</a:t>
            </a:r>
          </a:p>
        </p:txBody>
      </p:sp>
      <p:sp>
        <p:nvSpPr>
          <p:cNvPr id="47" name="Text Placeholder 19">
            <a:extLst>
              <a:ext uri="{FF2B5EF4-FFF2-40B4-BE49-F238E27FC236}">
                <a16:creationId xmlns:a16="http://schemas.microsoft.com/office/drawing/2014/main" id="{0B4665ED-8093-DF18-A1BF-EB9B6106A7D6}"/>
              </a:ext>
            </a:extLst>
          </p:cNvPr>
          <p:cNvSpPr txBox="1">
            <a:spLocks/>
          </p:cNvSpPr>
          <p:nvPr/>
        </p:nvSpPr>
        <p:spPr>
          <a:xfrm>
            <a:off x="9393996" y="4987160"/>
            <a:ext cx="2230656" cy="129266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GB"/>
              <a:t>Utility-scale batteries are typically connected to the grid through the distribution network and increasingly the transmission network, or otherwise connected with a renewable asset (co-location).</a:t>
            </a:r>
          </a:p>
        </p:txBody>
      </p:sp>
      <p:sp>
        <p:nvSpPr>
          <p:cNvPr id="63" name="Rectangle: Rounded Corners 62">
            <a:extLst>
              <a:ext uri="{FF2B5EF4-FFF2-40B4-BE49-F238E27FC236}">
                <a16:creationId xmlns:a16="http://schemas.microsoft.com/office/drawing/2014/main" id="{1E2462E6-DDB9-039E-C975-FF618344C493}"/>
              </a:ext>
            </a:extLst>
          </p:cNvPr>
          <p:cNvSpPr/>
          <p:nvPr/>
        </p:nvSpPr>
        <p:spPr>
          <a:xfrm>
            <a:off x="367099" y="3012056"/>
            <a:ext cx="11442700" cy="252000"/>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200" b="1"/>
              <a:t>What are typical characteristics of currently deployed utility-scale BESS assets? </a:t>
            </a:r>
          </a:p>
        </p:txBody>
      </p:sp>
      <p:pic>
        <p:nvPicPr>
          <p:cNvPr id="67" name="Graphic 66" descr="Hourglass Finished with solid fill">
            <a:extLst>
              <a:ext uri="{FF2B5EF4-FFF2-40B4-BE49-F238E27FC236}">
                <a16:creationId xmlns:a16="http://schemas.microsoft.com/office/drawing/2014/main" id="{8264D100-4E03-7EE9-8591-4FC93E3650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95649" y="3537805"/>
            <a:ext cx="549564" cy="549564"/>
          </a:xfrm>
          <a:prstGeom prst="rect">
            <a:avLst/>
          </a:prstGeom>
        </p:spPr>
      </p:pic>
      <p:pic>
        <p:nvPicPr>
          <p:cNvPr id="69" name="Graphic 68" descr="Electric Tower with solid fill">
            <a:extLst>
              <a:ext uri="{FF2B5EF4-FFF2-40B4-BE49-F238E27FC236}">
                <a16:creationId xmlns:a16="http://schemas.microsoft.com/office/drawing/2014/main" id="{2F25DC29-11EC-D57E-77D7-3D5449488FC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71071" y="3546346"/>
            <a:ext cx="532483" cy="532483"/>
          </a:xfrm>
          <a:prstGeom prst="rect">
            <a:avLst/>
          </a:prstGeom>
        </p:spPr>
      </p:pic>
      <p:pic>
        <p:nvPicPr>
          <p:cNvPr id="71" name="Graphic 70" descr="Lightning bolt with solid fill">
            <a:extLst>
              <a:ext uri="{FF2B5EF4-FFF2-40B4-BE49-F238E27FC236}">
                <a16:creationId xmlns:a16="http://schemas.microsoft.com/office/drawing/2014/main" id="{FE05E75A-7E05-74A9-B0BB-D62061BB071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61479" y="3536186"/>
            <a:ext cx="551184" cy="551184"/>
          </a:xfrm>
          <a:prstGeom prst="rect">
            <a:avLst/>
          </a:prstGeom>
        </p:spPr>
      </p:pic>
      <p:pic>
        <p:nvPicPr>
          <p:cNvPr id="73" name="Graphic 72" descr="Battery with solid fill">
            <a:extLst>
              <a:ext uri="{FF2B5EF4-FFF2-40B4-BE49-F238E27FC236}">
                <a16:creationId xmlns:a16="http://schemas.microsoft.com/office/drawing/2014/main" id="{8BB53DA6-C9D2-4C7C-501E-6510B9F6C31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00229" y="3505787"/>
            <a:ext cx="621612" cy="621612"/>
          </a:xfrm>
          <a:prstGeom prst="rect">
            <a:avLst/>
          </a:prstGeom>
        </p:spPr>
      </p:pic>
      <p:sp>
        <p:nvSpPr>
          <p:cNvPr id="2" name="Text Placeholder 5">
            <a:extLst>
              <a:ext uri="{FF2B5EF4-FFF2-40B4-BE49-F238E27FC236}">
                <a16:creationId xmlns:a16="http://schemas.microsoft.com/office/drawing/2014/main" id="{2CA1C826-39C8-083A-0351-521CDD299B0B}"/>
              </a:ext>
            </a:extLst>
          </p:cNvPr>
          <p:cNvSpPr txBox="1">
            <a:spLocks/>
          </p:cNvSpPr>
          <p:nvPr/>
        </p:nvSpPr>
        <p:spPr>
          <a:xfrm>
            <a:off x="367099" y="90906"/>
            <a:ext cx="2318263"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Introduction to battery storage</a:t>
            </a:r>
          </a:p>
        </p:txBody>
      </p:sp>
      <p:sp>
        <p:nvSpPr>
          <p:cNvPr id="3" name="Oval 2">
            <a:extLst>
              <a:ext uri="{FF2B5EF4-FFF2-40B4-BE49-F238E27FC236}">
                <a16:creationId xmlns:a16="http://schemas.microsoft.com/office/drawing/2014/main" id="{9A99A747-DAE1-2437-2ED9-44B9B7AFB035}"/>
              </a:ext>
            </a:extLst>
          </p:cNvPr>
          <p:cNvSpPr/>
          <p:nvPr/>
        </p:nvSpPr>
        <p:spPr>
          <a:xfrm>
            <a:off x="367099" y="92469"/>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5" name="Rectangle 4">
            <a:extLst>
              <a:ext uri="{FF2B5EF4-FFF2-40B4-BE49-F238E27FC236}">
                <a16:creationId xmlns:a16="http://schemas.microsoft.com/office/drawing/2014/main" id="{A20E2C7B-F774-86A8-825F-2BCABF401292}"/>
              </a:ext>
            </a:extLst>
          </p:cNvPr>
          <p:cNvSpPr/>
          <p:nvPr/>
        </p:nvSpPr>
        <p:spPr>
          <a:xfrm>
            <a:off x="238125" y="1190625"/>
            <a:ext cx="11696700" cy="5169202"/>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870206033"/>
      </p:ext>
    </p:extLst>
  </p:cSld>
  <p:clrMapOvr>
    <a:masterClrMapping/>
  </p:clrMapOvr>
  <p:extLst>
    <p:ext uri="{6950BFC3-D8DA-4A85-94F7-54DA5524770B}">
      <p188:commentRel xmlns:p188="http://schemas.microsoft.com/office/powerpoint/2018/8/main" r:id="rId4"/>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7">
            <a:hlinkClick r:id="rId6" action="ppaction://hlinksldjump"/>
            <a:extLst>
              <a:ext uri="{FF2B5EF4-FFF2-40B4-BE49-F238E27FC236}">
                <a16:creationId xmlns:a16="http://schemas.microsoft.com/office/drawing/2014/main" id="{00E63B54-8D33-146F-D3DC-401CCC0EE0EC}"/>
              </a:ext>
            </a:extLst>
          </p:cNvPr>
          <p:cNvSpPr txBox="1">
            <a:spLocks/>
          </p:cNvSpPr>
          <p:nvPr/>
        </p:nvSpPr>
        <p:spPr>
          <a:xfrm>
            <a:off x="0" y="2019457"/>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1722390"/>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3912866"/>
          </a:xfrm>
        </p:spPr>
        <p:txBody>
          <a:bodyPr/>
          <a:lstStyle/>
          <a:p>
            <a:r>
              <a:rPr lang="en-GB" sz="1400" dirty="0">
                <a:hlinkClick r:id="rId7" action="ppaction://hlinksldjump"/>
              </a:rPr>
              <a:t>Executive summary</a:t>
            </a:r>
            <a:endParaRPr lang="en-GB" sz="1400" dirty="0"/>
          </a:p>
          <a:p>
            <a:r>
              <a:rPr lang="en-GB" sz="1400" dirty="0">
                <a:hlinkClick r:id="rId8" action="ppaction://hlinksldjump"/>
              </a:rPr>
              <a:t>Introduction to battery storage</a:t>
            </a:r>
            <a:r>
              <a:rPr lang="en-GB" sz="1400" dirty="0"/>
              <a:t> </a:t>
            </a:r>
          </a:p>
          <a:p>
            <a:pPr lvl="1"/>
            <a:r>
              <a:rPr lang="en-GB" sz="1400" dirty="0"/>
              <a:t>Battery storage drivers, risks and markets</a:t>
            </a:r>
          </a:p>
          <a:p>
            <a:pPr lvl="1"/>
            <a:r>
              <a:rPr lang="en-GB" sz="1400" dirty="0"/>
              <a:t>Battery technologies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GB" sz="1400" u="sng" dirty="0"/>
              <a:t>Revenue streams</a:t>
            </a:r>
          </a:p>
          <a:p>
            <a:r>
              <a:rPr lang="en-GB" sz="1400" dirty="0">
                <a:hlinkClick r:id="" action="ppaction://noaction">
                  <a:extLst>
                    <a:ext uri="{A12FA001-AC4F-418D-AE19-62706E023703}">
                      <ahyp:hlinkClr xmlns:ahyp="http://schemas.microsoft.com/office/drawing/2018/hyperlinkcolor" val="tx"/>
                    </a:ext>
                  </a:extLst>
                </a:hlinkClick>
              </a:rPr>
              <a:t>Project economics</a:t>
            </a:r>
            <a:endParaRPr lang="en-GB" sz="1400" dirty="0"/>
          </a:p>
          <a:p>
            <a:r>
              <a:rPr lang="en-GB" sz="1400" dirty="0">
                <a:hlinkClick r:id="" action="ppaction://noaction"/>
              </a:rPr>
              <a:t>Appendix</a:t>
            </a:r>
            <a:endParaRPr lang="en-GB" sz="1400" dirty="0"/>
          </a:p>
        </p:txBody>
      </p:sp>
      <p:grpSp>
        <p:nvGrpSpPr>
          <p:cNvPr id="2" name="Group 1">
            <a:extLst>
              <a:ext uri="{FF2B5EF4-FFF2-40B4-BE49-F238E27FC236}">
                <a16:creationId xmlns:a16="http://schemas.microsoft.com/office/drawing/2014/main" id="{EB426672-10F1-FB05-1312-EF40050B91D8}"/>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D70549AE-F969-B73C-C4BF-13DD631001FD}"/>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6" name="TextBox 5">
              <a:extLst>
                <a:ext uri="{FF2B5EF4-FFF2-40B4-BE49-F238E27FC236}">
                  <a16:creationId xmlns:a16="http://schemas.microsoft.com/office/drawing/2014/main" id="{CFD7137B-8BA7-7440-B507-CBF87431AE79}"/>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9299100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F385AF-1782-89ED-E014-6219EC6143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5" name="Object 14" hidden="1">
                        <a:extLst>
                          <a:ext uri="{FF2B5EF4-FFF2-40B4-BE49-F238E27FC236}">
                            <a16:creationId xmlns:a16="http://schemas.microsoft.com/office/drawing/2014/main" id="{9DF385AF-1782-89ED-E014-6219EC6143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494503F-AB65-17A3-8CB7-663AD5C92AF0}"/>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7" name="Title 6">
            <a:extLst>
              <a:ext uri="{FF2B5EF4-FFF2-40B4-BE49-F238E27FC236}">
                <a16:creationId xmlns:a16="http://schemas.microsoft.com/office/drawing/2014/main" id="{F1AFAA78-E5C3-2FAA-C7EB-638ED103F1AA}"/>
              </a:ext>
            </a:extLst>
          </p:cNvPr>
          <p:cNvSpPr>
            <a:spLocks noGrp="1"/>
          </p:cNvSpPr>
          <p:nvPr>
            <p:ph type="title"/>
          </p:nvPr>
        </p:nvSpPr>
        <p:spPr/>
        <p:txBody>
          <a:bodyPr vert="horz"/>
          <a:lstStyle/>
          <a:p>
            <a:r>
              <a:rPr lang="en-GB">
                <a:latin typeface="Lato"/>
                <a:ea typeface="Lato"/>
                <a:cs typeface="Lato"/>
              </a:rPr>
              <a:t>Rising flexibility needs and corresponding battery storage buildout is primarily driven by decarbonisation and its underlying drivers</a:t>
            </a:r>
          </a:p>
        </p:txBody>
      </p:sp>
      <p:sp>
        <p:nvSpPr>
          <p:cNvPr id="13" name="Text Placeholder 12">
            <a:extLst>
              <a:ext uri="{FF2B5EF4-FFF2-40B4-BE49-F238E27FC236}">
                <a16:creationId xmlns:a16="http://schemas.microsoft.com/office/drawing/2014/main" id="{A11E3F67-AD37-0F54-E621-58D2D9EF1F45}"/>
              </a:ext>
            </a:extLst>
          </p:cNvPr>
          <p:cNvSpPr>
            <a:spLocks noGrp="1"/>
          </p:cNvSpPr>
          <p:nvPr>
            <p:ph type="body" sz="quarter" idx="32"/>
          </p:nvPr>
        </p:nvSpPr>
        <p:spPr>
          <a:xfrm>
            <a:off x="381600" y="6474841"/>
            <a:ext cx="11428800" cy="221599"/>
          </a:xfrm>
        </p:spPr>
        <p:txBody>
          <a:bodyPr/>
          <a:lstStyle/>
          <a:p>
            <a:r>
              <a:rPr lang="en-GB"/>
              <a:t>1) Growing demand could improve business case for storage if it is inflexible demand; but if it is flexible demand then detracts from business case for grid scale batteries; 2) Increase in constraint management is further driven by RES deployment outpacing grid capacity</a:t>
            </a:r>
          </a:p>
        </p:txBody>
      </p:sp>
      <p:sp>
        <p:nvSpPr>
          <p:cNvPr id="12" name="Text Placeholder 11">
            <a:extLst>
              <a:ext uri="{FF2B5EF4-FFF2-40B4-BE49-F238E27FC236}">
                <a16:creationId xmlns:a16="http://schemas.microsoft.com/office/drawing/2014/main" id="{0ED3D77F-41FB-C565-041B-FF53D5F21225}"/>
              </a:ext>
            </a:extLst>
          </p:cNvPr>
          <p:cNvSpPr>
            <a:spLocks noGrp="1"/>
          </p:cNvSpPr>
          <p:nvPr>
            <p:ph type="body" sz="quarter" idx="31"/>
          </p:nvPr>
        </p:nvSpPr>
        <p:spPr>
          <a:xfrm>
            <a:off x="381599" y="79401"/>
            <a:ext cx="5503430" cy="184666"/>
          </a:xfrm>
        </p:spPr>
        <p:txBody>
          <a:bodyPr/>
          <a:lstStyle/>
          <a:p>
            <a:r>
              <a:rPr lang="en-GB"/>
              <a:t>		Introduction to battery storage – </a:t>
            </a:r>
            <a:r>
              <a:rPr lang="en-GB" sz="1200"/>
              <a:t>Battery storage drivers, risks and markets</a:t>
            </a:r>
            <a:endParaRPr lang="en-GB"/>
          </a:p>
        </p:txBody>
      </p:sp>
      <p:sp>
        <p:nvSpPr>
          <p:cNvPr id="16" name="Rectangle 15">
            <a:extLst>
              <a:ext uri="{FF2B5EF4-FFF2-40B4-BE49-F238E27FC236}">
                <a16:creationId xmlns:a16="http://schemas.microsoft.com/office/drawing/2014/main" id="{19693845-749D-E7D7-5B68-D399BCBBF391}"/>
              </a:ext>
            </a:extLst>
          </p:cNvPr>
          <p:cNvSpPr/>
          <p:nvPr/>
        </p:nvSpPr>
        <p:spPr>
          <a:xfrm>
            <a:off x="381001" y="1282046"/>
            <a:ext cx="2908954" cy="329938"/>
          </a:xfrm>
          <a:prstGeom prst="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Decarbonisation drivers</a:t>
            </a:r>
          </a:p>
        </p:txBody>
      </p:sp>
      <p:sp>
        <p:nvSpPr>
          <p:cNvPr id="17" name="Rectangle 16">
            <a:extLst>
              <a:ext uri="{FF2B5EF4-FFF2-40B4-BE49-F238E27FC236}">
                <a16:creationId xmlns:a16="http://schemas.microsoft.com/office/drawing/2014/main" id="{A8F1B099-8183-A275-ADCC-FC0F3F3C879B}"/>
              </a:ext>
            </a:extLst>
          </p:cNvPr>
          <p:cNvSpPr/>
          <p:nvPr/>
        </p:nvSpPr>
        <p:spPr>
          <a:xfrm>
            <a:off x="389696" y="1897158"/>
            <a:ext cx="2908954" cy="839672"/>
          </a:xfrm>
          <a:prstGeom prst="rect">
            <a:avLst/>
          </a:prstGeom>
          <a:solidFill>
            <a:schemeClr val="bg1">
              <a:lumMod val="8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Variable renewables (RES) deployment</a:t>
            </a:r>
          </a:p>
          <a:p>
            <a:pPr>
              <a:spcBef>
                <a:spcPts val="600"/>
              </a:spcBef>
            </a:pPr>
            <a:r>
              <a:rPr lang="en-GB" sz="1200" b="1">
                <a:solidFill>
                  <a:srgbClr val="808080"/>
                </a:solidFill>
                <a:highlight>
                  <a:srgbClr val="808080"/>
                </a:highlight>
                <a:latin typeface="Lato" panose="020F0502020204030203" pitchFamily="34" charset="0"/>
              </a:rPr>
              <a:t>Growing variable renewables capacity in countries’ energy mixes </a:t>
            </a:r>
          </a:p>
          <a:p>
            <a:pPr>
              <a:spcBef>
                <a:spcPts val="600"/>
              </a:spcBef>
            </a:pPr>
            <a:endParaRPr lang="en-GB" sz="1200" b="1">
              <a:solidFill>
                <a:schemeClr val="tx1"/>
              </a:solidFill>
            </a:endParaRPr>
          </a:p>
        </p:txBody>
      </p:sp>
      <p:sp>
        <p:nvSpPr>
          <p:cNvPr id="18" name="Rectangle 17">
            <a:extLst>
              <a:ext uri="{FF2B5EF4-FFF2-40B4-BE49-F238E27FC236}">
                <a16:creationId xmlns:a16="http://schemas.microsoft.com/office/drawing/2014/main" id="{11ECD7FC-59AF-05B7-29F2-CAA0FD368274}"/>
              </a:ext>
            </a:extLst>
          </p:cNvPr>
          <p:cNvSpPr/>
          <p:nvPr/>
        </p:nvSpPr>
        <p:spPr>
          <a:xfrm>
            <a:off x="385572" y="3327560"/>
            <a:ext cx="2908954" cy="1006100"/>
          </a:xfrm>
          <a:prstGeom prst="rect">
            <a:avLst/>
          </a:prstGeom>
          <a:solidFill>
            <a:schemeClr val="bg1">
              <a:lumMod val="8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Thermal generation phase-out</a:t>
            </a:r>
          </a:p>
          <a:p>
            <a:pPr>
              <a:spcBef>
                <a:spcPts val="600"/>
              </a:spcBef>
            </a:pPr>
            <a:r>
              <a:rPr lang="en-GB" sz="1200" b="1">
                <a:solidFill>
                  <a:srgbClr val="808080"/>
                </a:solidFill>
                <a:highlight>
                  <a:srgbClr val="808080"/>
                </a:highlight>
                <a:latin typeface="Lato" panose="020F0502020204030203" pitchFamily="34" charset="0"/>
                <a:sym typeface="Lato" panose="020F0502020204030203" pitchFamily="34" charset="0"/>
              </a:rPr>
              <a:t>Retirement of traditional baseload and thermal assets in an effort to decarbonise </a:t>
            </a:r>
          </a:p>
          <a:p>
            <a:pPr>
              <a:spcBef>
                <a:spcPts val="600"/>
              </a:spcBef>
            </a:pPr>
            <a:endParaRPr lang="en-GB" sz="1200" b="1">
              <a:solidFill>
                <a:schemeClr val="tx1"/>
              </a:solidFill>
            </a:endParaRPr>
          </a:p>
        </p:txBody>
      </p:sp>
      <p:sp>
        <p:nvSpPr>
          <p:cNvPr id="19" name="Rectangle 18">
            <a:extLst>
              <a:ext uri="{FF2B5EF4-FFF2-40B4-BE49-F238E27FC236}">
                <a16:creationId xmlns:a16="http://schemas.microsoft.com/office/drawing/2014/main" id="{6BF043EA-1AFA-85AB-7EA8-F781960CF498}"/>
              </a:ext>
            </a:extLst>
          </p:cNvPr>
          <p:cNvSpPr/>
          <p:nvPr/>
        </p:nvSpPr>
        <p:spPr>
          <a:xfrm>
            <a:off x="381000" y="4908889"/>
            <a:ext cx="2908954" cy="1149011"/>
          </a:xfrm>
          <a:prstGeom prst="rect">
            <a:avLst/>
          </a:prstGeom>
          <a:solidFill>
            <a:schemeClr val="bg1">
              <a:lumMod val="8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Electrification of other sectors1</a:t>
            </a:r>
          </a:p>
          <a:p>
            <a:pPr>
              <a:spcBef>
                <a:spcPts val="600"/>
              </a:spcBef>
            </a:pPr>
            <a:r>
              <a:rPr lang="en-GB" sz="1200" b="1">
                <a:solidFill>
                  <a:srgbClr val="808080"/>
                </a:solidFill>
                <a:highlight>
                  <a:srgbClr val="808080"/>
                </a:highlight>
                <a:latin typeface="Lato" panose="020F0502020204030203" pitchFamily="34" charset="0"/>
              </a:rPr>
              <a:t>Growing electricity demand as a result of greater electrification of transport, heat and greater hydrogen production through electrolysis</a:t>
            </a:r>
          </a:p>
        </p:txBody>
      </p:sp>
      <p:sp>
        <p:nvSpPr>
          <p:cNvPr id="25" name="Rectangle 24">
            <a:extLst>
              <a:ext uri="{FF2B5EF4-FFF2-40B4-BE49-F238E27FC236}">
                <a16:creationId xmlns:a16="http://schemas.microsoft.com/office/drawing/2014/main" id="{212208B4-8181-DA18-9518-EEED3538C5B2}"/>
              </a:ext>
            </a:extLst>
          </p:cNvPr>
          <p:cNvSpPr/>
          <p:nvPr/>
        </p:nvSpPr>
        <p:spPr>
          <a:xfrm>
            <a:off x="5754399" y="1284910"/>
            <a:ext cx="6055998" cy="329938"/>
          </a:xfrm>
          <a:prstGeom prst="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Effects on power markets and battery storage requirements</a:t>
            </a:r>
          </a:p>
        </p:txBody>
      </p:sp>
      <p:sp>
        <p:nvSpPr>
          <p:cNvPr id="26" name="Rectangle 25">
            <a:extLst>
              <a:ext uri="{FF2B5EF4-FFF2-40B4-BE49-F238E27FC236}">
                <a16:creationId xmlns:a16="http://schemas.microsoft.com/office/drawing/2014/main" id="{3AB5E981-9A53-0403-C585-BB1D06FA03E9}"/>
              </a:ext>
            </a:extLst>
          </p:cNvPr>
          <p:cNvSpPr/>
          <p:nvPr/>
        </p:nvSpPr>
        <p:spPr>
          <a:xfrm>
            <a:off x="5765551" y="1709249"/>
            <a:ext cx="6056003" cy="1705208"/>
          </a:xfrm>
          <a:prstGeom prst="rect">
            <a:avLst/>
          </a:prstGeom>
          <a:solidFill>
            <a:schemeClr val="bg1">
              <a:lumMod val="8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Energy markets (wholesale)</a:t>
            </a:r>
          </a:p>
          <a:p>
            <a:pPr indent="-182880">
              <a:spcBef>
                <a:spcPts val="600"/>
              </a:spcBef>
              <a:buFont typeface="Wingdings" panose="05000000000000000000" pitchFamily="2" charset="2"/>
              <a:buChar char="§"/>
            </a:pPr>
            <a:r>
              <a:rPr lang="en-GB" sz="1200" b="1">
                <a:solidFill>
                  <a:srgbClr val="808080"/>
                </a:solidFill>
                <a:highlight>
                  <a:srgbClr val="808080"/>
                </a:highlight>
                <a:latin typeface="Lato" panose="020F0502020204030203" pitchFamily="34" charset="0"/>
              </a:rPr>
              <a:t>Merit order effect: Low marginal cost techs pushing average prices down – capture prices for RES assets increasingly decoupled from commodity prices</a:t>
            </a:r>
          </a:p>
          <a:p>
            <a:pPr indent="-182880">
              <a:spcBef>
                <a:spcPts val="600"/>
              </a:spcBef>
              <a:buFont typeface="Wingdings" panose="05000000000000000000" pitchFamily="2" charset="2"/>
              <a:buChar char="§"/>
            </a:pPr>
            <a:r>
              <a:rPr lang="en-GB" sz="1200" b="1">
                <a:solidFill>
                  <a:srgbClr val="808080"/>
                </a:solidFill>
                <a:highlight>
                  <a:srgbClr val="808080"/>
                </a:highlight>
                <a:latin typeface="Lato" panose="020F0502020204030203" pitchFamily="34" charset="0"/>
              </a:rPr>
              <a:t>Increases the intermittency of energy generation (increasingly reliant on weather patterns) leading to an increase in price volatility</a:t>
            </a:r>
          </a:p>
        </p:txBody>
      </p:sp>
      <p:sp>
        <p:nvSpPr>
          <p:cNvPr id="27" name="Rectangle 26">
            <a:extLst>
              <a:ext uri="{FF2B5EF4-FFF2-40B4-BE49-F238E27FC236}">
                <a16:creationId xmlns:a16="http://schemas.microsoft.com/office/drawing/2014/main" id="{DA3517EB-3E6E-B6DC-94CD-5A707522E45D}"/>
              </a:ext>
            </a:extLst>
          </p:cNvPr>
          <p:cNvSpPr/>
          <p:nvPr/>
        </p:nvSpPr>
        <p:spPr>
          <a:xfrm>
            <a:off x="5754396" y="3504656"/>
            <a:ext cx="6070716" cy="1144249"/>
          </a:xfrm>
          <a:prstGeom prst="rect">
            <a:avLst/>
          </a:prstGeom>
          <a:solidFill>
            <a:schemeClr val="bg1">
              <a:lumMod val="8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Capacity Markets</a:t>
            </a:r>
          </a:p>
          <a:p>
            <a:pPr indent="-182880">
              <a:spcBef>
                <a:spcPts val="600"/>
              </a:spcBef>
              <a:buFont typeface="Wingdings" panose="05000000000000000000" pitchFamily="2" charset="2"/>
              <a:buChar char="§"/>
            </a:pPr>
            <a:r>
              <a:rPr lang="en-GB" sz="1200" b="1">
                <a:solidFill>
                  <a:srgbClr val="808080"/>
                </a:solidFill>
                <a:highlight>
                  <a:srgbClr val="808080"/>
                </a:highlight>
                <a:latin typeface="Lato" panose="020F0502020204030203" pitchFamily="34" charset="0"/>
              </a:rPr>
              <a:t>Thermal retirement and non-firm RES contribute to drop in firm capacity</a:t>
            </a:r>
          </a:p>
          <a:p>
            <a:pPr indent="-182880">
              <a:spcBef>
                <a:spcPts val="600"/>
              </a:spcBef>
              <a:buFont typeface="Wingdings" panose="05000000000000000000" pitchFamily="2" charset="2"/>
              <a:buChar char="§"/>
            </a:pPr>
            <a:r>
              <a:rPr lang="en-GB" sz="1200" b="1">
                <a:solidFill>
                  <a:srgbClr val="808080"/>
                </a:solidFill>
                <a:highlight>
                  <a:srgbClr val="808080"/>
                </a:highlight>
                <a:latin typeface="Lato" panose="020F0502020204030203" pitchFamily="34" charset="0"/>
              </a:rPr>
              <a:t>Increase in peak electricity demand can also increase the need for firm capacity</a:t>
            </a:r>
          </a:p>
        </p:txBody>
      </p:sp>
      <p:sp>
        <p:nvSpPr>
          <p:cNvPr id="28" name="Rectangle 27">
            <a:extLst>
              <a:ext uri="{FF2B5EF4-FFF2-40B4-BE49-F238E27FC236}">
                <a16:creationId xmlns:a16="http://schemas.microsoft.com/office/drawing/2014/main" id="{8D294526-DFCE-2300-4B82-EEF6BEDDB58A}"/>
              </a:ext>
            </a:extLst>
          </p:cNvPr>
          <p:cNvSpPr/>
          <p:nvPr/>
        </p:nvSpPr>
        <p:spPr>
          <a:xfrm>
            <a:off x="5754396" y="4739104"/>
            <a:ext cx="6069304" cy="1495409"/>
          </a:xfrm>
          <a:prstGeom prst="rect">
            <a:avLst/>
          </a:prstGeom>
          <a:solidFill>
            <a:schemeClr val="bg1">
              <a:lumMod val="8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0" bIns="72000" numCol="1" spcCol="0" rtlCol="0" fromWordArt="0" anchor="t"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Balancing and Ancillary Services</a:t>
            </a:r>
          </a:p>
          <a:p>
            <a:pPr indent="-182880">
              <a:spcBef>
                <a:spcPts val="600"/>
              </a:spcBef>
              <a:buFont typeface="Wingdings" panose="05000000000000000000" pitchFamily="2" charset="2"/>
              <a:buChar char="§"/>
            </a:pPr>
            <a:r>
              <a:rPr lang="en-GB" sz="1200" b="1">
                <a:solidFill>
                  <a:srgbClr val="808080"/>
                </a:solidFill>
                <a:highlight>
                  <a:srgbClr val="808080"/>
                </a:highlight>
                <a:latin typeface="Lato" panose="020F0502020204030203" pitchFamily="34" charset="0"/>
              </a:rPr>
              <a:t>Variable renewables increase need for energy balancing and system services</a:t>
            </a:r>
          </a:p>
          <a:p>
            <a:pPr indent="-182880">
              <a:spcBef>
                <a:spcPts val="600"/>
              </a:spcBef>
              <a:buFont typeface="Wingdings" panose="05000000000000000000" pitchFamily="2" charset="2"/>
              <a:buChar char="§"/>
            </a:pPr>
            <a:r>
              <a:rPr lang="en-GB" sz="1200" b="1">
                <a:solidFill>
                  <a:srgbClr val="808080"/>
                </a:solidFill>
                <a:highlight>
                  <a:srgbClr val="808080"/>
                </a:highlight>
                <a:latin typeface="Lato" panose="020F0502020204030203" pitchFamily="34" charset="0"/>
              </a:rPr>
              <a:t>Constraint management2 and the increasing shift from centralised to distributed generation further drives an increased need for these services</a:t>
            </a:r>
          </a:p>
          <a:p>
            <a:pPr indent="-182880">
              <a:spcBef>
                <a:spcPts val="600"/>
              </a:spcBef>
              <a:buFont typeface="Wingdings" panose="05000000000000000000" pitchFamily="2" charset="2"/>
              <a:buChar char="§"/>
            </a:pPr>
            <a:r>
              <a:rPr lang="en-GB" sz="1200" b="1">
                <a:solidFill>
                  <a:srgbClr val="808080"/>
                </a:solidFill>
                <a:highlight>
                  <a:srgbClr val="808080"/>
                </a:highlight>
                <a:latin typeface="Lato" panose="020F0502020204030203" pitchFamily="34" charset="0"/>
              </a:rPr>
              <a:t>Thermal retirement also drives a need for independent procurement of grid services</a:t>
            </a:r>
          </a:p>
        </p:txBody>
      </p:sp>
      <p:sp>
        <p:nvSpPr>
          <p:cNvPr id="44" name="Oval 43">
            <a:extLst>
              <a:ext uri="{FF2B5EF4-FFF2-40B4-BE49-F238E27FC236}">
                <a16:creationId xmlns:a16="http://schemas.microsoft.com/office/drawing/2014/main" id="{CBDABDD3-ED2B-7A9E-1996-D8F8AA0F6154}"/>
              </a:ext>
            </a:extLst>
          </p:cNvPr>
          <p:cNvSpPr/>
          <p:nvPr/>
        </p:nvSpPr>
        <p:spPr>
          <a:xfrm>
            <a:off x="281696" y="1795874"/>
            <a:ext cx="216000" cy="215900"/>
          </a:xfrm>
          <a:prstGeom prst="ellipse">
            <a:avLst/>
          </a:prstGeom>
          <a:solidFill>
            <a:srgbClr val="A13707"/>
          </a:solidFill>
          <a:ln w="38100">
            <a:solidFill>
              <a:srgbClr val="A1370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bg1"/>
                </a:solidFill>
              </a:rPr>
              <a:t>1</a:t>
            </a:r>
          </a:p>
        </p:txBody>
      </p:sp>
      <p:sp>
        <p:nvSpPr>
          <p:cNvPr id="45" name="Oval 44">
            <a:extLst>
              <a:ext uri="{FF2B5EF4-FFF2-40B4-BE49-F238E27FC236}">
                <a16:creationId xmlns:a16="http://schemas.microsoft.com/office/drawing/2014/main" id="{B7C9E0A8-0F99-352A-A1A7-741C225B9738}"/>
              </a:ext>
            </a:extLst>
          </p:cNvPr>
          <p:cNvSpPr/>
          <p:nvPr/>
        </p:nvSpPr>
        <p:spPr>
          <a:xfrm>
            <a:off x="257547" y="4834947"/>
            <a:ext cx="216000" cy="215900"/>
          </a:xfrm>
          <a:prstGeom prst="ellipse">
            <a:avLst/>
          </a:prstGeom>
          <a:solidFill>
            <a:schemeClr val="accent1"/>
          </a:solidFill>
          <a:ln w="38100">
            <a:solidFill>
              <a:schemeClr val="accent1"/>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1"/>
                </a:solidFill>
              </a:rPr>
              <a:t>3</a:t>
            </a:r>
          </a:p>
        </p:txBody>
      </p:sp>
      <p:sp>
        <p:nvSpPr>
          <p:cNvPr id="47" name="Oval 46">
            <a:extLst>
              <a:ext uri="{FF2B5EF4-FFF2-40B4-BE49-F238E27FC236}">
                <a16:creationId xmlns:a16="http://schemas.microsoft.com/office/drawing/2014/main" id="{E61D4D53-AE09-B4FB-6156-DC37D581CC93}"/>
              </a:ext>
            </a:extLst>
          </p:cNvPr>
          <p:cNvSpPr/>
          <p:nvPr/>
        </p:nvSpPr>
        <p:spPr>
          <a:xfrm>
            <a:off x="272269" y="3261898"/>
            <a:ext cx="216000" cy="215900"/>
          </a:xfrm>
          <a:prstGeom prst="ellipse">
            <a:avLst/>
          </a:prstGeom>
          <a:solidFill>
            <a:schemeClr val="accent1">
              <a:lumMod val="75000"/>
            </a:schemeClr>
          </a:solidFill>
          <a:ln w="3810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bg1"/>
                </a:solidFill>
              </a:rPr>
              <a:t>2</a:t>
            </a:r>
          </a:p>
        </p:txBody>
      </p:sp>
      <p:sp>
        <p:nvSpPr>
          <p:cNvPr id="2" name="Rectangle 1">
            <a:extLst>
              <a:ext uri="{FF2B5EF4-FFF2-40B4-BE49-F238E27FC236}">
                <a16:creationId xmlns:a16="http://schemas.microsoft.com/office/drawing/2014/main" id="{11B28CBD-0785-37A2-AF30-7B70BF16A748}"/>
              </a:ext>
            </a:extLst>
          </p:cNvPr>
          <p:cNvSpPr/>
          <p:nvPr/>
        </p:nvSpPr>
        <p:spPr>
          <a:xfrm>
            <a:off x="6007489" y="2920687"/>
            <a:ext cx="5577840" cy="432746"/>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Battery storage complements intermittency of renewables and balances power prices by charging in periods of high renewables production and discharging when needed</a:t>
            </a:r>
          </a:p>
        </p:txBody>
      </p:sp>
      <p:sp>
        <p:nvSpPr>
          <p:cNvPr id="31" name="Rectangle 30">
            <a:extLst>
              <a:ext uri="{FF2B5EF4-FFF2-40B4-BE49-F238E27FC236}">
                <a16:creationId xmlns:a16="http://schemas.microsoft.com/office/drawing/2014/main" id="{540A988A-EC67-7B4C-9D82-9824DA56F275}"/>
              </a:ext>
            </a:extLst>
          </p:cNvPr>
          <p:cNvSpPr/>
          <p:nvPr/>
        </p:nvSpPr>
        <p:spPr>
          <a:xfrm>
            <a:off x="6007489" y="4364826"/>
            <a:ext cx="5577840" cy="223241"/>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Battery storage contributes to availability of firm capacity on the system</a:t>
            </a:r>
          </a:p>
        </p:txBody>
      </p:sp>
      <p:sp>
        <p:nvSpPr>
          <p:cNvPr id="32" name="Rectangle 31">
            <a:extLst>
              <a:ext uri="{FF2B5EF4-FFF2-40B4-BE49-F238E27FC236}">
                <a16:creationId xmlns:a16="http://schemas.microsoft.com/office/drawing/2014/main" id="{C69C8561-AC19-07AF-CF9B-F09B21429868}"/>
              </a:ext>
            </a:extLst>
          </p:cNvPr>
          <p:cNvSpPr/>
          <p:nvPr/>
        </p:nvSpPr>
        <p:spPr>
          <a:xfrm>
            <a:off x="6007489" y="5974854"/>
            <a:ext cx="5577840" cy="223241"/>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600"/>
              </a:spcBef>
            </a:pPr>
            <a:r>
              <a:rPr lang="en-GB" sz="1200" b="1">
                <a:solidFill>
                  <a:srgbClr val="808080"/>
                </a:solidFill>
                <a:highlight>
                  <a:srgbClr val="808080"/>
                </a:highlight>
                <a:latin typeface="Lato" panose="020F0502020204030203" pitchFamily="34" charset="0"/>
              </a:rPr>
              <a:t>Battery storage contributes to maintaining security of the grid</a:t>
            </a:r>
          </a:p>
        </p:txBody>
      </p:sp>
      <p:cxnSp>
        <p:nvCxnSpPr>
          <p:cNvPr id="4" name="Straight Arrow Connector 3">
            <a:extLst>
              <a:ext uri="{FF2B5EF4-FFF2-40B4-BE49-F238E27FC236}">
                <a16:creationId xmlns:a16="http://schemas.microsoft.com/office/drawing/2014/main" id="{6CF2B5FA-21B6-E954-3FBB-546FB5C336EF}"/>
              </a:ext>
            </a:extLst>
          </p:cNvPr>
          <p:cNvCxnSpPr>
            <a:cxnSpLocks/>
            <a:stCxn id="17" idx="3"/>
            <a:endCxn id="26" idx="1"/>
          </p:cNvCxnSpPr>
          <p:nvPr/>
        </p:nvCxnSpPr>
        <p:spPr>
          <a:xfrm>
            <a:off x="3298650" y="2316994"/>
            <a:ext cx="2466901" cy="244859"/>
          </a:xfrm>
          <a:prstGeom prst="straightConnector1">
            <a:avLst/>
          </a:prstGeom>
          <a:ln>
            <a:solidFill>
              <a:srgbClr val="A13707"/>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67A0D91-8D5C-5443-B92B-2384518EF9B9}"/>
              </a:ext>
            </a:extLst>
          </p:cNvPr>
          <p:cNvCxnSpPr>
            <a:cxnSpLocks/>
            <a:stCxn id="17" idx="3"/>
            <a:endCxn id="28" idx="1"/>
          </p:cNvCxnSpPr>
          <p:nvPr/>
        </p:nvCxnSpPr>
        <p:spPr>
          <a:xfrm>
            <a:off x="3298650" y="2316994"/>
            <a:ext cx="2455746" cy="3169815"/>
          </a:xfrm>
          <a:prstGeom prst="straightConnector1">
            <a:avLst/>
          </a:prstGeom>
          <a:ln>
            <a:solidFill>
              <a:srgbClr val="A13707"/>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A9FA214-2992-3F0E-7E8E-81DD45E57BE7}"/>
              </a:ext>
            </a:extLst>
          </p:cNvPr>
          <p:cNvCxnSpPr>
            <a:cxnSpLocks/>
            <a:stCxn id="18" idx="3"/>
          </p:cNvCxnSpPr>
          <p:nvPr/>
        </p:nvCxnSpPr>
        <p:spPr>
          <a:xfrm flipV="1">
            <a:off x="3294526" y="2856057"/>
            <a:ext cx="2451775" cy="974553"/>
          </a:xfrm>
          <a:prstGeom prst="straightConnector1">
            <a:avLst/>
          </a:prstGeom>
          <a:ln>
            <a:solidFill>
              <a:srgbClr val="B876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F174D4D-F515-21F2-6BDA-47765739C981}"/>
              </a:ext>
            </a:extLst>
          </p:cNvPr>
          <p:cNvCxnSpPr>
            <a:cxnSpLocks/>
            <a:stCxn id="18" idx="3"/>
            <a:endCxn id="27" idx="1"/>
          </p:cNvCxnSpPr>
          <p:nvPr/>
        </p:nvCxnSpPr>
        <p:spPr>
          <a:xfrm>
            <a:off x="3294526" y="3830610"/>
            <a:ext cx="2459870" cy="246171"/>
          </a:xfrm>
          <a:prstGeom prst="straightConnector1">
            <a:avLst/>
          </a:prstGeom>
          <a:ln>
            <a:solidFill>
              <a:srgbClr val="B876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F2D811-D4E0-E2E7-33FA-D3596C125966}"/>
              </a:ext>
            </a:extLst>
          </p:cNvPr>
          <p:cNvCxnSpPr>
            <a:cxnSpLocks/>
            <a:stCxn id="18" idx="3"/>
          </p:cNvCxnSpPr>
          <p:nvPr/>
        </p:nvCxnSpPr>
        <p:spPr>
          <a:xfrm>
            <a:off x="3294526" y="3830610"/>
            <a:ext cx="2449878" cy="1904528"/>
          </a:xfrm>
          <a:prstGeom prst="straightConnector1">
            <a:avLst/>
          </a:prstGeom>
          <a:ln>
            <a:solidFill>
              <a:srgbClr val="B876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60A69F1-60BB-A672-D209-D27DB4A3D04E}"/>
              </a:ext>
            </a:extLst>
          </p:cNvPr>
          <p:cNvCxnSpPr>
            <a:cxnSpLocks/>
            <a:stCxn id="19" idx="3"/>
          </p:cNvCxnSpPr>
          <p:nvPr/>
        </p:nvCxnSpPr>
        <p:spPr>
          <a:xfrm flipV="1">
            <a:off x="3289954" y="4299455"/>
            <a:ext cx="2454450" cy="1183940"/>
          </a:xfrm>
          <a:prstGeom prst="straightConnector1">
            <a:avLst/>
          </a:prstGeom>
          <a:ln>
            <a:solidFill>
              <a:srgbClr val="F59E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9D5D14AD-A17A-F27F-2D10-2C1959D61AB5}"/>
              </a:ext>
            </a:extLst>
          </p:cNvPr>
          <p:cNvCxnSpPr>
            <a:cxnSpLocks/>
            <a:stCxn id="19" idx="3"/>
          </p:cNvCxnSpPr>
          <p:nvPr/>
        </p:nvCxnSpPr>
        <p:spPr>
          <a:xfrm>
            <a:off x="3289954" y="5483395"/>
            <a:ext cx="2454450" cy="382379"/>
          </a:xfrm>
          <a:prstGeom prst="straightConnector1">
            <a:avLst/>
          </a:prstGeom>
          <a:ln>
            <a:solidFill>
              <a:srgbClr val="F59E00"/>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30" name="Oval 29">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Tree>
    <p:extLst>
      <p:ext uri="{BB962C8B-B14F-4D97-AF65-F5344CB8AC3E}">
        <p14:creationId xmlns:p14="http://schemas.microsoft.com/office/powerpoint/2010/main" val="2300408347"/>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82D1D8-4590-9810-4D55-3AFAA38FEF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4782D1D8-4590-9810-4D55-3AFAA38FEF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122DBB6-049B-8C02-CFFC-1912F4A299E5}"/>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A10C5F4A-3DAC-545E-77DF-BC33870D3436}"/>
              </a:ext>
            </a:extLst>
          </p:cNvPr>
          <p:cNvSpPr>
            <a:spLocks noGrp="1"/>
          </p:cNvSpPr>
          <p:nvPr>
            <p:ph type="title"/>
          </p:nvPr>
        </p:nvSpPr>
        <p:spPr>
          <a:xfrm>
            <a:off x="381599" y="411856"/>
            <a:ext cx="9876821" cy="609398"/>
          </a:xfrm>
        </p:spPr>
        <p:txBody>
          <a:bodyPr vert="horz"/>
          <a:lstStyle/>
          <a:p>
            <a:r>
              <a:rPr lang="en-GB" dirty="0">
                <a:solidFill>
                  <a:schemeClr val="tx1"/>
                </a:solidFill>
                <a:latin typeface="Lato"/>
                <a:ea typeface="Lato"/>
                <a:cs typeface="Lato"/>
              </a:rPr>
              <a:t>Aurora European </a:t>
            </a:r>
            <a:r>
              <a:rPr lang="en-US" dirty="0">
                <a:solidFill>
                  <a:schemeClr val="tx1"/>
                </a:solidFill>
                <a:latin typeface="Lato"/>
                <a:ea typeface="Lato"/>
                <a:cs typeface="Lato"/>
              </a:rPr>
              <a:t>Battery Markets Attractiveness Report</a:t>
            </a:r>
            <a:r>
              <a:rPr lang="en-GB" dirty="0">
                <a:solidFill>
                  <a:schemeClr val="tx1"/>
                </a:solidFill>
                <a:latin typeface="Lato"/>
                <a:ea typeface="Lato"/>
                <a:cs typeface="Lato"/>
              </a:rPr>
              <a:t>: </a:t>
            </a:r>
            <a:br>
              <a:rPr lang="en-GB" dirty="0"/>
            </a:br>
            <a:r>
              <a:rPr lang="en-GB" b="0" dirty="0">
                <a:solidFill>
                  <a:schemeClr val="tx1"/>
                </a:solidFill>
                <a:latin typeface="Lato"/>
              </a:rPr>
              <a:t>Inform</a:t>
            </a:r>
            <a:r>
              <a:rPr lang="en-GB" b="0" dirty="0">
                <a:solidFill>
                  <a:schemeClr val="tx1"/>
                </a:solidFill>
                <a:latin typeface="Lato"/>
                <a:ea typeface="Lato"/>
                <a:cs typeface="Lato"/>
              </a:rPr>
              <a:t> your next business move in Europe with this comprehensive report</a:t>
            </a:r>
          </a:p>
          <a:p>
            <a:endParaRPr lang="en-US" b="0" dirty="0"/>
          </a:p>
          <a:p>
            <a:endParaRPr lang="en-US" dirty="0"/>
          </a:p>
        </p:txBody>
      </p:sp>
      <p:sp>
        <p:nvSpPr>
          <p:cNvPr id="4" name="Text Placeholder 3">
            <a:extLst>
              <a:ext uri="{FF2B5EF4-FFF2-40B4-BE49-F238E27FC236}">
                <a16:creationId xmlns:a16="http://schemas.microsoft.com/office/drawing/2014/main" id="{D85578F3-3709-35C2-FC14-4036709B8608}"/>
              </a:ext>
            </a:extLst>
          </p:cNvPr>
          <p:cNvSpPr>
            <a:spLocks noGrp="1"/>
          </p:cNvSpPr>
          <p:nvPr>
            <p:ph type="body" sz="quarter" idx="32"/>
          </p:nvPr>
        </p:nvSpPr>
        <p:spPr/>
        <p:txBody>
          <a:bodyPr vert="horz" lIns="0" tIns="0" rIns="0" bIns="0" rtlCol="0" anchor="t">
            <a:spAutoFit/>
          </a:bodyPr>
          <a:lstStyle/>
          <a:p>
            <a:r>
              <a:rPr lang="en-GB" b="0" i="0" u="none" strike="noStrike">
                <a:solidFill>
                  <a:srgbClr val="3C3C3B"/>
                </a:solidFill>
                <a:effectLst/>
                <a:latin typeface="Lato"/>
                <a:ea typeface="Lato"/>
                <a:cs typeface="Lato"/>
              </a:rPr>
              <a:t>For markets (*) Flexible Energy Market </a:t>
            </a:r>
            <a:r>
              <a:rPr lang="en-GB">
                <a:solidFill>
                  <a:srgbClr val="3C3C3B"/>
                </a:solidFill>
                <a:latin typeface="Lato"/>
                <a:ea typeface="Lato"/>
                <a:cs typeface="Lato"/>
              </a:rPr>
              <a:t>Services </a:t>
            </a:r>
            <a:r>
              <a:rPr lang="en-GB" b="0" i="0" u="none" strike="noStrike">
                <a:solidFill>
                  <a:srgbClr val="3C3C3B"/>
                </a:solidFill>
                <a:effectLst/>
                <a:latin typeface="Lato"/>
                <a:ea typeface="Lato"/>
                <a:cs typeface="Lato"/>
              </a:rPr>
              <a:t>with detailed forecasts &amp; business case analysis are available</a:t>
            </a:r>
            <a:r>
              <a:rPr lang="en-GB" b="0" i="0">
                <a:solidFill>
                  <a:srgbClr val="000000"/>
                </a:solidFill>
                <a:effectLst/>
                <a:latin typeface="Lato"/>
                <a:ea typeface="Lato"/>
                <a:cs typeface="Lato"/>
              </a:rPr>
              <a:t>​</a:t>
            </a:r>
            <a:endParaRPr lang="en-US">
              <a:latin typeface="Lato"/>
              <a:ea typeface="Lato"/>
              <a:cs typeface="Lato"/>
            </a:endParaRPr>
          </a:p>
        </p:txBody>
      </p:sp>
      <p:sp>
        <p:nvSpPr>
          <p:cNvPr id="5" name="Text Placeholder 4">
            <a:extLst>
              <a:ext uri="{FF2B5EF4-FFF2-40B4-BE49-F238E27FC236}">
                <a16:creationId xmlns:a16="http://schemas.microsoft.com/office/drawing/2014/main" id="{47A24D67-18AC-62F0-AF5E-45ABBF8C8C90}"/>
              </a:ext>
            </a:extLst>
          </p:cNvPr>
          <p:cNvSpPr>
            <a:spLocks noGrp="1"/>
          </p:cNvSpPr>
          <p:nvPr>
            <p:ph type="body" sz="quarter" idx="31"/>
          </p:nvPr>
        </p:nvSpPr>
        <p:spPr>
          <a:xfrm>
            <a:off x="381599" y="79401"/>
            <a:ext cx="3821559" cy="184666"/>
          </a:xfrm>
        </p:spPr>
        <p:txBody>
          <a:bodyPr/>
          <a:lstStyle/>
          <a:p>
            <a:r>
              <a:rPr lang="en-GB"/>
              <a:t>Aurora European Battery Markets Attractiveness Report</a:t>
            </a:r>
          </a:p>
        </p:txBody>
      </p:sp>
      <p:sp>
        <p:nvSpPr>
          <p:cNvPr id="11" name="Rectangle 10">
            <a:extLst>
              <a:ext uri="{FF2B5EF4-FFF2-40B4-BE49-F238E27FC236}">
                <a16:creationId xmlns:a16="http://schemas.microsoft.com/office/drawing/2014/main" id="{9A4C2C88-D953-314D-4F08-8C82F9D0325F}"/>
              </a:ext>
            </a:extLst>
          </p:cNvPr>
          <p:cNvSpPr/>
          <p:nvPr/>
        </p:nvSpPr>
        <p:spPr>
          <a:xfrm>
            <a:off x="10751127" y="6705933"/>
            <a:ext cx="905164" cy="110800"/>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err="1">
              <a:solidFill>
                <a:schemeClr val="tx1"/>
              </a:solidFill>
            </a:endParaRPr>
          </a:p>
        </p:txBody>
      </p:sp>
      <p:sp>
        <p:nvSpPr>
          <p:cNvPr id="6" name="Rectangle 5">
            <a:extLst>
              <a:ext uri="{FF2B5EF4-FFF2-40B4-BE49-F238E27FC236}">
                <a16:creationId xmlns:a16="http://schemas.microsoft.com/office/drawing/2014/main" id="{F94BF082-1010-9661-7E5D-0240DB3A9D48}"/>
              </a:ext>
            </a:extLst>
          </p:cNvPr>
          <p:cNvSpPr/>
          <p:nvPr/>
        </p:nvSpPr>
        <p:spPr>
          <a:xfrm>
            <a:off x="6729984" y="5143978"/>
            <a:ext cx="5080416" cy="1296164"/>
          </a:xfrm>
          <a:prstGeom prst="rect">
            <a:avLst/>
          </a:prstGeom>
          <a:solidFill>
            <a:srgbClr val="FECA18"/>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29" name="Group 28">
            <a:extLst>
              <a:ext uri="{FF2B5EF4-FFF2-40B4-BE49-F238E27FC236}">
                <a16:creationId xmlns:a16="http://schemas.microsoft.com/office/drawing/2014/main" id="{B2C776CB-DB12-EB97-D747-D0340820473C}"/>
              </a:ext>
            </a:extLst>
          </p:cNvPr>
          <p:cNvGrpSpPr/>
          <p:nvPr/>
        </p:nvGrpSpPr>
        <p:grpSpPr>
          <a:xfrm>
            <a:off x="314811" y="1156138"/>
            <a:ext cx="6261191" cy="5198411"/>
            <a:chOff x="381001" y="1354536"/>
            <a:chExt cx="5940287" cy="4820318"/>
          </a:xfrm>
        </p:grpSpPr>
        <p:grpSp>
          <p:nvGrpSpPr>
            <p:cNvPr id="28" name="Group 27">
              <a:extLst>
                <a:ext uri="{FF2B5EF4-FFF2-40B4-BE49-F238E27FC236}">
                  <a16:creationId xmlns:a16="http://schemas.microsoft.com/office/drawing/2014/main" id="{08E7C3A8-751A-B355-A3A3-C4A4E2DC4411}"/>
                </a:ext>
              </a:extLst>
            </p:cNvPr>
            <p:cNvGrpSpPr/>
            <p:nvPr/>
          </p:nvGrpSpPr>
          <p:grpSpPr>
            <a:xfrm>
              <a:off x="381001" y="1354536"/>
              <a:ext cx="1893072" cy="4664601"/>
              <a:chOff x="381001" y="1354536"/>
              <a:chExt cx="1893072" cy="4664601"/>
            </a:xfrm>
          </p:grpSpPr>
          <p:sp>
            <p:nvSpPr>
              <p:cNvPr id="9" name="Rectangle: Rounded Corners 8">
                <a:extLst>
                  <a:ext uri="{FF2B5EF4-FFF2-40B4-BE49-F238E27FC236}">
                    <a16:creationId xmlns:a16="http://schemas.microsoft.com/office/drawing/2014/main" id="{5B17AAA1-F20D-9B20-23E0-450CED618839}"/>
                  </a:ext>
                </a:extLst>
              </p:cNvPr>
              <p:cNvSpPr/>
              <p:nvPr/>
            </p:nvSpPr>
            <p:spPr>
              <a:xfrm>
                <a:off x="381001" y="1494845"/>
                <a:ext cx="1893072" cy="4524292"/>
              </a:xfrm>
              <a:prstGeom prst="roundRect">
                <a:avLst>
                  <a:gd name="adj" fmla="val 4752"/>
                </a:avLst>
              </a:prstGeom>
              <a:solidFill>
                <a:srgbClr val="3C3C3B"/>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4" name="Rectangle: Rounded Corners 13">
                <a:extLst>
                  <a:ext uri="{FF2B5EF4-FFF2-40B4-BE49-F238E27FC236}">
                    <a16:creationId xmlns:a16="http://schemas.microsoft.com/office/drawing/2014/main" id="{13C9AC4B-9343-DFDA-328C-A7C1C0D70DA7}"/>
                  </a:ext>
                </a:extLst>
              </p:cNvPr>
              <p:cNvSpPr/>
              <p:nvPr/>
            </p:nvSpPr>
            <p:spPr>
              <a:xfrm>
                <a:off x="1083200" y="1354536"/>
                <a:ext cx="488674" cy="914400"/>
              </a:xfrm>
              <a:prstGeom prst="roundRect">
                <a:avLst/>
              </a:prstGeom>
              <a:solidFill>
                <a:srgbClr val="3C3C3B"/>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grpSp>
        <p:grpSp>
          <p:nvGrpSpPr>
            <p:cNvPr id="26" name="Group 25">
              <a:extLst>
                <a:ext uri="{FF2B5EF4-FFF2-40B4-BE49-F238E27FC236}">
                  <a16:creationId xmlns:a16="http://schemas.microsoft.com/office/drawing/2014/main" id="{21469F99-9A11-8D1E-947E-93F5962F3FE6}"/>
                </a:ext>
              </a:extLst>
            </p:cNvPr>
            <p:cNvGrpSpPr/>
            <p:nvPr/>
          </p:nvGrpSpPr>
          <p:grpSpPr>
            <a:xfrm>
              <a:off x="4428216" y="1354536"/>
              <a:ext cx="1893072" cy="4646713"/>
              <a:chOff x="4428216" y="1354536"/>
              <a:chExt cx="1893072" cy="4646713"/>
            </a:xfrm>
          </p:grpSpPr>
          <p:sp>
            <p:nvSpPr>
              <p:cNvPr id="13" name="Rectangle: Rounded Corners 12">
                <a:extLst>
                  <a:ext uri="{FF2B5EF4-FFF2-40B4-BE49-F238E27FC236}">
                    <a16:creationId xmlns:a16="http://schemas.microsoft.com/office/drawing/2014/main" id="{DBB72B58-4C8D-D454-C609-3258E8231E90}"/>
                  </a:ext>
                </a:extLst>
              </p:cNvPr>
              <p:cNvSpPr/>
              <p:nvPr/>
            </p:nvSpPr>
            <p:spPr>
              <a:xfrm>
                <a:off x="4428216" y="1476957"/>
                <a:ext cx="1893072" cy="4524292"/>
              </a:xfrm>
              <a:prstGeom prst="roundRect">
                <a:avLst>
                  <a:gd name="adj" fmla="val 8418"/>
                </a:avLst>
              </a:prstGeom>
              <a:solidFill>
                <a:srgbClr val="3C3C3B"/>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5" name="Rectangle: Rounded Corners 14">
                <a:extLst>
                  <a:ext uri="{FF2B5EF4-FFF2-40B4-BE49-F238E27FC236}">
                    <a16:creationId xmlns:a16="http://schemas.microsoft.com/office/drawing/2014/main" id="{51C790BC-3D68-E18C-11E7-1904A9F0FF0E}"/>
                  </a:ext>
                </a:extLst>
              </p:cNvPr>
              <p:cNvSpPr/>
              <p:nvPr/>
            </p:nvSpPr>
            <p:spPr>
              <a:xfrm>
                <a:off x="5130415" y="1354536"/>
                <a:ext cx="488674" cy="914400"/>
              </a:xfrm>
              <a:prstGeom prst="roundRect">
                <a:avLst/>
              </a:prstGeom>
              <a:solidFill>
                <a:srgbClr val="3C3C3B"/>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grpSp>
        <p:grpSp>
          <p:nvGrpSpPr>
            <p:cNvPr id="27" name="Group 26">
              <a:extLst>
                <a:ext uri="{FF2B5EF4-FFF2-40B4-BE49-F238E27FC236}">
                  <a16:creationId xmlns:a16="http://schemas.microsoft.com/office/drawing/2014/main" id="{AE544112-F07B-B1B4-6CD2-91B566F6A268}"/>
                </a:ext>
              </a:extLst>
            </p:cNvPr>
            <p:cNvGrpSpPr/>
            <p:nvPr/>
          </p:nvGrpSpPr>
          <p:grpSpPr>
            <a:xfrm>
              <a:off x="2404610" y="1485901"/>
              <a:ext cx="1893072" cy="4688953"/>
              <a:chOff x="2404610" y="1485901"/>
              <a:chExt cx="1893072" cy="4688953"/>
            </a:xfrm>
          </p:grpSpPr>
          <p:sp>
            <p:nvSpPr>
              <p:cNvPr id="12" name="Rectangle: Rounded Corners 11">
                <a:extLst>
                  <a:ext uri="{FF2B5EF4-FFF2-40B4-BE49-F238E27FC236}">
                    <a16:creationId xmlns:a16="http://schemas.microsoft.com/office/drawing/2014/main" id="{0EFD3B5B-523A-C5D3-6DA9-04533A735EAE}"/>
                  </a:ext>
                </a:extLst>
              </p:cNvPr>
              <p:cNvSpPr/>
              <p:nvPr/>
            </p:nvSpPr>
            <p:spPr>
              <a:xfrm>
                <a:off x="2404610" y="1485901"/>
                <a:ext cx="1893072" cy="4524292"/>
              </a:xfrm>
              <a:prstGeom prst="roundRect">
                <a:avLst>
                  <a:gd name="adj" fmla="val 7043"/>
                </a:avLst>
              </a:prstGeom>
              <a:solidFill>
                <a:srgbClr val="3C3C3B"/>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6" name="Rectangle: Rounded Corners 15">
                <a:extLst>
                  <a:ext uri="{FF2B5EF4-FFF2-40B4-BE49-F238E27FC236}">
                    <a16:creationId xmlns:a16="http://schemas.microsoft.com/office/drawing/2014/main" id="{EABC2FBA-DFB6-625B-A676-6C4116680FA1}"/>
                  </a:ext>
                </a:extLst>
              </p:cNvPr>
              <p:cNvSpPr/>
              <p:nvPr/>
            </p:nvSpPr>
            <p:spPr>
              <a:xfrm>
                <a:off x="3106809" y="5260454"/>
                <a:ext cx="488674" cy="914400"/>
              </a:xfrm>
              <a:prstGeom prst="roundRect">
                <a:avLst/>
              </a:prstGeom>
              <a:solidFill>
                <a:srgbClr val="3C3C3B"/>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grpSp>
      </p:grpSp>
      <p:sp>
        <p:nvSpPr>
          <p:cNvPr id="18" name="TextBox 17">
            <a:extLst>
              <a:ext uri="{FF2B5EF4-FFF2-40B4-BE49-F238E27FC236}">
                <a16:creationId xmlns:a16="http://schemas.microsoft.com/office/drawing/2014/main" id="{CC49564E-DDF2-633B-5CAF-4D2E8F210273}"/>
              </a:ext>
            </a:extLst>
          </p:cNvPr>
          <p:cNvSpPr txBox="1"/>
          <p:nvPr/>
        </p:nvSpPr>
        <p:spPr>
          <a:xfrm>
            <a:off x="6772599" y="5497522"/>
            <a:ext cx="5087655" cy="1631216"/>
          </a:xfrm>
          <a:prstGeom prst="rect">
            <a:avLst/>
          </a:prstGeom>
          <a:noFill/>
        </p:spPr>
        <p:txBody>
          <a:bodyPr wrap="square" lIns="0" tIns="0" rIns="0" bIns="0" rtlCol="0">
            <a:spAutoFit/>
          </a:bodyPr>
          <a:lstStyle/>
          <a:p>
            <a:pPr marL="171450" indent="-171450" algn="l" fontAlgn="base">
              <a:buFont typeface="Arial" panose="020B0604020202020204" pitchFamily="34" charset="0"/>
              <a:buChar char="•"/>
            </a:pPr>
            <a:r>
              <a:rPr lang="en-GB" sz="1200" b="0" i="0" dirty="0">
                <a:solidFill>
                  <a:srgbClr val="000000"/>
                </a:solidFill>
                <a:effectLst/>
              </a:rPr>
              <a:t>A 90-minute call with our European expert analysts with every report purchase </a:t>
            </a:r>
          </a:p>
          <a:p>
            <a:pPr marL="171450" indent="-171450" algn="l" fontAlgn="base">
              <a:buFont typeface="Arial" panose="020B0604020202020204" pitchFamily="34" charset="0"/>
              <a:buChar char="•"/>
            </a:pPr>
            <a:r>
              <a:rPr lang="en-GB" sz="1200" dirty="0">
                <a:solidFill>
                  <a:srgbClr val="000000"/>
                </a:solidFill>
              </a:rPr>
              <a:t>Overview of historical and upcoming BESS auctions</a:t>
            </a:r>
          </a:p>
          <a:p>
            <a:pPr marL="171450" indent="-171450" algn="l" fontAlgn="base">
              <a:buFont typeface="Arial" panose="020B0604020202020204" pitchFamily="34" charset="0"/>
              <a:buChar char="•"/>
            </a:pPr>
            <a:r>
              <a:rPr lang="en-GB" sz="1200" dirty="0">
                <a:solidFill>
                  <a:srgbClr val="000000"/>
                </a:solidFill>
              </a:rPr>
              <a:t>Market specific updates to policy and regulation impacting BESS</a:t>
            </a:r>
          </a:p>
          <a:p>
            <a:pPr marL="171450" indent="-171450" algn="l" fontAlgn="base">
              <a:buFont typeface="Arial" panose="020B0604020202020204" pitchFamily="34" charset="0"/>
              <a:buChar char="•"/>
            </a:pPr>
            <a:r>
              <a:rPr lang="en-GB" sz="1200" dirty="0">
                <a:solidFill>
                  <a:srgbClr val="000000"/>
                </a:solidFill>
              </a:rPr>
              <a:t>Strategies to maximise upside in BESS business cases including examples</a:t>
            </a:r>
          </a:p>
          <a:p>
            <a:pPr marL="171450" indent="-171450" algn="l" fontAlgn="base">
              <a:buFont typeface="Arial" panose="020B0604020202020204" pitchFamily="34" charset="0"/>
              <a:buChar char="•"/>
            </a:pPr>
            <a:endParaRPr lang="en-GB" sz="1200" b="0" i="0" dirty="0">
              <a:solidFill>
                <a:srgbClr val="000000"/>
              </a:solidFill>
              <a:effectLst/>
            </a:endParaRPr>
          </a:p>
          <a:p>
            <a:pPr marL="171450" indent="-171450" algn="l">
              <a:spcBef>
                <a:spcPts val="600"/>
              </a:spcBef>
              <a:buFont typeface="Arial" panose="020B0604020202020204" pitchFamily="34" charset="0"/>
              <a:buChar char="•"/>
            </a:pPr>
            <a:endParaRPr lang="en-GB" sz="1200" dirty="0"/>
          </a:p>
          <a:p>
            <a:pPr marL="0" indent="0" algn="l">
              <a:spcBef>
                <a:spcPts val="600"/>
              </a:spcBef>
              <a:buFont typeface="Wingdings" panose="05000000000000000000" pitchFamily="2" charset="2"/>
              <a:buNone/>
            </a:pPr>
            <a:endParaRPr lang="en-GB" sz="1200" dirty="0" err="1"/>
          </a:p>
        </p:txBody>
      </p:sp>
      <p:sp>
        <p:nvSpPr>
          <p:cNvPr id="20" name="TextBox 19">
            <a:extLst>
              <a:ext uri="{FF2B5EF4-FFF2-40B4-BE49-F238E27FC236}">
                <a16:creationId xmlns:a16="http://schemas.microsoft.com/office/drawing/2014/main" id="{AD61F0D3-051C-FC61-2ABC-2033B615F6AA}"/>
              </a:ext>
            </a:extLst>
          </p:cNvPr>
          <p:cNvSpPr txBox="1"/>
          <p:nvPr/>
        </p:nvSpPr>
        <p:spPr>
          <a:xfrm>
            <a:off x="6796774" y="1189087"/>
            <a:ext cx="5080415" cy="1154162"/>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400" b="1" dirty="0"/>
              <a:t>With over 100 analysts and modellers working across our European Flexibility Energy Market Services, this report provides you with a summary of our credible, reliable, and bankable forecasts</a:t>
            </a:r>
          </a:p>
          <a:p>
            <a:pPr marL="0" indent="0" algn="l">
              <a:spcBef>
                <a:spcPts val="600"/>
              </a:spcBef>
              <a:buFont typeface="Wingdings" panose="05000000000000000000" pitchFamily="2" charset="2"/>
              <a:buNone/>
            </a:pPr>
            <a:endParaRPr lang="en-GB" sz="1400" dirty="0" err="1"/>
          </a:p>
        </p:txBody>
      </p:sp>
      <p:grpSp>
        <p:nvGrpSpPr>
          <p:cNvPr id="23" name="Group 22">
            <a:extLst>
              <a:ext uri="{FF2B5EF4-FFF2-40B4-BE49-F238E27FC236}">
                <a16:creationId xmlns:a16="http://schemas.microsoft.com/office/drawing/2014/main" id="{41AF346E-2FB7-C74B-4DD4-931D4C3BB244}"/>
              </a:ext>
            </a:extLst>
          </p:cNvPr>
          <p:cNvGrpSpPr/>
          <p:nvPr/>
        </p:nvGrpSpPr>
        <p:grpSpPr>
          <a:xfrm>
            <a:off x="4542814" y="1401362"/>
            <a:ext cx="2071036" cy="429343"/>
            <a:chOff x="504609" y="5894910"/>
            <a:chExt cx="2303480" cy="477531"/>
          </a:xfrm>
        </p:grpSpPr>
        <p:sp>
          <p:nvSpPr>
            <p:cNvPr id="24" name="Rectangle 23">
              <a:extLst>
                <a:ext uri="{FF2B5EF4-FFF2-40B4-BE49-F238E27FC236}">
                  <a16:creationId xmlns:a16="http://schemas.microsoft.com/office/drawing/2014/main" id="{DB6327DF-B3B2-3B26-5A9E-B3DB8B1022AB}"/>
                </a:ext>
              </a:extLst>
            </p:cNvPr>
            <p:cNvSpPr/>
            <p:nvPr/>
          </p:nvSpPr>
          <p:spPr>
            <a:xfrm>
              <a:off x="666276" y="5894910"/>
              <a:ext cx="1980147" cy="477531"/>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25" name="TextBox 24">
              <a:extLst>
                <a:ext uri="{FF2B5EF4-FFF2-40B4-BE49-F238E27FC236}">
                  <a16:creationId xmlns:a16="http://schemas.microsoft.com/office/drawing/2014/main" id="{6D2EBF63-E741-EBA2-5402-D627BFDD0566}"/>
                </a:ext>
              </a:extLst>
            </p:cNvPr>
            <p:cNvSpPr txBox="1"/>
            <p:nvPr/>
          </p:nvSpPr>
          <p:spPr>
            <a:xfrm>
              <a:off x="504609" y="5935761"/>
              <a:ext cx="2303480" cy="338554"/>
            </a:xfrm>
            <a:prstGeom prst="rect">
              <a:avLst/>
            </a:prstGeom>
            <a:noFill/>
            <a:ln>
              <a:noFill/>
            </a:ln>
          </p:spPr>
          <p:txBody>
            <a:bodyPr wrap="square" lIns="0" tIns="0" rIns="0" bIns="0" rtlCol="0">
              <a:spAutoFit/>
            </a:bodyPr>
            <a:lstStyle/>
            <a:p>
              <a:pPr marL="0" indent="0" algn="ctr">
                <a:spcBef>
                  <a:spcPts val="600"/>
                </a:spcBef>
                <a:buFont typeface="Wingdings" panose="05000000000000000000" pitchFamily="2" charset="2"/>
                <a:buNone/>
              </a:pPr>
              <a:r>
                <a:rPr lang="en-GB" sz="2200" b="1" dirty="0">
                  <a:solidFill>
                    <a:schemeClr val="bg1"/>
                  </a:solidFill>
                </a:rPr>
                <a:t>3</a:t>
              </a:r>
              <a:r>
                <a:rPr lang="en-GB" b="1" baseline="30000" dirty="0">
                  <a:solidFill>
                    <a:schemeClr val="bg1"/>
                  </a:solidFill>
                </a:rPr>
                <a:t>RD</a:t>
              </a:r>
              <a:r>
                <a:rPr lang="en-GB" sz="2200" b="1" dirty="0">
                  <a:solidFill>
                    <a:schemeClr val="bg1"/>
                  </a:solidFill>
                </a:rPr>
                <a:t> EDITION</a:t>
              </a:r>
            </a:p>
          </p:txBody>
        </p:sp>
      </p:grpSp>
      <p:grpSp>
        <p:nvGrpSpPr>
          <p:cNvPr id="68" name="Group 67">
            <a:extLst>
              <a:ext uri="{FF2B5EF4-FFF2-40B4-BE49-F238E27FC236}">
                <a16:creationId xmlns:a16="http://schemas.microsoft.com/office/drawing/2014/main" id="{ECB632CA-8586-A008-2298-C675D54C8EAB}"/>
              </a:ext>
            </a:extLst>
          </p:cNvPr>
          <p:cNvGrpSpPr/>
          <p:nvPr/>
        </p:nvGrpSpPr>
        <p:grpSpPr>
          <a:xfrm>
            <a:off x="2463312" y="1619476"/>
            <a:ext cx="3910238" cy="4469226"/>
            <a:chOff x="451007" y="2227713"/>
            <a:chExt cx="2799246" cy="3199413"/>
          </a:xfrm>
        </p:grpSpPr>
        <p:grpSp>
          <p:nvGrpSpPr>
            <p:cNvPr id="69" name="Group 68">
              <a:extLst>
                <a:ext uri="{FF2B5EF4-FFF2-40B4-BE49-F238E27FC236}">
                  <a16:creationId xmlns:a16="http://schemas.microsoft.com/office/drawing/2014/main" id="{1AAE5C8F-71F1-FAD4-AD36-CD393D2F9F3C}"/>
                </a:ext>
              </a:extLst>
            </p:cNvPr>
            <p:cNvGrpSpPr/>
            <p:nvPr/>
          </p:nvGrpSpPr>
          <p:grpSpPr>
            <a:xfrm>
              <a:off x="451007" y="2227713"/>
              <a:ext cx="2780449" cy="3199413"/>
              <a:chOff x="4412456" y="1493043"/>
              <a:chExt cx="3366706" cy="3874008"/>
            </a:xfrm>
          </p:grpSpPr>
          <p:sp>
            <p:nvSpPr>
              <p:cNvPr id="155" name="Freeform: Shape 154">
                <a:extLst>
                  <a:ext uri="{FF2B5EF4-FFF2-40B4-BE49-F238E27FC236}">
                    <a16:creationId xmlns:a16="http://schemas.microsoft.com/office/drawing/2014/main" id="{DDD8FE29-F91A-6714-6F22-B8D216D9A622}"/>
                  </a:ext>
                </a:extLst>
              </p:cNvPr>
              <p:cNvSpPr/>
              <p:nvPr/>
            </p:nvSpPr>
            <p:spPr>
              <a:xfrm>
                <a:off x="5622127" y="4060782"/>
                <a:ext cx="294893" cy="201834"/>
              </a:xfrm>
              <a:custGeom>
                <a:avLst/>
                <a:gdLst>
                  <a:gd name="connsiteX0" fmla="*/ 0 w 294893"/>
                  <a:gd name="connsiteY0" fmla="*/ 56483 h 201834"/>
                  <a:gd name="connsiteX1" fmla="*/ 8001 w 294893"/>
                  <a:gd name="connsiteY1" fmla="*/ 80677 h 201834"/>
                  <a:gd name="connsiteX2" fmla="*/ 39815 w 294893"/>
                  <a:gd name="connsiteY2" fmla="*/ 88773 h 201834"/>
                  <a:gd name="connsiteX3" fmla="*/ 55817 w 294893"/>
                  <a:gd name="connsiteY3" fmla="*/ 104965 h 201834"/>
                  <a:gd name="connsiteX4" fmla="*/ 87725 w 294893"/>
                  <a:gd name="connsiteY4" fmla="*/ 104965 h 201834"/>
                  <a:gd name="connsiteX5" fmla="*/ 103632 w 294893"/>
                  <a:gd name="connsiteY5" fmla="*/ 112967 h 201834"/>
                  <a:gd name="connsiteX6" fmla="*/ 111633 w 294893"/>
                  <a:gd name="connsiteY6" fmla="*/ 121063 h 201834"/>
                  <a:gd name="connsiteX7" fmla="*/ 111633 w 294893"/>
                  <a:gd name="connsiteY7" fmla="*/ 153448 h 201834"/>
                  <a:gd name="connsiteX8" fmla="*/ 143446 w 294893"/>
                  <a:gd name="connsiteY8" fmla="*/ 153448 h 201834"/>
                  <a:gd name="connsiteX9" fmla="*/ 159448 w 294893"/>
                  <a:gd name="connsiteY9" fmla="*/ 137255 h 201834"/>
                  <a:gd name="connsiteX10" fmla="*/ 159448 w 294893"/>
                  <a:gd name="connsiteY10" fmla="*/ 169545 h 201834"/>
                  <a:gd name="connsiteX11" fmla="*/ 175355 w 294893"/>
                  <a:gd name="connsiteY11" fmla="*/ 169545 h 201834"/>
                  <a:gd name="connsiteX12" fmla="*/ 191262 w 294893"/>
                  <a:gd name="connsiteY12" fmla="*/ 177641 h 201834"/>
                  <a:gd name="connsiteX13" fmla="*/ 199263 w 294893"/>
                  <a:gd name="connsiteY13" fmla="*/ 177641 h 201834"/>
                  <a:gd name="connsiteX14" fmla="*/ 215170 w 294893"/>
                  <a:gd name="connsiteY14" fmla="*/ 193738 h 201834"/>
                  <a:gd name="connsiteX15" fmla="*/ 239077 w 294893"/>
                  <a:gd name="connsiteY15" fmla="*/ 193738 h 201834"/>
                  <a:gd name="connsiteX16" fmla="*/ 255079 w 294893"/>
                  <a:gd name="connsiteY16" fmla="*/ 201835 h 201834"/>
                  <a:gd name="connsiteX17" fmla="*/ 255079 w 294893"/>
                  <a:gd name="connsiteY17" fmla="*/ 193738 h 201834"/>
                  <a:gd name="connsiteX18" fmla="*/ 247078 w 294893"/>
                  <a:gd name="connsiteY18" fmla="*/ 177641 h 201834"/>
                  <a:gd name="connsiteX19" fmla="*/ 231172 w 294893"/>
                  <a:gd name="connsiteY19" fmla="*/ 161449 h 201834"/>
                  <a:gd name="connsiteX20" fmla="*/ 231172 w 294893"/>
                  <a:gd name="connsiteY20" fmla="*/ 153448 h 201834"/>
                  <a:gd name="connsiteX21" fmla="*/ 239077 w 294893"/>
                  <a:gd name="connsiteY21" fmla="*/ 153448 h 201834"/>
                  <a:gd name="connsiteX22" fmla="*/ 255079 w 294893"/>
                  <a:gd name="connsiteY22" fmla="*/ 145351 h 201834"/>
                  <a:gd name="connsiteX23" fmla="*/ 262985 w 294893"/>
                  <a:gd name="connsiteY23" fmla="*/ 137255 h 201834"/>
                  <a:gd name="connsiteX24" fmla="*/ 270986 w 294893"/>
                  <a:gd name="connsiteY24" fmla="*/ 137255 h 201834"/>
                  <a:gd name="connsiteX25" fmla="*/ 270986 w 294893"/>
                  <a:gd name="connsiteY25" fmla="*/ 129159 h 201834"/>
                  <a:gd name="connsiteX26" fmla="*/ 278987 w 294893"/>
                  <a:gd name="connsiteY26" fmla="*/ 121063 h 201834"/>
                  <a:gd name="connsiteX27" fmla="*/ 294894 w 294893"/>
                  <a:gd name="connsiteY27" fmla="*/ 121063 h 201834"/>
                  <a:gd name="connsiteX28" fmla="*/ 286893 w 294893"/>
                  <a:gd name="connsiteY28" fmla="*/ 112967 h 201834"/>
                  <a:gd name="connsiteX29" fmla="*/ 286893 w 294893"/>
                  <a:gd name="connsiteY29" fmla="*/ 88773 h 201834"/>
                  <a:gd name="connsiteX30" fmla="*/ 270986 w 294893"/>
                  <a:gd name="connsiteY30" fmla="*/ 72676 h 201834"/>
                  <a:gd name="connsiteX31" fmla="*/ 239077 w 294893"/>
                  <a:gd name="connsiteY31" fmla="*/ 72676 h 201834"/>
                  <a:gd name="connsiteX32" fmla="*/ 239077 w 294893"/>
                  <a:gd name="connsiteY32" fmla="*/ 56483 h 201834"/>
                  <a:gd name="connsiteX33" fmla="*/ 247078 w 294893"/>
                  <a:gd name="connsiteY33" fmla="*/ 48387 h 201834"/>
                  <a:gd name="connsiteX34" fmla="*/ 247078 w 294893"/>
                  <a:gd name="connsiteY34" fmla="*/ 24193 h 201834"/>
                  <a:gd name="connsiteX35" fmla="*/ 239077 w 294893"/>
                  <a:gd name="connsiteY35" fmla="*/ 16097 h 201834"/>
                  <a:gd name="connsiteX36" fmla="*/ 231172 w 294893"/>
                  <a:gd name="connsiteY36" fmla="*/ 16097 h 201834"/>
                  <a:gd name="connsiteX37" fmla="*/ 215170 w 294893"/>
                  <a:gd name="connsiteY37" fmla="*/ 24193 h 201834"/>
                  <a:gd name="connsiteX38" fmla="*/ 199263 w 294893"/>
                  <a:gd name="connsiteY38" fmla="*/ 24193 h 201834"/>
                  <a:gd name="connsiteX39" fmla="*/ 191262 w 294893"/>
                  <a:gd name="connsiteY39" fmla="*/ 16097 h 201834"/>
                  <a:gd name="connsiteX40" fmla="*/ 191262 w 294893"/>
                  <a:gd name="connsiteY40" fmla="*/ 0 h 201834"/>
                  <a:gd name="connsiteX41" fmla="*/ 143446 w 294893"/>
                  <a:gd name="connsiteY41" fmla="*/ 0 h 201834"/>
                  <a:gd name="connsiteX42" fmla="*/ 143446 w 294893"/>
                  <a:gd name="connsiteY42" fmla="*/ 8001 h 201834"/>
                  <a:gd name="connsiteX43" fmla="*/ 127540 w 294893"/>
                  <a:gd name="connsiteY43" fmla="*/ 0 h 201834"/>
                  <a:gd name="connsiteX44" fmla="*/ 127540 w 294893"/>
                  <a:gd name="connsiteY44" fmla="*/ 16097 h 201834"/>
                  <a:gd name="connsiteX45" fmla="*/ 103632 w 294893"/>
                  <a:gd name="connsiteY45" fmla="*/ 8001 h 201834"/>
                  <a:gd name="connsiteX46" fmla="*/ 95631 w 294893"/>
                  <a:gd name="connsiteY46" fmla="*/ 24193 h 201834"/>
                  <a:gd name="connsiteX47" fmla="*/ 87725 w 294893"/>
                  <a:gd name="connsiteY47" fmla="*/ 16097 h 201834"/>
                  <a:gd name="connsiteX48" fmla="*/ 55817 w 294893"/>
                  <a:gd name="connsiteY48" fmla="*/ 16097 h 201834"/>
                  <a:gd name="connsiteX49" fmla="*/ 47815 w 294893"/>
                  <a:gd name="connsiteY49" fmla="*/ 8001 h 201834"/>
                  <a:gd name="connsiteX50" fmla="*/ 31909 w 294893"/>
                  <a:gd name="connsiteY50" fmla="*/ 8001 h 201834"/>
                  <a:gd name="connsiteX51" fmla="*/ 0 w 294893"/>
                  <a:gd name="connsiteY51" fmla="*/ 32290 h 201834"/>
                  <a:gd name="connsiteX52" fmla="*/ 0 w 294893"/>
                  <a:gd name="connsiteY52" fmla="*/ 56483 h 20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94893" h="201834">
                    <a:moveTo>
                      <a:pt x="0" y="56483"/>
                    </a:moveTo>
                    <a:lnTo>
                      <a:pt x="8001" y="80677"/>
                    </a:lnTo>
                    <a:lnTo>
                      <a:pt x="39815" y="88773"/>
                    </a:lnTo>
                    <a:lnTo>
                      <a:pt x="55817" y="104965"/>
                    </a:lnTo>
                    <a:lnTo>
                      <a:pt x="87725" y="104965"/>
                    </a:lnTo>
                    <a:lnTo>
                      <a:pt x="103632" y="112967"/>
                    </a:lnTo>
                    <a:lnTo>
                      <a:pt x="111633" y="121063"/>
                    </a:lnTo>
                    <a:lnTo>
                      <a:pt x="111633" y="153448"/>
                    </a:lnTo>
                    <a:lnTo>
                      <a:pt x="143446" y="153448"/>
                    </a:lnTo>
                    <a:lnTo>
                      <a:pt x="159448" y="137255"/>
                    </a:lnTo>
                    <a:lnTo>
                      <a:pt x="159448" y="169545"/>
                    </a:lnTo>
                    <a:lnTo>
                      <a:pt x="175355" y="169545"/>
                    </a:lnTo>
                    <a:lnTo>
                      <a:pt x="191262" y="177641"/>
                    </a:lnTo>
                    <a:lnTo>
                      <a:pt x="199263" y="177641"/>
                    </a:lnTo>
                    <a:lnTo>
                      <a:pt x="215170" y="193738"/>
                    </a:lnTo>
                    <a:lnTo>
                      <a:pt x="239077" y="193738"/>
                    </a:lnTo>
                    <a:lnTo>
                      <a:pt x="255079" y="201835"/>
                    </a:lnTo>
                    <a:lnTo>
                      <a:pt x="255079" y="193738"/>
                    </a:lnTo>
                    <a:lnTo>
                      <a:pt x="247078" y="177641"/>
                    </a:lnTo>
                    <a:lnTo>
                      <a:pt x="231172" y="161449"/>
                    </a:lnTo>
                    <a:lnTo>
                      <a:pt x="231172" y="153448"/>
                    </a:lnTo>
                    <a:lnTo>
                      <a:pt x="239077" y="153448"/>
                    </a:lnTo>
                    <a:lnTo>
                      <a:pt x="255079" y="145351"/>
                    </a:lnTo>
                    <a:lnTo>
                      <a:pt x="262985" y="137255"/>
                    </a:lnTo>
                    <a:lnTo>
                      <a:pt x="270986" y="137255"/>
                    </a:lnTo>
                    <a:lnTo>
                      <a:pt x="270986" y="129159"/>
                    </a:lnTo>
                    <a:lnTo>
                      <a:pt x="278987" y="121063"/>
                    </a:lnTo>
                    <a:lnTo>
                      <a:pt x="294894" y="121063"/>
                    </a:lnTo>
                    <a:lnTo>
                      <a:pt x="286893" y="112967"/>
                    </a:lnTo>
                    <a:lnTo>
                      <a:pt x="286893" y="88773"/>
                    </a:lnTo>
                    <a:lnTo>
                      <a:pt x="270986" y="72676"/>
                    </a:lnTo>
                    <a:lnTo>
                      <a:pt x="239077" y="72676"/>
                    </a:lnTo>
                    <a:lnTo>
                      <a:pt x="239077" y="56483"/>
                    </a:lnTo>
                    <a:lnTo>
                      <a:pt x="247078" y="48387"/>
                    </a:lnTo>
                    <a:lnTo>
                      <a:pt x="247078" y="24193"/>
                    </a:lnTo>
                    <a:lnTo>
                      <a:pt x="239077" y="16097"/>
                    </a:lnTo>
                    <a:lnTo>
                      <a:pt x="231172" y="16097"/>
                    </a:lnTo>
                    <a:lnTo>
                      <a:pt x="215170" y="24193"/>
                    </a:lnTo>
                    <a:lnTo>
                      <a:pt x="199263" y="24193"/>
                    </a:lnTo>
                    <a:lnTo>
                      <a:pt x="191262" y="16097"/>
                    </a:lnTo>
                    <a:lnTo>
                      <a:pt x="191262" y="0"/>
                    </a:lnTo>
                    <a:lnTo>
                      <a:pt x="143446" y="0"/>
                    </a:lnTo>
                    <a:lnTo>
                      <a:pt x="143446" y="8001"/>
                    </a:lnTo>
                    <a:lnTo>
                      <a:pt x="127540" y="0"/>
                    </a:lnTo>
                    <a:lnTo>
                      <a:pt x="127540" y="16097"/>
                    </a:lnTo>
                    <a:lnTo>
                      <a:pt x="103632" y="8001"/>
                    </a:lnTo>
                    <a:lnTo>
                      <a:pt x="95631" y="24193"/>
                    </a:lnTo>
                    <a:lnTo>
                      <a:pt x="87725" y="16097"/>
                    </a:lnTo>
                    <a:lnTo>
                      <a:pt x="55817" y="16097"/>
                    </a:lnTo>
                    <a:lnTo>
                      <a:pt x="47815" y="8001"/>
                    </a:lnTo>
                    <a:lnTo>
                      <a:pt x="31909" y="8001"/>
                    </a:lnTo>
                    <a:lnTo>
                      <a:pt x="0" y="32290"/>
                    </a:lnTo>
                    <a:lnTo>
                      <a:pt x="0" y="56483"/>
                    </a:lnTo>
                    <a:close/>
                  </a:path>
                </a:pathLst>
              </a:custGeom>
              <a:solidFill>
                <a:schemeClr val="accent6">
                  <a:lumMod val="40000"/>
                  <a:lumOff val="60000"/>
                </a:schemeClr>
              </a:solidFill>
              <a:ln w="4763" cap="flat">
                <a:no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5CBEDCF9-8B6F-1677-93DE-F04BADF2529F}"/>
                  </a:ext>
                </a:extLst>
              </p:cNvPr>
              <p:cNvSpPr/>
              <p:nvPr/>
            </p:nvSpPr>
            <p:spPr>
              <a:xfrm>
                <a:off x="4683252" y="2693955"/>
                <a:ext cx="765619" cy="1090993"/>
              </a:xfrm>
              <a:custGeom>
                <a:avLst/>
                <a:gdLst>
                  <a:gd name="connsiteX0" fmla="*/ 95822 w 765619"/>
                  <a:gd name="connsiteY0" fmla="*/ 334327 h 1090993"/>
                  <a:gd name="connsiteX1" fmla="*/ 79915 w 765619"/>
                  <a:gd name="connsiteY1" fmla="*/ 374142 h 1090993"/>
                  <a:gd name="connsiteX2" fmla="*/ 103823 w 765619"/>
                  <a:gd name="connsiteY2" fmla="*/ 342329 h 1090993"/>
                  <a:gd name="connsiteX3" fmla="*/ 95822 w 765619"/>
                  <a:gd name="connsiteY3" fmla="*/ 334327 h 1090993"/>
                  <a:gd name="connsiteX4" fmla="*/ 143637 w 765619"/>
                  <a:gd name="connsiteY4" fmla="*/ 278606 h 1090993"/>
                  <a:gd name="connsiteX5" fmla="*/ 167545 w 765619"/>
                  <a:gd name="connsiteY5" fmla="*/ 278606 h 1090993"/>
                  <a:gd name="connsiteX6" fmla="*/ 175546 w 765619"/>
                  <a:gd name="connsiteY6" fmla="*/ 270700 h 1090993"/>
                  <a:gd name="connsiteX7" fmla="*/ 175546 w 765619"/>
                  <a:gd name="connsiteY7" fmla="*/ 262700 h 1090993"/>
                  <a:gd name="connsiteX8" fmla="*/ 183547 w 765619"/>
                  <a:gd name="connsiteY8" fmla="*/ 246793 h 1090993"/>
                  <a:gd name="connsiteX9" fmla="*/ 199453 w 765619"/>
                  <a:gd name="connsiteY9" fmla="*/ 230886 h 1090993"/>
                  <a:gd name="connsiteX10" fmla="*/ 199453 w 765619"/>
                  <a:gd name="connsiteY10" fmla="*/ 222885 h 1090993"/>
                  <a:gd name="connsiteX11" fmla="*/ 183547 w 765619"/>
                  <a:gd name="connsiteY11" fmla="*/ 230886 h 1090993"/>
                  <a:gd name="connsiteX12" fmla="*/ 175546 w 765619"/>
                  <a:gd name="connsiteY12" fmla="*/ 230886 h 1090993"/>
                  <a:gd name="connsiteX13" fmla="*/ 151638 w 765619"/>
                  <a:gd name="connsiteY13" fmla="*/ 254794 h 1090993"/>
                  <a:gd name="connsiteX14" fmla="*/ 143637 w 765619"/>
                  <a:gd name="connsiteY14" fmla="*/ 246888 h 1090993"/>
                  <a:gd name="connsiteX15" fmla="*/ 127730 w 765619"/>
                  <a:gd name="connsiteY15" fmla="*/ 246888 h 1090993"/>
                  <a:gd name="connsiteX16" fmla="*/ 119729 w 765619"/>
                  <a:gd name="connsiteY16" fmla="*/ 254794 h 1090993"/>
                  <a:gd name="connsiteX17" fmla="*/ 119729 w 765619"/>
                  <a:gd name="connsiteY17" fmla="*/ 278701 h 1090993"/>
                  <a:gd name="connsiteX18" fmla="*/ 127730 w 765619"/>
                  <a:gd name="connsiteY18" fmla="*/ 286702 h 1090993"/>
                  <a:gd name="connsiteX19" fmla="*/ 127730 w 765619"/>
                  <a:gd name="connsiteY19" fmla="*/ 302609 h 1090993"/>
                  <a:gd name="connsiteX20" fmla="*/ 143637 w 765619"/>
                  <a:gd name="connsiteY20" fmla="*/ 278701 h 1090993"/>
                  <a:gd name="connsiteX21" fmla="*/ 103823 w 765619"/>
                  <a:gd name="connsiteY21" fmla="*/ 302514 h 1090993"/>
                  <a:gd name="connsiteX22" fmla="*/ 95822 w 765619"/>
                  <a:gd name="connsiteY22" fmla="*/ 302514 h 1090993"/>
                  <a:gd name="connsiteX23" fmla="*/ 87821 w 765619"/>
                  <a:gd name="connsiteY23" fmla="*/ 310515 h 1090993"/>
                  <a:gd name="connsiteX24" fmla="*/ 87821 w 765619"/>
                  <a:gd name="connsiteY24" fmla="*/ 318421 h 1090993"/>
                  <a:gd name="connsiteX25" fmla="*/ 111728 w 765619"/>
                  <a:gd name="connsiteY25" fmla="*/ 318421 h 1090993"/>
                  <a:gd name="connsiteX26" fmla="*/ 111728 w 765619"/>
                  <a:gd name="connsiteY26" fmla="*/ 302514 h 1090993"/>
                  <a:gd name="connsiteX27" fmla="*/ 103727 w 765619"/>
                  <a:gd name="connsiteY27" fmla="*/ 302514 h 1090993"/>
                  <a:gd name="connsiteX28" fmla="*/ 167545 w 765619"/>
                  <a:gd name="connsiteY28" fmla="*/ 668750 h 1090993"/>
                  <a:gd name="connsiteX29" fmla="*/ 175546 w 765619"/>
                  <a:gd name="connsiteY29" fmla="*/ 660749 h 1090993"/>
                  <a:gd name="connsiteX30" fmla="*/ 175546 w 765619"/>
                  <a:gd name="connsiteY30" fmla="*/ 652748 h 1090993"/>
                  <a:gd name="connsiteX31" fmla="*/ 191452 w 765619"/>
                  <a:gd name="connsiteY31" fmla="*/ 652748 h 1090993"/>
                  <a:gd name="connsiteX32" fmla="*/ 199453 w 765619"/>
                  <a:gd name="connsiteY32" fmla="*/ 636842 h 1090993"/>
                  <a:gd name="connsiteX33" fmla="*/ 207454 w 765619"/>
                  <a:gd name="connsiteY33" fmla="*/ 628936 h 1090993"/>
                  <a:gd name="connsiteX34" fmla="*/ 207454 w 765619"/>
                  <a:gd name="connsiteY34" fmla="*/ 613029 h 1090993"/>
                  <a:gd name="connsiteX35" fmla="*/ 183547 w 765619"/>
                  <a:gd name="connsiteY35" fmla="*/ 589121 h 1090993"/>
                  <a:gd name="connsiteX36" fmla="*/ 183547 w 765619"/>
                  <a:gd name="connsiteY36" fmla="*/ 573214 h 1090993"/>
                  <a:gd name="connsiteX37" fmla="*/ 175546 w 765619"/>
                  <a:gd name="connsiteY37" fmla="*/ 581216 h 1090993"/>
                  <a:gd name="connsiteX38" fmla="*/ 167545 w 765619"/>
                  <a:gd name="connsiteY38" fmla="*/ 565309 h 1090993"/>
                  <a:gd name="connsiteX39" fmla="*/ 159544 w 765619"/>
                  <a:gd name="connsiteY39" fmla="*/ 557308 h 1090993"/>
                  <a:gd name="connsiteX40" fmla="*/ 103727 w 765619"/>
                  <a:gd name="connsiteY40" fmla="*/ 557308 h 1090993"/>
                  <a:gd name="connsiteX41" fmla="*/ 95726 w 765619"/>
                  <a:gd name="connsiteY41" fmla="*/ 565309 h 1090993"/>
                  <a:gd name="connsiteX42" fmla="*/ 39910 w 765619"/>
                  <a:gd name="connsiteY42" fmla="*/ 597122 h 1090993"/>
                  <a:gd name="connsiteX43" fmla="*/ 39910 w 765619"/>
                  <a:gd name="connsiteY43" fmla="*/ 613029 h 1090993"/>
                  <a:gd name="connsiteX44" fmla="*/ 31909 w 765619"/>
                  <a:gd name="connsiteY44" fmla="*/ 613029 h 1090993"/>
                  <a:gd name="connsiteX45" fmla="*/ 23908 w 765619"/>
                  <a:gd name="connsiteY45" fmla="*/ 621030 h 1090993"/>
                  <a:gd name="connsiteX46" fmla="*/ 15907 w 765619"/>
                  <a:gd name="connsiteY46" fmla="*/ 621030 h 1090993"/>
                  <a:gd name="connsiteX47" fmla="*/ 0 w 765619"/>
                  <a:gd name="connsiteY47" fmla="*/ 636937 h 1090993"/>
                  <a:gd name="connsiteX48" fmla="*/ 8001 w 765619"/>
                  <a:gd name="connsiteY48" fmla="*/ 644938 h 1090993"/>
                  <a:gd name="connsiteX49" fmla="*/ 39910 w 765619"/>
                  <a:gd name="connsiteY49" fmla="*/ 660845 h 1090993"/>
                  <a:gd name="connsiteX50" fmla="*/ 55817 w 765619"/>
                  <a:gd name="connsiteY50" fmla="*/ 660845 h 1090993"/>
                  <a:gd name="connsiteX51" fmla="*/ 87725 w 765619"/>
                  <a:gd name="connsiteY51" fmla="*/ 629031 h 1090993"/>
                  <a:gd name="connsiteX52" fmla="*/ 111633 w 765619"/>
                  <a:gd name="connsiteY52" fmla="*/ 660845 h 1090993"/>
                  <a:gd name="connsiteX53" fmla="*/ 159448 w 765619"/>
                  <a:gd name="connsiteY53" fmla="*/ 668846 h 1090993"/>
                  <a:gd name="connsiteX54" fmla="*/ 167449 w 765619"/>
                  <a:gd name="connsiteY54" fmla="*/ 668846 h 1090993"/>
                  <a:gd name="connsiteX55" fmla="*/ 295085 w 765619"/>
                  <a:gd name="connsiteY55" fmla="*/ 644843 h 1090993"/>
                  <a:gd name="connsiteX56" fmla="*/ 287084 w 765619"/>
                  <a:gd name="connsiteY56" fmla="*/ 636842 h 1090993"/>
                  <a:gd name="connsiteX57" fmla="*/ 271177 w 765619"/>
                  <a:gd name="connsiteY57" fmla="*/ 636842 h 1090993"/>
                  <a:gd name="connsiteX58" fmla="*/ 271177 w 765619"/>
                  <a:gd name="connsiteY58" fmla="*/ 644843 h 1090993"/>
                  <a:gd name="connsiteX59" fmla="*/ 263176 w 765619"/>
                  <a:gd name="connsiteY59" fmla="*/ 660749 h 1090993"/>
                  <a:gd name="connsiteX60" fmla="*/ 255175 w 765619"/>
                  <a:gd name="connsiteY60" fmla="*/ 668750 h 1090993"/>
                  <a:gd name="connsiteX61" fmla="*/ 279083 w 765619"/>
                  <a:gd name="connsiteY61" fmla="*/ 668750 h 1090993"/>
                  <a:gd name="connsiteX62" fmla="*/ 294989 w 765619"/>
                  <a:gd name="connsiteY62" fmla="*/ 652843 h 1090993"/>
                  <a:gd name="connsiteX63" fmla="*/ 294989 w 765619"/>
                  <a:gd name="connsiteY63" fmla="*/ 644938 h 1090993"/>
                  <a:gd name="connsiteX64" fmla="*/ 669703 w 765619"/>
                  <a:gd name="connsiteY64" fmla="*/ 780193 h 1090993"/>
                  <a:gd name="connsiteX65" fmla="*/ 661702 w 765619"/>
                  <a:gd name="connsiteY65" fmla="*/ 788194 h 1090993"/>
                  <a:gd name="connsiteX66" fmla="*/ 661702 w 765619"/>
                  <a:gd name="connsiteY66" fmla="*/ 796100 h 1090993"/>
                  <a:gd name="connsiteX67" fmla="*/ 637794 w 765619"/>
                  <a:gd name="connsiteY67" fmla="*/ 796100 h 1090993"/>
                  <a:gd name="connsiteX68" fmla="*/ 637794 w 765619"/>
                  <a:gd name="connsiteY68" fmla="*/ 780193 h 1090993"/>
                  <a:gd name="connsiteX69" fmla="*/ 645795 w 765619"/>
                  <a:gd name="connsiteY69" fmla="*/ 764286 h 1090993"/>
                  <a:gd name="connsiteX70" fmla="*/ 661702 w 765619"/>
                  <a:gd name="connsiteY70" fmla="*/ 748379 h 1090993"/>
                  <a:gd name="connsiteX71" fmla="*/ 653701 w 765619"/>
                  <a:gd name="connsiteY71" fmla="*/ 740378 h 1090993"/>
                  <a:gd name="connsiteX72" fmla="*/ 605885 w 765619"/>
                  <a:gd name="connsiteY72" fmla="*/ 716471 h 1090993"/>
                  <a:gd name="connsiteX73" fmla="*/ 597884 w 765619"/>
                  <a:gd name="connsiteY73" fmla="*/ 716471 h 1090993"/>
                  <a:gd name="connsiteX74" fmla="*/ 589883 w 765619"/>
                  <a:gd name="connsiteY74" fmla="*/ 708565 h 1090993"/>
                  <a:gd name="connsiteX75" fmla="*/ 597884 w 765619"/>
                  <a:gd name="connsiteY75" fmla="*/ 708565 h 1090993"/>
                  <a:gd name="connsiteX76" fmla="*/ 605885 w 765619"/>
                  <a:gd name="connsiteY76" fmla="*/ 700564 h 1090993"/>
                  <a:gd name="connsiteX77" fmla="*/ 637794 w 765619"/>
                  <a:gd name="connsiteY77" fmla="*/ 700564 h 1090993"/>
                  <a:gd name="connsiteX78" fmla="*/ 621887 w 765619"/>
                  <a:gd name="connsiteY78" fmla="*/ 684657 h 1090993"/>
                  <a:gd name="connsiteX79" fmla="*/ 621887 w 765619"/>
                  <a:gd name="connsiteY79" fmla="*/ 676656 h 1090993"/>
                  <a:gd name="connsiteX80" fmla="*/ 605885 w 765619"/>
                  <a:gd name="connsiteY80" fmla="*/ 660749 h 1090993"/>
                  <a:gd name="connsiteX81" fmla="*/ 597884 w 765619"/>
                  <a:gd name="connsiteY81" fmla="*/ 644843 h 1090993"/>
                  <a:gd name="connsiteX82" fmla="*/ 573977 w 765619"/>
                  <a:gd name="connsiteY82" fmla="*/ 620935 h 1090993"/>
                  <a:gd name="connsiteX83" fmla="*/ 558070 w 765619"/>
                  <a:gd name="connsiteY83" fmla="*/ 620935 h 1090993"/>
                  <a:gd name="connsiteX84" fmla="*/ 550069 w 765619"/>
                  <a:gd name="connsiteY84" fmla="*/ 605028 h 1090993"/>
                  <a:gd name="connsiteX85" fmla="*/ 534162 w 765619"/>
                  <a:gd name="connsiteY85" fmla="*/ 597027 h 1090993"/>
                  <a:gd name="connsiteX86" fmla="*/ 518255 w 765619"/>
                  <a:gd name="connsiteY86" fmla="*/ 581120 h 1090993"/>
                  <a:gd name="connsiteX87" fmla="*/ 518255 w 765619"/>
                  <a:gd name="connsiteY87" fmla="*/ 549307 h 1090993"/>
                  <a:gd name="connsiteX88" fmla="*/ 526256 w 765619"/>
                  <a:gd name="connsiteY88" fmla="*/ 533400 h 1090993"/>
                  <a:gd name="connsiteX89" fmla="*/ 526256 w 765619"/>
                  <a:gd name="connsiteY89" fmla="*/ 517493 h 1090993"/>
                  <a:gd name="connsiteX90" fmla="*/ 510350 w 765619"/>
                  <a:gd name="connsiteY90" fmla="*/ 517493 h 1090993"/>
                  <a:gd name="connsiteX91" fmla="*/ 502348 w 765619"/>
                  <a:gd name="connsiteY91" fmla="*/ 509588 h 1090993"/>
                  <a:gd name="connsiteX92" fmla="*/ 494348 w 765619"/>
                  <a:gd name="connsiteY92" fmla="*/ 493681 h 1090993"/>
                  <a:gd name="connsiteX93" fmla="*/ 478441 w 765619"/>
                  <a:gd name="connsiteY93" fmla="*/ 477774 h 1090993"/>
                  <a:gd name="connsiteX94" fmla="*/ 454533 w 765619"/>
                  <a:gd name="connsiteY94" fmla="*/ 469868 h 1090993"/>
                  <a:gd name="connsiteX95" fmla="*/ 430625 w 765619"/>
                  <a:gd name="connsiteY95" fmla="*/ 469868 h 1090993"/>
                  <a:gd name="connsiteX96" fmla="*/ 406717 w 765619"/>
                  <a:gd name="connsiteY96" fmla="*/ 477774 h 1090993"/>
                  <a:gd name="connsiteX97" fmla="*/ 390811 w 765619"/>
                  <a:gd name="connsiteY97" fmla="*/ 485775 h 1090993"/>
                  <a:gd name="connsiteX98" fmla="*/ 382810 w 765619"/>
                  <a:gd name="connsiteY98" fmla="*/ 485775 h 1090993"/>
                  <a:gd name="connsiteX99" fmla="*/ 358902 w 765619"/>
                  <a:gd name="connsiteY99" fmla="*/ 461867 h 1090993"/>
                  <a:gd name="connsiteX100" fmla="*/ 374809 w 765619"/>
                  <a:gd name="connsiteY100" fmla="*/ 461867 h 1090993"/>
                  <a:gd name="connsiteX101" fmla="*/ 390715 w 765619"/>
                  <a:gd name="connsiteY101" fmla="*/ 469868 h 1090993"/>
                  <a:gd name="connsiteX102" fmla="*/ 406622 w 765619"/>
                  <a:gd name="connsiteY102" fmla="*/ 469868 h 1090993"/>
                  <a:gd name="connsiteX103" fmla="*/ 438531 w 765619"/>
                  <a:gd name="connsiteY103" fmla="*/ 453962 h 1090993"/>
                  <a:gd name="connsiteX104" fmla="*/ 446532 w 765619"/>
                  <a:gd name="connsiteY104" fmla="*/ 446056 h 1090993"/>
                  <a:gd name="connsiteX105" fmla="*/ 438531 w 765619"/>
                  <a:gd name="connsiteY105" fmla="*/ 446056 h 1090993"/>
                  <a:gd name="connsiteX106" fmla="*/ 430530 w 765619"/>
                  <a:gd name="connsiteY106" fmla="*/ 438055 h 1090993"/>
                  <a:gd name="connsiteX107" fmla="*/ 406622 w 765619"/>
                  <a:gd name="connsiteY107" fmla="*/ 438055 h 1090993"/>
                  <a:gd name="connsiteX108" fmla="*/ 438531 w 765619"/>
                  <a:gd name="connsiteY108" fmla="*/ 430149 h 1090993"/>
                  <a:gd name="connsiteX109" fmla="*/ 446532 w 765619"/>
                  <a:gd name="connsiteY109" fmla="*/ 422148 h 1090993"/>
                  <a:gd name="connsiteX110" fmla="*/ 462439 w 765619"/>
                  <a:gd name="connsiteY110" fmla="*/ 414147 h 1090993"/>
                  <a:gd name="connsiteX111" fmla="*/ 478346 w 765619"/>
                  <a:gd name="connsiteY111" fmla="*/ 398240 h 1090993"/>
                  <a:gd name="connsiteX112" fmla="*/ 478346 w 765619"/>
                  <a:gd name="connsiteY112" fmla="*/ 382334 h 1090993"/>
                  <a:gd name="connsiteX113" fmla="*/ 486346 w 765619"/>
                  <a:gd name="connsiteY113" fmla="*/ 366427 h 1090993"/>
                  <a:gd name="connsiteX114" fmla="*/ 494348 w 765619"/>
                  <a:gd name="connsiteY114" fmla="*/ 358426 h 1090993"/>
                  <a:gd name="connsiteX115" fmla="*/ 502348 w 765619"/>
                  <a:gd name="connsiteY115" fmla="*/ 342519 h 1090993"/>
                  <a:gd name="connsiteX116" fmla="*/ 510350 w 765619"/>
                  <a:gd name="connsiteY116" fmla="*/ 334518 h 1090993"/>
                  <a:gd name="connsiteX117" fmla="*/ 526256 w 765619"/>
                  <a:gd name="connsiteY117" fmla="*/ 326612 h 1090993"/>
                  <a:gd name="connsiteX118" fmla="*/ 534257 w 765619"/>
                  <a:gd name="connsiteY118" fmla="*/ 326612 h 1090993"/>
                  <a:gd name="connsiteX119" fmla="*/ 534257 w 765619"/>
                  <a:gd name="connsiteY119" fmla="*/ 318611 h 1090993"/>
                  <a:gd name="connsiteX120" fmla="*/ 526256 w 765619"/>
                  <a:gd name="connsiteY120" fmla="*/ 310705 h 1090993"/>
                  <a:gd name="connsiteX121" fmla="*/ 422624 w 765619"/>
                  <a:gd name="connsiteY121" fmla="*/ 310705 h 1090993"/>
                  <a:gd name="connsiteX122" fmla="*/ 422624 w 765619"/>
                  <a:gd name="connsiteY122" fmla="*/ 302705 h 1090993"/>
                  <a:gd name="connsiteX123" fmla="*/ 382810 w 765619"/>
                  <a:gd name="connsiteY123" fmla="*/ 302705 h 1090993"/>
                  <a:gd name="connsiteX124" fmla="*/ 366903 w 765619"/>
                  <a:gd name="connsiteY124" fmla="*/ 310705 h 1090993"/>
                  <a:gd name="connsiteX125" fmla="*/ 350996 w 765619"/>
                  <a:gd name="connsiteY125" fmla="*/ 310705 h 1090993"/>
                  <a:gd name="connsiteX126" fmla="*/ 342995 w 765619"/>
                  <a:gd name="connsiteY126" fmla="*/ 318611 h 1090993"/>
                  <a:gd name="connsiteX127" fmla="*/ 334994 w 765619"/>
                  <a:gd name="connsiteY127" fmla="*/ 318611 h 1090993"/>
                  <a:gd name="connsiteX128" fmla="*/ 350901 w 765619"/>
                  <a:gd name="connsiteY128" fmla="*/ 302705 h 1090993"/>
                  <a:gd name="connsiteX129" fmla="*/ 334994 w 765619"/>
                  <a:gd name="connsiteY129" fmla="*/ 286798 h 1090993"/>
                  <a:gd name="connsiteX130" fmla="*/ 358902 w 765619"/>
                  <a:gd name="connsiteY130" fmla="*/ 278797 h 1090993"/>
                  <a:gd name="connsiteX131" fmla="*/ 398717 w 765619"/>
                  <a:gd name="connsiteY131" fmla="*/ 254889 h 1090993"/>
                  <a:gd name="connsiteX132" fmla="*/ 414623 w 765619"/>
                  <a:gd name="connsiteY132" fmla="*/ 246983 h 1090993"/>
                  <a:gd name="connsiteX133" fmla="*/ 430530 w 765619"/>
                  <a:gd name="connsiteY133" fmla="*/ 215170 h 1090993"/>
                  <a:gd name="connsiteX134" fmla="*/ 422529 w 765619"/>
                  <a:gd name="connsiteY134" fmla="*/ 207264 h 1090993"/>
                  <a:gd name="connsiteX135" fmla="*/ 382715 w 765619"/>
                  <a:gd name="connsiteY135" fmla="*/ 207264 h 1090993"/>
                  <a:gd name="connsiteX136" fmla="*/ 366808 w 765619"/>
                  <a:gd name="connsiteY136" fmla="*/ 215170 h 1090993"/>
                  <a:gd name="connsiteX137" fmla="*/ 342900 w 765619"/>
                  <a:gd name="connsiteY137" fmla="*/ 223171 h 1090993"/>
                  <a:gd name="connsiteX138" fmla="*/ 318992 w 765619"/>
                  <a:gd name="connsiteY138" fmla="*/ 223171 h 1090993"/>
                  <a:gd name="connsiteX139" fmla="*/ 303086 w 765619"/>
                  <a:gd name="connsiteY139" fmla="*/ 215170 h 1090993"/>
                  <a:gd name="connsiteX140" fmla="*/ 287179 w 765619"/>
                  <a:gd name="connsiteY140" fmla="*/ 215170 h 1090993"/>
                  <a:gd name="connsiteX141" fmla="*/ 279178 w 765619"/>
                  <a:gd name="connsiteY141" fmla="*/ 223171 h 1090993"/>
                  <a:gd name="connsiteX142" fmla="*/ 279178 w 765619"/>
                  <a:gd name="connsiteY142" fmla="*/ 231172 h 1090993"/>
                  <a:gd name="connsiteX143" fmla="*/ 287179 w 765619"/>
                  <a:gd name="connsiteY143" fmla="*/ 239077 h 1090993"/>
                  <a:gd name="connsiteX144" fmla="*/ 271272 w 765619"/>
                  <a:gd name="connsiteY144" fmla="*/ 239077 h 1090993"/>
                  <a:gd name="connsiteX145" fmla="*/ 255365 w 765619"/>
                  <a:gd name="connsiteY145" fmla="*/ 254984 h 1090993"/>
                  <a:gd name="connsiteX146" fmla="*/ 255365 w 765619"/>
                  <a:gd name="connsiteY146" fmla="*/ 278892 h 1090993"/>
                  <a:gd name="connsiteX147" fmla="*/ 263366 w 765619"/>
                  <a:gd name="connsiteY147" fmla="*/ 286893 h 1090993"/>
                  <a:gd name="connsiteX148" fmla="*/ 207550 w 765619"/>
                  <a:gd name="connsiteY148" fmla="*/ 294799 h 1090993"/>
                  <a:gd name="connsiteX149" fmla="*/ 207550 w 765619"/>
                  <a:gd name="connsiteY149" fmla="*/ 310705 h 1090993"/>
                  <a:gd name="connsiteX150" fmla="*/ 223456 w 765619"/>
                  <a:gd name="connsiteY150" fmla="*/ 318611 h 1090993"/>
                  <a:gd name="connsiteX151" fmla="*/ 239363 w 765619"/>
                  <a:gd name="connsiteY151" fmla="*/ 350425 h 1090993"/>
                  <a:gd name="connsiteX152" fmla="*/ 215455 w 765619"/>
                  <a:gd name="connsiteY152" fmla="*/ 374333 h 1090993"/>
                  <a:gd name="connsiteX153" fmla="*/ 215455 w 765619"/>
                  <a:gd name="connsiteY153" fmla="*/ 390239 h 1090993"/>
                  <a:gd name="connsiteX154" fmla="*/ 191548 w 765619"/>
                  <a:gd name="connsiteY154" fmla="*/ 398145 h 1090993"/>
                  <a:gd name="connsiteX155" fmla="*/ 207454 w 765619"/>
                  <a:gd name="connsiteY155" fmla="*/ 414052 h 1090993"/>
                  <a:gd name="connsiteX156" fmla="*/ 223361 w 765619"/>
                  <a:gd name="connsiteY156" fmla="*/ 414052 h 1090993"/>
                  <a:gd name="connsiteX157" fmla="*/ 239268 w 765619"/>
                  <a:gd name="connsiteY157" fmla="*/ 406146 h 1090993"/>
                  <a:gd name="connsiteX158" fmla="*/ 247269 w 765619"/>
                  <a:gd name="connsiteY158" fmla="*/ 398145 h 1090993"/>
                  <a:gd name="connsiteX159" fmla="*/ 247269 w 765619"/>
                  <a:gd name="connsiteY159" fmla="*/ 422053 h 1090993"/>
                  <a:gd name="connsiteX160" fmla="*/ 239268 w 765619"/>
                  <a:gd name="connsiteY160" fmla="*/ 422053 h 1090993"/>
                  <a:gd name="connsiteX161" fmla="*/ 223361 w 765619"/>
                  <a:gd name="connsiteY161" fmla="*/ 437959 h 1090993"/>
                  <a:gd name="connsiteX162" fmla="*/ 207454 w 765619"/>
                  <a:gd name="connsiteY162" fmla="*/ 445960 h 1090993"/>
                  <a:gd name="connsiteX163" fmla="*/ 207454 w 765619"/>
                  <a:gd name="connsiteY163" fmla="*/ 477774 h 1090993"/>
                  <a:gd name="connsiteX164" fmla="*/ 215455 w 765619"/>
                  <a:gd name="connsiteY164" fmla="*/ 493681 h 1090993"/>
                  <a:gd name="connsiteX165" fmla="*/ 223456 w 765619"/>
                  <a:gd name="connsiteY165" fmla="*/ 485775 h 1090993"/>
                  <a:gd name="connsiteX166" fmla="*/ 263271 w 765619"/>
                  <a:gd name="connsiteY166" fmla="*/ 485775 h 1090993"/>
                  <a:gd name="connsiteX167" fmla="*/ 279178 w 765619"/>
                  <a:gd name="connsiteY167" fmla="*/ 477774 h 1090993"/>
                  <a:gd name="connsiteX168" fmla="*/ 287179 w 765619"/>
                  <a:gd name="connsiteY168" fmla="*/ 469868 h 1090993"/>
                  <a:gd name="connsiteX169" fmla="*/ 263271 w 765619"/>
                  <a:gd name="connsiteY169" fmla="*/ 493776 h 1090993"/>
                  <a:gd name="connsiteX170" fmla="*/ 279178 w 765619"/>
                  <a:gd name="connsiteY170" fmla="*/ 533591 h 1090993"/>
                  <a:gd name="connsiteX171" fmla="*/ 271177 w 765619"/>
                  <a:gd name="connsiteY171" fmla="*/ 541592 h 1090993"/>
                  <a:gd name="connsiteX172" fmla="*/ 263176 w 765619"/>
                  <a:gd name="connsiteY172" fmla="*/ 557498 h 1090993"/>
                  <a:gd name="connsiteX173" fmla="*/ 247269 w 765619"/>
                  <a:gd name="connsiteY173" fmla="*/ 565499 h 1090993"/>
                  <a:gd name="connsiteX174" fmla="*/ 239268 w 765619"/>
                  <a:gd name="connsiteY174" fmla="*/ 581406 h 1090993"/>
                  <a:gd name="connsiteX175" fmla="*/ 239268 w 765619"/>
                  <a:gd name="connsiteY175" fmla="*/ 597313 h 1090993"/>
                  <a:gd name="connsiteX176" fmla="*/ 247269 w 765619"/>
                  <a:gd name="connsiteY176" fmla="*/ 605314 h 1090993"/>
                  <a:gd name="connsiteX177" fmla="*/ 271177 w 765619"/>
                  <a:gd name="connsiteY177" fmla="*/ 605314 h 1090993"/>
                  <a:gd name="connsiteX178" fmla="*/ 287084 w 765619"/>
                  <a:gd name="connsiteY178" fmla="*/ 597313 h 1090993"/>
                  <a:gd name="connsiteX179" fmla="*/ 318992 w 765619"/>
                  <a:gd name="connsiteY179" fmla="*/ 597313 h 1090993"/>
                  <a:gd name="connsiteX180" fmla="*/ 334899 w 765619"/>
                  <a:gd name="connsiteY180" fmla="*/ 589407 h 1090993"/>
                  <a:gd name="connsiteX181" fmla="*/ 342900 w 765619"/>
                  <a:gd name="connsiteY181" fmla="*/ 581406 h 1090993"/>
                  <a:gd name="connsiteX182" fmla="*/ 358807 w 765619"/>
                  <a:gd name="connsiteY182" fmla="*/ 573405 h 1090993"/>
                  <a:gd name="connsiteX183" fmla="*/ 398621 w 765619"/>
                  <a:gd name="connsiteY183" fmla="*/ 581406 h 1090993"/>
                  <a:gd name="connsiteX184" fmla="*/ 382715 w 765619"/>
                  <a:gd name="connsiteY184" fmla="*/ 589407 h 1090993"/>
                  <a:gd name="connsiteX185" fmla="*/ 350806 w 765619"/>
                  <a:gd name="connsiteY185" fmla="*/ 621221 h 1090993"/>
                  <a:gd name="connsiteX186" fmla="*/ 350806 w 765619"/>
                  <a:gd name="connsiteY186" fmla="*/ 629222 h 1090993"/>
                  <a:gd name="connsiteX187" fmla="*/ 374713 w 765619"/>
                  <a:gd name="connsiteY187" fmla="*/ 653129 h 1090993"/>
                  <a:gd name="connsiteX188" fmla="*/ 390620 w 765619"/>
                  <a:gd name="connsiteY188" fmla="*/ 653129 h 1090993"/>
                  <a:gd name="connsiteX189" fmla="*/ 398621 w 765619"/>
                  <a:gd name="connsiteY189" fmla="*/ 661130 h 1090993"/>
                  <a:gd name="connsiteX190" fmla="*/ 406622 w 765619"/>
                  <a:gd name="connsiteY190" fmla="*/ 661130 h 1090993"/>
                  <a:gd name="connsiteX191" fmla="*/ 414623 w 765619"/>
                  <a:gd name="connsiteY191" fmla="*/ 685038 h 1090993"/>
                  <a:gd name="connsiteX192" fmla="*/ 390715 w 765619"/>
                  <a:gd name="connsiteY192" fmla="*/ 708946 h 1090993"/>
                  <a:gd name="connsiteX193" fmla="*/ 390715 w 765619"/>
                  <a:gd name="connsiteY193" fmla="*/ 748760 h 1090993"/>
                  <a:gd name="connsiteX194" fmla="*/ 295085 w 765619"/>
                  <a:gd name="connsiteY194" fmla="*/ 748760 h 1090993"/>
                  <a:gd name="connsiteX195" fmla="*/ 287084 w 765619"/>
                  <a:gd name="connsiteY195" fmla="*/ 740759 h 1090993"/>
                  <a:gd name="connsiteX196" fmla="*/ 263176 w 765619"/>
                  <a:gd name="connsiteY196" fmla="*/ 740759 h 1090993"/>
                  <a:gd name="connsiteX197" fmla="*/ 255175 w 765619"/>
                  <a:gd name="connsiteY197" fmla="*/ 748760 h 1090993"/>
                  <a:gd name="connsiteX198" fmla="*/ 279083 w 765619"/>
                  <a:gd name="connsiteY198" fmla="*/ 772668 h 1090993"/>
                  <a:gd name="connsiteX199" fmla="*/ 247174 w 765619"/>
                  <a:gd name="connsiteY199" fmla="*/ 796576 h 1090993"/>
                  <a:gd name="connsiteX200" fmla="*/ 302990 w 765619"/>
                  <a:gd name="connsiteY200" fmla="*/ 788670 h 1090993"/>
                  <a:gd name="connsiteX201" fmla="*/ 302990 w 765619"/>
                  <a:gd name="connsiteY201" fmla="*/ 820484 h 1090993"/>
                  <a:gd name="connsiteX202" fmla="*/ 287084 w 765619"/>
                  <a:gd name="connsiteY202" fmla="*/ 852297 h 1090993"/>
                  <a:gd name="connsiteX203" fmla="*/ 279083 w 765619"/>
                  <a:gd name="connsiteY203" fmla="*/ 860298 h 1090993"/>
                  <a:gd name="connsiteX204" fmla="*/ 263176 w 765619"/>
                  <a:gd name="connsiteY204" fmla="*/ 868299 h 1090993"/>
                  <a:gd name="connsiteX205" fmla="*/ 239268 w 765619"/>
                  <a:gd name="connsiteY205" fmla="*/ 876205 h 1090993"/>
                  <a:gd name="connsiteX206" fmla="*/ 223361 w 765619"/>
                  <a:gd name="connsiteY206" fmla="*/ 884206 h 1090993"/>
                  <a:gd name="connsiteX207" fmla="*/ 215360 w 765619"/>
                  <a:gd name="connsiteY207" fmla="*/ 884206 h 1090993"/>
                  <a:gd name="connsiteX208" fmla="*/ 215360 w 765619"/>
                  <a:gd name="connsiteY208" fmla="*/ 916019 h 1090993"/>
                  <a:gd name="connsiteX209" fmla="*/ 223361 w 765619"/>
                  <a:gd name="connsiteY209" fmla="*/ 924020 h 1090993"/>
                  <a:gd name="connsiteX210" fmla="*/ 231362 w 765619"/>
                  <a:gd name="connsiteY210" fmla="*/ 924020 h 1090993"/>
                  <a:gd name="connsiteX211" fmla="*/ 239363 w 765619"/>
                  <a:gd name="connsiteY211" fmla="*/ 916019 h 1090993"/>
                  <a:gd name="connsiteX212" fmla="*/ 255270 w 765619"/>
                  <a:gd name="connsiteY212" fmla="*/ 908113 h 1090993"/>
                  <a:gd name="connsiteX213" fmla="*/ 263271 w 765619"/>
                  <a:gd name="connsiteY213" fmla="*/ 900113 h 1090993"/>
                  <a:gd name="connsiteX214" fmla="*/ 271272 w 765619"/>
                  <a:gd name="connsiteY214" fmla="*/ 908113 h 1090993"/>
                  <a:gd name="connsiteX215" fmla="*/ 271272 w 765619"/>
                  <a:gd name="connsiteY215" fmla="*/ 916019 h 1090993"/>
                  <a:gd name="connsiteX216" fmla="*/ 279273 w 765619"/>
                  <a:gd name="connsiteY216" fmla="*/ 924020 h 1090993"/>
                  <a:gd name="connsiteX217" fmla="*/ 311182 w 765619"/>
                  <a:gd name="connsiteY217" fmla="*/ 924020 h 1090993"/>
                  <a:gd name="connsiteX218" fmla="*/ 319183 w 765619"/>
                  <a:gd name="connsiteY218" fmla="*/ 931926 h 1090993"/>
                  <a:gd name="connsiteX219" fmla="*/ 335090 w 765619"/>
                  <a:gd name="connsiteY219" fmla="*/ 939927 h 1090993"/>
                  <a:gd name="connsiteX220" fmla="*/ 343090 w 765619"/>
                  <a:gd name="connsiteY220" fmla="*/ 939927 h 1090993"/>
                  <a:gd name="connsiteX221" fmla="*/ 366998 w 765619"/>
                  <a:gd name="connsiteY221" fmla="*/ 931926 h 1090993"/>
                  <a:gd name="connsiteX222" fmla="*/ 382905 w 765619"/>
                  <a:gd name="connsiteY222" fmla="*/ 924020 h 1090993"/>
                  <a:gd name="connsiteX223" fmla="*/ 390906 w 765619"/>
                  <a:gd name="connsiteY223" fmla="*/ 916019 h 1090993"/>
                  <a:gd name="connsiteX224" fmla="*/ 422815 w 765619"/>
                  <a:gd name="connsiteY224" fmla="*/ 916019 h 1090993"/>
                  <a:gd name="connsiteX225" fmla="*/ 414814 w 765619"/>
                  <a:gd name="connsiteY225" fmla="*/ 924020 h 1090993"/>
                  <a:gd name="connsiteX226" fmla="*/ 398907 w 765619"/>
                  <a:gd name="connsiteY226" fmla="*/ 931926 h 1090993"/>
                  <a:gd name="connsiteX227" fmla="*/ 390906 w 765619"/>
                  <a:gd name="connsiteY227" fmla="*/ 947833 h 1090993"/>
                  <a:gd name="connsiteX228" fmla="*/ 374999 w 765619"/>
                  <a:gd name="connsiteY228" fmla="*/ 955738 h 1090993"/>
                  <a:gd name="connsiteX229" fmla="*/ 366998 w 765619"/>
                  <a:gd name="connsiteY229" fmla="*/ 963739 h 1090993"/>
                  <a:gd name="connsiteX230" fmla="*/ 279368 w 765619"/>
                  <a:gd name="connsiteY230" fmla="*/ 963739 h 1090993"/>
                  <a:gd name="connsiteX231" fmla="*/ 279368 w 765619"/>
                  <a:gd name="connsiteY231" fmla="*/ 979646 h 1090993"/>
                  <a:gd name="connsiteX232" fmla="*/ 263462 w 765619"/>
                  <a:gd name="connsiteY232" fmla="*/ 979646 h 1090993"/>
                  <a:gd name="connsiteX233" fmla="*/ 247555 w 765619"/>
                  <a:gd name="connsiteY233" fmla="*/ 987647 h 1090993"/>
                  <a:gd name="connsiteX234" fmla="*/ 239554 w 765619"/>
                  <a:gd name="connsiteY234" fmla="*/ 995553 h 1090993"/>
                  <a:gd name="connsiteX235" fmla="*/ 239554 w 765619"/>
                  <a:gd name="connsiteY235" fmla="*/ 1019461 h 1090993"/>
                  <a:gd name="connsiteX236" fmla="*/ 231553 w 765619"/>
                  <a:gd name="connsiteY236" fmla="*/ 1027462 h 1090993"/>
                  <a:gd name="connsiteX237" fmla="*/ 191738 w 765619"/>
                  <a:gd name="connsiteY237" fmla="*/ 1027462 h 1090993"/>
                  <a:gd name="connsiteX238" fmla="*/ 191738 w 765619"/>
                  <a:gd name="connsiteY238" fmla="*/ 1035368 h 1090993"/>
                  <a:gd name="connsiteX239" fmla="*/ 183737 w 765619"/>
                  <a:gd name="connsiteY239" fmla="*/ 1043368 h 1090993"/>
                  <a:gd name="connsiteX240" fmla="*/ 183737 w 765619"/>
                  <a:gd name="connsiteY240" fmla="*/ 1051274 h 1090993"/>
                  <a:gd name="connsiteX241" fmla="*/ 167830 w 765619"/>
                  <a:gd name="connsiteY241" fmla="*/ 1067181 h 1090993"/>
                  <a:gd name="connsiteX242" fmla="*/ 151924 w 765619"/>
                  <a:gd name="connsiteY242" fmla="*/ 1075087 h 1090993"/>
                  <a:gd name="connsiteX243" fmla="*/ 143923 w 765619"/>
                  <a:gd name="connsiteY243" fmla="*/ 1075087 h 1090993"/>
                  <a:gd name="connsiteX244" fmla="*/ 143923 w 765619"/>
                  <a:gd name="connsiteY244" fmla="*/ 1083088 h 1090993"/>
                  <a:gd name="connsiteX245" fmla="*/ 151924 w 765619"/>
                  <a:gd name="connsiteY245" fmla="*/ 1083088 h 1090993"/>
                  <a:gd name="connsiteX246" fmla="*/ 159925 w 765619"/>
                  <a:gd name="connsiteY246" fmla="*/ 1090993 h 1090993"/>
                  <a:gd name="connsiteX247" fmla="*/ 199739 w 765619"/>
                  <a:gd name="connsiteY247" fmla="*/ 1090993 h 1090993"/>
                  <a:gd name="connsiteX248" fmla="*/ 207740 w 765619"/>
                  <a:gd name="connsiteY248" fmla="*/ 1075087 h 1090993"/>
                  <a:gd name="connsiteX249" fmla="*/ 231648 w 765619"/>
                  <a:gd name="connsiteY249" fmla="*/ 1051179 h 1090993"/>
                  <a:gd name="connsiteX250" fmla="*/ 279464 w 765619"/>
                  <a:gd name="connsiteY250" fmla="*/ 1051179 h 1090993"/>
                  <a:gd name="connsiteX251" fmla="*/ 287465 w 765619"/>
                  <a:gd name="connsiteY251" fmla="*/ 1059180 h 1090993"/>
                  <a:gd name="connsiteX252" fmla="*/ 303371 w 765619"/>
                  <a:gd name="connsiteY252" fmla="*/ 1067181 h 1090993"/>
                  <a:gd name="connsiteX253" fmla="*/ 319278 w 765619"/>
                  <a:gd name="connsiteY253" fmla="*/ 1067181 h 1090993"/>
                  <a:gd name="connsiteX254" fmla="*/ 327279 w 765619"/>
                  <a:gd name="connsiteY254" fmla="*/ 1051274 h 1090993"/>
                  <a:gd name="connsiteX255" fmla="*/ 335280 w 765619"/>
                  <a:gd name="connsiteY255" fmla="*/ 1043368 h 1090993"/>
                  <a:gd name="connsiteX256" fmla="*/ 343281 w 765619"/>
                  <a:gd name="connsiteY256" fmla="*/ 1027462 h 1090993"/>
                  <a:gd name="connsiteX257" fmla="*/ 359188 w 765619"/>
                  <a:gd name="connsiteY257" fmla="*/ 1011555 h 1090993"/>
                  <a:gd name="connsiteX258" fmla="*/ 383096 w 765619"/>
                  <a:gd name="connsiteY258" fmla="*/ 1011555 h 1090993"/>
                  <a:gd name="connsiteX259" fmla="*/ 399002 w 765619"/>
                  <a:gd name="connsiteY259" fmla="*/ 1027462 h 1090993"/>
                  <a:gd name="connsiteX260" fmla="*/ 438817 w 765619"/>
                  <a:gd name="connsiteY260" fmla="*/ 1027462 h 1090993"/>
                  <a:gd name="connsiteX261" fmla="*/ 470725 w 765619"/>
                  <a:gd name="connsiteY261" fmla="*/ 1011555 h 1090993"/>
                  <a:gd name="connsiteX262" fmla="*/ 478727 w 765619"/>
                  <a:gd name="connsiteY262" fmla="*/ 1011555 h 1090993"/>
                  <a:gd name="connsiteX263" fmla="*/ 486728 w 765619"/>
                  <a:gd name="connsiteY263" fmla="*/ 1019556 h 1090993"/>
                  <a:gd name="connsiteX264" fmla="*/ 502634 w 765619"/>
                  <a:gd name="connsiteY264" fmla="*/ 1019556 h 1090993"/>
                  <a:gd name="connsiteX265" fmla="*/ 518541 w 765619"/>
                  <a:gd name="connsiteY265" fmla="*/ 1027557 h 1090993"/>
                  <a:gd name="connsiteX266" fmla="*/ 526542 w 765619"/>
                  <a:gd name="connsiteY266" fmla="*/ 1027557 h 1090993"/>
                  <a:gd name="connsiteX267" fmla="*/ 526542 w 765619"/>
                  <a:gd name="connsiteY267" fmla="*/ 1019556 h 1090993"/>
                  <a:gd name="connsiteX268" fmla="*/ 518541 w 765619"/>
                  <a:gd name="connsiteY268" fmla="*/ 1011555 h 1090993"/>
                  <a:gd name="connsiteX269" fmla="*/ 518541 w 765619"/>
                  <a:gd name="connsiteY269" fmla="*/ 995648 h 1090993"/>
                  <a:gd name="connsiteX270" fmla="*/ 526542 w 765619"/>
                  <a:gd name="connsiteY270" fmla="*/ 995648 h 1090993"/>
                  <a:gd name="connsiteX271" fmla="*/ 542449 w 765619"/>
                  <a:gd name="connsiteY271" fmla="*/ 1003649 h 1090993"/>
                  <a:gd name="connsiteX272" fmla="*/ 550450 w 765619"/>
                  <a:gd name="connsiteY272" fmla="*/ 1011555 h 1090993"/>
                  <a:gd name="connsiteX273" fmla="*/ 566357 w 765619"/>
                  <a:gd name="connsiteY273" fmla="*/ 1003649 h 1090993"/>
                  <a:gd name="connsiteX274" fmla="*/ 661988 w 765619"/>
                  <a:gd name="connsiteY274" fmla="*/ 1003649 h 1090993"/>
                  <a:gd name="connsiteX275" fmla="*/ 693896 w 765619"/>
                  <a:gd name="connsiteY275" fmla="*/ 995648 h 1090993"/>
                  <a:gd name="connsiteX276" fmla="*/ 709803 w 765619"/>
                  <a:gd name="connsiteY276" fmla="*/ 987743 h 1090993"/>
                  <a:gd name="connsiteX277" fmla="*/ 717804 w 765619"/>
                  <a:gd name="connsiteY277" fmla="*/ 971836 h 1090993"/>
                  <a:gd name="connsiteX278" fmla="*/ 725805 w 765619"/>
                  <a:gd name="connsiteY278" fmla="*/ 963930 h 1090993"/>
                  <a:gd name="connsiteX279" fmla="*/ 733806 w 765619"/>
                  <a:gd name="connsiteY279" fmla="*/ 948023 h 1090993"/>
                  <a:gd name="connsiteX280" fmla="*/ 662083 w 765619"/>
                  <a:gd name="connsiteY280" fmla="*/ 940022 h 1090993"/>
                  <a:gd name="connsiteX281" fmla="*/ 693992 w 765619"/>
                  <a:gd name="connsiteY281" fmla="*/ 932021 h 1090993"/>
                  <a:gd name="connsiteX282" fmla="*/ 685990 w 765619"/>
                  <a:gd name="connsiteY282" fmla="*/ 908113 h 1090993"/>
                  <a:gd name="connsiteX283" fmla="*/ 701897 w 765619"/>
                  <a:gd name="connsiteY283" fmla="*/ 892207 h 1090993"/>
                  <a:gd name="connsiteX284" fmla="*/ 717804 w 765619"/>
                  <a:gd name="connsiteY284" fmla="*/ 884301 h 1090993"/>
                  <a:gd name="connsiteX285" fmla="*/ 725805 w 765619"/>
                  <a:gd name="connsiteY285" fmla="*/ 884301 h 1090993"/>
                  <a:gd name="connsiteX286" fmla="*/ 741712 w 765619"/>
                  <a:gd name="connsiteY286" fmla="*/ 876300 h 1090993"/>
                  <a:gd name="connsiteX287" fmla="*/ 749713 w 765619"/>
                  <a:gd name="connsiteY287" fmla="*/ 868394 h 1090993"/>
                  <a:gd name="connsiteX288" fmla="*/ 765620 w 765619"/>
                  <a:gd name="connsiteY288" fmla="*/ 820579 h 1090993"/>
                  <a:gd name="connsiteX289" fmla="*/ 757619 w 765619"/>
                  <a:gd name="connsiteY289" fmla="*/ 804672 h 1090993"/>
                  <a:gd name="connsiteX290" fmla="*/ 749618 w 765619"/>
                  <a:gd name="connsiteY290" fmla="*/ 796671 h 1090993"/>
                  <a:gd name="connsiteX291" fmla="*/ 733711 w 765619"/>
                  <a:gd name="connsiteY291" fmla="*/ 788765 h 1090993"/>
                  <a:gd name="connsiteX292" fmla="*/ 717804 w 765619"/>
                  <a:gd name="connsiteY292" fmla="*/ 788765 h 1090993"/>
                  <a:gd name="connsiteX293" fmla="*/ 701897 w 765619"/>
                  <a:gd name="connsiteY293" fmla="*/ 780764 h 1090993"/>
                  <a:gd name="connsiteX294" fmla="*/ 669988 w 765619"/>
                  <a:gd name="connsiteY294" fmla="*/ 780764 h 1090993"/>
                  <a:gd name="connsiteX295" fmla="*/ 255270 w 765619"/>
                  <a:gd name="connsiteY295" fmla="*/ 533400 h 1090993"/>
                  <a:gd name="connsiteX296" fmla="*/ 255270 w 765619"/>
                  <a:gd name="connsiteY296" fmla="*/ 517493 h 1090993"/>
                  <a:gd name="connsiteX297" fmla="*/ 247269 w 765619"/>
                  <a:gd name="connsiteY297" fmla="*/ 509588 h 1090993"/>
                  <a:gd name="connsiteX298" fmla="*/ 247269 w 765619"/>
                  <a:gd name="connsiteY298" fmla="*/ 501587 h 1090993"/>
                  <a:gd name="connsiteX299" fmla="*/ 231362 w 765619"/>
                  <a:gd name="connsiteY299" fmla="*/ 517493 h 1090993"/>
                  <a:gd name="connsiteX300" fmla="*/ 231362 w 765619"/>
                  <a:gd name="connsiteY300" fmla="*/ 525494 h 1090993"/>
                  <a:gd name="connsiteX301" fmla="*/ 239363 w 765619"/>
                  <a:gd name="connsiteY301" fmla="*/ 533400 h 1090993"/>
                  <a:gd name="connsiteX302" fmla="*/ 255270 w 765619"/>
                  <a:gd name="connsiteY302" fmla="*/ 533400 h 1090993"/>
                  <a:gd name="connsiteX303" fmla="*/ 454533 w 765619"/>
                  <a:gd name="connsiteY303" fmla="*/ 183166 h 1090993"/>
                  <a:gd name="connsiteX304" fmla="*/ 454533 w 765619"/>
                  <a:gd name="connsiteY304" fmla="*/ 199072 h 1090993"/>
                  <a:gd name="connsiteX305" fmla="*/ 470440 w 765619"/>
                  <a:gd name="connsiteY305" fmla="*/ 183166 h 1090993"/>
                  <a:gd name="connsiteX306" fmla="*/ 454533 w 765619"/>
                  <a:gd name="connsiteY306" fmla="*/ 183166 h 1090993"/>
                  <a:gd name="connsiteX307" fmla="*/ 574072 w 765619"/>
                  <a:gd name="connsiteY307" fmla="*/ 63722 h 1090993"/>
                  <a:gd name="connsiteX308" fmla="*/ 574072 w 765619"/>
                  <a:gd name="connsiteY308" fmla="*/ 87630 h 1090993"/>
                  <a:gd name="connsiteX309" fmla="*/ 582073 w 765619"/>
                  <a:gd name="connsiteY309" fmla="*/ 87630 h 1090993"/>
                  <a:gd name="connsiteX310" fmla="*/ 590074 w 765619"/>
                  <a:gd name="connsiteY310" fmla="*/ 79629 h 1090993"/>
                  <a:gd name="connsiteX311" fmla="*/ 598075 w 765619"/>
                  <a:gd name="connsiteY311" fmla="*/ 63722 h 1090993"/>
                  <a:gd name="connsiteX312" fmla="*/ 598075 w 765619"/>
                  <a:gd name="connsiteY312" fmla="*/ 31909 h 1090993"/>
                  <a:gd name="connsiteX313" fmla="*/ 582168 w 765619"/>
                  <a:gd name="connsiteY313" fmla="*/ 16002 h 1090993"/>
                  <a:gd name="connsiteX314" fmla="*/ 574167 w 765619"/>
                  <a:gd name="connsiteY314" fmla="*/ 31909 h 1090993"/>
                  <a:gd name="connsiteX315" fmla="*/ 566166 w 765619"/>
                  <a:gd name="connsiteY315" fmla="*/ 39814 h 1090993"/>
                  <a:gd name="connsiteX316" fmla="*/ 558165 w 765619"/>
                  <a:gd name="connsiteY316" fmla="*/ 39814 h 1090993"/>
                  <a:gd name="connsiteX317" fmla="*/ 558165 w 765619"/>
                  <a:gd name="connsiteY317" fmla="*/ 55721 h 1090993"/>
                  <a:gd name="connsiteX318" fmla="*/ 566166 w 765619"/>
                  <a:gd name="connsiteY318" fmla="*/ 55721 h 1090993"/>
                  <a:gd name="connsiteX319" fmla="*/ 574167 w 765619"/>
                  <a:gd name="connsiteY319" fmla="*/ 63722 h 1090993"/>
                  <a:gd name="connsiteX320" fmla="*/ 629888 w 765619"/>
                  <a:gd name="connsiteY320" fmla="*/ 0 h 1090993"/>
                  <a:gd name="connsiteX321" fmla="*/ 621887 w 765619"/>
                  <a:gd name="connsiteY321" fmla="*/ 0 h 1090993"/>
                  <a:gd name="connsiteX322" fmla="*/ 605885 w 765619"/>
                  <a:gd name="connsiteY322" fmla="*/ 15907 h 1090993"/>
                  <a:gd name="connsiteX323" fmla="*/ 629793 w 765619"/>
                  <a:gd name="connsiteY323" fmla="*/ 15907 h 1090993"/>
                  <a:gd name="connsiteX324" fmla="*/ 629793 w 765619"/>
                  <a:gd name="connsiteY324" fmla="*/ 8001 h 1090993"/>
                  <a:gd name="connsiteX325" fmla="*/ 637794 w 765619"/>
                  <a:gd name="connsiteY325" fmla="*/ 0 h 1090993"/>
                  <a:gd name="connsiteX326" fmla="*/ 629793 w 765619"/>
                  <a:gd name="connsiteY326" fmla="*/ 0 h 1090993"/>
                  <a:gd name="connsiteX327" fmla="*/ 183547 w 765619"/>
                  <a:gd name="connsiteY327" fmla="*/ 342329 h 1090993"/>
                  <a:gd name="connsiteX328" fmla="*/ 183547 w 765619"/>
                  <a:gd name="connsiteY328" fmla="*/ 310515 h 1090993"/>
                  <a:gd name="connsiteX329" fmla="*/ 167640 w 765619"/>
                  <a:gd name="connsiteY329" fmla="*/ 310515 h 1090993"/>
                  <a:gd name="connsiteX330" fmla="*/ 159639 w 765619"/>
                  <a:gd name="connsiteY330" fmla="*/ 318421 h 1090993"/>
                  <a:gd name="connsiteX331" fmla="*/ 159639 w 765619"/>
                  <a:gd name="connsiteY331" fmla="*/ 326422 h 1090993"/>
                  <a:gd name="connsiteX332" fmla="*/ 167640 w 765619"/>
                  <a:gd name="connsiteY332" fmla="*/ 334327 h 1090993"/>
                  <a:gd name="connsiteX333" fmla="*/ 143732 w 765619"/>
                  <a:gd name="connsiteY333" fmla="*/ 334327 h 1090993"/>
                  <a:gd name="connsiteX334" fmla="*/ 143732 w 765619"/>
                  <a:gd name="connsiteY334" fmla="*/ 342329 h 1090993"/>
                  <a:gd name="connsiteX335" fmla="*/ 151733 w 765619"/>
                  <a:gd name="connsiteY335" fmla="*/ 350330 h 1090993"/>
                  <a:gd name="connsiteX336" fmla="*/ 159734 w 765619"/>
                  <a:gd name="connsiteY336" fmla="*/ 350330 h 1090993"/>
                  <a:gd name="connsiteX337" fmla="*/ 167735 w 765619"/>
                  <a:gd name="connsiteY337" fmla="*/ 358235 h 1090993"/>
                  <a:gd name="connsiteX338" fmla="*/ 199644 w 765619"/>
                  <a:gd name="connsiteY338" fmla="*/ 358235 h 1090993"/>
                  <a:gd name="connsiteX339" fmla="*/ 183737 w 765619"/>
                  <a:gd name="connsiteY339" fmla="*/ 342329 h 1090993"/>
                  <a:gd name="connsiteX340" fmla="*/ 438626 w 765619"/>
                  <a:gd name="connsiteY340" fmla="*/ 159258 h 1090993"/>
                  <a:gd name="connsiteX341" fmla="*/ 430625 w 765619"/>
                  <a:gd name="connsiteY341" fmla="*/ 159258 h 1090993"/>
                  <a:gd name="connsiteX342" fmla="*/ 422624 w 765619"/>
                  <a:gd name="connsiteY342" fmla="*/ 167259 h 1090993"/>
                  <a:gd name="connsiteX343" fmla="*/ 422624 w 765619"/>
                  <a:gd name="connsiteY343" fmla="*/ 183166 h 1090993"/>
                  <a:gd name="connsiteX344" fmla="*/ 438531 w 765619"/>
                  <a:gd name="connsiteY344" fmla="*/ 183166 h 1090993"/>
                  <a:gd name="connsiteX345" fmla="*/ 446532 w 765619"/>
                  <a:gd name="connsiteY345" fmla="*/ 167259 h 1090993"/>
                  <a:gd name="connsiteX346" fmla="*/ 438531 w 765619"/>
                  <a:gd name="connsiteY346" fmla="*/ 159258 h 1090993"/>
                  <a:gd name="connsiteX347" fmla="*/ 151733 w 765619"/>
                  <a:gd name="connsiteY347" fmla="*/ 517493 h 1090993"/>
                  <a:gd name="connsiteX348" fmla="*/ 167640 w 765619"/>
                  <a:gd name="connsiteY348" fmla="*/ 517493 h 1090993"/>
                  <a:gd name="connsiteX349" fmla="*/ 183547 w 765619"/>
                  <a:gd name="connsiteY349" fmla="*/ 509588 h 1090993"/>
                  <a:gd name="connsiteX350" fmla="*/ 183547 w 765619"/>
                  <a:gd name="connsiteY350" fmla="*/ 493681 h 1090993"/>
                  <a:gd name="connsiteX351" fmla="*/ 175546 w 765619"/>
                  <a:gd name="connsiteY351" fmla="*/ 485775 h 1090993"/>
                  <a:gd name="connsiteX352" fmla="*/ 159639 w 765619"/>
                  <a:gd name="connsiteY352" fmla="*/ 485775 h 1090993"/>
                  <a:gd name="connsiteX353" fmla="*/ 151638 w 765619"/>
                  <a:gd name="connsiteY353" fmla="*/ 493681 h 1090993"/>
                  <a:gd name="connsiteX354" fmla="*/ 143637 w 765619"/>
                  <a:gd name="connsiteY354" fmla="*/ 509588 h 1090993"/>
                  <a:gd name="connsiteX355" fmla="*/ 143637 w 765619"/>
                  <a:gd name="connsiteY355" fmla="*/ 517493 h 1090993"/>
                  <a:gd name="connsiteX356" fmla="*/ 151638 w 765619"/>
                  <a:gd name="connsiteY356" fmla="*/ 517493 h 1090993"/>
                  <a:gd name="connsiteX357" fmla="*/ 175641 w 765619"/>
                  <a:gd name="connsiteY357" fmla="*/ 413956 h 1090993"/>
                  <a:gd name="connsiteX358" fmla="*/ 167640 w 765619"/>
                  <a:gd name="connsiteY358" fmla="*/ 413956 h 1090993"/>
                  <a:gd name="connsiteX359" fmla="*/ 167640 w 765619"/>
                  <a:gd name="connsiteY359" fmla="*/ 445770 h 1090993"/>
                  <a:gd name="connsiteX360" fmla="*/ 175641 w 765619"/>
                  <a:gd name="connsiteY360" fmla="*/ 445770 h 1090993"/>
                  <a:gd name="connsiteX361" fmla="*/ 183642 w 765619"/>
                  <a:gd name="connsiteY361" fmla="*/ 437769 h 1090993"/>
                  <a:gd name="connsiteX362" fmla="*/ 199549 w 765619"/>
                  <a:gd name="connsiteY362" fmla="*/ 437769 h 1090993"/>
                  <a:gd name="connsiteX363" fmla="*/ 191548 w 765619"/>
                  <a:gd name="connsiteY363" fmla="*/ 421862 h 1090993"/>
                  <a:gd name="connsiteX364" fmla="*/ 183547 w 765619"/>
                  <a:gd name="connsiteY364" fmla="*/ 413861 h 1090993"/>
                  <a:gd name="connsiteX365" fmla="*/ 175546 w 765619"/>
                  <a:gd name="connsiteY365" fmla="*/ 413861 h 1090993"/>
                  <a:gd name="connsiteX366" fmla="*/ 215455 w 765619"/>
                  <a:gd name="connsiteY366" fmla="*/ 501491 h 1090993"/>
                  <a:gd name="connsiteX367" fmla="*/ 207454 w 765619"/>
                  <a:gd name="connsiteY367" fmla="*/ 501491 h 1090993"/>
                  <a:gd name="connsiteX368" fmla="*/ 199453 w 765619"/>
                  <a:gd name="connsiteY368" fmla="*/ 509492 h 1090993"/>
                  <a:gd name="connsiteX369" fmla="*/ 199453 w 765619"/>
                  <a:gd name="connsiteY369" fmla="*/ 525399 h 1090993"/>
                  <a:gd name="connsiteX370" fmla="*/ 191452 w 765619"/>
                  <a:gd name="connsiteY370" fmla="*/ 549307 h 1090993"/>
                  <a:gd name="connsiteX371" fmla="*/ 207359 w 765619"/>
                  <a:gd name="connsiteY371" fmla="*/ 533400 h 1090993"/>
                  <a:gd name="connsiteX372" fmla="*/ 215360 w 765619"/>
                  <a:gd name="connsiteY372" fmla="*/ 517493 h 1090993"/>
                  <a:gd name="connsiteX373" fmla="*/ 215360 w 765619"/>
                  <a:gd name="connsiteY373" fmla="*/ 501587 h 109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765619" h="1090993">
                    <a:moveTo>
                      <a:pt x="95822" y="334327"/>
                    </a:moveTo>
                    <a:lnTo>
                      <a:pt x="79915" y="374142"/>
                    </a:lnTo>
                    <a:lnTo>
                      <a:pt x="103823" y="342329"/>
                    </a:lnTo>
                    <a:lnTo>
                      <a:pt x="95822" y="334327"/>
                    </a:lnTo>
                    <a:close/>
                    <a:moveTo>
                      <a:pt x="143637" y="278606"/>
                    </a:moveTo>
                    <a:lnTo>
                      <a:pt x="167545" y="278606"/>
                    </a:lnTo>
                    <a:lnTo>
                      <a:pt x="175546" y="270700"/>
                    </a:lnTo>
                    <a:lnTo>
                      <a:pt x="175546" y="262700"/>
                    </a:lnTo>
                    <a:lnTo>
                      <a:pt x="183547" y="246793"/>
                    </a:lnTo>
                    <a:lnTo>
                      <a:pt x="199453" y="230886"/>
                    </a:lnTo>
                    <a:lnTo>
                      <a:pt x="199453" y="222885"/>
                    </a:lnTo>
                    <a:lnTo>
                      <a:pt x="183547" y="230886"/>
                    </a:lnTo>
                    <a:lnTo>
                      <a:pt x="175546" y="230886"/>
                    </a:lnTo>
                    <a:lnTo>
                      <a:pt x="151638" y="254794"/>
                    </a:lnTo>
                    <a:lnTo>
                      <a:pt x="143637" y="246888"/>
                    </a:lnTo>
                    <a:lnTo>
                      <a:pt x="127730" y="246888"/>
                    </a:lnTo>
                    <a:lnTo>
                      <a:pt x="119729" y="254794"/>
                    </a:lnTo>
                    <a:lnTo>
                      <a:pt x="119729" y="278701"/>
                    </a:lnTo>
                    <a:lnTo>
                      <a:pt x="127730" y="286702"/>
                    </a:lnTo>
                    <a:lnTo>
                      <a:pt x="127730" y="302609"/>
                    </a:lnTo>
                    <a:lnTo>
                      <a:pt x="143637" y="278701"/>
                    </a:lnTo>
                    <a:close/>
                    <a:moveTo>
                      <a:pt x="103823" y="302514"/>
                    </a:moveTo>
                    <a:lnTo>
                      <a:pt x="95822" y="302514"/>
                    </a:lnTo>
                    <a:lnTo>
                      <a:pt x="87821" y="310515"/>
                    </a:lnTo>
                    <a:lnTo>
                      <a:pt x="87821" y="318421"/>
                    </a:lnTo>
                    <a:lnTo>
                      <a:pt x="111728" y="318421"/>
                    </a:lnTo>
                    <a:lnTo>
                      <a:pt x="111728" y="302514"/>
                    </a:lnTo>
                    <a:lnTo>
                      <a:pt x="103727" y="302514"/>
                    </a:lnTo>
                    <a:close/>
                    <a:moveTo>
                      <a:pt x="167545" y="668750"/>
                    </a:moveTo>
                    <a:lnTo>
                      <a:pt x="175546" y="660749"/>
                    </a:lnTo>
                    <a:lnTo>
                      <a:pt x="175546" y="652748"/>
                    </a:lnTo>
                    <a:lnTo>
                      <a:pt x="191452" y="652748"/>
                    </a:lnTo>
                    <a:lnTo>
                      <a:pt x="199453" y="636842"/>
                    </a:lnTo>
                    <a:lnTo>
                      <a:pt x="207454" y="628936"/>
                    </a:lnTo>
                    <a:lnTo>
                      <a:pt x="207454" y="613029"/>
                    </a:lnTo>
                    <a:lnTo>
                      <a:pt x="183547" y="589121"/>
                    </a:lnTo>
                    <a:lnTo>
                      <a:pt x="183547" y="573214"/>
                    </a:lnTo>
                    <a:lnTo>
                      <a:pt x="175546" y="581216"/>
                    </a:lnTo>
                    <a:lnTo>
                      <a:pt x="167545" y="565309"/>
                    </a:lnTo>
                    <a:lnTo>
                      <a:pt x="159544" y="557308"/>
                    </a:lnTo>
                    <a:lnTo>
                      <a:pt x="103727" y="557308"/>
                    </a:lnTo>
                    <a:lnTo>
                      <a:pt x="95726" y="565309"/>
                    </a:lnTo>
                    <a:lnTo>
                      <a:pt x="39910" y="597122"/>
                    </a:lnTo>
                    <a:lnTo>
                      <a:pt x="39910" y="613029"/>
                    </a:lnTo>
                    <a:lnTo>
                      <a:pt x="31909" y="613029"/>
                    </a:lnTo>
                    <a:lnTo>
                      <a:pt x="23908" y="621030"/>
                    </a:lnTo>
                    <a:lnTo>
                      <a:pt x="15907" y="621030"/>
                    </a:lnTo>
                    <a:lnTo>
                      <a:pt x="0" y="636937"/>
                    </a:lnTo>
                    <a:lnTo>
                      <a:pt x="8001" y="644938"/>
                    </a:lnTo>
                    <a:lnTo>
                      <a:pt x="39910" y="660845"/>
                    </a:lnTo>
                    <a:lnTo>
                      <a:pt x="55817" y="660845"/>
                    </a:lnTo>
                    <a:lnTo>
                      <a:pt x="87725" y="629031"/>
                    </a:lnTo>
                    <a:lnTo>
                      <a:pt x="111633" y="660845"/>
                    </a:lnTo>
                    <a:lnTo>
                      <a:pt x="159448" y="668846"/>
                    </a:lnTo>
                    <a:lnTo>
                      <a:pt x="167449" y="668846"/>
                    </a:lnTo>
                    <a:close/>
                    <a:moveTo>
                      <a:pt x="295085" y="644843"/>
                    </a:moveTo>
                    <a:lnTo>
                      <a:pt x="287084" y="636842"/>
                    </a:lnTo>
                    <a:lnTo>
                      <a:pt x="271177" y="636842"/>
                    </a:lnTo>
                    <a:lnTo>
                      <a:pt x="271177" y="644843"/>
                    </a:lnTo>
                    <a:lnTo>
                      <a:pt x="263176" y="660749"/>
                    </a:lnTo>
                    <a:lnTo>
                      <a:pt x="255175" y="668750"/>
                    </a:lnTo>
                    <a:lnTo>
                      <a:pt x="279083" y="668750"/>
                    </a:lnTo>
                    <a:lnTo>
                      <a:pt x="294989" y="652843"/>
                    </a:lnTo>
                    <a:lnTo>
                      <a:pt x="294989" y="644938"/>
                    </a:lnTo>
                    <a:close/>
                    <a:moveTo>
                      <a:pt x="669703" y="780193"/>
                    </a:moveTo>
                    <a:lnTo>
                      <a:pt x="661702" y="788194"/>
                    </a:lnTo>
                    <a:lnTo>
                      <a:pt x="661702" y="796100"/>
                    </a:lnTo>
                    <a:lnTo>
                      <a:pt x="637794" y="796100"/>
                    </a:lnTo>
                    <a:lnTo>
                      <a:pt x="637794" y="780193"/>
                    </a:lnTo>
                    <a:lnTo>
                      <a:pt x="645795" y="764286"/>
                    </a:lnTo>
                    <a:lnTo>
                      <a:pt x="661702" y="748379"/>
                    </a:lnTo>
                    <a:lnTo>
                      <a:pt x="653701" y="740378"/>
                    </a:lnTo>
                    <a:lnTo>
                      <a:pt x="605885" y="716471"/>
                    </a:lnTo>
                    <a:lnTo>
                      <a:pt x="597884" y="716471"/>
                    </a:lnTo>
                    <a:lnTo>
                      <a:pt x="589883" y="708565"/>
                    </a:lnTo>
                    <a:lnTo>
                      <a:pt x="597884" y="708565"/>
                    </a:lnTo>
                    <a:lnTo>
                      <a:pt x="605885" y="700564"/>
                    </a:lnTo>
                    <a:lnTo>
                      <a:pt x="637794" y="700564"/>
                    </a:lnTo>
                    <a:lnTo>
                      <a:pt x="621887" y="684657"/>
                    </a:lnTo>
                    <a:lnTo>
                      <a:pt x="621887" y="676656"/>
                    </a:lnTo>
                    <a:lnTo>
                      <a:pt x="605885" y="660749"/>
                    </a:lnTo>
                    <a:lnTo>
                      <a:pt x="597884" y="644843"/>
                    </a:lnTo>
                    <a:lnTo>
                      <a:pt x="573977" y="620935"/>
                    </a:lnTo>
                    <a:lnTo>
                      <a:pt x="558070" y="620935"/>
                    </a:lnTo>
                    <a:lnTo>
                      <a:pt x="550069" y="605028"/>
                    </a:lnTo>
                    <a:lnTo>
                      <a:pt x="534162" y="597027"/>
                    </a:lnTo>
                    <a:lnTo>
                      <a:pt x="518255" y="581120"/>
                    </a:lnTo>
                    <a:lnTo>
                      <a:pt x="518255" y="549307"/>
                    </a:lnTo>
                    <a:lnTo>
                      <a:pt x="526256" y="533400"/>
                    </a:lnTo>
                    <a:lnTo>
                      <a:pt x="526256" y="517493"/>
                    </a:lnTo>
                    <a:lnTo>
                      <a:pt x="510350" y="517493"/>
                    </a:lnTo>
                    <a:lnTo>
                      <a:pt x="502348" y="509588"/>
                    </a:lnTo>
                    <a:lnTo>
                      <a:pt x="494348" y="493681"/>
                    </a:lnTo>
                    <a:lnTo>
                      <a:pt x="478441" y="477774"/>
                    </a:lnTo>
                    <a:lnTo>
                      <a:pt x="454533" y="469868"/>
                    </a:lnTo>
                    <a:lnTo>
                      <a:pt x="430625" y="469868"/>
                    </a:lnTo>
                    <a:lnTo>
                      <a:pt x="406717" y="477774"/>
                    </a:lnTo>
                    <a:lnTo>
                      <a:pt x="390811" y="485775"/>
                    </a:lnTo>
                    <a:lnTo>
                      <a:pt x="382810" y="485775"/>
                    </a:lnTo>
                    <a:lnTo>
                      <a:pt x="358902" y="461867"/>
                    </a:lnTo>
                    <a:lnTo>
                      <a:pt x="374809" y="461867"/>
                    </a:lnTo>
                    <a:lnTo>
                      <a:pt x="390715" y="469868"/>
                    </a:lnTo>
                    <a:lnTo>
                      <a:pt x="406622" y="469868"/>
                    </a:lnTo>
                    <a:lnTo>
                      <a:pt x="438531" y="453962"/>
                    </a:lnTo>
                    <a:lnTo>
                      <a:pt x="446532" y="446056"/>
                    </a:lnTo>
                    <a:lnTo>
                      <a:pt x="438531" y="446056"/>
                    </a:lnTo>
                    <a:lnTo>
                      <a:pt x="430530" y="438055"/>
                    </a:lnTo>
                    <a:lnTo>
                      <a:pt x="406622" y="438055"/>
                    </a:lnTo>
                    <a:lnTo>
                      <a:pt x="438531" y="430149"/>
                    </a:lnTo>
                    <a:lnTo>
                      <a:pt x="446532" y="422148"/>
                    </a:lnTo>
                    <a:lnTo>
                      <a:pt x="462439" y="414147"/>
                    </a:lnTo>
                    <a:lnTo>
                      <a:pt x="478346" y="398240"/>
                    </a:lnTo>
                    <a:lnTo>
                      <a:pt x="478346" y="382334"/>
                    </a:lnTo>
                    <a:lnTo>
                      <a:pt x="486346" y="366427"/>
                    </a:lnTo>
                    <a:lnTo>
                      <a:pt x="494348" y="358426"/>
                    </a:lnTo>
                    <a:lnTo>
                      <a:pt x="502348" y="342519"/>
                    </a:lnTo>
                    <a:lnTo>
                      <a:pt x="510350" y="334518"/>
                    </a:lnTo>
                    <a:lnTo>
                      <a:pt x="526256" y="326612"/>
                    </a:lnTo>
                    <a:lnTo>
                      <a:pt x="534257" y="326612"/>
                    </a:lnTo>
                    <a:lnTo>
                      <a:pt x="534257" y="318611"/>
                    </a:lnTo>
                    <a:lnTo>
                      <a:pt x="526256" y="310705"/>
                    </a:lnTo>
                    <a:lnTo>
                      <a:pt x="422624" y="310705"/>
                    </a:lnTo>
                    <a:lnTo>
                      <a:pt x="422624" y="302705"/>
                    </a:lnTo>
                    <a:lnTo>
                      <a:pt x="382810" y="302705"/>
                    </a:lnTo>
                    <a:lnTo>
                      <a:pt x="366903" y="310705"/>
                    </a:lnTo>
                    <a:lnTo>
                      <a:pt x="350996" y="310705"/>
                    </a:lnTo>
                    <a:lnTo>
                      <a:pt x="342995" y="318611"/>
                    </a:lnTo>
                    <a:lnTo>
                      <a:pt x="334994" y="318611"/>
                    </a:lnTo>
                    <a:lnTo>
                      <a:pt x="350901" y="302705"/>
                    </a:lnTo>
                    <a:lnTo>
                      <a:pt x="334994" y="286798"/>
                    </a:lnTo>
                    <a:lnTo>
                      <a:pt x="358902" y="278797"/>
                    </a:lnTo>
                    <a:lnTo>
                      <a:pt x="398717" y="254889"/>
                    </a:lnTo>
                    <a:lnTo>
                      <a:pt x="414623" y="246983"/>
                    </a:lnTo>
                    <a:lnTo>
                      <a:pt x="430530" y="215170"/>
                    </a:lnTo>
                    <a:lnTo>
                      <a:pt x="422529" y="207264"/>
                    </a:lnTo>
                    <a:lnTo>
                      <a:pt x="382715" y="207264"/>
                    </a:lnTo>
                    <a:lnTo>
                      <a:pt x="366808" y="215170"/>
                    </a:lnTo>
                    <a:lnTo>
                      <a:pt x="342900" y="223171"/>
                    </a:lnTo>
                    <a:lnTo>
                      <a:pt x="318992" y="223171"/>
                    </a:lnTo>
                    <a:lnTo>
                      <a:pt x="303086" y="215170"/>
                    </a:lnTo>
                    <a:lnTo>
                      <a:pt x="287179" y="215170"/>
                    </a:lnTo>
                    <a:lnTo>
                      <a:pt x="279178" y="223171"/>
                    </a:lnTo>
                    <a:lnTo>
                      <a:pt x="279178" y="231172"/>
                    </a:lnTo>
                    <a:lnTo>
                      <a:pt x="287179" y="239077"/>
                    </a:lnTo>
                    <a:lnTo>
                      <a:pt x="271272" y="239077"/>
                    </a:lnTo>
                    <a:lnTo>
                      <a:pt x="255365" y="254984"/>
                    </a:lnTo>
                    <a:lnTo>
                      <a:pt x="255365" y="278892"/>
                    </a:lnTo>
                    <a:lnTo>
                      <a:pt x="263366" y="286893"/>
                    </a:lnTo>
                    <a:lnTo>
                      <a:pt x="207550" y="294799"/>
                    </a:lnTo>
                    <a:lnTo>
                      <a:pt x="207550" y="310705"/>
                    </a:lnTo>
                    <a:lnTo>
                      <a:pt x="223456" y="318611"/>
                    </a:lnTo>
                    <a:lnTo>
                      <a:pt x="239363" y="350425"/>
                    </a:lnTo>
                    <a:lnTo>
                      <a:pt x="215455" y="374333"/>
                    </a:lnTo>
                    <a:lnTo>
                      <a:pt x="215455" y="390239"/>
                    </a:lnTo>
                    <a:lnTo>
                      <a:pt x="191548" y="398145"/>
                    </a:lnTo>
                    <a:lnTo>
                      <a:pt x="207454" y="414052"/>
                    </a:lnTo>
                    <a:lnTo>
                      <a:pt x="223361" y="414052"/>
                    </a:lnTo>
                    <a:lnTo>
                      <a:pt x="239268" y="406146"/>
                    </a:lnTo>
                    <a:lnTo>
                      <a:pt x="247269" y="398145"/>
                    </a:lnTo>
                    <a:lnTo>
                      <a:pt x="247269" y="422053"/>
                    </a:lnTo>
                    <a:lnTo>
                      <a:pt x="239268" y="422053"/>
                    </a:lnTo>
                    <a:lnTo>
                      <a:pt x="223361" y="437959"/>
                    </a:lnTo>
                    <a:lnTo>
                      <a:pt x="207454" y="445960"/>
                    </a:lnTo>
                    <a:lnTo>
                      <a:pt x="207454" y="477774"/>
                    </a:lnTo>
                    <a:lnTo>
                      <a:pt x="215455" y="493681"/>
                    </a:lnTo>
                    <a:lnTo>
                      <a:pt x="223456" y="485775"/>
                    </a:lnTo>
                    <a:lnTo>
                      <a:pt x="263271" y="485775"/>
                    </a:lnTo>
                    <a:lnTo>
                      <a:pt x="279178" y="477774"/>
                    </a:lnTo>
                    <a:lnTo>
                      <a:pt x="287179" y="469868"/>
                    </a:lnTo>
                    <a:lnTo>
                      <a:pt x="263271" y="493776"/>
                    </a:lnTo>
                    <a:lnTo>
                      <a:pt x="279178" y="533591"/>
                    </a:lnTo>
                    <a:lnTo>
                      <a:pt x="271177" y="541592"/>
                    </a:lnTo>
                    <a:lnTo>
                      <a:pt x="263176" y="557498"/>
                    </a:lnTo>
                    <a:lnTo>
                      <a:pt x="247269" y="565499"/>
                    </a:lnTo>
                    <a:lnTo>
                      <a:pt x="239268" y="581406"/>
                    </a:lnTo>
                    <a:lnTo>
                      <a:pt x="239268" y="597313"/>
                    </a:lnTo>
                    <a:lnTo>
                      <a:pt x="247269" y="605314"/>
                    </a:lnTo>
                    <a:lnTo>
                      <a:pt x="271177" y="605314"/>
                    </a:lnTo>
                    <a:lnTo>
                      <a:pt x="287084" y="597313"/>
                    </a:lnTo>
                    <a:lnTo>
                      <a:pt x="318992" y="597313"/>
                    </a:lnTo>
                    <a:lnTo>
                      <a:pt x="334899" y="589407"/>
                    </a:lnTo>
                    <a:lnTo>
                      <a:pt x="342900" y="581406"/>
                    </a:lnTo>
                    <a:lnTo>
                      <a:pt x="358807" y="573405"/>
                    </a:lnTo>
                    <a:lnTo>
                      <a:pt x="398621" y="581406"/>
                    </a:lnTo>
                    <a:lnTo>
                      <a:pt x="382715" y="589407"/>
                    </a:lnTo>
                    <a:lnTo>
                      <a:pt x="350806" y="621221"/>
                    </a:lnTo>
                    <a:lnTo>
                      <a:pt x="350806" y="629222"/>
                    </a:lnTo>
                    <a:lnTo>
                      <a:pt x="374713" y="653129"/>
                    </a:lnTo>
                    <a:lnTo>
                      <a:pt x="390620" y="653129"/>
                    </a:lnTo>
                    <a:lnTo>
                      <a:pt x="398621" y="661130"/>
                    </a:lnTo>
                    <a:lnTo>
                      <a:pt x="406622" y="661130"/>
                    </a:lnTo>
                    <a:lnTo>
                      <a:pt x="414623" y="685038"/>
                    </a:lnTo>
                    <a:lnTo>
                      <a:pt x="390715" y="708946"/>
                    </a:lnTo>
                    <a:lnTo>
                      <a:pt x="390715" y="748760"/>
                    </a:lnTo>
                    <a:lnTo>
                      <a:pt x="295085" y="748760"/>
                    </a:lnTo>
                    <a:lnTo>
                      <a:pt x="287084" y="740759"/>
                    </a:lnTo>
                    <a:lnTo>
                      <a:pt x="263176" y="740759"/>
                    </a:lnTo>
                    <a:lnTo>
                      <a:pt x="255175" y="748760"/>
                    </a:lnTo>
                    <a:lnTo>
                      <a:pt x="279083" y="772668"/>
                    </a:lnTo>
                    <a:lnTo>
                      <a:pt x="247174" y="796576"/>
                    </a:lnTo>
                    <a:lnTo>
                      <a:pt x="302990" y="788670"/>
                    </a:lnTo>
                    <a:lnTo>
                      <a:pt x="302990" y="820484"/>
                    </a:lnTo>
                    <a:lnTo>
                      <a:pt x="287084" y="852297"/>
                    </a:lnTo>
                    <a:lnTo>
                      <a:pt x="279083" y="860298"/>
                    </a:lnTo>
                    <a:lnTo>
                      <a:pt x="263176" y="868299"/>
                    </a:lnTo>
                    <a:lnTo>
                      <a:pt x="239268" y="876205"/>
                    </a:lnTo>
                    <a:lnTo>
                      <a:pt x="223361" y="884206"/>
                    </a:lnTo>
                    <a:lnTo>
                      <a:pt x="215360" y="884206"/>
                    </a:lnTo>
                    <a:lnTo>
                      <a:pt x="215360" y="916019"/>
                    </a:lnTo>
                    <a:lnTo>
                      <a:pt x="223361" y="924020"/>
                    </a:lnTo>
                    <a:lnTo>
                      <a:pt x="231362" y="924020"/>
                    </a:lnTo>
                    <a:lnTo>
                      <a:pt x="239363" y="916019"/>
                    </a:lnTo>
                    <a:lnTo>
                      <a:pt x="255270" y="908113"/>
                    </a:lnTo>
                    <a:lnTo>
                      <a:pt x="263271" y="900113"/>
                    </a:lnTo>
                    <a:lnTo>
                      <a:pt x="271272" y="908113"/>
                    </a:lnTo>
                    <a:lnTo>
                      <a:pt x="271272" y="916019"/>
                    </a:lnTo>
                    <a:lnTo>
                      <a:pt x="279273" y="924020"/>
                    </a:lnTo>
                    <a:lnTo>
                      <a:pt x="311182" y="924020"/>
                    </a:lnTo>
                    <a:lnTo>
                      <a:pt x="319183" y="931926"/>
                    </a:lnTo>
                    <a:lnTo>
                      <a:pt x="335090" y="939927"/>
                    </a:lnTo>
                    <a:lnTo>
                      <a:pt x="343090" y="939927"/>
                    </a:lnTo>
                    <a:lnTo>
                      <a:pt x="366998" y="931926"/>
                    </a:lnTo>
                    <a:lnTo>
                      <a:pt x="382905" y="924020"/>
                    </a:lnTo>
                    <a:lnTo>
                      <a:pt x="390906" y="916019"/>
                    </a:lnTo>
                    <a:lnTo>
                      <a:pt x="422815" y="916019"/>
                    </a:lnTo>
                    <a:lnTo>
                      <a:pt x="414814" y="924020"/>
                    </a:lnTo>
                    <a:lnTo>
                      <a:pt x="398907" y="931926"/>
                    </a:lnTo>
                    <a:lnTo>
                      <a:pt x="390906" y="947833"/>
                    </a:lnTo>
                    <a:lnTo>
                      <a:pt x="374999" y="955738"/>
                    </a:lnTo>
                    <a:lnTo>
                      <a:pt x="366998" y="963739"/>
                    </a:lnTo>
                    <a:lnTo>
                      <a:pt x="279368" y="963739"/>
                    </a:lnTo>
                    <a:lnTo>
                      <a:pt x="279368" y="979646"/>
                    </a:lnTo>
                    <a:lnTo>
                      <a:pt x="263462" y="979646"/>
                    </a:lnTo>
                    <a:lnTo>
                      <a:pt x="247555" y="987647"/>
                    </a:lnTo>
                    <a:lnTo>
                      <a:pt x="239554" y="995553"/>
                    </a:lnTo>
                    <a:lnTo>
                      <a:pt x="239554" y="1019461"/>
                    </a:lnTo>
                    <a:lnTo>
                      <a:pt x="231553" y="1027462"/>
                    </a:lnTo>
                    <a:lnTo>
                      <a:pt x="191738" y="1027462"/>
                    </a:lnTo>
                    <a:lnTo>
                      <a:pt x="191738" y="1035368"/>
                    </a:lnTo>
                    <a:lnTo>
                      <a:pt x="183737" y="1043368"/>
                    </a:lnTo>
                    <a:lnTo>
                      <a:pt x="183737" y="1051274"/>
                    </a:lnTo>
                    <a:lnTo>
                      <a:pt x="167830" y="1067181"/>
                    </a:lnTo>
                    <a:lnTo>
                      <a:pt x="151924" y="1075087"/>
                    </a:lnTo>
                    <a:lnTo>
                      <a:pt x="143923" y="1075087"/>
                    </a:lnTo>
                    <a:lnTo>
                      <a:pt x="143923" y="1083088"/>
                    </a:lnTo>
                    <a:lnTo>
                      <a:pt x="151924" y="1083088"/>
                    </a:lnTo>
                    <a:lnTo>
                      <a:pt x="159925" y="1090993"/>
                    </a:lnTo>
                    <a:lnTo>
                      <a:pt x="199739" y="1090993"/>
                    </a:lnTo>
                    <a:lnTo>
                      <a:pt x="207740" y="1075087"/>
                    </a:lnTo>
                    <a:lnTo>
                      <a:pt x="231648" y="1051179"/>
                    </a:lnTo>
                    <a:lnTo>
                      <a:pt x="279464" y="1051179"/>
                    </a:lnTo>
                    <a:lnTo>
                      <a:pt x="287465" y="1059180"/>
                    </a:lnTo>
                    <a:lnTo>
                      <a:pt x="303371" y="1067181"/>
                    </a:lnTo>
                    <a:lnTo>
                      <a:pt x="319278" y="1067181"/>
                    </a:lnTo>
                    <a:lnTo>
                      <a:pt x="327279" y="1051274"/>
                    </a:lnTo>
                    <a:lnTo>
                      <a:pt x="335280" y="1043368"/>
                    </a:lnTo>
                    <a:lnTo>
                      <a:pt x="343281" y="1027462"/>
                    </a:lnTo>
                    <a:lnTo>
                      <a:pt x="359188" y="1011555"/>
                    </a:lnTo>
                    <a:lnTo>
                      <a:pt x="383096" y="1011555"/>
                    </a:lnTo>
                    <a:lnTo>
                      <a:pt x="399002" y="1027462"/>
                    </a:lnTo>
                    <a:lnTo>
                      <a:pt x="438817" y="1027462"/>
                    </a:lnTo>
                    <a:lnTo>
                      <a:pt x="470725" y="1011555"/>
                    </a:lnTo>
                    <a:lnTo>
                      <a:pt x="478727" y="1011555"/>
                    </a:lnTo>
                    <a:lnTo>
                      <a:pt x="486728" y="1019556"/>
                    </a:lnTo>
                    <a:lnTo>
                      <a:pt x="502634" y="1019556"/>
                    </a:lnTo>
                    <a:lnTo>
                      <a:pt x="518541" y="1027557"/>
                    </a:lnTo>
                    <a:lnTo>
                      <a:pt x="526542" y="1027557"/>
                    </a:lnTo>
                    <a:lnTo>
                      <a:pt x="526542" y="1019556"/>
                    </a:lnTo>
                    <a:lnTo>
                      <a:pt x="518541" y="1011555"/>
                    </a:lnTo>
                    <a:lnTo>
                      <a:pt x="518541" y="995648"/>
                    </a:lnTo>
                    <a:lnTo>
                      <a:pt x="526542" y="995648"/>
                    </a:lnTo>
                    <a:lnTo>
                      <a:pt x="542449" y="1003649"/>
                    </a:lnTo>
                    <a:lnTo>
                      <a:pt x="550450" y="1011555"/>
                    </a:lnTo>
                    <a:lnTo>
                      <a:pt x="566357" y="1003649"/>
                    </a:lnTo>
                    <a:lnTo>
                      <a:pt x="661988" y="1003649"/>
                    </a:lnTo>
                    <a:lnTo>
                      <a:pt x="693896" y="995648"/>
                    </a:lnTo>
                    <a:lnTo>
                      <a:pt x="709803" y="987743"/>
                    </a:lnTo>
                    <a:lnTo>
                      <a:pt x="717804" y="971836"/>
                    </a:lnTo>
                    <a:lnTo>
                      <a:pt x="725805" y="963930"/>
                    </a:lnTo>
                    <a:lnTo>
                      <a:pt x="733806" y="948023"/>
                    </a:lnTo>
                    <a:lnTo>
                      <a:pt x="662083" y="940022"/>
                    </a:lnTo>
                    <a:lnTo>
                      <a:pt x="693992" y="932021"/>
                    </a:lnTo>
                    <a:lnTo>
                      <a:pt x="685990" y="908113"/>
                    </a:lnTo>
                    <a:lnTo>
                      <a:pt x="701897" y="892207"/>
                    </a:lnTo>
                    <a:lnTo>
                      <a:pt x="717804" y="884301"/>
                    </a:lnTo>
                    <a:lnTo>
                      <a:pt x="725805" y="884301"/>
                    </a:lnTo>
                    <a:lnTo>
                      <a:pt x="741712" y="876300"/>
                    </a:lnTo>
                    <a:lnTo>
                      <a:pt x="749713" y="868394"/>
                    </a:lnTo>
                    <a:lnTo>
                      <a:pt x="765620" y="820579"/>
                    </a:lnTo>
                    <a:lnTo>
                      <a:pt x="757619" y="804672"/>
                    </a:lnTo>
                    <a:lnTo>
                      <a:pt x="749618" y="796671"/>
                    </a:lnTo>
                    <a:lnTo>
                      <a:pt x="733711" y="788765"/>
                    </a:lnTo>
                    <a:lnTo>
                      <a:pt x="717804" y="788765"/>
                    </a:lnTo>
                    <a:lnTo>
                      <a:pt x="701897" y="780764"/>
                    </a:lnTo>
                    <a:lnTo>
                      <a:pt x="669988" y="780764"/>
                    </a:lnTo>
                    <a:close/>
                    <a:moveTo>
                      <a:pt x="255270" y="533400"/>
                    </a:moveTo>
                    <a:lnTo>
                      <a:pt x="255270" y="517493"/>
                    </a:lnTo>
                    <a:lnTo>
                      <a:pt x="247269" y="509588"/>
                    </a:lnTo>
                    <a:lnTo>
                      <a:pt x="247269" y="501587"/>
                    </a:lnTo>
                    <a:lnTo>
                      <a:pt x="231362" y="517493"/>
                    </a:lnTo>
                    <a:lnTo>
                      <a:pt x="231362" y="525494"/>
                    </a:lnTo>
                    <a:lnTo>
                      <a:pt x="239363" y="533400"/>
                    </a:lnTo>
                    <a:lnTo>
                      <a:pt x="255270" y="533400"/>
                    </a:lnTo>
                    <a:close/>
                    <a:moveTo>
                      <a:pt x="454533" y="183166"/>
                    </a:moveTo>
                    <a:lnTo>
                      <a:pt x="454533" y="199072"/>
                    </a:lnTo>
                    <a:lnTo>
                      <a:pt x="470440" y="183166"/>
                    </a:lnTo>
                    <a:lnTo>
                      <a:pt x="454533" y="183166"/>
                    </a:lnTo>
                    <a:close/>
                    <a:moveTo>
                      <a:pt x="574072" y="63722"/>
                    </a:moveTo>
                    <a:lnTo>
                      <a:pt x="574072" y="87630"/>
                    </a:lnTo>
                    <a:lnTo>
                      <a:pt x="582073" y="87630"/>
                    </a:lnTo>
                    <a:lnTo>
                      <a:pt x="590074" y="79629"/>
                    </a:lnTo>
                    <a:lnTo>
                      <a:pt x="598075" y="63722"/>
                    </a:lnTo>
                    <a:lnTo>
                      <a:pt x="598075" y="31909"/>
                    </a:lnTo>
                    <a:lnTo>
                      <a:pt x="582168" y="16002"/>
                    </a:lnTo>
                    <a:lnTo>
                      <a:pt x="574167" y="31909"/>
                    </a:lnTo>
                    <a:lnTo>
                      <a:pt x="566166" y="39814"/>
                    </a:lnTo>
                    <a:lnTo>
                      <a:pt x="558165" y="39814"/>
                    </a:lnTo>
                    <a:lnTo>
                      <a:pt x="558165" y="55721"/>
                    </a:lnTo>
                    <a:lnTo>
                      <a:pt x="566166" y="55721"/>
                    </a:lnTo>
                    <a:lnTo>
                      <a:pt x="574167" y="63722"/>
                    </a:lnTo>
                    <a:close/>
                    <a:moveTo>
                      <a:pt x="629888" y="0"/>
                    </a:moveTo>
                    <a:lnTo>
                      <a:pt x="621887" y="0"/>
                    </a:lnTo>
                    <a:lnTo>
                      <a:pt x="605885" y="15907"/>
                    </a:lnTo>
                    <a:lnTo>
                      <a:pt x="629793" y="15907"/>
                    </a:lnTo>
                    <a:lnTo>
                      <a:pt x="629793" y="8001"/>
                    </a:lnTo>
                    <a:lnTo>
                      <a:pt x="637794" y="0"/>
                    </a:lnTo>
                    <a:lnTo>
                      <a:pt x="629793" y="0"/>
                    </a:lnTo>
                    <a:close/>
                    <a:moveTo>
                      <a:pt x="183547" y="342329"/>
                    </a:moveTo>
                    <a:lnTo>
                      <a:pt x="183547" y="310515"/>
                    </a:lnTo>
                    <a:lnTo>
                      <a:pt x="167640" y="310515"/>
                    </a:lnTo>
                    <a:lnTo>
                      <a:pt x="159639" y="318421"/>
                    </a:lnTo>
                    <a:lnTo>
                      <a:pt x="159639" y="326422"/>
                    </a:lnTo>
                    <a:lnTo>
                      <a:pt x="167640" y="334327"/>
                    </a:lnTo>
                    <a:lnTo>
                      <a:pt x="143732" y="334327"/>
                    </a:lnTo>
                    <a:lnTo>
                      <a:pt x="143732" y="342329"/>
                    </a:lnTo>
                    <a:lnTo>
                      <a:pt x="151733" y="350330"/>
                    </a:lnTo>
                    <a:lnTo>
                      <a:pt x="159734" y="350330"/>
                    </a:lnTo>
                    <a:lnTo>
                      <a:pt x="167735" y="358235"/>
                    </a:lnTo>
                    <a:lnTo>
                      <a:pt x="199644" y="358235"/>
                    </a:lnTo>
                    <a:lnTo>
                      <a:pt x="183737" y="342329"/>
                    </a:lnTo>
                    <a:close/>
                    <a:moveTo>
                      <a:pt x="438626" y="159258"/>
                    </a:moveTo>
                    <a:lnTo>
                      <a:pt x="430625" y="159258"/>
                    </a:lnTo>
                    <a:lnTo>
                      <a:pt x="422624" y="167259"/>
                    </a:lnTo>
                    <a:lnTo>
                      <a:pt x="422624" y="183166"/>
                    </a:lnTo>
                    <a:lnTo>
                      <a:pt x="438531" y="183166"/>
                    </a:lnTo>
                    <a:lnTo>
                      <a:pt x="446532" y="167259"/>
                    </a:lnTo>
                    <a:lnTo>
                      <a:pt x="438531" y="159258"/>
                    </a:lnTo>
                    <a:close/>
                    <a:moveTo>
                      <a:pt x="151733" y="517493"/>
                    </a:moveTo>
                    <a:lnTo>
                      <a:pt x="167640" y="517493"/>
                    </a:lnTo>
                    <a:lnTo>
                      <a:pt x="183547" y="509588"/>
                    </a:lnTo>
                    <a:lnTo>
                      <a:pt x="183547" y="493681"/>
                    </a:lnTo>
                    <a:lnTo>
                      <a:pt x="175546" y="485775"/>
                    </a:lnTo>
                    <a:lnTo>
                      <a:pt x="159639" y="485775"/>
                    </a:lnTo>
                    <a:lnTo>
                      <a:pt x="151638" y="493681"/>
                    </a:lnTo>
                    <a:lnTo>
                      <a:pt x="143637" y="509588"/>
                    </a:lnTo>
                    <a:lnTo>
                      <a:pt x="143637" y="517493"/>
                    </a:lnTo>
                    <a:lnTo>
                      <a:pt x="151638" y="517493"/>
                    </a:lnTo>
                    <a:close/>
                    <a:moveTo>
                      <a:pt x="175641" y="413956"/>
                    </a:moveTo>
                    <a:lnTo>
                      <a:pt x="167640" y="413956"/>
                    </a:lnTo>
                    <a:lnTo>
                      <a:pt x="167640" y="445770"/>
                    </a:lnTo>
                    <a:lnTo>
                      <a:pt x="175641" y="445770"/>
                    </a:lnTo>
                    <a:lnTo>
                      <a:pt x="183642" y="437769"/>
                    </a:lnTo>
                    <a:lnTo>
                      <a:pt x="199549" y="437769"/>
                    </a:lnTo>
                    <a:lnTo>
                      <a:pt x="191548" y="421862"/>
                    </a:lnTo>
                    <a:lnTo>
                      <a:pt x="183547" y="413861"/>
                    </a:lnTo>
                    <a:lnTo>
                      <a:pt x="175546" y="413861"/>
                    </a:lnTo>
                    <a:close/>
                    <a:moveTo>
                      <a:pt x="215455" y="501491"/>
                    </a:moveTo>
                    <a:lnTo>
                      <a:pt x="207454" y="501491"/>
                    </a:lnTo>
                    <a:lnTo>
                      <a:pt x="199453" y="509492"/>
                    </a:lnTo>
                    <a:lnTo>
                      <a:pt x="199453" y="525399"/>
                    </a:lnTo>
                    <a:lnTo>
                      <a:pt x="191452" y="549307"/>
                    </a:lnTo>
                    <a:lnTo>
                      <a:pt x="207359" y="533400"/>
                    </a:lnTo>
                    <a:lnTo>
                      <a:pt x="215360" y="517493"/>
                    </a:lnTo>
                    <a:lnTo>
                      <a:pt x="215360" y="501587"/>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72" name="Freeform: Shape 71">
                <a:extLst>
                  <a:ext uri="{FF2B5EF4-FFF2-40B4-BE49-F238E27FC236}">
                    <a16:creationId xmlns:a16="http://schemas.microsoft.com/office/drawing/2014/main" id="{3A58AE17-7ADA-BD1F-A65D-313D086B9E60}"/>
                  </a:ext>
                </a:extLst>
              </p:cNvPr>
              <p:cNvSpPr/>
              <p:nvPr/>
            </p:nvSpPr>
            <p:spPr>
              <a:xfrm>
                <a:off x="4683252" y="2693955"/>
                <a:ext cx="765619" cy="1090993"/>
              </a:xfrm>
              <a:custGeom>
                <a:avLst/>
                <a:gdLst>
                  <a:gd name="connsiteX0" fmla="*/ 95822 w 765619"/>
                  <a:gd name="connsiteY0" fmla="*/ 334327 h 1090993"/>
                  <a:gd name="connsiteX1" fmla="*/ 79915 w 765619"/>
                  <a:gd name="connsiteY1" fmla="*/ 374142 h 1090993"/>
                  <a:gd name="connsiteX2" fmla="*/ 103823 w 765619"/>
                  <a:gd name="connsiteY2" fmla="*/ 342329 h 1090993"/>
                  <a:gd name="connsiteX3" fmla="*/ 95822 w 765619"/>
                  <a:gd name="connsiteY3" fmla="*/ 334327 h 1090993"/>
                  <a:gd name="connsiteX4" fmla="*/ 143637 w 765619"/>
                  <a:gd name="connsiteY4" fmla="*/ 278606 h 1090993"/>
                  <a:gd name="connsiteX5" fmla="*/ 167545 w 765619"/>
                  <a:gd name="connsiteY5" fmla="*/ 278606 h 1090993"/>
                  <a:gd name="connsiteX6" fmla="*/ 175546 w 765619"/>
                  <a:gd name="connsiteY6" fmla="*/ 270700 h 1090993"/>
                  <a:gd name="connsiteX7" fmla="*/ 175546 w 765619"/>
                  <a:gd name="connsiteY7" fmla="*/ 262700 h 1090993"/>
                  <a:gd name="connsiteX8" fmla="*/ 183547 w 765619"/>
                  <a:gd name="connsiteY8" fmla="*/ 246793 h 1090993"/>
                  <a:gd name="connsiteX9" fmla="*/ 199453 w 765619"/>
                  <a:gd name="connsiteY9" fmla="*/ 230886 h 1090993"/>
                  <a:gd name="connsiteX10" fmla="*/ 199453 w 765619"/>
                  <a:gd name="connsiteY10" fmla="*/ 222885 h 1090993"/>
                  <a:gd name="connsiteX11" fmla="*/ 183547 w 765619"/>
                  <a:gd name="connsiteY11" fmla="*/ 230886 h 1090993"/>
                  <a:gd name="connsiteX12" fmla="*/ 175546 w 765619"/>
                  <a:gd name="connsiteY12" fmla="*/ 230886 h 1090993"/>
                  <a:gd name="connsiteX13" fmla="*/ 151638 w 765619"/>
                  <a:gd name="connsiteY13" fmla="*/ 254794 h 1090993"/>
                  <a:gd name="connsiteX14" fmla="*/ 143637 w 765619"/>
                  <a:gd name="connsiteY14" fmla="*/ 246888 h 1090993"/>
                  <a:gd name="connsiteX15" fmla="*/ 127730 w 765619"/>
                  <a:gd name="connsiteY15" fmla="*/ 246888 h 1090993"/>
                  <a:gd name="connsiteX16" fmla="*/ 119729 w 765619"/>
                  <a:gd name="connsiteY16" fmla="*/ 254794 h 1090993"/>
                  <a:gd name="connsiteX17" fmla="*/ 119729 w 765619"/>
                  <a:gd name="connsiteY17" fmla="*/ 278701 h 1090993"/>
                  <a:gd name="connsiteX18" fmla="*/ 127730 w 765619"/>
                  <a:gd name="connsiteY18" fmla="*/ 286702 h 1090993"/>
                  <a:gd name="connsiteX19" fmla="*/ 127730 w 765619"/>
                  <a:gd name="connsiteY19" fmla="*/ 302609 h 1090993"/>
                  <a:gd name="connsiteX20" fmla="*/ 143637 w 765619"/>
                  <a:gd name="connsiteY20" fmla="*/ 278701 h 1090993"/>
                  <a:gd name="connsiteX21" fmla="*/ 103823 w 765619"/>
                  <a:gd name="connsiteY21" fmla="*/ 302514 h 1090993"/>
                  <a:gd name="connsiteX22" fmla="*/ 95822 w 765619"/>
                  <a:gd name="connsiteY22" fmla="*/ 302514 h 1090993"/>
                  <a:gd name="connsiteX23" fmla="*/ 87821 w 765619"/>
                  <a:gd name="connsiteY23" fmla="*/ 310515 h 1090993"/>
                  <a:gd name="connsiteX24" fmla="*/ 87821 w 765619"/>
                  <a:gd name="connsiteY24" fmla="*/ 318421 h 1090993"/>
                  <a:gd name="connsiteX25" fmla="*/ 111728 w 765619"/>
                  <a:gd name="connsiteY25" fmla="*/ 318421 h 1090993"/>
                  <a:gd name="connsiteX26" fmla="*/ 111728 w 765619"/>
                  <a:gd name="connsiteY26" fmla="*/ 302514 h 1090993"/>
                  <a:gd name="connsiteX27" fmla="*/ 103727 w 765619"/>
                  <a:gd name="connsiteY27" fmla="*/ 302514 h 1090993"/>
                  <a:gd name="connsiteX28" fmla="*/ 167545 w 765619"/>
                  <a:gd name="connsiteY28" fmla="*/ 668750 h 1090993"/>
                  <a:gd name="connsiteX29" fmla="*/ 175546 w 765619"/>
                  <a:gd name="connsiteY29" fmla="*/ 660749 h 1090993"/>
                  <a:gd name="connsiteX30" fmla="*/ 175546 w 765619"/>
                  <a:gd name="connsiteY30" fmla="*/ 652748 h 1090993"/>
                  <a:gd name="connsiteX31" fmla="*/ 191452 w 765619"/>
                  <a:gd name="connsiteY31" fmla="*/ 652748 h 1090993"/>
                  <a:gd name="connsiteX32" fmla="*/ 199453 w 765619"/>
                  <a:gd name="connsiteY32" fmla="*/ 636842 h 1090993"/>
                  <a:gd name="connsiteX33" fmla="*/ 207454 w 765619"/>
                  <a:gd name="connsiteY33" fmla="*/ 628936 h 1090993"/>
                  <a:gd name="connsiteX34" fmla="*/ 207454 w 765619"/>
                  <a:gd name="connsiteY34" fmla="*/ 613029 h 1090993"/>
                  <a:gd name="connsiteX35" fmla="*/ 183547 w 765619"/>
                  <a:gd name="connsiteY35" fmla="*/ 589121 h 1090993"/>
                  <a:gd name="connsiteX36" fmla="*/ 183547 w 765619"/>
                  <a:gd name="connsiteY36" fmla="*/ 573214 h 1090993"/>
                  <a:gd name="connsiteX37" fmla="*/ 175546 w 765619"/>
                  <a:gd name="connsiteY37" fmla="*/ 581216 h 1090993"/>
                  <a:gd name="connsiteX38" fmla="*/ 167545 w 765619"/>
                  <a:gd name="connsiteY38" fmla="*/ 565309 h 1090993"/>
                  <a:gd name="connsiteX39" fmla="*/ 159544 w 765619"/>
                  <a:gd name="connsiteY39" fmla="*/ 557308 h 1090993"/>
                  <a:gd name="connsiteX40" fmla="*/ 103727 w 765619"/>
                  <a:gd name="connsiteY40" fmla="*/ 557308 h 1090993"/>
                  <a:gd name="connsiteX41" fmla="*/ 95726 w 765619"/>
                  <a:gd name="connsiteY41" fmla="*/ 565309 h 1090993"/>
                  <a:gd name="connsiteX42" fmla="*/ 39910 w 765619"/>
                  <a:gd name="connsiteY42" fmla="*/ 597122 h 1090993"/>
                  <a:gd name="connsiteX43" fmla="*/ 39910 w 765619"/>
                  <a:gd name="connsiteY43" fmla="*/ 613029 h 1090993"/>
                  <a:gd name="connsiteX44" fmla="*/ 31909 w 765619"/>
                  <a:gd name="connsiteY44" fmla="*/ 613029 h 1090993"/>
                  <a:gd name="connsiteX45" fmla="*/ 23908 w 765619"/>
                  <a:gd name="connsiteY45" fmla="*/ 621030 h 1090993"/>
                  <a:gd name="connsiteX46" fmla="*/ 15907 w 765619"/>
                  <a:gd name="connsiteY46" fmla="*/ 621030 h 1090993"/>
                  <a:gd name="connsiteX47" fmla="*/ 0 w 765619"/>
                  <a:gd name="connsiteY47" fmla="*/ 636937 h 1090993"/>
                  <a:gd name="connsiteX48" fmla="*/ 8001 w 765619"/>
                  <a:gd name="connsiteY48" fmla="*/ 644938 h 1090993"/>
                  <a:gd name="connsiteX49" fmla="*/ 39910 w 765619"/>
                  <a:gd name="connsiteY49" fmla="*/ 660845 h 1090993"/>
                  <a:gd name="connsiteX50" fmla="*/ 55817 w 765619"/>
                  <a:gd name="connsiteY50" fmla="*/ 660845 h 1090993"/>
                  <a:gd name="connsiteX51" fmla="*/ 87725 w 765619"/>
                  <a:gd name="connsiteY51" fmla="*/ 629031 h 1090993"/>
                  <a:gd name="connsiteX52" fmla="*/ 111633 w 765619"/>
                  <a:gd name="connsiteY52" fmla="*/ 660845 h 1090993"/>
                  <a:gd name="connsiteX53" fmla="*/ 159448 w 765619"/>
                  <a:gd name="connsiteY53" fmla="*/ 668846 h 1090993"/>
                  <a:gd name="connsiteX54" fmla="*/ 167449 w 765619"/>
                  <a:gd name="connsiteY54" fmla="*/ 668846 h 1090993"/>
                  <a:gd name="connsiteX55" fmla="*/ 295085 w 765619"/>
                  <a:gd name="connsiteY55" fmla="*/ 644843 h 1090993"/>
                  <a:gd name="connsiteX56" fmla="*/ 287084 w 765619"/>
                  <a:gd name="connsiteY56" fmla="*/ 636842 h 1090993"/>
                  <a:gd name="connsiteX57" fmla="*/ 271177 w 765619"/>
                  <a:gd name="connsiteY57" fmla="*/ 636842 h 1090993"/>
                  <a:gd name="connsiteX58" fmla="*/ 271177 w 765619"/>
                  <a:gd name="connsiteY58" fmla="*/ 644843 h 1090993"/>
                  <a:gd name="connsiteX59" fmla="*/ 263176 w 765619"/>
                  <a:gd name="connsiteY59" fmla="*/ 660749 h 1090993"/>
                  <a:gd name="connsiteX60" fmla="*/ 255175 w 765619"/>
                  <a:gd name="connsiteY60" fmla="*/ 668750 h 1090993"/>
                  <a:gd name="connsiteX61" fmla="*/ 279083 w 765619"/>
                  <a:gd name="connsiteY61" fmla="*/ 668750 h 1090993"/>
                  <a:gd name="connsiteX62" fmla="*/ 294989 w 765619"/>
                  <a:gd name="connsiteY62" fmla="*/ 652843 h 1090993"/>
                  <a:gd name="connsiteX63" fmla="*/ 294989 w 765619"/>
                  <a:gd name="connsiteY63" fmla="*/ 644938 h 1090993"/>
                  <a:gd name="connsiteX64" fmla="*/ 669703 w 765619"/>
                  <a:gd name="connsiteY64" fmla="*/ 780193 h 1090993"/>
                  <a:gd name="connsiteX65" fmla="*/ 661702 w 765619"/>
                  <a:gd name="connsiteY65" fmla="*/ 788194 h 1090993"/>
                  <a:gd name="connsiteX66" fmla="*/ 661702 w 765619"/>
                  <a:gd name="connsiteY66" fmla="*/ 796100 h 1090993"/>
                  <a:gd name="connsiteX67" fmla="*/ 637794 w 765619"/>
                  <a:gd name="connsiteY67" fmla="*/ 796100 h 1090993"/>
                  <a:gd name="connsiteX68" fmla="*/ 637794 w 765619"/>
                  <a:gd name="connsiteY68" fmla="*/ 780193 h 1090993"/>
                  <a:gd name="connsiteX69" fmla="*/ 645795 w 765619"/>
                  <a:gd name="connsiteY69" fmla="*/ 764286 h 1090993"/>
                  <a:gd name="connsiteX70" fmla="*/ 661702 w 765619"/>
                  <a:gd name="connsiteY70" fmla="*/ 748379 h 1090993"/>
                  <a:gd name="connsiteX71" fmla="*/ 653701 w 765619"/>
                  <a:gd name="connsiteY71" fmla="*/ 740378 h 1090993"/>
                  <a:gd name="connsiteX72" fmla="*/ 605885 w 765619"/>
                  <a:gd name="connsiteY72" fmla="*/ 716471 h 1090993"/>
                  <a:gd name="connsiteX73" fmla="*/ 597884 w 765619"/>
                  <a:gd name="connsiteY73" fmla="*/ 716471 h 1090993"/>
                  <a:gd name="connsiteX74" fmla="*/ 589883 w 765619"/>
                  <a:gd name="connsiteY74" fmla="*/ 708565 h 1090993"/>
                  <a:gd name="connsiteX75" fmla="*/ 597884 w 765619"/>
                  <a:gd name="connsiteY75" fmla="*/ 708565 h 1090993"/>
                  <a:gd name="connsiteX76" fmla="*/ 605885 w 765619"/>
                  <a:gd name="connsiteY76" fmla="*/ 700564 h 1090993"/>
                  <a:gd name="connsiteX77" fmla="*/ 637794 w 765619"/>
                  <a:gd name="connsiteY77" fmla="*/ 700564 h 1090993"/>
                  <a:gd name="connsiteX78" fmla="*/ 621887 w 765619"/>
                  <a:gd name="connsiteY78" fmla="*/ 684657 h 1090993"/>
                  <a:gd name="connsiteX79" fmla="*/ 621887 w 765619"/>
                  <a:gd name="connsiteY79" fmla="*/ 676656 h 1090993"/>
                  <a:gd name="connsiteX80" fmla="*/ 605885 w 765619"/>
                  <a:gd name="connsiteY80" fmla="*/ 660749 h 1090993"/>
                  <a:gd name="connsiteX81" fmla="*/ 597884 w 765619"/>
                  <a:gd name="connsiteY81" fmla="*/ 644843 h 1090993"/>
                  <a:gd name="connsiteX82" fmla="*/ 573977 w 765619"/>
                  <a:gd name="connsiteY82" fmla="*/ 620935 h 1090993"/>
                  <a:gd name="connsiteX83" fmla="*/ 558070 w 765619"/>
                  <a:gd name="connsiteY83" fmla="*/ 620935 h 1090993"/>
                  <a:gd name="connsiteX84" fmla="*/ 550069 w 765619"/>
                  <a:gd name="connsiteY84" fmla="*/ 605028 h 1090993"/>
                  <a:gd name="connsiteX85" fmla="*/ 534162 w 765619"/>
                  <a:gd name="connsiteY85" fmla="*/ 597027 h 1090993"/>
                  <a:gd name="connsiteX86" fmla="*/ 518255 w 765619"/>
                  <a:gd name="connsiteY86" fmla="*/ 581120 h 1090993"/>
                  <a:gd name="connsiteX87" fmla="*/ 518255 w 765619"/>
                  <a:gd name="connsiteY87" fmla="*/ 549307 h 1090993"/>
                  <a:gd name="connsiteX88" fmla="*/ 526256 w 765619"/>
                  <a:gd name="connsiteY88" fmla="*/ 533400 h 1090993"/>
                  <a:gd name="connsiteX89" fmla="*/ 526256 w 765619"/>
                  <a:gd name="connsiteY89" fmla="*/ 517493 h 1090993"/>
                  <a:gd name="connsiteX90" fmla="*/ 510350 w 765619"/>
                  <a:gd name="connsiteY90" fmla="*/ 517493 h 1090993"/>
                  <a:gd name="connsiteX91" fmla="*/ 502348 w 765619"/>
                  <a:gd name="connsiteY91" fmla="*/ 509588 h 1090993"/>
                  <a:gd name="connsiteX92" fmla="*/ 494348 w 765619"/>
                  <a:gd name="connsiteY92" fmla="*/ 493681 h 1090993"/>
                  <a:gd name="connsiteX93" fmla="*/ 478441 w 765619"/>
                  <a:gd name="connsiteY93" fmla="*/ 477774 h 1090993"/>
                  <a:gd name="connsiteX94" fmla="*/ 454533 w 765619"/>
                  <a:gd name="connsiteY94" fmla="*/ 469868 h 1090993"/>
                  <a:gd name="connsiteX95" fmla="*/ 430625 w 765619"/>
                  <a:gd name="connsiteY95" fmla="*/ 469868 h 1090993"/>
                  <a:gd name="connsiteX96" fmla="*/ 406717 w 765619"/>
                  <a:gd name="connsiteY96" fmla="*/ 477774 h 1090993"/>
                  <a:gd name="connsiteX97" fmla="*/ 390811 w 765619"/>
                  <a:gd name="connsiteY97" fmla="*/ 485775 h 1090993"/>
                  <a:gd name="connsiteX98" fmla="*/ 382810 w 765619"/>
                  <a:gd name="connsiteY98" fmla="*/ 485775 h 1090993"/>
                  <a:gd name="connsiteX99" fmla="*/ 358902 w 765619"/>
                  <a:gd name="connsiteY99" fmla="*/ 461867 h 1090993"/>
                  <a:gd name="connsiteX100" fmla="*/ 374809 w 765619"/>
                  <a:gd name="connsiteY100" fmla="*/ 461867 h 1090993"/>
                  <a:gd name="connsiteX101" fmla="*/ 390715 w 765619"/>
                  <a:gd name="connsiteY101" fmla="*/ 469868 h 1090993"/>
                  <a:gd name="connsiteX102" fmla="*/ 406622 w 765619"/>
                  <a:gd name="connsiteY102" fmla="*/ 469868 h 1090993"/>
                  <a:gd name="connsiteX103" fmla="*/ 438531 w 765619"/>
                  <a:gd name="connsiteY103" fmla="*/ 453962 h 1090993"/>
                  <a:gd name="connsiteX104" fmla="*/ 446532 w 765619"/>
                  <a:gd name="connsiteY104" fmla="*/ 446056 h 1090993"/>
                  <a:gd name="connsiteX105" fmla="*/ 438531 w 765619"/>
                  <a:gd name="connsiteY105" fmla="*/ 446056 h 1090993"/>
                  <a:gd name="connsiteX106" fmla="*/ 430530 w 765619"/>
                  <a:gd name="connsiteY106" fmla="*/ 438055 h 1090993"/>
                  <a:gd name="connsiteX107" fmla="*/ 406622 w 765619"/>
                  <a:gd name="connsiteY107" fmla="*/ 438055 h 1090993"/>
                  <a:gd name="connsiteX108" fmla="*/ 438531 w 765619"/>
                  <a:gd name="connsiteY108" fmla="*/ 430149 h 1090993"/>
                  <a:gd name="connsiteX109" fmla="*/ 446532 w 765619"/>
                  <a:gd name="connsiteY109" fmla="*/ 422148 h 1090993"/>
                  <a:gd name="connsiteX110" fmla="*/ 462439 w 765619"/>
                  <a:gd name="connsiteY110" fmla="*/ 414147 h 1090993"/>
                  <a:gd name="connsiteX111" fmla="*/ 478346 w 765619"/>
                  <a:gd name="connsiteY111" fmla="*/ 398240 h 1090993"/>
                  <a:gd name="connsiteX112" fmla="*/ 478346 w 765619"/>
                  <a:gd name="connsiteY112" fmla="*/ 382334 h 1090993"/>
                  <a:gd name="connsiteX113" fmla="*/ 486346 w 765619"/>
                  <a:gd name="connsiteY113" fmla="*/ 366427 h 1090993"/>
                  <a:gd name="connsiteX114" fmla="*/ 494348 w 765619"/>
                  <a:gd name="connsiteY114" fmla="*/ 358426 h 1090993"/>
                  <a:gd name="connsiteX115" fmla="*/ 502348 w 765619"/>
                  <a:gd name="connsiteY115" fmla="*/ 342519 h 1090993"/>
                  <a:gd name="connsiteX116" fmla="*/ 510350 w 765619"/>
                  <a:gd name="connsiteY116" fmla="*/ 334518 h 1090993"/>
                  <a:gd name="connsiteX117" fmla="*/ 526256 w 765619"/>
                  <a:gd name="connsiteY117" fmla="*/ 326612 h 1090993"/>
                  <a:gd name="connsiteX118" fmla="*/ 534257 w 765619"/>
                  <a:gd name="connsiteY118" fmla="*/ 326612 h 1090993"/>
                  <a:gd name="connsiteX119" fmla="*/ 534257 w 765619"/>
                  <a:gd name="connsiteY119" fmla="*/ 318611 h 1090993"/>
                  <a:gd name="connsiteX120" fmla="*/ 526256 w 765619"/>
                  <a:gd name="connsiteY120" fmla="*/ 310705 h 1090993"/>
                  <a:gd name="connsiteX121" fmla="*/ 422624 w 765619"/>
                  <a:gd name="connsiteY121" fmla="*/ 310705 h 1090993"/>
                  <a:gd name="connsiteX122" fmla="*/ 422624 w 765619"/>
                  <a:gd name="connsiteY122" fmla="*/ 302705 h 1090993"/>
                  <a:gd name="connsiteX123" fmla="*/ 382810 w 765619"/>
                  <a:gd name="connsiteY123" fmla="*/ 302705 h 1090993"/>
                  <a:gd name="connsiteX124" fmla="*/ 366903 w 765619"/>
                  <a:gd name="connsiteY124" fmla="*/ 310705 h 1090993"/>
                  <a:gd name="connsiteX125" fmla="*/ 350996 w 765619"/>
                  <a:gd name="connsiteY125" fmla="*/ 310705 h 1090993"/>
                  <a:gd name="connsiteX126" fmla="*/ 342995 w 765619"/>
                  <a:gd name="connsiteY126" fmla="*/ 318611 h 1090993"/>
                  <a:gd name="connsiteX127" fmla="*/ 334994 w 765619"/>
                  <a:gd name="connsiteY127" fmla="*/ 318611 h 1090993"/>
                  <a:gd name="connsiteX128" fmla="*/ 350901 w 765619"/>
                  <a:gd name="connsiteY128" fmla="*/ 302705 h 1090993"/>
                  <a:gd name="connsiteX129" fmla="*/ 334994 w 765619"/>
                  <a:gd name="connsiteY129" fmla="*/ 286798 h 1090993"/>
                  <a:gd name="connsiteX130" fmla="*/ 358902 w 765619"/>
                  <a:gd name="connsiteY130" fmla="*/ 278797 h 1090993"/>
                  <a:gd name="connsiteX131" fmla="*/ 398717 w 765619"/>
                  <a:gd name="connsiteY131" fmla="*/ 254889 h 1090993"/>
                  <a:gd name="connsiteX132" fmla="*/ 414623 w 765619"/>
                  <a:gd name="connsiteY132" fmla="*/ 246983 h 1090993"/>
                  <a:gd name="connsiteX133" fmla="*/ 430530 w 765619"/>
                  <a:gd name="connsiteY133" fmla="*/ 215170 h 1090993"/>
                  <a:gd name="connsiteX134" fmla="*/ 422529 w 765619"/>
                  <a:gd name="connsiteY134" fmla="*/ 207264 h 1090993"/>
                  <a:gd name="connsiteX135" fmla="*/ 382715 w 765619"/>
                  <a:gd name="connsiteY135" fmla="*/ 207264 h 1090993"/>
                  <a:gd name="connsiteX136" fmla="*/ 366808 w 765619"/>
                  <a:gd name="connsiteY136" fmla="*/ 215170 h 1090993"/>
                  <a:gd name="connsiteX137" fmla="*/ 342900 w 765619"/>
                  <a:gd name="connsiteY137" fmla="*/ 223171 h 1090993"/>
                  <a:gd name="connsiteX138" fmla="*/ 318992 w 765619"/>
                  <a:gd name="connsiteY138" fmla="*/ 223171 h 1090993"/>
                  <a:gd name="connsiteX139" fmla="*/ 303086 w 765619"/>
                  <a:gd name="connsiteY139" fmla="*/ 215170 h 1090993"/>
                  <a:gd name="connsiteX140" fmla="*/ 287179 w 765619"/>
                  <a:gd name="connsiteY140" fmla="*/ 215170 h 1090993"/>
                  <a:gd name="connsiteX141" fmla="*/ 279178 w 765619"/>
                  <a:gd name="connsiteY141" fmla="*/ 223171 h 1090993"/>
                  <a:gd name="connsiteX142" fmla="*/ 279178 w 765619"/>
                  <a:gd name="connsiteY142" fmla="*/ 231172 h 1090993"/>
                  <a:gd name="connsiteX143" fmla="*/ 287179 w 765619"/>
                  <a:gd name="connsiteY143" fmla="*/ 239077 h 1090993"/>
                  <a:gd name="connsiteX144" fmla="*/ 271272 w 765619"/>
                  <a:gd name="connsiteY144" fmla="*/ 239077 h 1090993"/>
                  <a:gd name="connsiteX145" fmla="*/ 255365 w 765619"/>
                  <a:gd name="connsiteY145" fmla="*/ 254984 h 1090993"/>
                  <a:gd name="connsiteX146" fmla="*/ 255365 w 765619"/>
                  <a:gd name="connsiteY146" fmla="*/ 278892 h 1090993"/>
                  <a:gd name="connsiteX147" fmla="*/ 263366 w 765619"/>
                  <a:gd name="connsiteY147" fmla="*/ 286893 h 1090993"/>
                  <a:gd name="connsiteX148" fmla="*/ 207550 w 765619"/>
                  <a:gd name="connsiteY148" fmla="*/ 294799 h 1090993"/>
                  <a:gd name="connsiteX149" fmla="*/ 207550 w 765619"/>
                  <a:gd name="connsiteY149" fmla="*/ 310705 h 1090993"/>
                  <a:gd name="connsiteX150" fmla="*/ 223456 w 765619"/>
                  <a:gd name="connsiteY150" fmla="*/ 318611 h 1090993"/>
                  <a:gd name="connsiteX151" fmla="*/ 239363 w 765619"/>
                  <a:gd name="connsiteY151" fmla="*/ 350425 h 1090993"/>
                  <a:gd name="connsiteX152" fmla="*/ 215455 w 765619"/>
                  <a:gd name="connsiteY152" fmla="*/ 374333 h 1090993"/>
                  <a:gd name="connsiteX153" fmla="*/ 215455 w 765619"/>
                  <a:gd name="connsiteY153" fmla="*/ 390239 h 1090993"/>
                  <a:gd name="connsiteX154" fmla="*/ 191548 w 765619"/>
                  <a:gd name="connsiteY154" fmla="*/ 398145 h 1090993"/>
                  <a:gd name="connsiteX155" fmla="*/ 207454 w 765619"/>
                  <a:gd name="connsiteY155" fmla="*/ 414052 h 1090993"/>
                  <a:gd name="connsiteX156" fmla="*/ 223361 w 765619"/>
                  <a:gd name="connsiteY156" fmla="*/ 414052 h 1090993"/>
                  <a:gd name="connsiteX157" fmla="*/ 239268 w 765619"/>
                  <a:gd name="connsiteY157" fmla="*/ 406146 h 1090993"/>
                  <a:gd name="connsiteX158" fmla="*/ 247269 w 765619"/>
                  <a:gd name="connsiteY158" fmla="*/ 398145 h 1090993"/>
                  <a:gd name="connsiteX159" fmla="*/ 247269 w 765619"/>
                  <a:gd name="connsiteY159" fmla="*/ 422053 h 1090993"/>
                  <a:gd name="connsiteX160" fmla="*/ 239268 w 765619"/>
                  <a:gd name="connsiteY160" fmla="*/ 422053 h 1090993"/>
                  <a:gd name="connsiteX161" fmla="*/ 223361 w 765619"/>
                  <a:gd name="connsiteY161" fmla="*/ 437959 h 1090993"/>
                  <a:gd name="connsiteX162" fmla="*/ 207454 w 765619"/>
                  <a:gd name="connsiteY162" fmla="*/ 445960 h 1090993"/>
                  <a:gd name="connsiteX163" fmla="*/ 207454 w 765619"/>
                  <a:gd name="connsiteY163" fmla="*/ 477774 h 1090993"/>
                  <a:gd name="connsiteX164" fmla="*/ 215455 w 765619"/>
                  <a:gd name="connsiteY164" fmla="*/ 493681 h 1090993"/>
                  <a:gd name="connsiteX165" fmla="*/ 223456 w 765619"/>
                  <a:gd name="connsiteY165" fmla="*/ 485775 h 1090993"/>
                  <a:gd name="connsiteX166" fmla="*/ 263271 w 765619"/>
                  <a:gd name="connsiteY166" fmla="*/ 485775 h 1090993"/>
                  <a:gd name="connsiteX167" fmla="*/ 279178 w 765619"/>
                  <a:gd name="connsiteY167" fmla="*/ 477774 h 1090993"/>
                  <a:gd name="connsiteX168" fmla="*/ 287179 w 765619"/>
                  <a:gd name="connsiteY168" fmla="*/ 469868 h 1090993"/>
                  <a:gd name="connsiteX169" fmla="*/ 263271 w 765619"/>
                  <a:gd name="connsiteY169" fmla="*/ 493776 h 1090993"/>
                  <a:gd name="connsiteX170" fmla="*/ 279178 w 765619"/>
                  <a:gd name="connsiteY170" fmla="*/ 533591 h 1090993"/>
                  <a:gd name="connsiteX171" fmla="*/ 271177 w 765619"/>
                  <a:gd name="connsiteY171" fmla="*/ 541592 h 1090993"/>
                  <a:gd name="connsiteX172" fmla="*/ 263176 w 765619"/>
                  <a:gd name="connsiteY172" fmla="*/ 557498 h 1090993"/>
                  <a:gd name="connsiteX173" fmla="*/ 247269 w 765619"/>
                  <a:gd name="connsiteY173" fmla="*/ 565499 h 1090993"/>
                  <a:gd name="connsiteX174" fmla="*/ 239268 w 765619"/>
                  <a:gd name="connsiteY174" fmla="*/ 581406 h 1090993"/>
                  <a:gd name="connsiteX175" fmla="*/ 239268 w 765619"/>
                  <a:gd name="connsiteY175" fmla="*/ 597313 h 1090993"/>
                  <a:gd name="connsiteX176" fmla="*/ 247269 w 765619"/>
                  <a:gd name="connsiteY176" fmla="*/ 605314 h 1090993"/>
                  <a:gd name="connsiteX177" fmla="*/ 271177 w 765619"/>
                  <a:gd name="connsiteY177" fmla="*/ 605314 h 1090993"/>
                  <a:gd name="connsiteX178" fmla="*/ 287084 w 765619"/>
                  <a:gd name="connsiteY178" fmla="*/ 597313 h 1090993"/>
                  <a:gd name="connsiteX179" fmla="*/ 318992 w 765619"/>
                  <a:gd name="connsiteY179" fmla="*/ 597313 h 1090993"/>
                  <a:gd name="connsiteX180" fmla="*/ 334899 w 765619"/>
                  <a:gd name="connsiteY180" fmla="*/ 589407 h 1090993"/>
                  <a:gd name="connsiteX181" fmla="*/ 342900 w 765619"/>
                  <a:gd name="connsiteY181" fmla="*/ 581406 h 1090993"/>
                  <a:gd name="connsiteX182" fmla="*/ 358807 w 765619"/>
                  <a:gd name="connsiteY182" fmla="*/ 573405 h 1090993"/>
                  <a:gd name="connsiteX183" fmla="*/ 398621 w 765619"/>
                  <a:gd name="connsiteY183" fmla="*/ 581406 h 1090993"/>
                  <a:gd name="connsiteX184" fmla="*/ 382715 w 765619"/>
                  <a:gd name="connsiteY184" fmla="*/ 589407 h 1090993"/>
                  <a:gd name="connsiteX185" fmla="*/ 350806 w 765619"/>
                  <a:gd name="connsiteY185" fmla="*/ 621221 h 1090993"/>
                  <a:gd name="connsiteX186" fmla="*/ 350806 w 765619"/>
                  <a:gd name="connsiteY186" fmla="*/ 629222 h 1090993"/>
                  <a:gd name="connsiteX187" fmla="*/ 374713 w 765619"/>
                  <a:gd name="connsiteY187" fmla="*/ 653129 h 1090993"/>
                  <a:gd name="connsiteX188" fmla="*/ 390620 w 765619"/>
                  <a:gd name="connsiteY188" fmla="*/ 653129 h 1090993"/>
                  <a:gd name="connsiteX189" fmla="*/ 398621 w 765619"/>
                  <a:gd name="connsiteY189" fmla="*/ 661130 h 1090993"/>
                  <a:gd name="connsiteX190" fmla="*/ 406622 w 765619"/>
                  <a:gd name="connsiteY190" fmla="*/ 661130 h 1090993"/>
                  <a:gd name="connsiteX191" fmla="*/ 414623 w 765619"/>
                  <a:gd name="connsiteY191" fmla="*/ 685038 h 1090993"/>
                  <a:gd name="connsiteX192" fmla="*/ 390715 w 765619"/>
                  <a:gd name="connsiteY192" fmla="*/ 708946 h 1090993"/>
                  <a:gd name="connsiteX193" fmla="*/ 390715 w 765619"/>
                  <a:gd name="connsiteY193" fmla="*/ 748760 h 1090993"/>
                  <a:gd name="connsiteX194" fmla="*/ 295085 w 765619"/>
                  <a:gd name="connsiteY194" fmla="*/ 748760 h 1090993"/>
                  <a:gd name="connsiteX195" fmla="*/ 287084 w 765619"/>
                  <a:gd name="connsiteY195" fmla="*/ 740759 h 1090993"/>
                  <a:gd name="connsiteX196" fmla="*/ 263176 w 765619"/>
                  <a:gd name="connsiteY196" fmla="*/ 740759 h 1090993"/>
                  <a:gd name="connsiteX197" fmla="*/ 255175 w 765619"/>
                  <a:gd name="connsiteY197" fmla="*/ 748760 h 1090993"/>
                  <a:gd name="connsiteX198" fmla="*/ 279083 w 765619"/>
                  <a:gd name="connsiteY198" fmla="*/ 772668 h 1090993"/>
                  <a:gd name="connsiteX199" fmla="*/ 247174 w 765619"/>
                  <a:gd name="connsiteY199" fmla="*/ 796576 h 1090993"/>
                  <a:gd name="connsiteX200" fmla="*/ 302990 w 765619"/>
                  <a:gd name="connsiteY200" fmla="*/ 788670 h 1090993"/>
                  <a:gd name="connsiteX201" fmla="*/ 302990 w 765619"/>
                  <a:gd name="connsiteY201" fmla="*/ 820484 h 1090993"/>
                  <a:gd name="connsiteX202" fmla="*/ 287084 w 765619"/>
                  <a:gd name="connsiteY202" fmla="*/ 852297 h 1090993"/>
                  <a:gd name="connsiteX203" fmla="*/ 279083 w 765619"/>
                  <a:gd name="connsiteY203" fmla="*/ 860298 h 1090993"/>
                  <a:gd name="connsiteX204" fmla="*/ 263176 w 765619"/>
                  <a:gd name="connsiteY204" fmla="*/ 868299 h 1090993"/>
                  <a:gd name="connsiteX205" fmla="*/ 239268 w 765619"/>
                  <a:gd name="connsiteY205" fmla="*/ 876205 h 1090993"/>
                  <a:gd name="connsiteX206" fmla="*/ 223361 w 765619"/>
                  <a:gd name="connsiteY206" fmla="*/ 884206 h 1090993"/>
                  <a:gd name="connsiteX207" fmla="*/ 215360 w 765619"/>
                  <a:gd name="connsiteY207" fmla="*/ 884206 h 1090993"/>
                  <a:gd name="connsiteX208" fmla="*/ 215360 w 765619"/>
                  <a:gd name="connsiteY208" fmla="*/ 916019 h 1090993"/>
                  <a:gd name="connsiteX209" fmla="*/ 223361 w 765619"/>
                  <a:gd name="connsiteY209" fmla="*/ 924020 h 1090993"/>
                  <a:gd name="connsiteX210" fmla="*/ 231362 w 765619"/>
                  <a:gd name="connsiteY210" fmla="*/ 924020 h 1090993"/>
                  <a:gd name="connsiteX211" fmla="*/ 239363 w 765619"/>
                  <a:gd name="connsiteY211" fmla="*/ 916019 h 1090993"/>
                  <a:gd name="connsiteX212" fmla="*/ 255270 w 765619"/>
                  <a:gd name="connsiteY212" fmla="*/ 908113 h 1090993"/>
                  <a:gd name="connsiteX213" fmla="*/ 263271 w 765619"/>
                  <a:gd name="connsiteY213" fmla="*/ 900113 h 1090993"/>
                  <a:gd name="connsiteX214" fmla="*/ 271272 w 765619"/>
                  <a:gd name="connsiteY214" fmla="*/ 908113 h 1090993"/>
                  <a:gd name="connsiteX215" fmla="*/ 271272 w 765619"/>
                  <a:gd name="connsiteY215" fmla="*/ 916019 h 1090993"/>
                  <a:gd name="connsiteX216" fmla="*/ 279273 w 765619"/>
                  <a:gd name="connsiteY216" fmla="*/ 924020 h 1090993"/>
                  <a:gd name="connsiteX217" fmla="*/ 311182 w 765619"/>
                  <a:gd name="connsiteY217" fmla="*/ 924020 h 1090993"/>
                  <a:gd name="connsiteX218" fmla="*/ 319183 w 765619"/>
                  <a:gd name="connsiteY218" fmla="*/ 931926 h 1090993"/>
                  <a:gd name="connsiteX219" fmla="*/ 335090 w 765619"/>
                  <a:gd name="connsiteY219" fmla="*/ 939927 h 1090993"/>
                  <a:gd name="connsiteX220" fmla="*/ 343090 w 765619"/>
                  <a:gd name="connsiteY220" fmla="*/ 939927 h 1090993"/>
                  <a:gd name="connsiteX221" fmla="*/ 366998 w 765619"/>
                  <a:gd name="connsiteY221" fmla="*/ 931926 h 1090993"/>
                  <a:gd name="connsiteX222" fmla="*/ 382905 w 765619"/>
                  <a:gd name="connsiteY222" fmla="*/ 924020 h 1090993"/>
                  <a:gd name="connsiteX223" fmla="*/ 390906 w 765619"/>
                  <a:gd name="connsiteY223" fmla="*/ 916019 h 1090993"/>
                  <a:gd name="connsiteX224" fmla="*/ 422815 w 765619"/>
                  <a:gd name="connsiteY224" fmla="*/ 916019 h 1090993"/>
                  <a:gd name="connsiteX225" fmla="*/ 414814 w 765619"/>
                  <a:gd name="connsiteY225" fmla="*/ 924020 h 1090993"/>
                  <a:gd name="connsiteX226" fmla="*/ 398907 w 765619"/>
                  <a:gd name="connsiteY226" fmla="*/ 931926 h 1090993"/>
                  <a:gd name="connsiteX227" fmla="*/ 390906 w 765619"/>
                  <a:gd name="connsiteY227" fmla="*/ 947833 h 1090993"/>
                  <a:gd name="connsiteX228" fmla="*/ 374999 w 765619"/>
                  <a:gd name="connsiteY228" fmla="*/ 955738 h 1090993"/>
                  <a:gd name="connsiteX229" fmla="*/ 366998 w 765619"/>
                  <a:gd name="connsiteY229" fmla="*/ 963739 h 1090993"/>
                  <a:gd name="connsiteX230" fmla="*/ 279368 w 765619"/>
                  <a:gd name="connsiteY230" fmla="*/ 963739 h 1090993"/>
                  <a:gd name="connsiteX231" fmla="*/ 279368 w 765619"/>
                  <a:gd name="connsiteY231" fmla="*/ 979646 h 1090993"/>
                  <a:gd name="connsiteX232" fmla="*/ 263462 w 765619"/>
                  <a:gd name="connsiteY232" fmla="*/ 979646 h 1090993"/>
                  <a:gd name="connsiteX233" fmla="*/ 247555 w 765619"/>
                  <a:gd name="connsiteY233" fmla="*/ 987647 h 1090993"/>
                  <a:gd name="connsiteX234" fmla="*/ 239554 w 765619"/>
                  <a:gd name="connsiteY234" fmla="*/ 995553 h 1090993"/>
                  <a:gd name="connsiteX235" fmla="*/ 239554 w 765619"/>
                  <a:gd name="connsiteY235" fmla="*/ 1019461 h 1090993"/>
                  <a:gd name="connsiteX236" fmla="*/ 231553 w 765619"/>
                  <a:gd name="connsiteY236" fmla="*/ 1027462 h 1090993"/>
                  <a:gd name="connsiteX237" fmla="*/ 191738 w 765619"/>
                  <a:gd name="connsiteY237" fmla="*/ 1027462 h 1090993"/>
                  <a:gd name="connsiteX238" fmla="*/ 191738 w 765619"/>
                  <a:gd name="connsiteY238" fmla="*/ 1035368 h 1090993"/>
                  <a:gd name="connsiteX239" fmla="*/ 183737 w 765619"/>
                  <a:gd name="connsiteY239" fmla="*/ 1043368 h 1090993"/>
                  <a:gd name="connsiteX240" fmla="*/ 183737 w 765619"/>
                  <a:gd name="connsiteY240" fmla="*/ 1051274 h 1090993"/>
                  <a:gd name="connsiteX241" fmla="*/ 167830 w 765619"/>
                  <a:gd name="connsiteY241" fmla="*/ 1067181 h 1090993"/>
                  <a:gd name="connsiteX242" fmla="*/ 151924 w 765619"/>
                  <a:gd name="connsiteY242" fmla="*/ 1075087 h 1090993"/>
                  <a:gd name="connsiteX243" fmla="*/ 143923 w 765619"/>
                  <a:gd name="connsiteY243" fmla="*/ 1075087 h 1090993"/>
                  <a:gd name="connsiteX244" fmla="*/ 143923 w 765619"/>
                  <a:gd name="connsiteY244" fmla="*/ 1083088 h 1090993"/>
                  <a:gd name="connsiteX245" fmla="*/ 151924 w 765619"/>
                  <a:gd name="connsiteY245" fmla="*/ 1083088 h 1090993"/>
                  <a:gd name="connsiteX246" fmla="*/ 159925 w 765619"/>
                  <a:gd name="connsiteY246" fmla="*/ 1090993 h 1090993"/>
                  <a:gd name="connsiteX247" fmla="*/ 199739 w 765619"/>
                  <a:gd name="connsiteY247" fmla="*/ 1090993 h 1090993"/>
                  <a:gd name="connsiteX248" fmla="*/ 207740 w 765619"/>
                  <a:gd name="connsiteY248" fmla="*/ 1075087 h 1090993"/>
                  <a:gd name="connsiteX249" fmla="*/ 231648 w 765619"/>
                  <a:gd name="connsiteY249" fmla="*/ 1051179 h 1090993"/>
                  <a:gd name="connsiteX250" fmla="*/ 279464 w 765619"/>
                  <a:gd name="connsiteY250" fmla="*/ 1051179 h 1090993"/>
                  <a:gd name="connsiteX251" fmla="*/ 287465 w 765619"/>
                  <a:gd name="connsiteY251" fmla="*/ 1059180 h 1090993"/>
                  <a:gd name="connsiteX252" fmla="*/ 303371 w 765619"/>
                  <a:gd name="connsiteY252" fmla="*/ 1067181 h 1090993"/>
                  <a:gd name="connsiteX253" fmla="*/ 319278 w 765619"/>
                  <a:gd name="connsiteY253" fmla="*/ 1067181 h 1090993"/>
                  <a:gd name="connsiteX254" fmla="*/ 327279 w 765619"/>
                  <a:gd name="connsiteY254" fmla="*/ 1051274 h 1090993"/>
                  <a:gd name="connsiteX255" fmla="*/ 335280 w 765619"/>
                  <a:gd name="connsiteY255" fmla="*/ 1043368 h 1090993"/>
                  <a:gd name="connsiteX256" fmla="*/ 343281 w 765619"/>
                  <a:gd name="connsiteY256" fmla="*/ 1027462 h 1090993"/>
                  <a:gd name="connsiteX257" fmla="*/ 359188 w 765619"/>
                  <a:gd name="connsiteY257" fmla="*/ 1011555 h 1090993"/>
                  <a:gd name="connsiteX258" fmla="*/ 383096 w 765619"/>
                  <a:gd name="connsiteY258" fmla="*/ 1011555 h 1090993"/>
                  <a:gd name="connsiteX259" fmla="*/ 399002 w 765619"/>
                  <a:gd name="connsiteY259" fmla="*/ 1027462 h 1090993"/>
                  <a:gd name="connsiteX260" fmla="*/ 438817 w 765619"/>
                  <a:gd name="connsiteY260" fmla="*/ 1027462 h 1090993"/>
                  <a:gd name="connsiteX261" fmla="*/ 470725 w 765619"/>
                  <a:gd name="connsiteY261" fmla="*/ 1011555 h 1090993"/>
                  <a:gd name="connsiteX262" fmla="*/ 478727 w 765619"/>
                  <a:gd name="connsiteY262" fmla="*/ 1011555 h 1090993"/>
                  <a:gd name="connsiteX263" fmla="*/ 486728 w 765619"/>
                  <a:gd name="connsiteY263" fmla="*/ 1019556 h 1090993"/>
                  <a:gd name="connsiteX264" fmla="*/ 502634 w 765619"/>
                  <a:gd name="connsiteY264" fmla="*/ 1019556 h 1090993"/>
                  <a:gd name="connsiteX265" fmla="*/ 518541 w 765619"/>
                  <a:gd name="connsiteY265" fmla="*/ 1027557 h 1090993"/>
                  <a:gd name="connsiteX266" fmla="*/ 526542 w 765619"/>
                  <a:gd name="connsiteY266" fmla="*/ 1027557 h 1090993"/>
                  <a:gd name="connsiteX267" fmla="*/ 526542 w 765619"/>
                  <a:gd name="connsiteY267" fmla="*/ 1019556 h 1090993"/>
                  <a:gd name="connsiteX268" fmla="*/ 518541 w 765619"/>
                  <a:gd name="connsiteY268" fmla="*/ 1011555 h 1090993"/>
                  <a:gd name="connsiteX269" fmla="*/ 518541 w 765619"/>
                  <a:gd name="connsiteY269" fmla="*/ 995648 h 1090993"/>
                  <a:gd name="connsiteX270" fmla="*/ 526542 w 765619"/>
                  <a:gd name="connsiteY270" fmla="*/ 995648 h 1090993"/>
                  <a:gd name="connsiteX271" fmla="*/ 542449 w 765619"/>
                  <a:gd name="connsiteY271" fmla="*/ 1003649 h 1090993"/>
                  <a:gd name="connsiteX272" fmla="*/ 550450 w 765619"/>
                  <a:gd name="connsiteY272" fmla="*/ 1011555 h 1090993"/>
                  <a:gd name="connsiteX273" fmla="*/ 566357 w 765619"/>
                  <a:gd name="connsiteY273" fmla="*/ 1003649 h 1090993"/>
                  <a:gd name="connsiteX274" fmla="*/ 661988 w 765619"/>
                  <a:gd name="connsiteY274" fmla="*/ 1003649 h 1090993"/>
                  <a:gd name="connsiteX275" fmla="*/ 693896 w 765619"/>
                  <a:gd name="connsiteY275" fmla="*/ 995648 h 1090993"/>
                  <a:gd name="connsiteX276" fmla="*/ 709803 w 765619"/>
                  <a:gd name="connsiteY276" fmla="*/ 987743 h 1090993"/>
                  <a:gd name="connsiteX277" fmla="*/ 717804 w 765619"/>
                  <a:gd name="connsiteY277" fmla="*/ 971836 h 1090993"/>
                  <a:gd name="connsiteX278" fmla="*/ 725805 w 765619"/>
                  <a:gd name="connsiteY278" fmla="*/ 963930 h 1090993"/>
                  <a:gd name="connsiteX279" fmla="*/ 733806 w 765619"/>
                  <a:gd name="connsiteY279" fmla="*/ 948023 h 1090993"/>
                  <a:gd name="connsiteX280" fmla="*/ 662083 w 765619"/>
                  <a:gd name="connsiteY280" fmla="*/ 940022 h 1090993"/>
                  <a:gd name="connsiteX281" fmla="*/ 693992 w 765619"/>
                  <a:gd name="connsiteY281" fmla="*/ 932021 h 1090993"/>
                  <a:gd name="connsiteX282" fmla="*/ 685990 w 765619"/>
                  <a:gd name="connsiteY282" fmla="*/ 908113 h 1090993"/>
                  <a:gd name="connsiteX283" fmla="*/ 701897 w 765619"/>
                  <a:gd name="connsiteY283" fmla="*/ 892207 h 1090993"/>
                  <a:gd name="connsiteX284" fmla="*/ 717804 w 765619"/>
                  <a:gd name="connsiteY284" fmla="*/ 884301 h 1090993"/>
                  <a:gd name="connsiteX285" fmla="*/ 725805 w 765619"/>
                  <a:gd name="connsiteY285" fmla="*/ 884301 h 1090993"/>
                  <a:gd name="connsiteX286" fmla="*/ 741712 w 765619"/>
                  <a:gd name="connsiteY286" fmla="*/ 876300 h 1090993"/>
                  <a:gd name="connsiteX287" fmla="*/ 749713 w 765619"/>
                  <a:gd name="connsiteY287" fmla="*/ 868394 h 1090993"/>
                  <a:gd name="connsiteX288" fmla="*/ 765620 w 765619"/>
                  <a:gd name="connsiteY288" fmla="*/ 820579 h 1090993"/>
                  <a:gd name="connsiteX289" fmla="*/ 757619 w 765619"/>
                  <a:gd name="connsiteY289" fmla="*/ 804672 h 1090993"/>
                  <a:gd name="connsiteX290" fmla="*/ 749618 w 765619"/>
                  <a:gd name="connsiteY290" fmla="*/ 796671 h 1090993"/>
                  <a:gd name="connsiteX291" fmla="*/ 733711 w 765619"/>
                  <a:gd name="connsiteY291" fmla="*/ 788765 h 1090993"/>
                  <a:gd name="connsiteX292" fmla="*/ 717804 w 765619"/>
                  <a:gd name="connsiteY292" fmla="*/ 788765 h 1090993"/>
                  <a:gd name="connsiteX293" fmla="*/ 701897 w 765619"/>
                  <a:gd name="connsiteY293" fmla="*/ 780764 h 1090993"/>
                  <a:gd name="connsiteX294" fmla="*/ 669988 w 765619"/>
                  <a:gd name="connsiteY294" fmla="*/ 780764 h 1090993"/>
                  <a:gd name="connsiteX295" fmla="*/ 255270 w 765619"/>
                  <a:gd name="connsiteY295" fmla="*/ 533400 h 1090993"/>
                  <a:gd name="connsiteX296" fmla="*/ 255270 w 765619"/>
                  <a:gd name="connsiteY296" fmla="*/ 517493 h 1090993"/>
                  <a:gd name="connsiteX297" fmla="*/ 247269 w 765619"/>
                  <a:gd name="connsiteY297" fmla="*/ 509588 h 1090993"/>
                  <a:gd name="connsiteX298" fmla="*/ 247269 w 765619"/>
                  <a:gd name="connsiteY298" fmla="*/ 501587 h 1090993"/>
                  <a:gd name="connsiteX299" fmla="*/ 231362 w 765619"/>
                  <a:gd name="connsiteY299" fmla="*/ 517493 h 1090993"/>
                  <a:gd name="connsiteX300" fmla="*/ 231362 w 765619"/>
                  <a:gd name="connsiteY300" fmla="*/ 525494 h 1090993"/>
                  <a:gd name="connsiteX301" fmla="*/ 239363 w 765619"/>
                  <a:gd name="connsiteY301" fmla="*/ 533400 h 1090993"/>
                  <a:gd name="connsiteX302" fmla="*/ 255270 w 765619"/>
                  <a:gd name="connsiteY302" fmla="*/ 533400 h 1090993"/>
                  <a:gd name="connsiteX303" fmla="*/ 454533 w 765619"/>
                  <a:gd name="connsiteY303" fmla="*/ 183166 h 1090993"/>
                  <a:gd name="connsiteX304" fmla="*/ 454533 w 765619"/>
                  <a:gd name="connsiteY304" fmla="*/ 199072 h 1090993"/>
                  <a:gd name="connsiteX305" fmla="*/ 470440 w 765619"/>
                  <a:gd name="connsiteY305" fmla="*/ 183166 h 1090993"/>
                  <a:gd name="connsiteX306" fmla="*/ 454533 w 765619"/>
                  <a:gd name="connsiteY306" fmla="*/ 183166 h 1090993"/>
                  <a:gd name="connsiteX307" fmla="*/ 574072 w 765619"/>
                  <a:gd name="connsiteY307" fmla="*/ 63722 h 1090993"/>
                  <a:gd name="connsiteX308" fmla="*/ 574072 w 765619"/>
                  <a:gd name="connsiteY308" fmla="*/ 87630 h 1090993"/>
                  <a:gd name="connsiteX309" fmla="*/ 582073 w 765619"/>
                  <a:gd name="connsiteY309" fmla="*/ 87630 h 1090993"/>
                  <a:gd name="connsiteX310" fmla="*/ 590074 w 765619"/>
                  <a:gd name="connsiteY310" fmla="*/ 79629 h 1090993"/>
                  <a:gd name="connsiteX311" fmla="*/ 598075 w 765619"/>
                  <a:gd name="connsiteY311" fmla="*/ 63722 h 1090993"/>
                  <a:gd name="connsiteX312" fmla="*/ 598075 w 765619"/>
                  <a:gd name="connsiteY312" fmla="*/ 31909 h 1090993"/>
                  <a:gd name="connsiteX313" fmla="*/ 582168 w 765619"/>
                  <a:gd name="connsiteY313" fmla="*/ 16002 h 1090993"/>
                  <a:gd name="connsiteX314" fmla="*/ 574167 w 765619"/>
                  <a:gd name="connsiteY314" fmla="*/ 31909 h 1090993"/>
                  <a:gd name="connsiteX315" fmla="*/ 566166 w 765619"/>
                  <a:gd name="connsiteY315" fmla="*/ 39814 h 1090993"/>
                  <a:gd name="connsiteX316" fmla="*/ 558165 w 765619"/>
                  <a:gd name="connsiteY316" fmla="*/ 39814 h 1090993"/>
                  <a:gd name="connsiteX317" fmla="*/ 558165 w 765619"/>
                  <a:gd name="connsiteY317" fmla="*/ 55721 h 1090993"/>
                  <a:gd name="connsiteX318" fmla="*/ 566166 w 765619"/>
                  <a:gd name="connsiteY318" fmla="*/ 55721 h 1090993"/>
                  <a:gd name="connsiteX319" fmla="*/ 574167 w 765619"/>
                  <a:gd name="connsiteY319" fmla="*/ 63722 h 1090993"/>
                  <a:gd name="connsiteX320" fmla="*/ 629888 w 765619"/>
                  <a:gd name="connsiteY320" fmla="*/ 0 h 1090993"/>
                  <a:gd name="connsiteX321" fmla="*/ 621887 w 765619"/>
                  <a:gd name="connsiteY321" fmla="*/ 0 h 1090993"/>
                  <a:gd name="connsiteX322" fmla="*/ 605885 w 765619"/>
                  <a:gd name="connsiteY322" fmla="*/ 15907 h 1090993"/>
                  <a:gd name="connsiteX323" fmla="*/ 629793 w 765619"/>
                  <a:gd name="connsiteY323" fmla="*/ 15907 h 1090993"/>
                  <a:gd name="connsiteX324" fmla="*/ 629793 w 765619"/>
                  <a:gd name="connsiteY324" fmla="*/ 8001 h 1090993"/>
                  <a:gd name="connsiteX325" fmla="*/ 637794 w 765619"/>
                  <a:gd name="connsiteY325" fmla="*/ 0 h 1090993"/>
                  <a:gd name="connsiteX326" fmla="*/ 629793 w 765619"/>
                  <a:gd name="connsiteY326" fmla="*/ 0 h 1090993"/>
                  <a:gd name="connsiteX327" fmla="*/ 183547 w 765619"/>
                  <a:gd name="connsiteY327" fmla="*/ 342329 h 1090993"/>
                  <a:gd name="connsiteX328" fmla="*/ 183547 w 765619"/>
                  <a:gd name="connsiteY328" fmla="*/ 310515 h 1090993"/>
                  <a:gd name="connsiteX329" fmla="*/ 167640 w 765619"/>
                  <a:gd name="connsiteY329" fmla="*/ 310515 h 1090993"/>
                  <a:gd name="connsiteX330" fmla="*/ 159639 w 765619"/>
                  <a:gd name="connsiteY330" fmla="*/ 318421 h 1090993"/>
                  <a:gd name="connsiteX331" fmla="*/ 159639 w 765619"/>
                  <a:gd name="connsiteY331" fmla="*/ 326422 h 1090993"/>
                  <a:gd name="connsiteX332" fmla="*/ 167640 w 765619"/>
                  <a:gd name="connsiteY332" fmla="*/ 334327 h 1090993"/>
                  <a:gd name="connsiteX333" fmla="*/ 143732 w 765619"/>
                  <a:gd name="connsiteY333" fmla="*/ 334327 h 1090993"/>
                  <a:gd name="connsiteX334" fmla="*/ 143732 w 765619"/>
                  <a:gd name="connsiteY334" fmla="*/ 342329 h 1090993"/>
                  <a:gd name="connsiteX335" fmla="*/ 151733 w 765619"/>
                  <a:gd name="connsiteY335" fmla="*/ 350330 h 1090993"/>
                  <a:gd name="connsiteX336" fmla="*/ 159734 w 765619"/>
                  <a:gd name="connsiteY336" fmla="*/ 350330 h 1090993"/>
                  <a:gd name="connsiteX337" fmla="*/ 167735 w 765619"/>
                  <a:gd name="connsiteY337" fmla="*/ 358235 h 1090993"/>
                  <a:gd name="connsiteX338" fmla="*/ 199644 w 765619"/>
                  <a:gd name="connsiteY338" fmla="*/ 358235 h 1090993"/>
                  <a:gd name="connsiteX339" fmla="*/ 183737 w 765619"/>
                  <a:gd name="connsiteY339" fmla="*/ 342329 h 1090993"/>
                  <a:gd name="connsiteX340" fmla="*/ 438626 w 765619"/>
                  <a:gd name="connsiteY340" fmla="*/ 159258 h 1090993"/>
                  <a:gd name="connsiteX341" fmla="*/ 430625 w 765619"/>
                  <a:gd name="connsiteY341" fmla="*/ 159258 h 1090993"/>
                  <a:gd name="connsiteX342" fmla="*/ 422624 w 765619"/>
                  <a:gd name="connsiteY342" fmla="*/ 167259 h 1090993"/>
                  <a:gd name="connsiteX343" fmla="*/ 422624 w 765619"/>
                  <a:gd name="connsiteY343" fmla="*/ 183166 h 1090993"/>
                  <a:gd name="connsiteX344" fmla="*/ 438531 w 765619"/>
                  <a:gd name="connsiteY344" fmla="*/ 183166 h 1090993"/>
                  <a:gd name="connsiteX345" fmla="*/ 446532 w 765619"/>
                  <a:gd name="connsiteY345" fmla="*/ 167259 h 1090993"/>
                  <a:gd name="connsiteX346" fmla="*/ 438531 w 765619"/>
                  <a:gd name="connsiteY346" fmla="*/ 159258 h 1090993"/>
                  <a:gd name="connsiteX347" fmla="*/ 151733 w 765619"/>
                  <a:gd name="connsiteY347" fmla="*/ 517493 h 1090993"/>
                  <a:gd name="connsiteX348" fmla="*/ 167640 w 765619"/>
                  <a:gd name="connsiteY348" fmla="*/ 517493 h 1090993"/>
                  <a:gd name="connsiteX349" fmla="*/ 183547 w 765619"/>
                  <a:gd name="connsiteY349" fmla="*/ 509588 h 1090993"/>
                  <a:gd name="connsiteX350" fmla="*/ 183547 w 765619"/>
                  <a:gd name="connsiteY350" fmla="*/ 493681 h 1090993"/>
                  <a:gd name="connsiteX351" fmla="*/ 175546 w 765619"/>
                  <a:gd name="connsiteY351" fmla="*/ 485775 h 1090993"/>
                  <a:gd name="connsiteX352" fmla="*/ 159639 w 765619"/>
                  <a:gd name="connsiteY352" fmla="*/ 485775 h 1090993"/>
                  <a:gd name="connsiteX353" fmla="*/ 151638 w 765619"/>
                  <a:gd name="connsiteY353" fmla="*/ 493681 h 1090993"/>
                  <a:gd name="connsiteX354" fmla="*/ 143637 w 765619"/>
                  <a:gd name="connsiteY354" fmla="*/ 509588 h 1090993"/>
                  <a:gd name="connsiteX355" fmla="*/ 143637 w 765619"/>
                  <a:gd name="connsiteY355" fmla="*/ 517493 h 1090993"/>
                  <a:gd name="connsiteX356" fmla="*/ 151638 w 765619"/>
                  <a:gd name="connsiteY356" fmla="*/ 517493 h 1090993"/>
                  <a:gd name="connsiteX357" fmla="*/ 175641 w 765619"/>
                  <a:gd name="connsiteY357" fmla="*/ 413956 h 1090993"/>
                  <a:gd name="connsiteX358" fmla="*/ 167640 w 765619"/>
                  <a:gd name="connsiteY358" fmla="*/ 413956 h 1090993"/>
                  <a:gd name="connsiteX359" fmla="*/ 167640 w 765619"/>
                  <a:gd name="connsiteY359" fmla="*/ 445770 h 1090993"/>
                  <a:gd name="connsiteX360" fmla="*/ 175641 w 765619"/>
                  <a:gd name="connsiteY360" fmla="*/ 445770 h 1090993"/>
                  <a:gd name="connsiteX361" fmla="*/ 183642 w 765619"/>
                  <a:gd name="connsiteY361" fmla="*/ 437769 h 1090993"/>
                  <a:gd name="connsiteX362" fmla="*/ 199549 w 765619"/>
                  <a:gd name="connsiteY362" fmla="*/ 437769 h 1090993"/>
                  <a:gd name="connsiteX363" fmla="*/ 191548 w 765619"/>
                  <a:gd name="connsiteY363" fmla="*/ 421862 h 1090993"/>
                  <a:gd name="connsiteX364" fmla="*/ 183547 w 765619"/>
                  <a:gd name="connsiteY364" fmla="*/ 413861 h 1090993"/>
                  <a:gd name="connsiteX365" fmla="*/ 175546 w 765619"/>
                  <a:gd name="connsiteY365" fmla="*/ 413861 h 1090993"/>
                  <a:gd name="connsiteX366" fmla="*/ 215455 w 765619"/>
                  <a:gd name="connsiteY366" fmla="*/ 501491 h 1090993"/>
                  <a:gd name="connsiteX367" fmla="*/ 207454 w 765619"/>
                  <a:gd name="connsiteY367" fmla="*/ 501491 h 1090993"/>
                  <a:gd name="connsiteX368" fmla="*/ 199453 w 765619"/>
                  <a:gd name="connsiteY368" fmla="*/ 509492 h 1090993"/>
                  <a:gd name="connsiteX369" fmla="*/ 199453 w 765619"/>
                  <a:gd name="connsiteY369" fmla="*/ 525399 h 1090993"/>
                  <a:gd name="connsiteX370" fmla="*/ 191452 w 765619"/>
                  <a:gd name="connsiteY370" fmla="*/ 549307 h 1090993"/>
                  <a:gd name="connsiteX371" fmla="*/ 207359 w 765619"/>
                  <a:gd name="connsiteY371" fmla="*/ 533400 h 1090993"/>
                  <a:gd name="connsiteX372" fmla="*/ 215360 w 765619"/>
                  <a:gd name="connsiteY372" fmla="*/ 517493 h 1090993"/>
                  <a:gd name="connsiteX373" fmla="*/ 215360 w 765619"/>
                  <a:gd name="connsiteY373" fmla="*/ 501587 h 109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765619" h="1090993">
                    <a:moveTo>
                      <a:pt x="95822" y="334327"/>
                    </a:moveTo>
                    <a:lnTo>
                      <a:pt x="79915" y="374142"/>
                    </a:lnTo>
                    <a:lnTo>
                      <a:pt x="103823" y="342329"/>
                    </a:lnTo>
                    <a:lnTo>
                      <a:pt x="95822" y="334327"/>
                    </a:lnTo>
                    <a:close/>
                    <a:moveTo>
                      <a:pt x="143637" y="278606"/>
                    </a:moveTo>
                    <a:lnTo>
                      <a:pt x="167545" y="278606"/>
                    </a:lnTo>
                    <a:lnTo>
                      <a:pt x="175546" y="270700"/>
                    </a:lnTo>
                    <a:lnTo>
                      <a:pt x="175546" y="262700"/>
                    </a:lnTo>
                    <a:lnTo>
                      <a:pt x="183547" y="246793"/>
                    </a:lnTo>
                    <a:lnTo>
                      <a:pt x="199453" y="230886"/>
                    </a:lnTo>
                    <a:lnTo>
                      <a:pt x="199453" y="222885"/>
                    </a:lnTo>
                    <a:lnTo>
                      <a:pt x="183547" y="230886"/>
                    </a:lnTo>
                    <a:lnTo>
                      <a:pt x="175546" y="230886"/>
                    </a:lnTo>
                    <a:lnTo>
                      <a:pt x="151638" y="254794"/>
                    </a:lnTo>
                    <a:lnTo>
                      <a:pt x="143637" y="246888"/>
                    </a:lnTo>
                    <a:lnTo>
                      <a:pt x="127730" y="246888"/>
                    </a:lnTo>
                    <a:lnTo>
                      <a:pt x="119729" y="254794"/>
                    </a:lnTo>
                    <a:lnTo>
                      <a:pt x="119729" y="278701"/>
                    </a:lnTo>
                    <a:lnTo>
                      <a:pt x="127730" y="286702"/>
                    </a:lnTo>
                    <a:lnTo>
                      <a:pt x="127730" y="302609"/>
                    </a:lnTo>
                    <a:lnTo>
                      <a:pt x="143637" y="278701"/>
                    </a:lnTo>
                    <a:close/>
                    <a:moveTo>
                      <a:pt x="103823" y="302514"/>
                    </a:moveTo>
                    <a:lnTo>
                      <a:pt x="95822" y="302514"/>
                    </a:lnTo>
                    <a:lnTo>
                      <a:pt x="87821" y="310515"/>
                    </a:lnTo>
                    <a:lnTo>
                      <a:pt x="87821" y="318421"/>
                    </a:lnTo>
                    <a:lnTo>
                      <a:pt x="111728" y="318421"/>
                    </a:lnTo>
                    <a:lnTo>
                      <a:pt x="111728" y="302514"/>
                    </a:lnTo>
                    <a:lnTo>
                      <a:pt x="103727" y="302514"/>
                    </a:lnTo>
                    <a:close/>
                    <a:moveTo>
                      <a:pt x="167545" y="668750"/>
                    </a:moveTo>
                    <a:lnTo>
                      <a:pt x="175546" y="660749"/>
                    </a:lnTo>
                    <a:lnTo>
                      <a:pt x="175546" y="652748"/>
                    </a:lnTo>
                    <a:lnTo>
                      <a:pt x="191452" y="652748"/>
                    </a:lnTo>
                    <a:lnTo>
                      <a:pt x="199453" y="636842"/>
                    </a:lnTo>
                    <a:lnTo>
                      <a:pt x="207454" y="628936"/>
                    </a:lnTo>
                    <a:lnTo>
                      <a:pt x="207454" y="613029"/>
                    </a:lnTo>
                    <a:lnTo>
                      <a:pt x="183547" y="589121"/>
                    </a:lnTo>
                    <a:lnTo>
                      <a:pt x="183547" y="573214"/>
                    </a:lnTo>
                    <a:lnTo>
                      <a:pt x="175546" y="581216"/>
                    </a:lnTo>
                    <a:lnTo>
                      <a:pt x="167545" y="565309"/>
                    </a:lnTo>
                    <a:lnTo>
                      <a:pt x="159544" y="557308"/>
                    </a:lnTo>
                    <a:lnTo>
                      <a:pt x="103727" y="557308"/>
                    </a:lnTo>
                    <a:lnTo>
                      <a:pt x="95726" y="565309"/>
                    </a:lnTo>
                    <a:lnTo>
                      <a:pt x="39910" y="597122"/>
                    </a:lnTo>
                    <a:lnTo>
                      <a:pt x="39910" y="613029"/>
                    </a:lnTo>
                    <a:lnTo>
                      <a:pt x="31909" y="613029"/>
                    </a:lnTo>
                    <a:lnTo>
                      <a:pt x="23908" y="621030"/>
                    </a:lnTo>
                    <a:lnTo>
                      <a:pt x="15907" y="621030"/>
                    </a:lnTo>
                    <a:lnTo>
                      <a:pt x="0" y="636937"/>
                    </a:lnTo>
                    <a:lnTo>
                      <a:pt x="8001" y="644938"/>
                    </a:lnTo>
                    <a:lnTo>
                      <a:pt x="39910" y="660845"/>
                    </a:lnTo>
                    <a:lnTo>
                      <a:pt x="55817" y="660845"/>
                    </a:lnTo>
                    <a:lnTo>
                      <a:pt x="87725" y="629031"/>
                    </a:lnTo>
                    <a:lnTo>
                      <a:pt x="111633" y="660845"/>
                    </a:lnTo>
                    <a:lnTo>
                      <a:pt x="159448" y="668846"/>
                    </a:lnTo>
                    <a:lnTo>
                      <a:pt x="167449" y="668846"/>
                    </a:lnTo>
                    <a:close/>
                    <a:moveTo>
                      <a:pt x="295085" y="644843"/>
                    </a:moveTo>
                    <a:lnTo>
                      <a:pt x="287084" y="636842"/>
                    </a:lnTo>
                    <a:lnTo>
                      <a:pt x="271177" y="636842"/>
                    </a:lnTo>
                    <a:lnTo>
                      <a:pt x="271177" y="644843"/>
                    </a:lnTo>
                    <a:lnTo>
                      <a:pt x="263176" y="660749"/>
                    </a:lnTo>
                    <a:lnTo>
                      <a:pt x="255175" y="668750"/>
                    </a:lnTo>
                    <a:lnTo>
                      <a:pt x="279083" y="668750"/>
                    </a:lnTo>
                    <a:lnTo>
                      <a:pt x="294989" y="652843"/>
                    </a:lnTo>
                    <a:lnTo>
                      <a:pt x="294989" y="644938"/>
                    </a:lnTo>
                    <a:close/>
                    <a:moveTo>
                      <a:pt x="669703" y="780193"/>
                    </a:moveTo>
                    <a:lnTo>
                      <a:pt x="661702" y="788194"/>
                    </a:lnTo>
                    <a:lnTo>
                      <a:pt x="661702" y="796100"/>
                    </a:lnTo>
                    <a:lnTo>
                      <a:pt x="637794" y="796100"/>
                    </a:lnTo>
                    <a:lnTo>
                      <a:pt x="637794" y="780193"/>
                    </a:lnTo>
                    <a:lnTo>
                      <a:pt x="645795" y="764286"/>
                    </a:lnTo>
                    <a:lnTo>
                      <a:pt x="661702" y="748379"/>
                    </a:lnTo>
                    <a:lnTo>
                      <a:pt x="653701" y="740378"/>
                    </a:lnTo>
                    <a:lnTo>
                      <a:pt x="605885" y="716471"/>
                    </a:lnTo>
                    <a:lnTo>
                      <a:pt x="597884" y="716471"/>
                    </a:lnTo>
                    <a:lnTo>
                      <a:pt x="589883" y="708565"/>
                    </a:lnTo>
                    <a:lnTo>
                      <a:pt x="597884" y="708565"/>
                    </a:lnTo>
                    <a:lnTo>
                      <a:pt x="605885" y="700564"/>
                    </a:lnTo>
                    <a:lnTo>
                      <a:pt x="637794" y="700564"/>
                    </a:lnTo>
                    <a:lnTo>
                      <a:pt x="621887" y="684657"/>
                    </a:lnTo>
                    <a:lnTo>
                      <a:pt x="621887" y="676656"/>
                    </a:lnTo>
                    <a:lnTo>
                      <a:pt x="605885" y="660749"/>
                    </a:lnTo>
                    <a:lnTo>
                      <a:pt x="597884" y="644843"/>
                    </a:lnTo>
                    <a:lnTo>
                      <a:pt x="573977" y="620935"/>
                    </a:lnTo>
                    <a:lnTo>
                      <a:pt x="558070" y="620935"/>
                    </a:lnTo>
                    <a:lnTo>
                      <a:pt x="550069" y="605028"/>
                    </a:lnTo>
                    <a:lnTo>
                      <a:pt x="534162" y="597027"/>
                    </a:lnTo>
                    <a:lnTo>
                      <a:pt x="518255" y="581120"/>
                    </a:lnTo>
                    <a:lnTo>
                      <a:pt x="518255" y="549307"/>
                    </a:lnTo>
                    <a:lnTo>
                      <a:pt x="526256" y="533400"/>
                    </a:lnTo>
                    <a:lnTo>
                      <a:pt x="526256" y="517493"/>
                    </a:lnTo>
                    <a:lnTo>
                      <a:pt x="510350" y="517493"/>
                    </a:lnTo>
                    <a:lnTo>
                      <a:pt x="502348" y="509588"/>
                    </a:lnTo>
                    <a:lnTo>
                      <a:pt x="494348" y="493681"/>
                    </a:lnTo>
                    <a:lnTo>
                      <a:pt x="478441" y="477774"/>
                    </a:lnTo>
                    <a:lnTo>
                      <a:pt x="454533" y="469868"/>
                    </a:lnTo>
                    <a:lnTo>
                      <a:pt x="430625" y="469868"/>
                    </a:lnTo>
                    <a:lnTo>
                      <a:pt x="406717" y="477774"/>
                    </a:lnTo>
                    <a:lnTo>
                      <a:pt x="390811" y="485775"/>
                    </a:lnTo>
                    <a:lnTo>
                      <a:pt x="382810" y="485775"/>
                    </a:lnTo>
                    <a:lnTo>
                      <a:pt x="358902" y="461867"/>
                    </a:lnTo>
                    <a:lnTo>
                      <a:pt x="374809" y="461867"/>
                    </a:lnTo>
                    <a:lnTo>
                      <a:pt x="390715" y="469868"/>
                    </a:lnTo>
                    <a:lnTo>
                      <a:pt x="406622" y="469868"/>
                    </a:lnTo>
                    <a:lnTo>
                      <a:pt x="438531" y="453962"/>
                    </a:lnTo>
                    <a:lnTo>
                      <a:pt x="446532" y="446056"/>
                    </a:lnTo>
                    <a:lnTo>
                      <a:pt x="438531" y="446056"/>
                    </a:lnTo>
                    <a:lnTo>
                      <a:pt x="430530" y="438055"/>
                    </a:lnTo>
                    <a:lnTo>
                      <a:pt x="406622" y="438055"/>
                    </a:lnTo>
                    <a:lnTo>
                      <a:pt x="438531" y="430149"/>
                    </a:lnTo>
                    <a:lnTo>
                      <a:pt x="446532" y="422148"/>
                    </a:lnTo>
                    <a:lnTo>
                      <a:pt x="462439" y="414147"/>
                    </a:lnTo>
                    <a:lnTo>
                      <a:pt x="478346" y="398240"/>
                    </a:lnTo>
                    <a:lnTo>
                      <a:pt x="478346" y="382334"/>
                    </a:lnTo>
                    <a:lnTo>
                      <a:pt x="486346" y="366427"/>
                    </a:lnTo>
                    <a:lnTo>
                      <a:pt x="494348" y="358426"/>
                    </a:lnTo>
                    <a:lnTo>
                      <a:pt x="502348" y="342519"/>
                    </a:lnTo>
                    <a:lnTo>
                      <a:pt x="510350" y="334518"/>
                    </a:lnTo>
                    <a:lnTo>
                      <a:pt x="526256" y="326612"/>
                    </a:lnTo>
                    <a:lnTo>
                      <a:pt x="534257" y="326612"/>
                    </a:lnTo>
                    <a:lnTo>
                      <a:pt x="534257" y="318611"/>
                    </a:lnTo>
                    <a:lnTo>
                      <a:pt x="526256" y="310705"/>
                    </a:lnTo>
                    <a:lnTo>
                      <a:pt x="422624" y="310705"/>
                    </a:lnTo>
                    <a:lnTo>
                      <a:pt x="422624" y="302705"/>
                    </a:lnTo>
                    <a:lnTo>
                      <a:pt x="382810" y="302705"/>
                    </a:lnTo>
                    <a:lnTo>
                      <a:pt x="366903" y="310705"/>
                    </a:lnTo>
                    <a:lnTo>
                      <a:pt x="350996" y="310705"/>
                    </a:lnTo>
                    <a:lnTo>
                      <a:pt x="342995" y="318611"/>
                    </a:lnTo>
                    <a:lnTo>
                      <a:pt x="334994" y="318611"/>
                    </a:lnTo>
                    <a:lnTo>
                      <a:pt x="350901" y="302705"/>
                    </a:lnTo>
                    <a:lnTo>
                      <a:pt x="334994" y="286798"/>
                    </a:lnTo>
                    <a:lnTo>
                      <a:pt x="358902" y="278797"/>
                    </a:lnTo>
                    <a:lnTo>
                      <a:pt x="398717" y="254889"/>
                    </a:lnTo>
                    <a:lnTo>
                      <a:pt x="414623" y="246983"/>
                    </a:lnTo>
                    <a:lnTo>
                      <a:pt x="430530" y="215170"/>
                    </a:lnTo>
                    <a:lnTo>
                      <a:pt x="422529" y="207264"/>
                    </a:lnTo>
                    <a:lnTo>
                      <a:pt x="382715" y="207264"/>
                    </a:lnTo>
                    <a:lnTo>
                      <a:pt x="366808" y="215170"/>
                    </a:lnTo>
                    <a:lnTo>
                      <a:pt x="342900" y="223171"/>
                    </a:lnTo>
                    <a:lnTo>
                      <a:pt x="318992" y="223171"/>
                    </a:lnTo>
                    <a:lnTo>
                      <a:pt x="303086" y="215170"/>
                    </a:lnTo>
                    <a:lnTo>
                      <a:pt x="287179" y="215170"/>
                    </a:lnTo>
                    <a:lnTo>
                      <a:pt x="279178" y="223171"/>
                    </a:lnTo>
                    <a:lnTo>
                      <a:pt x="279178" y="231172"/>
                    </a:lnTo>
                    <a:lnTo>
                      <a:pt x="287179" y="239077"/>
                    </a:lnTo>
                    <a:lnTo>
                      <a:pt x="271272" y="239077"/>
                    </a:lnTo>
                    <a:lnTo>
                      <a:pt x="255365" y="254984"/>
                    </a:lnTo>
                    <a:lnTo>
                      <a:pt x="255365" y="278892"/>
                    </a:lnTo>
                    <a:lnTo>
                      <a:pt x="263366" y="286893"/>
                    </a:lnTo>
                    <a:lnTo>
                      <a:pt x="207550" y="294799"/>
                    </a:lnTo>
                    <a:lnTo>
                      <a:pt x="207550" y="310705"/>
                    </a:lnTo>
                    <a:lnTo>
                      <a:pt x="223456" y="318611"/>
                    </a:lnTo>
                    <a:lnTo>
                      <a:pt x="239363" y="350425"/>
                    </a:lnTo>
                    <a:lnTo>
                      <a:pt x="215455" y="374333"/>
                    </a:lnTo>
                    <a:lnTo>
                      <a:pt x="215455" y="390239"/>
                    </a:lnTo>
                    <a:lnTo>
                      <a:pt x="191548" y="398145"/>
                    </a:lnTo>
                    <a:lnTo>
                      <a:pt x="207454" y="414052"/>
                    </a:lnTo>
                    <a:lnTo>
                      <a:pt x="223361" y="414052"/>
                    </a:lnTo>
                    <a:lnTo>
                      <a:pt x="239268" y="406146"/>
                    </a:lnTo>
                    <a:lnTo>
                      <a:pt x="247269" y="398145"/>
                    </a:lnTo>
                    <a:lnTo>
                      <a:pt x="247269" y="422053"/>
                    </a:lnTo>
                    <a:lnTo>
                      <a:pt x="239268" y="422053"/>
                    </a:lnTo>
                    <a:lnTo>
                      <a:pt x="223361" y="437959"/>
                    </a:lnTo>
                    <a:lnTo>
                      <a:pt x="207454" y="445960"/>
                    </a:lnTo>
                    <a:lnTo>
                      <a:pt x="207454" y="477774"/>
                    </a:lnTo>
                    <a:lnTo>
                      <a:pt x="215455" y="493681"/>
                    </a:lnTo>
                    <a:lnTo>
                      <a:pt x="223456" y="485775"/>
                    </a:lnTo>
                    <a:lnTo>
                      <a:pt x="263271" y="485775"/>
                    </a:lnTo>
                    <a:lnTo>
                      <a:pt x="279178" y="477774"/>
                    </a:lnTo>
                    <a:lnTo>
                      <a:pt x="287179" y="469868"/>
                    </a:lnTo>
                    <a:lnTo>
                      <a:pt x="263271" y="493776"/>
                    </a:lnTo>
                    <a:lnTo>
                      <a:pt x="279178" y="533591"/>
                    </a:lnTo>
                    <a:lnTo>
                      <a:pt x="271177" y="541592"/>
                    </a:lnTo>
                    <a:lnTo>
                      <a:pt x="263176" y="557498"/>
                    </a:lnTo>
                    <a:lnTo>
                      <a:pt x="247269" y="565499"/>
                    </a:lnTo>
                    <a:lnTo>
                      <a:pt x="239268" y="581406"/>
                    </a:lnTo>
                    <a:lnTo>
                      <a:pt x="239268" y="597313"/>
                    </a:lnTo>
                    <a:lnTo>
                      <a:pt x="247269" y="605314"/>
                    </a:lnTo>
                    <a:lnTo>
                      <a:pt x="271177" y="605314"/>
                    </a:lnTo>
                    <a:lnTo>
                      <a:pt x="287084" y="597313"/>
                    </a:lnTo>
                    <a:lnTo>
                      <a:pt x="318992" y="597313"/>
                    </a:lnTo>
                    <a:lnTo>
                      <a:pt x="334899" y="589407"/>
                    </a:lnTo>
                    <a:lnTo>
                      <a:pt x="342900" y="581406"/>
                    </a:lnTo>
                    <a:lnTo>
                      <a:pt x="358807" y="573405"/>
                    </a:lnTo>
                    <a:lnTo>
                      <a:pt x="398621" y="581406"/>
                    </a:lnTo>
                    <a:lnTo>
                      <a:pt x="382715" y="589407"/>
                    </a:lnTo>
                    <a:lnTo>
                      <a:pt x="350806" y="621221"/>
                    </a:lnTo>
                    <a:lnTo>
                      <a:pt x="350806" y="629222"/>
                    </a:lnTo>
                    <a:lnTo>
                      <a:pt x="374713" y="653129"/>
                    </a:lnTo>
                    <a:lnTo>
                      <a:pt x="390620" y="653129"/>
                    </a:lnTo>
                    <a:lnTo>
                      <a:pt x="398621" y="661130"/>
                    </a:lnTo>
                    <a:lnTo>
                      <a:pt x="406622" y="661130"/>
                    </a:lnTo>
                    <a:lnTo>
                      <a:pt x="414623" y="685038"/>
                    </a:lnTo>
                    <a:lnTo>
                      <a:pt x="390715" y="708946"/>
                    </a:lnTo>
                    <a:lnTo>
                      <a:pt x="390715" y="748760"/>
                    </a:lnTo>
                    <a:lnTo>
                      <a:pt x="295085" y="748760"/>
                    </a:lnTo>
                    <a:lnTo>
                      <a:pt x="287084" y="740759"/>
                    </a:lnTo>
                    <a:lnTo>
                      <a:pt x="263176" y="740759"/>
                    </a:lnTo>
                    <a:lnTo>
                      <a:pt x="255175" y="748760"/>
                    </a:lnTo>
                    <a:lnTo>
                      <a:pt x="279083" y="772668"/>
                    </a:lnTo>
                    <a:lnTo>
                      <a:pt x="247174" y="796576"/>
                    </a:lnTo>
                    <a:lnTo>
                      <a:pt x="302990" y="788670"/>
                    </a:lnTo>
                    <a:lnTo>
                      <a:pt x="302990" y="820484"/>
                    </a:lnTo>
                    <a:lnTo>
                      <a:pt x="287084" y="852297"/>
                    </a:lnTo>
                    <a:lnTo>
                      <a:pt x="279083" y="860298"/>
                    </a:lnTo>
                    <a:lnTo>
                      <a:pt x="263176" y="868299"/>
                    </a:lnTo>
                    <a:lnTo>
                      <a:pt x="239268" y="876205"/>
                    </a:lnTo>
                    <a:lnTo>
                      <a:pt x="223361" y="884206"/>
                    </a:lnTo>
                    <a:lnTo>
                      <a:pt x="215360" y="884206"/>
                    </a:lnTo>
                    <a:lnTo>
                      <a:pt x="215360" y="916019"/>
                    </a:lnTo>
                    <a:lnTo>
                      <a:pt x="223361" y="924020"/>
                    </a:lnTo>
                    <a:lnTo>
                      <a:pt x="231362" y="924020"/>
                    </a:lnTo>
                    <a:lnTo>
                      <a:pt x="239363" y="916019"/>
                    </a:lnTo>
                    <a:lnTo>
                      <a:pt x="255270" y="908113"/>
                    </a:lnTo>
                    <a:lnTo>
                      <a:pt x="263271" y="900113"/>
                    </a:lnTo>
                    <a:lnTo>
                      <a:pt x="271272" y="908113"/>
                    </a:lnTo>
                    <a:lnTo>
                      <a:pt x="271272" y="916019"/>
                    </a:lnTo>
                    <a:lnTo>
                      <a:pt x="279273" y="924020"/>
                    </a:lnTo>
                    <a:lnTo>
                      <a:pt x="311182" y="924020"/>
                    </a:lnTo>
                    <a:lnTo>
                      <a:pt x="319183" y="931926"/>
                    </a:lnTo>
                    <a:lnTo>
                      <a:pt x="335090" y="939927"/>
                    </a:lnTo>
                    <a:lnTo>
                      <a:pt x="343090" y="939927"/>
                    </a:lnTo>
                    <a:lnTo>
                      <a:pt x="366998" y="931926"/>
                    </a:lnTo>
                    <a:lnTo>
                      <a:pt x="382905" y="924020"/>
                    </a:lnTo>
                    <a:lnTo>
                      <a:pt x="390906" y="916019"/>
                    </a:lnTo>
                    <a:lnTo>
                      <a:pt x="422815" y="916019"/>
                    </a:lnTo>
                    <a:lnTo>
                      <a:pt x="414814" y="924020"/>
                    </a:lnTo>
                    <a:lnTo>
                      <a:pt x="398907" y="931926"/>
                    </a:lnTo>
                    <a:lnTo>
                      <a:pt x="390906" y="947833"/>
                    </a:lnTo>
                    <a:lnTo>
                      <a:pt x="374999" y="955738"/>
                    </a:lnTo>
                    <a:lnTo>
                      <a:pt x="366998" y="963739"/>
                    </a:lnTo>
                    <a:lnTo>
                      <a:pt x="279368" y="963739"/>
                    </a:lnTo>
                    <a:lnTo>
                      <a:pt x="279368" y="979646"/>
                    </a:lnTo>
                    <a:lnTo>
                      <a:pt x="263462" y="979646"/>
                    </a:lnTo>
                    <a:lnTo>
                      <a:pt x="247555" y="987647"/>
                    </a:lnTo>
                    <a:lnTo>
                      <a:pt x="239554" y="995553"/>
                    </a:lnTo>
                    <a:lnTo>
                      <a:pt x="239554" y="1019461"/>
                    </a:lnTo>
                    <a:lnTo>
                      <a:pt x="231553" y="1027462"/>
                    </a:lnTo>
                    <a:lnTo>
                      <a:pt x="191738" y="1027462"/>
                    </a:lnTo>
                    <a:lnTo>
                      <a:pt x="191738" y="1035368"/>
                    </a:lnTo>
                    <a:lnTo>
                      <a:pt x="183737" y="1043368"/>
                    </a:lnTo>
                    <a:lnTo>
                      <a:pt x="183737" y="1051274"/>
                    </a:lnTo>
                    <a:lnTo>
                      <a:pt x="167830" y="1067181"/>
                    </a:lnTo>
                    <a:lnTo>
                      <a:pt x="151924" y="1075087"/>
                    </a:lnTo>
                    <a:lnTo>
                      <a:pt x="143923" y="1075087"/>
                    </a:lnTo>
                    <a:lnTo>
                      <a:pt x="143923" y="1083088"/>
                    </a:lnTo>
                    <a:lnTo>
                      <a:pt x="151924" y="1083088"/>
                    </a:lnTo>
                    <a:lnTo>
                      <a:pt x="159925" y="1090993"/>
                    </a:lnTo>
                    <a:lnTo>
                      <a:pt x="199739" y="1090993"/>
                    </a:lnTo>
                    <a:lnTo>
                      <a:pt x="207740" y="1075087"/>
                    </a:lnTo>
                    <a:lnTo>
                      <a:pt x="231648" y="1051179"/>
                    </a:lnTo>
                    <a:lnTo>
                      <a:pt x="279464" y="1051179"/>
                    </a:lnTo>
                    <a:lnTo>
                      <a:pt x="287465" y="1059180"/>
                    </a:lnTo>
                    <a:lnTo>
                      <a:pt x="303371" y="1067181"/>
                    </a:lnTo>
                    <a:lnTo>
                      <a:pt x="319278" y="1067181"/>
                    </a:lnTo>
                    <a:lnTo>
                      <a:pt x="327279" y="1051274"/>
                    </a:lnTo>
                    <a:lnTo>
                      <a:pt x="335280" y="1043368"/>
                    </a:lnTo>
                    <a:lnTo>
                      <a:pt x="343281" y="1027462"/>
                    </a:lnTo>
                    <a:lnTo>
                      <a:pt x="359188" y="1011555"/>
                    </a:lnTo>
                    <a:lnTo>
                      <a:pt x="383096" y="1011555"/>
                    </a:lnTo>
                    <a:lnTo>
                      <a:pt x="399002" y="1027462"/>
                    </a:lnTo>
                    <a:lnTo>
                      <a:pt x="438817" y="1027462"/>
                    </a:lnTo>
                    <a:lnTo>
                      <a:pt x="470725" y="1011555"/>
                    </a:lnTo>
                    <a:lnTo>
                      <a:pt x="478727" y="1011555"/>
                    </a:lnTo>
                    <a:lnTo>
                      <a:pt x="486728" y="1019556"/>
                    </a:lnTo>
                    <a:lnTo>
                      <a:pt x="502634" y="1019556"/>
                    </a:lnTo>
                    <a:lnTo>
                      <a:pt x="518541" y="1027557"/>
                    </a:lnTo>
                    <a:lnTo>
                      <a:pt x="526542" y="1027557"/>
                    </a:lnTo>
                    <a:lnTo>
                      <a:pt x="526542" y="1019556"/>
                    </a:lnTo>
                    <a:lnTo>
                      <a:pt x="518541" y="1011555"/>
                    </a:lnTo>
                    <a:lnTo>
                      <a:pt x="518541" y="995648"/>
                    </a:lnTo>
                    <a:lnTo>
                      <a:pt x="526542" y="995648"/>
                    </a:lnTo>
                    <a:lnTo>
                      <a:pt x="542449" y="1003649"/>
                    </a:lnTo>
                    <a:lnTo>
                      <a:pt x="550450" y="1011555"/>
                    </a:lnTo>
                    <a:lnTo>
                      <a:pt x="566357" y="1003649"/>
                    </a:lnTo>
                    <a:lnTo>
                      <a:pt x="661988" y="1003649"/>
                    </a:lnTo>
                    <a:lnTo>
                      <a:pt x="693896" y="995648"/>
                    </a:lnTo>
                    <a:lnTo>
                      <a:pt x="709803" y="987743"/>
                    </a:lnTo>
                    <a:lnTo>
                      <a:pt x="717804" y="971836"/>
                    </a:lnTo>
                    <a:lnTo>
                      <a:pt x="725805" y="963930"/>
                    </a:lnTo>
                    <a:lnTo>
                      <a:pt x="733806" y="948023"/>
                    </a:lnTo>
                    <a:lnTo>
                      <a:pt x="662083" y="940022"/>
                    </a:lnTo>
                    <a:lnTo>
                      <a:pt x="693992" y="932021"/>
                    </a:lnTo>
                    <a:lnTo>
                      <a:pt x="685990" y="908113"/>
                    </a:lnTo>
                    <a:lnTo>
                      <a:pt x="701897" y="892207"/>
                    </a:lnTo>
                    <a:lnTo>
                      <a:pt x="717804" y="884301"/>
                    </a:lnTo>
                    <a:lnTo>
                      <a:pt x="725805" y="884301"/>
                    </a:lnTo>
                    <a:lnTo>
                      <a:pt x="741712" y="876300"/>
                    </a:lnTo>
                    <a:lnTo>
                      <a:pt x="749713" y="868394"/>
                    </a:lnTo>
                    <a:lnTo>
                      <a:pt x="765620" y="820579"/>
                    </a:lnTo>
                    <a:lnTo>
                      <a:pt x="757619" y="804672"/>
                    </a:lnTo>
                    <a:lnTo>
                      <a:pt x="749618" y="796671"/>
                    </a:lnTo>
                    <a:lnTo>
                      <a:pt x="733711" y="788765"/>
                    </a:lnTo>
                    <a:lnTo>
                      <a:pt x="717804" y="788765"/>
                    </a:lnTo>
                    <a:lnTo>
                      <a:pt x="701897" y="780764"/>
                    </a:lnTo>
                    <a:lnTo>
                      <a:pt x="669988" y="780764"/>
                    </a:lnTo>
                    <a:close/>
                    <a:moveTo>
                      <a:pt x="255270" y="533400"/>
                    </a:moveTo>
                    <a:lnTo>
                      <a:pt x="255270" y="517493"/>
                    </a:lnTo>
                    <a:lnTo>
                      <a:pt x="247269" y="509588"/>
                    </a:lnTo>
                    <a:lnTo>
                      <a:pt x="247269" y="501587"/>
                    </a:lnTo>
                    <a:lnTo>
                      <a:pt x="231362" y="517493"/>
                    </a:lnTo>
                    <a:lnTo>
                      <a:pt x="231362" y="525494"/>
                    </a:lnTo>
                    <a:lnTo>
                      <a:pt x="239363" y="533400"/>
                    </a:lnTo>
                    <a:lnTo>
                      <a:pt x="255270" y="533400"/>
                    </a:lnTo>
                    <a:close/>
                    <a:moveTo>
                      <a:pt x="454533" y="183166"/>
                    </a:moveTo>
                    <a:lnTo>
                      <a:pt x="454533" y="199072"/>
                    </a:lnTo>
                    <a:lnTo>
                      <a:pt x="470440" y="183166"/>
                    </a:lnTo>
                    <a:lnTo>
                      <a:pt x="454533" y="183166"/>
                    </a:lnTo>
                    <a:close/>
                    <a:moveTo>
                      <a:pt x="574072" y="63722"/>
                    </a:moveTo>
                    <a:lnTo>
                      <a:pt x="574072" y="87630"/>
                    </a:lnTo>
                    <a:lnTo>
                      <a:pt x="582073" y="87630"/>
                    </a:lnTo>
                    <a:lnTo>
                      <a:pt x="590074" y="79629"/>
                    </a:lnTo>
                    <a:lnTo>
                      <a:pt x="598075" y="63722"/>
                    </a:lnTo>
                    <a:lnTo>
                      <a:pt x="598075" y="31909"/>
                    </a:lnTo>
                    <a:lnTo>
                      <a:pt x="582168" y="16002"/>
                    </a:lnTo>
                    <a:lnTo>
                      <a:pt x="574167" y="31909"/>
                    </a:lnTo>
                    <a:lnTo>
                      <a:pt x="566166" y="39814"/>
                    </a:lnTo>
                    <a:lnTo>
                      <a:pt x="558165" y="39814"/>
                    </a:lnTo>
                    <a:lnTo>
                      <a:pt x="558165" y="55721"/>
                    </a:lnTo>
                    <a:lnTo>
                      <a:pt x="566166" y="55721"/>
                    </a:lnTo>
                    <a:lnTo>
                      <a:pt x="574167" y="63722"/>
                    </a:lnTo>
                    <a:close/>
                    <a:moveTo>
                      <a:pt x="629888" y="0"/>
                    </a:moveTo>
                    <a:lnTo>
                      <a:pt x="621887" y="0"/>
                    </a:lnTo>
                    <a:lnTo>
                      <a:pt x="605885" y="15907"/>
                    </a:lnTo>
                    <a:lnTo>
                      <a:pt x="629793" y="15907"/>
                    </a:lnTo>
                    <a:lnTo>
                      <a:pt x="629793" y="8001"/>
                    </a:lnTo>
                    <a:lnTo>
                      <a:pt x="637794" y="0"/>
                    </a:lnTo>
                    <a:lnTo>
                      <a:pt x="629793" y="0"/>
                    </a:lnTo>
                    <a:close/>
                    <a:moveTo>
                      <a:pt x="183547" y="342329"/>
                    </a:moveTo>
                    <a:lnTo>
                      <a:pt x="183547" y="310515"/>
                    </a:lnTo>
                    <a:lnTo>
                      <a:pt x="167640" y="310515"/>
                    </a:lnTo>
                    <a:lnTo>
                      <a:pt x="159639" y="318421"/>
                    </a:lnTo>
                    <a:lnTo>
                      <a:pt x="159639" y="326422"/>
                    </a:lnTo>
                    <a:lnTo>
                      <a:pt x="167640" y="334327"/>
                    </a:lnTo>
                    <a:lnTo>
                      <a:pt x="143732" y="334327"/>
                    </a:lnTo>
                    <a:lnTo>
                      <a:pt x="143732" y="342329"/>
                    </a:lnTo>
                    <a:lnTo>
                      <a:pt x="151733" y="350330"/>
                    </a:lnTo>
                    <a:lnTo>
                      <a:pt x="159734" y="350330"/>
                    </a:lnTo>
                    <a:lnTo>
                      <a:pt x="167735" y="358235"/>
                    </a:lnTo>
                    <a:lnTo>
                      <a:pt x="199644" y="358235"/>
                    </a:lnTo>
                    <a:lnTo>
                      <a:pt x="183737" y="342329"/>
                    </a:lnTo>
                    <a:close/>
                    <a:moveTo>
                      <a:pt x="438626" y="159258"/>
                    </a:moveTo>
                    <a:lnTo>
                      <a:pt x="430625" y="159258"/>
                    </a:lnTo>
                    <a:lnTo>
                      <a:pt x="422624" y="167259"/>
                    </a:lnTo>
                    <a:lnTo>
                      <a:pt x="422624" y="183166"/>
                    </a:lnTo>
                    <a:lnTo>
                      <a:pt x="438531" y="183166"/>
                    </a:lnTo>
                    <a:lnTo>
                      <a:pt x="446532" y="167259"/>
                    </a:lnTo>
                    <a:lnTo>
                      <a:pt x="438531" y="159258"/>
                    </a:lnTo>
                    <a:close/>
                    <a:moveTo>
                      <a:pt x="151733" y="517493"/>
                    </a:moveTo>
                    <a:lnTo>
                      <a:pt x="167640" y="517493"/>
                    </a:lnTo>
                    <a:lnTo>
                      <a:pt x="183547" y="509588"/>
                    </a:lnTo>
                    <a:lnTo>
                      <a:pt x="183547" y="493681"/>
                    </a:lnTo>
                    <a:lnTo>
                      <a:pt x="175546" y="485775"/>
                    </a:lnTo>
                    <a:lnTo>
                      <a:pt x="159639" y="485775"/>
                    </a:lnTo>
                    <a:lnTo>
                      <a:pt x="151638" y="493681"/>
                    </a:lnTo>
                    <a:lnTo>
                      <a:pt x="143637" y="509588"/>
                    </a:lnTo>
                    <a:lnTo>
                      <a:pt x="143637" y="517493"/>
                    </a:lnTo>
                    <a:lnTo>
                      <a:pt x="151638" y="517493"/>
                    </a:lnTo>
                    <a:close/>
                    <a:moveTo>
                      <a:pt x="175641" y="413956"/>
                    </a:moveTo>
                    <a:lnTo>
                      <a:pt x="167640" y="413956"/>
                    </a:lnTo>
                    <a:lnTo>
                      <a:pt x="167640" y="445770"/>
                    </a:lnTo>
                    <a:lnTo>
                      <a:pt x="175641" y="445770"/>
                    </a:lnTo>
                    <a:lnTo>
                      <a:pt x="183642" y="437769"/>
                    </a:lnTo>
                    <a:lnTo>
                      <a:pt x="199549" y="437769"/>
                    </a:lnTo>
                    <a:lnTo>
                      <a:pt x="191548" y="421862"/>
                    </a:lnTo>
                    <a:lnTo>
                      <a:pt x="183547" y="413861"/>
                    </a:lnTo>
                    <a:lnTo>
                      <a:pt x="175546" y="413861"/>
                    </a:lnTo>
                    <a:close/>
                    <a:moveTo>
                      <a:pt x="215455" y="501491"/>
                    </a:moveTo>
                    <a:lnTo>
                      <a:pt x="207454" y="501491"/>
                    </a:lnTo>
                    <a:lnTo>
                      <a:pt x="199453" y="509492"/>
                    </a:lnTo>
                    <a:lnTo>
                      <a:pt x="199453" y="525399"/>
                    </a:lnTo>
                    <a:lnTo>
                      <a:pt x="191452" y="549307"/>
                    </a:lnTo>
                    <a:lnTo>
                      <a:pt x="207359" y="533400"/>
                    </a:lnTo>
                    <a:lnTo>
                      <a:pt x="215360" y="517493"/>
                    </a:lnTo>
                    <a:lnTo>
                      <a:pt x="215360" y="501587"/>
                    </a:lnTo>
                    <a:close/>
                  </a:path>
                </a:pathLst>
              </a:custGeom>
              <a:noFill/>
              <a:ln w="4763"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418F5701-F21C-BDB0-E77C-39D6D1AC8C33}"/>
                  </a:ext>
                </a:extLst>
              </p:cNvPr>
              <p:cNvSpPr/>
              <p:nvPr/>
            </p:nvSpPr>
            <p:spPr>
              <a:xfrm>
                <a:off x="5778055" y="3995832"/>
                <a:ext cx="382524" cy="211169"/>
              </a:xfrm>
              <a:custGeom>
                <a:avLst/>
                <a:gdLst>
                  <a:gd name="connsiteX0" fmla="*/ 175355 w 382524"/>
                  <a:gd name="connsiteY0" fmla="*/ 31242 h 211169"/>
                  <a:gd name="connsiteX1" fmla="*/ 127540 w 382524"/>
                  <a:gd name="connsiteY1" fmla="*/ 31242 h 211169"/>
                  <a:gd name="connsiteX2" fmla="*/ 119539 w 382524"/>
                  <a:gd name="connsiteY2" fmla="*/ 54673 h 211169"/>
                  <a:gd name="connsiteX3" fmla="*/ 95631 w 382524"/>
                  <a:gd name="connsiteY3" fmla="*/ 39052 h 211169"/>
                  <a:gd name="connsiteX4" fmla="*/ 87630 w 382524"/>
                  <a:gd name="connsiteY4" fmla="*/ 54673 h 211169"/>
                  <a:gd name="connsiteX5" fmla="*/ 79724 w 382524"/>
                  <a:gd name="connsiteY5" fmla="*/ 62579 h 211169"/>
                  <a:gd name="connsiteX6" fmla="*/ 71723 w 382524"/>
                  <a:gd name="connsiteY6" fmla="*/ 78200 h 211169"/>
                  <a:gd name="connsiteX7" fmla="*/ 63722 w 382524"/>
                  <a:gd name="connsiteY7" fmla="*/ 86011 h 211169"/>
                  <a:gd name="connsiteX8" fmla="*/ 39815 w 382524"/>
                  <a:gd name="connsiteY8" fmla="*/ 86011 h 211169"/>
                  <a:gd name="connsiteX9" fmla="*/ 39815 w 382524"/>
                  <a:gd name="connsiteY9" fmla="*/ 101632 h 211169"/>
                  <a:gd name="connsiteX10" fmla="*/ 23908 w 382524"/>
                  <a:gd name="connsiteY10" fmla="*/ 117348 h 211169"/>
                  <a:gd name="connsiteX11" fmla="*/ 15907 w 382524"/>
                  <a:gd name="connsiteY11" fmla="*/ 132969 h 211169"/>
                  <a:gd name="connsiteX12" fmla="*/ 0 w 382524"/>
                  <a:gd name="connsiteY12" fmla="*/ 140779 h 211169"/>
                  <a:gd name="connsiteX13" fmla="*/ 8001 w 382524"/>
                  <a:gd name="connsiteY13" fmla="*/ 156400 h 211169"/>
                  <a:gd name="connsiteX14" fmla="*/ 0 w 382524"/>
                  <a:gd name="connsiteY14" fmla="*/ 164211 h 211169"/>
                  <a:gd name="connsiteX15" fmla="*/ 0 w 382524"/>
                  <a:gd name="connsiteY15" fmla="*/ 172021 h 211169"/>
                  <a:gd name="connsiteX16" fmla="*/ 8001 w 382524"/>
                  <a:gd name="connsiteY16" fmla="*/ 172021 h 211169"/>
                  <a:gd name="connsiteX17" fmla="*/ 39815 w 382524"/>
                  <a:gd name="connsiteY17" fmla="*/ 140779 h 211169"/>
                  <a:gd name="connsiteX18" fmla="*/ 63722 w 382524"/>
                  <a:gd name="connsiteY18" fmla="*/ 140779 h 211169"/>
                  <a:gd name="connsiteX19" fmla="*/ 71723 w 382524"/>
                  <a:gd name="connsiteY19" fmla="*/ 148590 h 211169"/>
                  <a:gd name="connsiteX20" fmla="*/ 63722 w 382524"/>
                  <a:gd name="connsiteY20" fmla="*/ 179927 h 211169"/>
                  <a:gd name="connsiteX21" fmla="*/ 79724 w 382524"/>
                  <a:gd name="connsiteY21" fmla="*/ 195548 h 211169"/>
                  <a:gd name="connsiteX22" fmla="*/ 79724 w 382524"/>
                  <a:gd name="connsiteY22" fmla="*/ 203359 h 211169"/>
                  <a:gd name="connsiteX23" fmla="*/ 95631 w 382524"/>
                  <a:gd name="connsiteY23" fmla="*/ 203359 h 211169"/>
                  <a:gd name="connsiteX24" fmla="*/ 111538 w 382524"/>
                  <a:gd name="connsiteY24" fmla="*/ 187738 h 211169"/>
                  <a:gd name="connsiteX25" fmla="*/ 127540 w 382524"/>
                  <a:gd name="connsiteY25" fmla="*/ 187738 h 211169"/>
                  <a:gd name="connsiteX26" fmla="*/ 143446 w 382524"/>
                  <a:gd name="connsiteY26" fmla="*/ 203359 h 211169"/>
                  <a:gd name="connsiteX27" fmla="*/ 151448 w 382524"/>
                  <a:gd name="connsiteY27" fmla="*/ 203359 h 211169"/>
                  <a:gd name="connsiteX28" fmla="*/ 175355 w 382524"/>
                  <a:gd name="connsiteY28" fmla="*/ 179927 h 211169"/>
                  <a:gd name="connsiteX29" fmla="*/ 175355 w 382524"/>
                  <a:gd name="connsiteY29" fmla="*/ 156400 h 211169"/>
                  <a:gd name="connsiteX30" fmla="*/ 183356 w 382524"/>
                  <a:gd name="connsiteY30" fmla="*/ 148590 h 211169"/>
                  <a:gd name="connsiteX31" fmla="*/ 199263 w 382524"/>
                  <a:gd name="connsiteY31" fmla="*/ 148590 h 211169"/>
                  <a:gd name="connsiteX32" fmla="*/ 207264 w 382524"/>
                  <a:gd name="connsiteY32" fmla="*/ 156400 h 211169"/>
                  <a:gd name="connsiteX33" fmla="*/ 207264 w 382524"/>
                  <a:gd name="connsiteY33" fmla="*/ 164211 h 211169"/>
                  <a:gd name="connsiteX34" fmla="*/ 215170 w 382524"/>
                  <a:gd name="connsiteY34" fmla="*/ 172021 h 211169"/>
                  <a:gd name="connsiteX35" fmla="*/ 215170 w 382524"/>
                  <a:gd name="connsiteY35" fmla="*/ 179927 h 211169"/>
                  <a:gd name="connsiteX36" fmla="*/ 223171 w 382524"/>
                  <a:gd name="connsiteY36" fmla="*/ 179927 h 211169"/>
                  <a:gd name="connsiteX37" fmla="*/ 255079 w 382524"/>
                  <a:gd name="connsiteY37" fmla="*/ 211169 h 211169"/>
                  <a:gd name="connsiteX38" fmla="*/ 255079 w 382524"/>
                  <a:gd name="connsiteY38" fmla="*/ 187738 h 211169"/>
                  <a:gd name="connsiteX39" fmla="*/ 270986 w 382524"/>
                  <a:gd name="connsiteY39" fmla="*/ 172021 h 211169"/>
                  <a:gd name="connsiteX40" fmla="*/ 278987 w 382524"/>
                  <a:gd name="connsiteY40" fmla="*/ 140779 h 211169"/>
                  <a:gd name="connsiteX41" fmla="*/ 294894 w 382524"/>
                  <a:gd name="connsiteY41" fmla="*/ 164211 h 211169"/>
                  <a:gd name="connsiteX42" fmla="*/ 318802 w 382524"/>
                  <a:gd name="connsiteY42" fmla="*/ 156400 h 211169"/>
                  <a:gd name="connsiteX43" fmla="*/ 342710 w 382524"/>
                  <a:gd name="connsiteY43" fmla="*/ 172021 h 211169"/>
                  <a:gd name="connsiteX44" fmla="*/ 350711 w 382524"/>
                  <a:gd name="connsiteY44" fmla="*/ 156400 h 211169"/>
                  <a:gd name="connsiteX45" fmla="*/ 334709 w 382524"/>
                  <a:gd name="connsiteY45" fmla="*/ 140779 h 211169"/>
                  <a:gd name="connsiteX46" fmla="*/ 334709 w 382524"/>
                  <a:gd name="connsiteY46" fmla="*/ 132969 h 211169"/>
                  <a:gd name="connsiteX47" fmla="*/ 366617 w 382524"/>
                  <a:gd name="connsiteY47" fmla="*/ 132969 h 211169"/>
                  <a:gd name="connsiteX48" fmla="*/ 374618 w 382524"/>
                  <a:gd name="connsiteY48" fmla="*/ 109442 h 211169"/>
                  <a:gd name="connsiteX49" fmla="*/ 382524 w 382524"/>
                  <a:gd name="connsiteY49" fmla="*/ 109442 h 211169"/>
                  <a:gd name="connsiteX50" fmla="*/ 382524 w 382524"/>
                  <a:gd name="connsiteY50" fmla="*/ 101632 h 211169"/>
                  <a:gd name="connsiteX51" fmla="*/ 366617 w 382524"/>
                  <a:gd name="connsiteY51" fmla="*/ 86011 h 211169"/>
                  <a:gd name="connsiteX52" fmla="*/ 358616 w 382524"/>
                  <a:gd name="connsiteY52" fmla="*/ 86011 h 211169"/>
                  <a:gd name="connsiteX53" fmla="*/ 334709 w 382524"/>
                  <a:gd name="connsiteY53" fmla="*/ 109442 h 211169"/>
                  <a:gd name="connsiteX54" fmla="*/ 326803 w 382524"/>
                  <a:gd name="connsiteY54" fmla="*/ 109442 h 211169"/>
                  <a:gd name="connsiteX55" fmla="*/ 326803 w 382524"/>
                  <a:gd name="connsiteY55" fmla="*/ 86011 h 211169"/>
                  <a:gd name="connsiteX56" fmla="*/ 278987 w 382524"/>
                  <a:gd name="connsiteY56" fmla="*/ 86011 h 211169"/>
                  <a:gd name="connsiteX57" fmla="*/ 278987 w 382524"/>
                  <a:gd name="connsiteY57" fmla="*/ 78200 h 211169"/>
                  <a:gd name="connsiteX58" fmla="*/ 286893 w 382524"/>
                  <a:gd name="connsiteY58" fmla="*/ 62579 h 211169"/>
                  <a:gd name="connsiteX59" fmla="*/ 294894 w 382524"/>
                  <a:gd name="connsiteY59" fmla="*/ 54673 h 211169"/>
                  <a:gd name="connsiteX60" fmla="*/ 302895 w 382524"/>
                  <a:gd name="connsiteY60" fmla="*/ 54673 h 211169"/>
                  <a:gd name="connsiteX61" fmla="*/ 302895 w 382524"/>
                  <a:gd name="connsiteY61" fmla="*/ 39052 h 211169"/>
                  <a:gd name="connsiteX62" fmla="*/ 286893 w 382524"/>
                  <a:gd name="connsiteY62" fmla="*/ 39052 h 211169"/>
                  <a:gd name="connsiteX63" fmla="*/ 278987 w 382524"/>
                  <a:gd name="connsiteY63" fmla="*/ 23431 h 211169"/>
                  <a:gd name="connsiteX64" fmla="*/ 255079 w 382524"/>
                  <a:gd name="connsiteY64" fmla="*/ 15621 h 211169"/>
                  <a:gd name="connsiteX65" fmla="*/ 239078 w 382524"/>
                  <a:gd name="connsiteY65" fmla="*/ 15621 h 211169"/>
                  <a:gd name="connsiteX66" fmla="*/ 231172 w 382524"/>
                  <a:gd name="connsiteY66" fmla="*/ 7810 h 211169"/>
                  <a:gd name="connsiteX67" fmla="*/ 215170 w 382524"/>
                  <a:gd name="connsiteY67" fmla="*/ 0 h 211169"/>
                  <a:gd name="connsiteX68" fmla="*/ 207264 w 382524"/>
                  <a:gd name="connsiteY68" fmla="*/ 0 h 211169"/>
                  <a:gd name="connsiteX69" fmla="*/ 199263 w 382524"/>
                  <a:gd name="connsiteY69" fmla="*/ 7810 h 211169"/>
                  <a:gd name="connsiteX70" fmla="*/ 199263 w 382524"/>
                  <a:gd name="connsiteY70" fmla="*/ 23431 h 211169"/>
                  <a:gd name="connsiteX71" fmla="*/ 207264 w 382524"/>
                  <a:gd name="connsiteY71" fmla="*/ 31242 h 211169"/>
                  <a:gd name="connsiteX72" fmla="*/ 199263 w 382524"/>
                  <a:gd name="connsiteY72" fmla="*/ 23431 h 211169"/>
                  <a:gd name="connsiteX73" fmla="*/ 175355 w 382524"/>
                  <a:gd name="connsiteY73" fmla="*/ 31242 h 21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82524" h="211169">
                    <a:moveTo>
                      <a:pt x="175355" y="31242"/>
                    </a:moveTo>
                    <a:lnTo>
                      <a:pt x="127540" y="31242"/>
                    </a:lnTo>
                    <a:lnTo>
                      <a:pt x="119539" y="54673"/>
                    </a:lnTo>
                    <a:lnTo>
                      <a:pt x="95631" y="39052"/>
                    </a:lnTo>
                    <a:lnTo>
                      <a:pt x="87630" y="54673"/>
                    </a:lnTo>
                    <a:lnTo>
                      <a:pt x="79724" y="62579"/>
                    </a:lnTo>
                    <a:lnTo>
                      <a:pt x="71723" y="78200"/>
                    </a:lnTo>
                    <a:lnTo>
                      <a:pt x="63722" y="86011"/>
                    </a:lnTo>
                    <a:lnTo>
                      <a:pt x="39815" y="86011"/>
                    </a:lnTo>
                    <a:lnTo>
                      <a:pt x="39815" y="101632"/>
                    </a:lnTo>
                    <a:lnTo>
                      <a:pt x="23908" y="117348"/>
                    </a:lnTo>
                    <a:lnTo>
                      <a:pt x="15907" y="132969"/>
                    </a:lnTo>
                    <a:lnTo>
                      <a:pt x="0" y="140779"/>
                    </a:lnTo>
                    <a:lnTo>
                      <a:pt x="8001" y="156400"/>
                    </a:lnTo>
                    <a:lnTo>
                      <a:pt x="0" y="164211"/>
                    </a:lnTo>
                    <a:lnTo>
                      <a:pt x="0" y="172021"/>
                    </a:lnTo>
                    <a:lnTo>
                      <a:pt x="8001" y="172021"/>
                    </a:lnTo>
                    <a:lnTo>
                      <a:pt x="39815" y="140779"/>
                    </a:lnTo>
                    <a:lnTo>
                      <a:pt x="63722" y="140779"/>
                    </a:lnTo>
                    <a:lnTo>
                      <a:pt x="71723" y="148590"/>
                    </a:lnTo>
                    <a:lnTo>
                      <a:pt x="63722" y="179927"/>
                    </a:lnTo>
                    <a:lnTo>
                      <a:pt x="79724" y="195548"/>
                    </a:lnTo>
                    <a:lnTo>
                      <a:pt x="79724" y="203359"/>
                    </a:lnTo>
                    <a:lnTo>
                      <a:pt x="95631" y="203359"/>
                    </a:lnTo>
                    <a:lnTo>
                      <a:pt x="111538" y="187738"/>
                    </a:lnTo>
                    <a:lnTo>
                      <a:pt x="127540" y="187738"/>
                    </a:lnTo>
                    <a:lnTo>
                      <a:pt x="143446" y="203359"/>
                    </a:lnTo>
                    <a:lnTo>
                      <a:pt x="151448" y="203359"/>
                    </a:lnTo>
                    <a:lnTo>
                      <a:pt x="175355" y="179927"/>
                    </a:lnTo>
                    <a:lnTo>
                      <a:pt x="175355" y="156400"/>
                    </a:lnTo>
                    <a:lnTo>
                      <a:pt x="183356" y="148590"/>
                    </a:lnTo>
                    <a:lnTo>
                      <a:pt x="199263" y="148590"/>
                    </a:lnTo>
                    <a:lnTo>
                      <a:pt x="207264" y="156400"/>
                    </a:lnTo>
                    <a:lnTo>
                      <a:pt x="207264" y="164211"/>
                    </a:lnTo>
                    <a:lnTo>
                      <a:pt x="215170" y="172021"/>
                    </a:lnTo>
                    <a:lnTo>
                      <a:pt x="215170" y="179927"/>
                    </a:lnTo>
                    <a:lnTo>
                      <a:pt x="223171" y="179927"/>
                    </a:lnTo>
                    <a:lnTo>
                      <a:pt x="255079" y="211169"/>
                    </a:lnTo>
                    <a:lnTo>
                      <a:pt x="255079" y="187738"/>
                    </a:lnTo>
                    <a:lnTo>
                      <a:pt x="270986" y="172021"/>
                    </a:lnTo>
                    <a:lnTo>
                      <a:pt x="278987" y="140779"/>
                    </a:lnTo>
                    <a:lnTo>
                      <a:pt x="294894" y="164211"/>
                    </a:lnTo>
                    <a:lnTo>
                      <a:pt x="318802" y="156400"/>
                    </a:lnTo>
                    <a:lnTo>
                      <a:pt x="342710" y="172021"/>
                    </a:lnTo>
                    <a:lnTo>
                      <a:pt x="350711" y="156400"/>
                    </a:lnTo>
                    <a:lnTo>
                      <a:pt x="334709" y="140779"/>
                    </a:lnTo>
                    <a:lnTo>
                      <a:pt x="334709" y="132969"/>
                    </a:lnTo>
                    <a:lnTo>
                      <a:pt x="366617" y="132969"/>
                    </a:lnTo>
                    <a:lnTo>
                      <a:pt x="374618" y="109442"/>
                    </a:lnTo>
                    <a:lnTo>
                      <a:pt x="382524" y="109442"/>
                    </a:lnTo>
                    <a:lnTo>
                      <a:pt x="382524" y="101632"/>
                    </a:lnTo>
                    <a:lnTo>
                      <a:pt x="366617" y="86011"/>
                    </a:lnTo>
                    <a:lnTo>
                      <a:pt x="358616" y="86011"/>
                    </a:lnTo>
                    <a:lnTo>
                      <a:pt x="334709" y="109442"/>
                    </a:lnTo>
                    <a:lnTo>
                      <a:pt x="326803" y="109442"/>
                    </a:lnTo>
                    <a:lnTo>
                      <a:pt x="326803" y="86011"/>
                    </a:lnTo>
                    <a:lnTo>
                      <a:pt x="278987" y="86011"/>
                    </a:lnTo>
                    <a:lnTo>
                      <a:pt x="278987" y="78200"/>
                    </a:lnTo>
                    <a:lnTo>
                      <a:pt x="286893" y="62579"/>
                    </a:lnTo>
                    <a:lnTo>
                      <a:pt x="294894" y="54673"/>
                    </a:lnTo>
                    <a:lnTo>
                      <a:pt x="302895" y="54673"/>
                    </a:lnTo>
                    <a:lnTo>
                      <a:pt x="302895" y="39052"/>
                    </a:lnTo>
                    <a:lnTo>
                      <a:pt x="286893" y="39052"/>
                    </a:lnTo>
                    <a:lnTo>
                      <a:pt x="278987" y="23431"/>
                    </a:lnTo>
                    <a:lnTo>
                      <a:pt x="255079" y="15621"/>
                    </a:lnTo>
                    <a:lnTo>
                      <a:pt x="239078" y="15621"/>
                    </a:lnTo>
                    <a:lnTo>
                      <a:pt x="231172" y="7810"/>
                    </a:lnTo>
                    <a:lnTo>
                      <a:pt x="215170" y="0"/>
                    </a:lnTo>
                    <a:lnTo>
                      <a:pt x="207264" y="0"/>
                    </a:lnTo>
                    <a:lnTo>
                      <a:pt x="199263" y="7810"/>
                    </a:lnTo>
                    <a:lnTo>
                      <a:pt x="199263" y="23431"/>
                    </a:lnTo>
                    <a:lnTo>
                      <a:pt x="207264" y="31242"/>
                    </a:lnTo>
                    <a:lnTo>
                      <a:pt x="199263" y="23431"/>
                    </a:lnTo>
                    <a:lnTo>
                      <a:pt x="175355" y="31242"/>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dirty="0"/>
              </a:p>
            </p:txBody>
          </p:sp>
          <p:sp>
            <p:nvSpPr>
              <p:cNvPr id="74" name="Freeform: Shape 73">
                <a:extLst>
                  <a:ext uri="{FF2B5EF4-FFF2-40B4-BE49-F238E27FC236}">
                    <a16:creationId xmlns:a16="http://schemas.microsoft.com/office/drawing/2014/main" id="{2FCE74FA-3C51-3E62-EB1A-4F1CE25CE798}"/>
                  </a:ext>
                </a:extLst>
              </p:cNvPr>
              <p:cNvSpPr/>
              <p:nvPr/>
            </p:nvSpPr>
            <p:spPr>
              <a:xfrm>
                <a:off x="5778055" y="3995832"/>
                <a:ext cx="382524" cy="211169"/>
              </a:xfrm>
              <a:custGeom>
                <a:avLst/>
                <a:gdLst>
                  <a:gd name="connsiteX0" fmla="*/ 175355 w 382524"/>
                  <a:gd name="connsiteY0" fmla="*/ 31242 h 211169"/>
                  <a:gd name="connsiteX1" fmla="*/ 127540 w 382524"/>
                  <a:gd name="connsiteY1" fmla="*/ 31242 h 211169"/>
                  <a:gd name="connsiteX2" fmla="*/ 119539 w 382524"/>
                  <a:gd name="connsiteY2" fmla="*/ 54673 h 211169"/>
                  <a:gd name="connsiteX3" fmla="*/ 95631 w 382524"/>
                  <a:gd name="connsiteY3" fmla="*/ 39052 h 211169"/>
                  <a:gd name="connsiteX4" fmla="*/ 87630 w 382524"/>
                  <a:gd name="connsiteY4" fmla="*/ 54673 h 211169"/>
                  <a:gd name="connsiteX5" fmla="*/ 79724 w 382524"/>
                  <a:gd name="connsiteY5" fmla="*/ 62579 h 211169"/>
                  <a:gd name="connsiteX6" fmla="*/ 71723 w 382524"/>
                  <a:gd name="connsiteY6" fmla="*/ 78200 h 211169"/>
                  <a:gd name="connsiteX7" fmla="*/ 63722 w 382524"/>
                  <a:gd name="connsiteY7" fmla="*/ 86011 h 211169"/>
                  <a:gd name="connsiteX8" fmla="*/ 39815 w 382524"/>
                  <a:gd name="connsiteY8" fmla="*/ 86011 h 211169"/>
                  <a:gd name="connsiteX9" fmla="*/ 39815 w 382524"/>
                  <a:gd name="connsiteY9" fmla="*/ 101632 h 211169"/>
                  <a:gd name="connsiteX10" fmla="*/ 23908 w 382524"/>
                  <a:gd name="connsiteY10" fmla="*/ 117348 h 211169"/>
                  <a:gd name="connsiteX11" fmla="*/ 15907 w 382524"/>
                  <a:gd name="connsiteY11" fmla="*/ 132969 h 211169"/>
                  <a:gd name="connsiteX12" fmla="*/ 0 w 382524"/>
                  <a:gd name="connsiteY12" fmla="*/ 140779 h 211169"/>
                  <a:gd name="connsiteX13" fmla="*/ 8001 w 382524"/>
                  <a:gd name="connsiteY13" fmla="*/ 156400 h 211169"/>
                  <a:gd name="connsiteX14" fmla="*/ 0 w 382524"/>
                  <a:gd name="connsiteY14" fmla="*/ 164211 h 211169"/>
                  <a:gd name="connsiteX15" fmla="*/ 0 w 382524"/>
                  <a:gd name="connsiteY15" fmla="*/ 172021 h 211169"/>
                  <a:gd name="connsiteX16" fmla="*/ 8001 w 382524"/>
                  <a:gd name="connsiteY16" fmla="*/ 172021 h 211169"/>
                  <a:gd name="connsiteX17" fmla="*/ 39815 w 382524"/>
                  <a:gd name="connsiteY17" fmla="*/ 140779 h 211169"/>
                  <a:gd name="connsiteX18" fmla="*/ 63722 w 382524"/>
                  <a:gd name="connsiteY18" fmla="*/ 140779 h 211169"/>
                  <a:gd name="connsiteX19" fmla="*/ 71723 w 382524"/>
                  <a:gd name="connsiteY19" fmla="*/ 148590 h 211169"/>
                  <a:gd name="connsiteX20" fmla="*/ 63722 w 382524"/>
                  <a:gd name="connsiteY20" fmla="*/ 179927 h 211169"/>
                  <a:gd name="connsiteX21" fmla="*/ 79724 w 382524"/>
                  <a:gd name="connsiteY21" fmla="*/ 195548 h 211169"/>
                  <a:gd name="connsiteX22" fmla="*/ 79724 w 382524"/>
                  <a:gd name="connsiteY22" fmla="*/ 203359 h 211169"/>
                  <a:gd name="connsiteX23" fmla="*/ 95631 w 382524"/>
                  <a:gd name="connsiteY23" fmla="*/ 203359 h 211169"/>
                  <a:gd name="connsiteX24" fmla="*/ 111538 w 382524"/>
                  <a:gd name="connsiteY24" fmla="*/ 187738 h 211169"/>
                  <a:gd name="connsiteX25" fmla="*/ 127540 w 382524"/>
                  <a:gd name="connsiteY25" fmla="*/ 187738 h 211169"/>
                  <a:gd name="connsiteX26" fmla="*/ 143446 w 382524"/>
                  <a:gd name="connsiteY26" fmla="*/ 203359 h 211169"/>
                  <a:gd name="connsiteX27" fmla="*/ 151448 w 382524"/>
                  <a:gd name="connsiteY27" fmla="*/ 203359 h 211169"/>
                  <a:gd name="connsiteX28" fmla="*/ 175355 w 382524"/>
                  <a:gd name="connsiteY28" fmla="*/ 179927 h 211169"/>
                  <a:gd name="connsiteX29" fmla="*/ 175355 w 382524"/>
                  <a:gd name="connsiteY29" fmla="*/ 156400 h 211169"/>
                  <a:gd name="connsiteX30" fmla="*/ 183356 w 382524"/>
                  <a:gd name="connsiteY30" fmla="*/ 148590 h 211169"/>
                  <a:gd name="connsiteX31" fmla="*/ 199263 w 382524"/>
                  <a:gd name="connsiteY31" fmla="*/ 148590 h 211169"/>
                  <a:gd name="connsiteX32" fmla="*/ 207264 w 382524"/>
                  <a:gd name="connsiteY32" fmla="*/ 156400 h 211169"/>
                  <a:gd name="connsiteX33" fmla="*/ 207264 w 382524"/>
                  <a:gd name="connsiteY33" fmla="*/ 164211 h 211169"/>
                  <a:gd name="connsiteX34" fmla="*/ 215170 w 382524"/>
                  <a:gd name="connsiteY34" fmla="*/ 172021 h 211169"/>
                  <a:gd name="connsiteX35" fmla="*/ 215170 w 382524"/>
                  <a:gd name="connsiteY35" fmla="*/ 179927 h 211169"/>
                  <a:gd name="connsiteX36" fmla="*/ 223171 w 382524"/>
                  <a:gd name="connsiteY36" fmla="*/ 179927 h 211169"/>
                  <a:gd name="connsiteX37" fmla="*/ 255079 w 382524"/>
                  <a:gd name="connsiteY37" fmla="*/ 211169 h 211169"/>
                  <a:gd name="connsiteX38" fmla="*/ 255079 w 382524"/>
                  <a:gd name="connsiteY38" fmla="*/ 187738 h 211169"/>
                  <a:gd name="connsiteX39" fmla="*/ 270986 w 382524"/>
                  <a:gd name="connsiteY39" fmla="*/ 172021 h 211169"/>
                  <a:gd name="connsiteX40" fmla="*/ 278987 w 382524"/>
                  <a:gd name="connsiteY40" fmla="*/ 140779 h 211169"/>
                  <a:gd name="connsiteX41" fmla="*/ 294894 w 382524"/>
                  <a:gd name="connsiteY41" fmla="*/ 164211 h 211169"/>
                  <a:gd name="connsiteX42" fmla="*/ 318802 w 382524"/>
                  <a:gd name="connsiteY42" fmla="*/ 156400 h 211169"/>
                  <a:gd name="connsiteX43" fmla="*/ 342710 w 382524"/>
                  <a:gd name="connsiteY43" fmla="*/ 172021 h 211169"/>
                  <a:gd name="connsiteX44" fmla="*/ 350711 w 382524"/>
                  <a:gd name="connsiteY44" fmla="*/ 156400 h 211169"/>
                  <a:gd name="connsiteX45" fmla="*/ 334709 w 382524"/>
                  <a:gd name="connsiteY45" fmla="*/ 140779 h 211169"/>
                  <a:gd name="connsiteX46" fmla="*/ 334709 w 382524"/>
                  <a:gd name="connsiteY46" fmla="*/ 132969 h 211169"/>
                  <a:gd name="connsiteX47" fmla="*/ 366617 w 382524"/>
                  <a:gd name="connsiteY47" fmla="*/ 132969 h 211169"/>
                  <a:gd name="connsiteX48" fmla="*/ 374618 w 382524"/>
                  <a:gd name="connsiteY48" fmla="*/ 109442 h 211169"/>
                  <a:gd name="connsiteX49" fmla="*/ 382524 w 382524"/>
                  <a:gd name="connsiteY49" fmla="*/ 109442 h 211169"/>
                  <a:gd name="connsiteX50" fmla="*/ 382524 w 382524"/>
                  <a:gd name="connsiteY50" fmla="*/ 101632 h 211169"/>
                  <a:gd name="connsiteX51" fmla="*/ 366617 w 382524"/>
                  <a:gd name="connsiteY51" fmla="*/ 86011 h 211169"/>
                  <a:gd name="connsiteX52" fmla="*/ 358616 w 382524"/>
                  <a:gd name="connsiteY52" fmla="*/ 86011 h 211169"/>
                  <a:gd name="connsiteX53" fmla="*/ 334709 w 382524"/>
                  <a:gd name="connsiteY53" fmla="*/ 109442 h 211169"/>
                  <a:gd name="connsiteX54" fmla="*/ 326803 w 382524"/>
                  <a:gd name="connsiteY54" fmla="*/ 109442 h 211169"/>
                  <a:gd name="connsiteX55" fmla="*/ 326803 w 382524"/>
                  <a:gd name="connsiteY55" fmla="*/ 86011 h 211169"/>
                  <a:gd name="connsiteX56" fmla="*/ 278987 w 382524"/>
                  <a:gd name="connsiteY56" fmla="*/ 86011 h 211169"/>
                  <a:gd name="connsiteX57" fmla="*/ 278987 w 382524"/>
                  <a:gd name="connsiteY57" fmla="*/ 78200 h 211169"/>
                  <a:gd name="connsiteX58" fmla="*/ 286893 w 382524"/>
                  <a:gd name="connsiteY58" fmla="*/ 62579 h 211169"/>
                  <a:gd name="connsiteX59" fmla="*/ 294894 w 382524"/>
                  <a:gd name="connsiteY59" fmla="*/ 54673 h 211169"/>
                  <a:gd name="connsiteX60" fmla="*/ 302895 w 382524"/>
                  <a:gd name="connsiteY60" fmla="*/ 54673 h 211169"/>
                  <a:gd name="connsiteX61" fmla="*/ 302895 w 382524"/>
                  <a:gd name="connsiteY61" fmla="*/ 39052 h 211169"/>
                  <a:gd name="connsiteX62" fmla="*/ 286893 w 382524"/>
                  <a:gd name="connsiteY62" fmla="*/ 39052 h 211169"/>
                  <a:gd name="connsiteX63" fmla="*/ 278987 w 382524"/>
                  <a:gd name="connsiteY63" fmla="*/ 23431 h 211169"/>
                  <a:gd name="connsiteX64" fmla="*/ 255079 w 382524"/>
                  <a:gd name="connsiteY64" fmla="*/ 15621 h 211169"/>
                  <a:gd name="connsiteX65" fmla="*/ 239078 w 382524"/>
                  <a:gd name="connsiteY65" fmla="*/ 15621 h 211169"/>
                  <a:gd name="connsiteX66" fmla="*/ 231172 w 382524"/>
                  <a:gd name="connsiteY66" fmla="*/ 7810 h 211169"/>
                  <a:gd name="connsiteX67" fmla="*/ 215170 w 382524"/>
                  <a:gd name="connsiteY67" fmla="*/ 0 h 211169"/>
                  <a:gd name="connsiteX68" fmla="*/ 207264 w 382524"/>
                  <a:gd name="connsiteY68" fmla="*/ 0 h 211169"/>
                  <a:gd name="connsiteX69" fmla="*/ 199263 w 382524"/>
                  <a:gd name="connsiteY69" fmla="*/ 7810 h 211169"/>
                  <a:gd name="connsiteX70" fmla="*/ 199263 w 382524"/>
                  <a:gd name="connsiteY70" fmla="*/ 23431 h 211169"/>
                  <a:gd name="connsiteX71" fmla="*/ 207264 w 382524"/>
                  <a:gd name="connsiteY71" fmla="*/ 31242 h 211169"/>
                  <a:gd name="connsiteX72" fmla="*/ 199263 w 382524"/>
                  <a:gd name="connsiteY72" fmla="*/ 23431 h 211169"/>
                  <a:gd name="connsiteX73" fmla="*/ 175355 w 382524"/>
                  <a:gd name="connsiteY73" fmla="*/ 31242 h 21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82524" h="211169">
                    <a:moveTo>
                      <a:pt x="175355" y="31242"/>
                    </a:moveTo>
                    <a:lnTo>
                      <a:pt x="127540" y="31242"/>
                    </a:lnTo>
                    <a:lnTo>
                      <a:pt x="119539" y="54673"/>
                    </a:lnTo>
                    <a:lnTo>
                      <a:pt x="95631" y="39052"/>
                    </a:lnTo>
                    <a:lnTo>
                      <a:pt x="87630" y="54673"/>
                    </a:lnTo>
                    <a:lnTo>
                      <a:pt x="79724" y="62579"/>
                    </a:lnTo>
                    <a:lnTo>
                      <a:pt x="71723" y="78200"/>
                    </a:lnTo>
                    <a:lnTo>
                      <a:pt x="63722" y="86011"/>
                    </a:lnTo>
                    <a:lnTo>
                      <a:pt x="39815" y="86011"/>
                    </a:lnTo>
                    <a:lnTo>
                      <a:pt x="39815" y="101632"/>
                    </a:lnTo>
                    <a:lnTo>
                      <a:pt x="23908" y="117348"/>
                    </a:lnTo>
                    <a:lnTo>
                      <a:pt x="15907" y="132969"/>
                    </a:lnTo>
                    <a:lnTo>
                      <a:pt x="0" y="140779"/>
                    </a:lnTo>
                    <a:lnTo>
                      <a:pt x="8001" y="156400"/>
                    </a:lnTo>
                    <a:lnTo>
                      <a:pt x="0" y="164211"/>
                    </a:lnTo>
                    <a:lnTo>
                      <a:pt x="0" y="172021"/>
                    </a:lnTo>
                    <a:lnTo>
                      <a:pt x="8001" y="172021"/>
                    </a:lnTo>
                    <a:lnTo>
                      <a:pt x="39815" y="140779"/>
                    </a:lnTo>
                    <a:lnTo>
                      <a:pt x="63722" y="140779"/>
                    </a:lnTo>
                    <a:lnTo>
                      <a:pt x="71723" y="148590"/>
                    </a:lnTo>
                    <a:lnTo>
                      <a:pt x="63722" y="179927"/>
                    </a:lnTo>
                    <a:lnTo>
                      <a:pt x="79724" y="195548"/>
                    </a:lnTo>
                    <a:lnTo>
                      <a:pt x="79724" y="203359"/>
                    </a:lnTo>
                    <a:lnTo>
                      <a:pt x="95631" y="203359"/>
                    </a:lnTo>
                    <a:lnTo>
                      <a:pt x="111538" y="187738"/>
                    </a:lnTo>
                    <a:lnTo>
                      <a:pt x="127540" y="187738"/>
                    </a:lnTo>
                    <a:lnTo>
                      <a:pt x="143446" y="203359"/>
                    </a:lnTo>
                    <a:lnTo>
                      <a:pt x="151448" y="203359"/>
                    </a:lnTo>
                    <a:lnTo>
                      <a:pt x="175355" y="179927"/>
                    </a:lnTo>
                    <a:lnTo>
                      <a:pt x="175355" y="156400"/>
                    </a:lnTo>
                    <a:lnTo>
                      <a:pt x="183356" y="148590"/>
                    </a:lnTo>
                    <a:lnTo>
                      <a:pt x="199263" y="148590"/>
                    </a:lnTo>
                    <a:lnTo>
                      <a:pt x="207264" y="156400"/>
                    </a:lnTo>
                    <a:lnTo>
                      <a:pt x="207264" y="164211"/>
                    </a:lnTo>
                    <a:lnTo>
                      <a:pt x="215170" y="172021"/>
                    </a:lnTo>
                    <a:lnTo>
                      <a:pt x="215170" y="179927"/>
                    </a:lnTo>
                    <a:lnTo>
                      <a:pt x="223171" y="179927"/>
                    </a:lnTo>
                    <a:lnTo>
                      <a:pt x="255079" y="211169"/>
                    </a:lnTo>
                    <a:lnTo>
                      <a:pt x="255079" y="187738"/>
                    </a:lnTo>
                    <a:lnTo>
                      <a:pt x="270986" y="172021"/>
                    </a:lnTo>
                    <a:lnTo>
                      <a:pt x="278987" y="140779"/>
                    </a:lnTo>
                    <a:lnTo>
                      <a:pt x="294894" y="164211"/>
                    </a:lnTo>
                    <a:lnTo>
                      <a:pt x="318802" y="156400"/>
                    </a:lnTo>
                    <a:lnTo>
                      <a:pt x="342710" y="172021"/>
                    </a:lnTo>
                    <a:lnTo>
                      <a:pt x="350711" y="156400"/>
                    </a:lnTo>
                    <a:lnTo>
                      <a:pt x="334709" y="140779"/>
                    </a:lnTo>
                    <a:lnTo>
                      <a:pt x="334709" y="132969"/>
                    </a:lnTo>
                    <a:lnTo>
                      <a:pt x="366617" y="132969"/>
                    </a:lnTo>
                    <a:lnTo>
                      <a:pt x="374618" y="109442"/>
                    </a:lnTo>
                    <a:lnTo>
                      <a:pt x="382524" y="109442"/>
                    </a:lnTo>
                    <a:lnTo>
                      <a:pt x="382524" y="101632"/>
                    </a:lnTo>
                    <a:lnTo>
                      <a:pt x="366617" y="86011"/>
                    </a:lnTo>
                    <a:lnTo>
                      <a:pt x="358616" y="86011"/>
                    </a:lnTo>
                    <a:lnTo>
                      <a:pt x="334709" y="109442"/>
                    </a:lnTo>
                    <a:lnTo>
                      <a:pt x="326803" y="109442"/>
                    </a:lnTo>
                    <a:lnTo>
                      <a:pt x="326803" y="86011"/>
                    </a:lnTo>
                    <a:lnTo>
                      <a:pt x="278987" y="86011"/>
                    </a:lnTo>
                    <a:lnTo>
                      <a:pt x="278987" y="78200"/>
                    </a:lnTo>
                    <a:lnTo>
                      <a:pt x="286893" y="62579"/>
                    </a:lnTo>
                    <a:lnTo>
                      <a:pt x="294894" y="54673"/>
                    </a:lnTo>
                    <a:lnTo>
                      <a:pt x="302895" y="54673"/>
                    </a:lnTo>
                    <a:lnTo>
                      <a:pt x="302895" y="39052"/>
                    </a:lnTo>
                    <a:lnTo>
                      <a:pt x="286893" y="39052"/>
                    </a:lnTo>
                    <a:lnTo>
                      <a:pt x="278987" y="23431"/>
                    </a:lnTo>
                    <a:lnTo>
                      <a:pt x="255079" y="15621"/>
                    </a:lnTo>
                    <a:lnTo>
                      <a:pt x="239078" y="15621"/>
                    </a:lnTo>
                    <a:lnTo>
                      <a:pt x="231172" y="7810"/>
                    </a:lnTo>
                    <a:lnTo>
                      <a:pt x="215170" y="0"/>
                    </a:lnTo>
                    <a:lnTo>
                      <a:pt x="207264" y="0"/>
                    </a:lnTo>
                    <a:lnTo>
                      <a:pt x="199263" y="7810"/>
                    </a:lnTo>
                    <a:lnTo>
                      <a:pt x="199263" y="23431"/>
                    </a:lnTo>
                    <a:lnTo>
                      <a:pt x="207264" y="31242"/>
                    </a:lnTo>
                    <a:lnTo>
                      <a:pt x="199263" y="23431"/>
                    </a:lnTo>
                    <a:lnTo>
                      <a:pt x="175355" y="31242"/>
                    </a:lnTo>
                    <a:close/>
                  </a:path>
                </a:pathLst>
              </a:custGeom>
              <a:noFill/>
              <a:ln w="4763"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199BEA01-F89F-4D25-5AE9-96374B796A9E}"/>
                  </a:ext>
                </a:extLst>
              </p:cNvPr>
              <p:cNvSpPr/>
              <p:nvPr/>
            </p:nvSpPr>
            <p:spPr>
              <a:xfrm>
                <a:off x="6212776" y="1919858"/>
                <a:ext cx="913542" cy="1306163"/>
              </a:xfrm>
              <a:custGeom>
                <a:avLst/>
                <a:gdLst>
                  <a:gd name="connsiteX0" fmla="*/ 397002 w 913542"/>
                  <a:gd name="connsiteY0" fmla="*/ 1187958 h 1306163"/>
                  <a:gd name="connsiteX1" fmla="*/ 397002 w 913542"/>
                  <a:gd name="connsiteY1" fmla="*/ 1203770 h 1306163"/>
                  <a:gd name="connsiteX2" fmla="*/ 389096 w 913542"/>
                  <a:gd name="connsiteY2" fmla="*/ 1219581 h 1306163"/>
                  <a:gd name="connsiteX3" fmla="*/ 397002 w 913542"/>
                  <a:gd name="connsiteY3" fmla="*/ 1211675 h 1306163"/>
                  <a:gd name="connsiteX4" fmla="*/ 412909 w 913542"/>
                  <a:gd name="connsiteY4" fmla="*/ 1203770 h 1306163"/>
                  <a:gd name="connsiteX5" fmla="*/ 420815 w 913542"/>
                  <a:gd name="connsiteY5" fmla="*/ 1187958 h 1306163"/>
                  <a:gd name="connsiteX6" fmla="*/ 420815 w 913542"/>
                  <a:gd name="connsiteY6" fmla="*/ 1180052 h 1306163"/>
                  <a:gd name="connsiteX7" fmla="*/ 428720 w 913542"/>
                  <a:gd name="connsiteY7" fmla="*/ 1172147 h 1306163"/>
                  <a:gd name="connsiteX8" fmla="*/ 428720 w 913542"/>
                  <a:gd name="connsiteY8" fmla="*/ 1164241 h 1306163"/>
                  <a:gd name="connsiteX9" fmla="*/ 452533 w 913542"/>
                  <a:gd name="connsiteY9" fmla="*/ 1132523 h 1306163"/>
                  <a:gd name="connsiteX10" fmla="*/ 444627 w 913542"/>
                  <a:gd name="connsiteY10" fmla="*/ 1108710 h 1306163"/>
                  <a:gd name="connsiteX11" fmla="*/ 436721 w 913542"/>
                  <a:gd name="connsiteY11" fmla="*/ 1124522 h 1306163"/>
                  <a:gd name="connsiteX12" fmla="*/ 412909 w 913542"/>
                  <a:gd name="connsiteY12" fmla="*/ 1148334 h 1306163"/>
                  <a:gd name="connsiteX13" fmla="*/ 397002 w 913542"/>
                  <a:gd name="connsiteY13" fmla="*/ 1180052 h 1306163"/>
                  <a:gd name="connsiteX14" fmla="*/ 397002 w 913542"/>
                  <a:gd name="connsiteY14" fmla="*/ 1187958 h 1306163"/>
                  <a:gd name="connsiteX15" fmla="*/ 516160 w 913542"/>
                  <a:gd name="connsiteY15" fmla="*/ 1092899 h 1306163"/>
                  <a:gd name="connsiteX16" fmla="*/ 516160 w 913542"/>
                  <a:gd name="connsiteY16" fmla="*/ 1108710 h 1306163"/>
                  <a:gd name="connsiteX17" fmla="*/ 524066 w 913542"/>
                  <a:gd name="connsiteY17" fmla="*/ 1124522 h 1306163"/>
                  <a:gd name="connsiteX18" fmla="*/ 524066 w 913542"/>
                  <a:gd name="connsiteY18" fmla="*/ 1140333 h 1306163"/>
                  <a:gd name="connsiteX19" fmla="*/ 531971 w 913542"/>
                  <a:gd name="connsiteY19" fmla="*/ 1148239 h 1306163"/>
                  <a:gd name="connsiteX20" fmla="*/ 531971 w 913542"/>
                  <a:gd name="connsiteY20" fmla="*/ 1156145 h 1306163"/>
                  <a:gd name="connsiteX21" fmla="*/ 547878 w 913542"/>
                  <a:gd name="connsiteY21" fmla="*/ 1124426 h 1306163"/>
                  <a:gd name="connsiteX22" fmla="*/ 563785 w 913542"/>
                  <a:gd name="connsiteY22" fmla="*/ 1124426 h 1306163"/>
                  <a:gd name="connsiteX23" fmla="*/ 571786 w 913542"/>
                  <a:gd name="connsiteY23" fmla="*/ 1116521 h 1306163"/>
                  <a:gd name="connsiteX24" fmla="*/ 579692 w 913542"/>
                  <a:gd name="connsiteY24" fmla="*/ 1100709 h 1306163"/>
                  <a:gd name="connsiteX25" fmla="*/ 579692 w 913542"/>
                  <a:gd name="connsiteY25" fmla="*/ 1084898 h 1306163"/>
                  <a:gd name="connsiteX26" fmla="*/ 571786 w 913542"/>
                  <a:gd name="connsiteY26" fmla="*/ 1076992 h 1306163"/>
                  <a:gd name="connsiteX27" fmla="*/ 595598 w 913542"/>
                  <a:gd name="connsiteY27" fmla="*/ 1053179 h 1306163"/>
                  <a:gd name="connsiteX28" fmla="*/ 587693 w 913542"/>
                  <a:gd name="connsiteY28" fmla="*/ 1053179 h 1306163"/>
                  <a:gd name="connsiteX29" fmla="*/ 579787 w 913542"/>
                  <a:gd name="connsiteY29" fmla="*/ 1061085 h 1306163"/>
                  <a:gd name="connsiteX30" fmla="*/ 555879 w 913542"/>
                  <a:gd name="connsiteY30" fmla="*/ 1061085 h 1306163"/>
                  <a:gd name="connsiteX31" fmla="*/ 539972 w 913542"/>
                  <a:gd name="connsiteY31" fmla="*/ 1068991 h 1306163"/>
                  <a:gd name="connsiteX32" fmla="*/ 516160 w 913542"/>
                  <a:gd name="connsiteY32" fmla="*/ 1092803 h 1306163"/>
                  <a:gd name="connsiteX33" fmla="*/ 897636 w 913542"/>
                  <a:gd name="connsiteY33" fmla="*/ 268986 h 1306163"/>
                  <a:gd name="connsiteX34" fmla="*/ 889730 w 913542"/>
                  <a:gd name="connsiteY34" fmla="*/ 261080 h 1306163"/>
                  <a:gd name="connsiteX35" fmla="*/ 873824 w 913542"/>
                  <a:gd name="connsiteY35" fmla="*/ 253174 h 1306163"/>
                  <a:gd name="connsiteX36" fmla="*/ 857917 w 913542"/>
                  <a:gd name="connsiteY36" fmla="*/ 237363 h 1306163"/>
                  <a:gd name="connsiteX37" fmla="*/ 857917 w 913542"/>
                  <a:gd name="connsiteY37" fmla="*/ 229457 h 1306163"/>
                  <a:gd name="connsiteX38" fmla="*/ 865823 w 913542"/>
                  <a:gd name="connsiteY38" fmla="*/ 213646 h 1306163"/>
                  <a:gd name="connsiteX39" fmla="*/ 873728 w 913542"/>
                  <a:gd name="connsiteY39" fmla="*/ 205740 h 1306163"/>
                  <a:gd name="connsiteX40" fmla="*/ 881634 w 913542"/>
                  <a:gd name="connsiteY40" fmla="*/ 189928 h 1306163"/>
                  <a:gd name="connsiteX41" fmla="*/ 849821 w 913542"/>
                  <a:gd name="connsiteY41" fmla="*/ 174117 h 1306163"/>
                  <a:gd name="connsiteX42" fmla="*/ 857726 w 913542"/>
                  <a:gd name="connsiteY42" fmla="*/ 142399 h 1306163"/>
                  <a:gd name="connsiteX43" fmla="*/ 841820 w 913542"/>
                  <a:gd name="connsiteY43" fmla="*/ 134493 h 1306163"/>
                  <a:gd name="connsiteX44" fmla="*/ 841820 w 913542"/>
                  <a:gd name="connsiteY44" fmla="*/ 126587 h 1306163"/>
                  <a:gd name="connsiteX45" fmla="*/ 849725 w 913542"/>
                  <a:gd name="connsiteY45" fmla="*/ 118681 h 1306163"/>
                  <a:gd name="connsiteX46" fmla="*/ 849725 w 913542"/>
                  <a:gd name="connsiteY46" fmla="*/ 87058 h 1306163"/>
                  <a:gd name="connsiteX47" fmla="*/ 841820 w 913542"/>
                  <a:gd name="connsiteY47" fmla="*/ 87058 h 1306163"/>
                  <a:gd name="connsiteX48" fmla="*/ 833914 w 913542"/>
                  <a:gd name="connsiteY48" fmla="*/ 79153 h 1306163"/>
                  <a:gd name="connsiteX49" fmla="*/ 818007 w 913542"/>
                  <a:gd name="connsiteY49" fmla="*/ 79153 h 1306163"/>
                  <a:gd name="connsiteX50" fmla="*/ 778288 w 913542"/>
                  <a:gd name="connsiteY50" fmla="*/ 55340 h 1306163"/>
                  <a:gd name="connsiteX51" fmla="*/ 730568 w 913542"/>
                  <a:gd name="connsiteY51" fmla="*/ 55340 h 1306163"/>
                  <a:gd name="connsiteX52" fmla="*/ 714661 w 913542"/>
                  <a:gd name="connsiteY52" fmla="*/ 39529 h 1306163"/>
                  <a:gd name="connsiteX53" fmla="*/ 706755 w 913542"/>
                  <a:gd name="connsiteY53" fmla="*/ 39529 h 1306163"/>
                  <a:gd name="connsiteX54" fmla="*/ 698849 w 913542"/>
                  <a:gd name="connsiteY54" fmla="*/ 31623 h 1306163"/>
                  <a:gd name="connsiteX55" fmla="*/ 682943 w 913542"/>
                  <a:gd name="connsiteY55" fmla="*/ 31623 h 1306163"/>
                  <a:gd name="connsiteX56" fmla="*/ 667036 w 913542"/>
                  <a:gd name="connsiteY56" fmla="*/ 23717 h 1306163"/>
                  <a:gd name="connsiteX57" fmla="*/ 659130 w 913542"/>
                  <a:gd name="connsiteY57" fmla="*/ 15811 h 1306163"/>
                  <a:gd name="connsiteX58" fmla="*/ 643223 w 913542"/>
                  <a:gd name="connsiteY58" fmla="*/ 7906 h 1306163"/>
                  <a:gd name="connsiteX59" fmla="*/ 603504 w 913542"/>
                  <a:gd name="connsiteY59" fmla="*/ 0 h 1306163"/>
                  <a:gd name="connsiteX60" fmla="*/ 603504 w 913542"/>
                  <a:gd name="connsiteY60" fmla="*/ 31718 h 1306163"/>
                  <a:gd name="connsiteX61" fmla="*/ 587597 w 913542"/>
                  <a:gd name="connsiteY61" fmla="*/ 31718 h 1306163"/>
                  <a:gd name="connsiteX62" fmla="*/ 587597 w 913542"/>
                  <a:gd name="connsiteY62" fmla="*/ 39624 h 1306163"/>
                  <a:gd name="connsiteX63" fmla="*/ 603504 w 913542"/>
                  <a:gd name="connsiteY63" fmla="*/ 55435 h 1306163"/>
                  <a:gd name="connsiteX64" fmla="*/ 611410 w 913542"/>
                  <a:gd name="connsiteY64" fmla="*/ 55435 h 1306163"/>
                  <a:gd name="connsiteX65" fmla="*/ 603504 w 913542"/>
                  <a:gd name="connsiteY65" fmla="*/ 63341 h 1306163"/>
                  <a:gd name="connsiteX66" fmla="*/ 587597 w 913542"/>
                  <a:gd name="connsiteY66" fmla="*/ 63341 h 1306163"/>
                  <a:gd name="connsiteX67" fmla="*/ 579692 w 913542"/>
                  <a:gd name="connsiteY67" fmla="*/ 55435 h 1306163"/>
                  <a:gd name="connsiteX68" fmla="*/ 547878 w 913542"/>
                  <a:gd name="connsiteY68" fmla="*/ 55435 h 1306163"/>
                  <a:gd name="connsiteX69" fmla="*/ 516065 w 913542"/>
                  <a:gd name="connsiteY69" fmla="*/ 47530 h 1306163"/>
                  <a:gd name="connsiteX70" fmla="*/ 484251 w 913542"/>
                  <a:gd name="connsiteY70" fmla="*/ 55435 h 1306163"/>
                  <a:gd name="connsiteX71" fmla="*/ 484251 w 913542"/>
                  <a:gd name="connsiteY71" fmla="*/ 39624 h 1306163"/>
                  <a:gd name="connsiteX72" fmla="*/ 476345 w 913542"/>
                  <a:gd name="connsiteY72" fmla="*/ 31718 h 1306163"/>
                  <a:gd name="connsiteX73" fmla="*/ 460439 w 913542"/>
                  <a:gd name="connsiteY73" fmla="*/ 47530 h 1306163"/>
                  <a:gd name="connsiteX74" fmla="*/ 460439 w 913542"/>
                  <a:gd name="connsiteY74" fmla="*/ 87154 h 1306163"/>
                  <a:gd name="connsiteX75" fmla="*/ 452533 w 913542"/>
                  <a:gd name="connsiteY75" fmla="*/ 95059 h 1306163"/>
                  <a:gd name="connsiteX76" fmla="*/ 428720 w 913542"/>
                  <a:gd name="connsiteY76" fmla="*/ 95059 h 1306163"/>
                  <a:gd name="connsiteX77" fmla="*/ 373094 w 913542"/>
                  <a:gd name="connsiteY77" fmla="*/ 102965 h 1306163"/>
                  <a:gd name="connsiteX78" fmla="*/ 349282 w 913542"/>
                  <a:gd name="connsiteY78" fmla="*/ 126682 h 1306163"/>
                  <a:gd name="connsiteX79" fmla="*/ 333375 w 913542"/>
                  <a:gd name="connsiteY79" fmla="*/ 134588 h 1306163"/>
                  <a:gd name="connsiteX80" fmla="*/ 325469 w 913542"/>
                  <a:gd name="connsiteY80" fmla="*/ 134588 h 1306163"/>
                  <a:gd name="connsiteX81" fmla="*/ 325469 w 913542"/>
                  <a:gd name="connsiteY81" fmla="*/ 150400 h 1306163"/>
                  <a:gd name="connsiteX82" fmla="*/ 341376 w 913542"/>
                  <a:gd name="connsiteY82" fmla="*/ 158305 h 1306163"/>
                  <a:gd name="connsiteX83" fmla="*/ 349377 w 913542"/>
                  <a:gd name="connsiteY83" fmla="*/ 166211 h 1306163"/>
                  <a:gd name="connsiteX84" fmla="*/ 341376 w 913542"/>
                  <a:gd name="connsiteY84" fmla="*/ 190024 h 1306163"/>
                  <a:gd name="connsiteX85" fmla="*/ 333470 w 913542"/>
                  <a:gd name="connsiteY85" fmla="*/ 190024 h 1306163"/>
                  <a:gd name="connsiteX86" fmla="*/ 317564 w 913542"/>
                  <a:gd name="connsiteY86" fmla="*/ 197929 h 1306163"/>
                  <a:gd name="connsiteX87" fmla="*/ 309658 w 913542"/>
                  <a:gd name="connsiteY87" fmla="*/ 205835 h 1306163"/>
                  <a:gd name="connsiteX88" fmla="*/ 309658 w 913542"/>
                  <a:gd name="connsiteY88" fmla="*/ 213741 h 1306163"/>
                  <a:gd name="connsiteX89" fmla="*/ 301752 w 913542"/>
                  <a:gd name="connsiteY89" fmla="*/ 221647 h 1306163"/>
                  <a:gd name="connsiteX90" fmla="*/ 277940 w 913542"/>
                  <a:gd name="connsiteY90" fmla="*/ 221647 h 1306163"/>
                  <a:gd name="connsiteX91" fmla="*/ 285845 w 913542"/>
                  <a:gd name="connsiteY91" fmla="*/ 229553 h 1306163"/>
                  <a:gd name="connsiteX92" fmla="*/ 285845 w 913542"/>
                  <a:gd name="connsiteY92" fmla="*/ 237458 h 1306163"/>
                  <a:gd name="connsiteX93" fmla="*/ 293751 w 913542"/>
                  <a:gd name="connsiteY93" fmla="*/ 245364 h 1306163"/>
                  <a:gd name="connsiteX94" fmla="*/ 293751 w 913542"/>
                  <a:gd name="connsiteY94" fmla="*/ 253270 h 1306163"/>
                  <a:gd name="connsiteX95" fmla="*/ 285845 w 913542"/>
                  <a:gd name="connsiteY95" fmla="*/ 253270 h 1306163"/>
                  <a:gd name="connsiteX96" fmla="*/ 277940 w 913542"/>
                  <a:gd name="connsiteY96" fmla="*/ 261176 h 1306163"/>
                  <a:gd name="connsiteX97" fmla="*/ 270034 w 913542"/>
                  <a:gd name="connsiteY97" fmla="*/ 261176 h 1306163"/>
                  <a:gd name="connsiteX98" fmla="*/ 254127 w 913542"/>
                  <a:gd name="connsiteY98" fmla="*/ 269081 h 1306163"/>
                  <a:gd name="connsiteX99" fmla="*/ 230315 w 913542"/>
                  <a:gd name="connsiteY99" fmla="*/ 253270 h 1306163"/>
                  <a:gd name="connsiteX100" fmla="*/ 230315 w 913542"/>
                  <a:gd name="connsiteY100" fmla="*/ 300799 h 1306163"/>
                  <a:gd name="connsiteX101" fmla="*/ 222409 w 913542"/>
                  <a:gd name="connsiteY101" fmla="*/ 356235 h 1306163"/>
                  <a:gd name="connsiteX102" fmla="*/ 182690 w 913542"/>
                  <a:gd name="connsiteY102" fmla="*/ 395859 h 1306163"/>
                  <a:gd name="connsiteX103" fmla="*/ 174784 w 913542"/>
                  <a:gd name="connsiteY103" fmla="*/ 395859 h 1306163"/>
                  <a:gd name="connsiteX104" fmla="*/ 158877 w 913542"/>
                  <a:gd name="connsiteY104" fmla="*/ 403765 h 1306163"/>
                  <a:gd name="connsiteX105" fmla="*/ 174784 w 913542"/>
                  <a:gd name="connsiteY105" fmla="*/ 411670 h 1306163"/>
                  <a:gd name="connsiteX106" fmla="*/ 198596 w 913542"/>
                  <a:gd name="connsiteY106" fmla="*/ 435388 h 1306163"/>
                  <a:gd name="connsiteX107" fmla="*/ 198596 w 913542"/>
                  <a:gd name="connsiteY107" fmla="*/ 443293 h 1306163"/>
                  <a:gd name="connsiteX108" fmla="*/ 190691 w 913542"/>
                  <a:gd name="connsiteY108" fmla="*/ 451199 h 1306163"/>
                  <a:gd name="connsiteX109" fmla="*/ 135065 w 913542"/>
                  <a:gd name="connsiteY109" fmla="*/ 451199 h 1306163"/>
                  <a:gd name="connsiteX110" fmla="*/ 119158 w 913542"/>
                  <a:gd name="connsiteY110" fmla="*/ 459105 h 1306163"/>
                  <a:gd name="connsiteX111" fmla="*/ 111252 w 913542"/>
                  <a:gd name="connsiteY111" fmla="*/ 467011 h 1306163"/>
                  <a:gd name="connsiteX112" fmla="*/ 95345 w 913542"/>
                  <a:gd name="connsiteY112" fmla="*/ 474916 h 1306163"/>
                  <a:gd name="connsiteX113" fmla="*/ 39719 w 913542"/>
                  <a:gd name="connsiteY113" fmla="*/ 530352 h 1306163"/>
                  <a:gd name="connsiteX114" fmla="*/ 47625 w 913542"/>
                  <a:gd name="connsiteY114" fmla="*/ 538258 h 1306163"/>
                  <a:gd name="connsiteX115" fmla="*/ 55531 w 913542"/>
                  <a:gd name="connsiteY115" fmla="*/ 538258 h 1306163"/>
                  <a:gd name="connsiteX116" fmla="*/ 63437 w 913542"/>
                  <a:gd name="connsiteY116" fmla="*/ 546164 h 1306163"/>
                  <a:gd name="connsiteX117" fmla="*/ 63437 w 913542"/>
                  <a:gd name="connsiteY117" fmla="*/ 554069 h 1306163"/>
                  <a:gd name="connsiteX118" fmla="*/ 55531 w 913542"/>
                  <a:gd name="connsiteY118" fmla="*/ 561975 h 1306163"/>
                  <a:gd name="connsiteX119" fmla="*/ 47625 w 913542"/>
                  <a:gd name="connsiteY119" fmla="*/ 561975 h 1306163"/>
                  <a:gd name="connsiteX120" fmla="*/ 39719 w 913542"/>
                  <a:gd name="connsiteY120" fmla="*/ 569881 h 1306163"/>
                  <a:gd name="connsiteX121" fmla="*/ 39719 w 913542"/>
                  <a:gd name="connsiteY121" fmla="*/ 585692 h 1306163"/>
                  <a:gd name="connsiteX122" fmla="*/ 71533 w 913542"/>
                  <a:gd name="connsiteY122" fmla="*/ 617410 h 1306163"/>
                  <a:gd name="connsiteX123" fmla="*/ 71533 w 913542"/>
                  <a:gd name="connsiteY123" fmla="*/ 633222 h 1306163"/>
                  <a:gd name="connsiteX124" fmla="*/ 63627 w 913542"/>
                  <a:gd name="connsiteY124" fmla="*/ 649033 h 1306163"/>
                  <a:gd name="connsiteX125" fmla="*/ 63627 w 913542"/>
                  <a:gd name="connsiteY125" fmla="*/ 672846 h 1306163"/>
                  <a:gd name="connsiteX126" fmla="*/ 79534 w 913542"/>
                  <a:gd name="connsiteY126" fmla="*/ 688658 h 1306163"/>
                  <a:gd name="connsiteX127" fmla="*/ 87440 w 913542"/>
                  <a:gd name="connsiteY127" fmla="*/ 688658 h 1306163"/>
                  <a:gd name="connsiteX128" fmla="*/ 111252 w 913542"/>
                  <a:gd name="connsiteY128" fmla="*/ 712470 h 1306163"/>
                  <a:gd name="connsiteX129" fmla="*/ 111252 w 913542"/>
                  <a:gd name="connsiteY129" fmla="*/ 728281 h 1306163"/>
                  <a:gd name="connsiteX130" fmla="*/ 95345 w 913542"/>
                  <a:gd name="connsiteY130" fmla="*/ 744093 h 1306163"/>
                  <a:gd name="connsiteX131" fmla="*/ 63532 w 913542"/>
                  <a:gd name="connsiteY131" fmla="*/ 751999 h 1306163"/>
                  <a:gd name="connsiteX132" fmla="*/ 71438 w 913542"/>
                  <a:gd name="connsiteY132" fmla="*/ 759904 h 1306163"/>
                  <a:gd name="connsiteX133" fmla="*/ 79343 w 913542"/>
                  <a:gd name="connsiteY133" fmla="*/ 775716 h 1306163"/>
                  <a:gd name="connsiteX134" fmla="*/ 79343 w 913542"/>
                  <a:gd name="connsiteY134" fmla="*/ 783622 h 1306163"/>
                  <a:gd name="connsiteX135" fmla="*/ 87249 w 913542"/>
                  <a:gd name="connsiteY135" fmla="*/ 791528 h 1306163"/>
                  <a:gd name="connsiteX136" fmla="*/ 87249 w 913542"/>
                  <a:gd name="connsiteY136" fmla="*/ 799433 h 1306163"/>
                  <a:gd name="connsiteX137" fmla="*/ 95155 w 913542"/>
                  <a:gd name="connsiteY137" fmla="*/ 815245 h 1306163"/>
                  <a:gd name="connsiteX138" fmla="*/ 87249 w 913542"/>
                  <a:gd name="connsiteY138" fmla="*/ 815245 h 1306163"/>
                  <a:gd name="connsiteX139" fmla="*/ 87249 w 913542"/>
                  <a:gd name="connsiteY139" fmla="*/ 846963 h 1306163"/>
                  <a:gd name="connsiteX140" fmla="*/ 79343 w 913542"/>
                  <a:gd name="connsiteY140" fmla="*/ 854869 h 1306163"/>
                  <a:gd name="connsiteX141" fmla="*/ 31623 w 913542"/>
                  <a:gd name="connsiteY141" fmla="*/ 854869 h 1306163"/>
                  <a:gd name="connsiteX142" fmla="*/ 39529 w 913542"/>
                  <a:gd name="connsiteY142" fmla="*/ 870680 h 1306163"/>
                  <a:gd name="connsiteX143" fmla="*/ 39529 w 913542"/>
                  <a:gd name="connsiteY143" fmla="*/ 878586 h 1306163"/>
                  <a:gd name="connsiteX144" fmla="*/ 31623 w 913542"/>
                  <a:gd name="connsiteY144" fmla="*/ 878586 h 1306163"/>
                  <a:gd name="connsiteX145" fmla="*/ 23717 w 913542"/>
                  <a:gd name="connsiteY145" fmla="*/ 886492 h 1306163"/>
                  <a:gd name="connsiteX146" fmla="*/ 23717 w 913542"/>
                  <a:gd name="connsiteY146" fmla="*/ 894398 h 1306163"/>
                  <a:gd name="connsiteX147" fmla="*/ 39624 w 913542"/>
                  <a:gd name="connsiteY147" fmla="*/ 910209 h 1306163"/>
                  <a:gd name="connsiteX148" fmla="*/ 39624 w 913542"/>
                  <a:gd name="connsiteY148" fmla="*/ 934021 h 1306163"/>
                  <a:gd name="connsiteX149" fmla="*/ 31718 w 913542"/>
                  <a:gd name="connsiteY149" fmla="*/ 941927 h 1306163"/>
                  <a:gd name="connsiteX150" fmla="*/ 23813 w 913542"/>
                  <a:gd name="connsiteY150" fmla="*/ 957739 h 1306163"/>
                  <a:gd name="connsiteX151" fmla="*/ 0 w 913542"/>
                  <a:gd name="connsiteY151" fmla="*/ 933926 h 1306163"/>
                  <a:gd name="connsiteX152" fmla="*/ 0 w 913542"/>
                  <a:gd name="connsiteY152" fmla="*/ 1013174 h 1306163"/>
                  <a:gd name="connsiteX153" fmla="*/ 7906 w 913542"/>
                  <a:gd name="connsiteY153" fmla="*/ 1005269 h 1306163"/>
                  <a:gd name="connsiteX154" fmla="*/ 31718 w 913542"/>
                  <a:gd name="connsiteY154" fmla="*/ 1005269 h 1306163"/>
                  <a:gd name="connsiteX155" fmla="*/ 47625 w 913542"/>
                  <a:gd name="connsiteY155" fmla="*/ 1021080 h 1306163"/>
                  <a:gd name="connsiteX156" fmla="*/ 47625 w 913542"/>
                  <a:gd name="connsiteY156" fmla="*/ 1028986 h 1306163"/>
                  <a:gd name="connsiteX157" fmla="*/ 39719 w 913542"/>
                  <a:gd name="connsiteY157" fmla="*/ 1028986 h 1306163"/>
                  <a:gd name="connsiteX158" fmla="*/ 39719 w 913542"/>
                  <a:gd name="connsiteY158" fmla="*/ 1021080 h 1306163"/>
                  <a:gd name="connsiteX159" fmla="*/ 31814 w 913542"/>
                  <a:gd name="connsiteY159" fmla="*/ 1021080 h 1306163"/>
                  <a:gd name="connsiteX160" fmla="*/ 31814 w 913542"/>
                  <a:gd name="connsiteY160" fmla="*/ 1100328 h 1306163"/>
                  <a:gd name="connsiteX161" fmla="*/ 39719 w 913542"/>
                  <a:gd name="connsiteY161" fmla="*/ 1108234 h 1306163"/>
                  <a:gd name="connsiteX162" fmla="*/ 47625 w 913542"/>
                  <a:gd name="connsiteY162" fmla="*/ 1108234 h 1306163"/>
                  <a:gd name="connsiteX163" fmla="*/ 63532 w 913542"/>
                  <a:gd name="connsiteY163" fmla="*/ 1116140 h 1306163"/>
                  <a:gd name="connsiteX164" fmla="*/ 71438 w 913542"/>
                  <a:gd name="connsiteY164" fmla="*/ 1131951 h 1306163"/>
                  <a:gd name="connsiteX165" fmla="*/ 79343 w 913542"/>
                  <a:gd name="connsiteY165" fmla="*/ 1139857 h 1306163"/>
                  <a:gd name="connsiteX166" fmla="*/ 87249 w 913542"/>
                  <a:gd name="connsiteY166" fmla="*/ 1155668 h 1306163"/>
                  <a:gd name="connsiteX167" fmla="*/ 119063 w 913542"/>
                  <a:gd name="connsiteY167" fmla="*/ 1187387 h 1306163"/>
                  <a:gd name="connsiteX168" fmla="*/ 126968 w 913542"/>
                  <a:gd name="connsiteY168" fmla="*/ 1187387 h 1306163"/>
                  <a:gd name="connsiteX169" fmla="*/ 126968 w 913542"/>
                  <a:gd name="connsiteY169" fmla="*/ 1203198 h 1306163"/>
                  <a:gd name="connsiteX170" fmla="*/ 103156 w 913542"/>
                  <a:gd name="connsiteY170" fmla="*/ 1203198 h 1306163"/>
                  <a:gd name="connsiteX171" fmla="*/ 103156 w 913542"/>
                  <a:gd name="connsiteY171" fmla="*/ 1242822 h 1306163"/>
                  <a:gd name="connsiteX172" fmla="*/ 119063 w 913542"/>
                  <a:gd name="connsiteY172" fmla="*/ 1258634 h 1306163"/>
                  <a:gd name="connsiteX173" fmla="*/ 134969 w 913542"/>
                  <a:gd name="connsiteY173" fmla="*/ 1266539 h 1306163"/>
                  <a:gd name="connsiteX174" fmla="*/ 126968 w 913542"/>
                  <a:gd name="connsiteY174" fmla="*/ 1274445 h 1306163"/>
                  <a:gd name="connsiteX175" fmla="*/ 126968 w 913542"/>
                  <a:gd name="connsiteY175" fmla="*/ 1298258 h 1306163"/>
                  <a:gd name="connsiteX176" fmla="*/ 134969 w 913542"/>
                  <a:gd name="connsiteY176" fmla="*/ 1298258 h 1306163"/>
                  <a:gd name="connsiteX177" fmla="*/ 142875 w 913542"/>
                  <a:gd name="connsiteY177" fmla="*/ 1306163 h 1306163"/>
                  <a:gd name="connsiteX178" fmla="*/ 230315 w 913542"/>
                  <a:gd name="connsiteY178" fmla="*/ 1306163 h 1306163"/>
                  <a:gd name="connsiteX179" fmla="*/ 238220 w 913542"/>
                  <a:gd name="connsiteY179" fmla="*/ 1298258 h 1306163"/>
                  <a:gd name="connsiteX180" fmla="*/ 238220 w 913542"/>
                  <a:gd name="connsiteY180" fmla="*/ 1250728 h 1306163"/>
                  <a:gd name="connsiteX181" fmla="*/ 262033 w 913542"/>
                  <a:gd name="connsiteY181" fmla="*/ 1242822 h 1306163"/>
                  <a:gd name="connsiteX182" fmla="*/ 262033 w 913542"/>
                  <a:gd name="connsiteY182" fmla="*/ 1219009 h 1306163"/>
                  <a:gd name="connsiteX183" fmla="*/ 349472 w 913542"/>
                  <a:gd name="connsiteY183" fmla="*/ 1226915 h 1306163"/>
                  <a:gd name="connsiteX184" fmla="*/ 365379 w 913542"/>
                  <a:gd name="connsiteY184" fmla="*/ 1234821 h 1306163"/>
                  <a:gd name="connsiteX185" fmla="*/ 397193 w 913542"/>
                  <a:gd name="connsiteY185" fmla="*/ 1155573 h 1306163"/>
                  <a:gd name="connsiteX186" fmla="*/ 397193 w 913542"/>
                  <a:gd name="connsiteY186" fmla="*/ 1139762 h 1306163"/>
                  <a:gd name="connsiteX187" fmla="*/ 405098 w 913542"/>
                  <a:gd name="connsiteY187" fmla="*/ 1123950 h 1306163"/>
                  <a:gd name="connsiteX188" fmla="*/ 405098 w 913542"/>
                  <a:gd name="connsiteY188" fmla="*/ 1076420 h 1306163"/>
                  <a:gd name="connsiteX189" fmla="*/ 397193 w 913542"/>
                  <a:gd name="connsiteY189" fmla="*/ 1068515 h 1306163"/>
                  <a:gd name="connsiteX190" fmla="*/ 389287 w 913542"/>
                  <a:gd name="connsiteY190" fmla="*/ 1052703 h 1306163"/>
                  <a:gd name="connsiteX191" fmla="*/ 413099 w 913542"/>
                  <a:gd name="connsiteY191" fmla="*/ 1052703 h 1306163"/>
                  <a:gd name="connsiteX192" fmla="*/ 429006 w 913542"/>
                  <a:gd name="connsiteY192" fmla="*/ 1036892 h 1306163"/>
                  <a:gd name="connsiteX193" fmla="*/ 429006 w 913542"/>
                  <a:gd name="connsiteY193" fmla="*/ 1028986 h 1306163"/>
                  <a:gd name="connsiteX194" fmla="*/ 405194 w 913542"/>
                  <a:gd name="connsiteY194" fmla="*/ 1005269 h 1306163"/>
                  <a:gd name="connsiteX195" fmla="*/ 389287 w 913542"/>
                  <a:gd name="connsiteY195" fmla="*/ 1005269 h 1306163"/>
                  <a:gd name="connsiteX196" fmla="*/ 413099 w 913542"/>
                  <a:gd name="connsiteY196" fmla="*/ 997363 h 1306163"/>
                  <a:gd name="connsiteX197" fmla="*/ 397193 w 913542"/>
                  <a:gd name="connsiteY197" fmla="*/ 989457 h 1306163"/>
                  <a:gd name="connsiteX198" fmla="*/ 429006 w 913542"/>
                  <a:gd name="connsiteY198" fmla="*/ 989457 h 1306163"/>
                  <a:gd name="connsiteX199" fmla="*/ 444913 w 913542"/>
                  <a:gd name="connsiteY199" fmla="*/ 981551 h 1306163"/>
                  <a:gd name="connsiteX200" fmla="*/ 460820 w 913542"/>
                  <a:gd name="connsiteY200" fmla="*/ 981551 h 1306163"/>
                  <a:gd name="connsiteX201" fmla="*/ 468725 w 913542"/>
                  <a:gd name="connsiteY201" fmla="*/ 973646 h 1306163"/>
                  <a:gd name="connsiteX202" fmla="*/ 476631 w 913542"/>
                  <a:gd name="connsiteY202" fmla="*/ 957834 h 1306163"/>
                  <a:gd name="connsiteX203" fmla="*/ 476631 w 913542"/>
                  <a:gd name="connsiteY203" fmla="*/ 942023 h 1306163"/>
                  <a:gd name="connsiteX204" fmla="*/ 484537 w 913542"/>
                  <a:gd name="connsiteY204" fmla="*/ 934117 h 1306163"/>
                  <a:gd name="connsiteX205" fmla="*/ 508349 w 913542"/>
                  <a:gd name="connsiteY205" fmla="*/ 957929 h 1306163"/>
                  <a:gd name="connsiteX206" fmla="*/ 516255 w 913542"/>
                  <a:gd name="connsiteY206" fmla="*/ 957929 h 1306163"/>
                  <a:gd name="connsiteX207" fmla="*/ 524161 w 913542"/>
                  <a:gd name="connsiteY207" fmla="*/ 950024 h 1306163"/>
                  <a:gd name="connsiteX208" fmla="*/ 540068 w 913542"/>
                  <a:gd name="connsiteY208" fmla="*/ 918305 h 1306163"/>
                  <a:gd name="connsiteX209" fmla="*/ 532162 w 913542"/>
                  <a:gd name="connsiteY209" fmla="*/ 910400 h 1306163"/>
                  <a:gd name="connsiteX210" fmla="*/ 532162 w 913542"/>
                  <a:gd name="connsiteY210" fmla="*/ 902494 h 1306163"/>
                  <a:gd name="connsiteX211" fmla="*/ 548069 w 913542"/>
                  <a:gd name="connsiteY211" fmla="*/ 902494 h 1306163"/>
                  <a:gd name="connsiteX212" fmla="*/ 555974 w 913542"/>
                  <a:gd name="connsiteY212" fmla="*/ 894588 h 1306163"/>
                  <a:gd name="connsiteX213" fmla="*/ 571881 w 913542"/>
                  <a:gd name="connsiteY213" fmla="*/ 886682 h 1306163"/>
                  <a:gd name="connsiteX214" fmla="*/ 571881 w 913542"/>
                  <a:gd name="connsiteY214" fmla="*/ 870871 h 1306163"/>
                  <a:gd name="connsiteX215" fmla="*/ 555974 w 913542"/>
                  <a:gd name="connsiteY215" fmla="*/ 839153 h 1306163"/>
                  <a:gd name="connsiteX216" fmla="*/ 540068 w 913542"/>
                  <a:gd name="connsiteY216" fmla="*/ 831247 h 1306163"/>
                  <a:gd name="connsiteX217" fmla="*/ 540068 w 913542"/>
                  <a:gd name="connsiteY217" fmla="*/ 815435 h 1306163"/>
                  <a:gd name="connsiteX218" fmla="*/ 492347 w 913542"/>
                  <a:gd name="connsiteY218" fmla="*/ 791623 h 1306163"/>
                  <a:gd name="connsiteX219" fmla="*/ 476441 w 913542"/>
                  <a:gd name="connsiteY219" fmla="*/ 799529 h 1306163"/>
                  <a:gd name="connsiteX220" fmla="*/ 468535 w 913542"/>
                  <a:gd name="connsiteY220" fmla="*/ 799529 h 1306163"/>
                  <a:gd name="connsiteX221" fmla="*/ 452628 w 913542"/>
                  <a:gd name="connsiteY221" fmla="*/ 791623 h 1306163"/>
                  <a:gd name="connsiteX222" fmla="*/ 436721 w 913542"/>
                  <a:gd name="connsiteY222" fmla="*/ 759904 h 1306163"/>
                  <a:gd name="connsiteX223" fmla="*/ 436721 w 913542"/>
                  <a:gd name="connsiteY223" fmla="*/ 736092 h 1306163"/>
                  <a:gd name="connsiteX224" fmla="*/ 428816 w 913542"/>
                  <a:gd name="connsiteY224" fmla="*/ 720281 h 1306163"/>
                  <a:gd name="connsiteX225" fmla="*/ 428816 w 913542"/>
                  <a:gd name="connsiteY225" fmla="*/ 696563 h 1306163"/>
                  <a:gd name="connsiteX226" fmla="*/ 444722 w 913542"/>
                  <a:gd name="connsiteY226" fmla="*/ 680752 h 1306163"/>
                  <a:gd name="connsiteX227" fmla="*/ 452628 w 913542"/>
                  <a:gd name="connsiteY227" fmla="*/ 664940 h 1306163"/>
                  <a:gd name="connsiteX228" fmla="*/ 452628 w 913542"/>
                  <a:gd name="connsiteY228" fmla="*/ 641128 h 1306163"/>
                  <a:gd name="connsiteX229" fmla="*/ 444722 w 913542"/>
                  <a:gd name="connsiteY229" fmla="*/ 625316 h 1306163"/>
                  <a:gd name="connsiteX230" fmla="*/ 436817 w 913542"/>
                  <a:gd name="connsiteY230" fmla="*/ 617410 h 1306163"/>
                  <a:gd name="connsiteX231" fmla="*/ 436817 w 913542"/>
                  <a:gd name="connsiteY231" fmla="*/ 609505 h 1306163"/>
                  <a:gd name="connsiteX232" fmla="*/ 460629 w 913542"/>
                  <a:gd name="connsiteY232" fmla="*/ 609505 h 1306163"/>
                  <a:gd name="connsiteX233" fmla="*/ 468535 w 913542"/>
                  <a:gd name="connsiteY233" fmla="*/ 601599 h 1306163"/>
                  <a:gd name="connsiteX234" fmla="*/ 468535 w 913542"/>
                  <a:gd name="connsiteY234" fmla="*/ 577787 h 1306163"/>
                  <a:gd name="connsiteX235" fmla="*/ 460629 w 913542"/>
                  <a:gd name="connsiteY235" fmla="*/ 561975 h 1306163"/>
                  <a:gd name="connsiteX236" fmla="*/ 468535 w 913542"/>
                  <a:gd name="connsiteY236" fmla="*/ 569881 h 1306163"/>
                  <a:gd name="connsiteX237" fmla="*/ 500348 w 913542"/>
                  <a:gd name="connsiteY237" fmla="*/ 569881 h 1306163"/>
                  <a:gd name="connsiteX238" fmla="*/ 508254 w 913542"/>
                  <a:gd name="connsiteY238" fmla="*/ 561975 h 1306163"/>
                  <a:gd name="connsiteX239" fmla="*/ 524161 w 913542"/>
                  <a:gd name="connsiteY239" fmla="*/ 554069 h 1306163"/>
                  <a:gd name="connsiteX240" fmla="*/ 540068 w 913542"/>
                  <a:gd name="connsiteY240" fmla="*/ 538258 h 1306163"/>
                  <a:gd name="connsiteX241" fmla="*/ 579787 w 913542"/>
                  <a:gd name="connsiteY241" fmla="*/ 546164 h 1306163"/>
                  <a:gd name="connsiteX242" fmla="*/ 595694 w 913542"/>
                  <a:gd name="connsiteY242" fmla="*/ 514445 h 1306163"/>
                  <a:gd name="connsiteX243" fmla="*/ 635413 w 913542"/>
                  <a:gd name="connsiteY243" fmla="*/ 514445 h 1306163"/>
                  <a:gd name="connsiteX244" fmla="*/ 659225 w 913542"/>
                  <a:gd name="connsiteY244" fmla="*/ 506539 h 1306163"/>
                  <a:gd name="connsiteX245" fmla="*/ 675132 w 913542"/>
                  <a:gd name="connsiteY245" fmla="*/ 498634 h 1306163"/>
                  <a:gd name="connsiteX246" fmla="*/ 691039 w 913542"/>
                  <a:gd name="connsiteY246" fmla="*/ 466916 h 1306163"/>
                  <a:gd name="connsiteX247" fmla="*/ 714851 w 913542"/>
                  <a:gd name="connsiteY247" fmla="*/ 443103 h 1306163"/>
                  <a:gd name="connsiteX248" fmla="*/ 722757 w 913542"/>
                  <a:gd name="connsiteY248" fmla="*/ 427291 h 1306163"/>
                  <a:gd name="connsiteX249" fmla="*/ 698945 w 913542"/>
                  <a:gd name="connsiteY249" fmla="*/ 395668 h 1306163"/>
                  <a:gd name="connsiteX250" fmla="*/ 738664 w 913542"/>
                  <a:gd name="connsiteY250" fmla="*/ 348139 h 1306163"/>
                  <a:gd name="connsiteX251" fmla="*/ 714851 w 913542"/>
                  <a:gd name="connsiteY251" fmla="*/ 324326 h 1306163"/>
                  <a:gd name="connsiteX252" fmla="*/ 762572 w 913542"/>
                  <a:gd name="connsiteY252" fmla="*/ 308515 h 1306163"/>
                  <a:gd name="connsiteX253" fmla="*/ 786384 w 913542"/>
                  <a:gd name="connsiteY253" fmla="*/ 284702 h 1306163"/>
                  <a:gd name="connsiteX254" fmla="*/ 889730 w 913542"/>
                  <a:gd name="connsiteY254" fmla="*/ 292608 h 1306163"/>
                  <a:gd name="connsiteX255" fmla="*/ 905637 w 913542"/>
                  <a:gd name="connsiteY255" fmla="*/ 316420 h 1306163"/>
                  <a:gd name="connsiteX256" fmla="*/ 913543 w 913542"/>
                  <a:gd name="connsiteY256" fmla="*/ 316420 h 1306163"/>
                  <a:gd name="connsiteX257" fmla="*/ 897636 w 913542"/>
                  <a:gd name="connsiteY257" fmla="*/ 268891 h 130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913542" h="1306163">
                    <a:moveTo>
                      <a:pt x="397002" y="1187958"/>
                    </a:moveTo>
                    <a:lnTo>
                      <a:pt x="397002" y="1203770"/>
                    </a:lnTo>
                    <a:lnTo>
                      <a:pt x="389096" y="1219581"/>
                    </a:lnTo>
                    <a:lnTo>
                      <a:pt x="397002" y="1211675"/>
                    </a:lnTo>
                    <a:lnTo>
                      <a:pt x="412909" y="1203770"/>
                    </a:lnTo>
                    <a:lnTo>
                      <a:pt x="420815" y="1187958"/>
                    </a:lnTo>
                    <a:lnTo>
                      <a:pt x="420815" y="1180052"/>
                    </a:lnTo>
                    <a:lnTo>
                      <a:pt x="428720" y="1172147"/>
                    </a:lnTo>
                    <a:lnTo>
                      <a:pt x="428720" y="1164241"/>
                    </a:lnTo>
                    <a:lnTo>
                      <a:pt x="452533" y="1132523"/>
                    </a:lnTo>
                    <a:lnTo>
                      <a:pt x="444627" y="1108710"/>
                    </a:lnTo>
                    <a:lnTo>
                      <a:pt x="436721" y="1124522"/>
                    </a:lnTo>
                    <a:lnTo>
                      <a:pt x="412909" y="1148334"/>
                    </a:lnTo>
                    <a:lnTo>
                      <a:pt x="397002" y="1180052"/>
                    </a:lnTo>
                    <a:lnTo>
                      <a:pt x="397002" y="1187958"/>
                    </a:lnTo>
                    <a:close/>
                    <a:moveTo>
                      <a:pt x="516160" y="1092899"/>
                    </a:moveTo>
                    <a:lnTo>
                      <a:pt x="516160" y="1108710"/>
                    </a:lnTo>
                    <a:lnTo>
                      <a:pt x="524066" y="1124522"/>
                    </a:lnTo>
                    <a:lnTo>
                      <a:pt x="524066" y="1140333"/>
                    </a:lnTo>
                    <a:lnTo>
                      <a:pt x="531971" y="1148239"/>
                    </a:lnTo>
                    <a:lnTo>
                      <a:pt x="531971" y="1156145"/>
                    </a:lnTo>
                    <a:lnTo>
                      <a:pt x="547878" y="1124426"/>
                    </a:lnTo>
                    <a:lnTo>
                      <a:pt x="563785" y="1124426"/>
                    </a:lnTo>
                    <a:lnTo>
                      <a:pt x="571786" y="1116521"/>
                    </a:lnTo>
                    <a:lnTo>
                      <a:pt x="579692" y="1100709"/>
                    </a:lnTo>
                    <a:lnTo>
                      <a:pt x="579692" y="1084898"/>
                    </a:lnTo>
                    <a:lnTo>
                      <a:pt x="571786" y="1076992"/>
                    </a:lnTo>
                    <a:lnTo>
                      <a:pt x="595598" y="1053179"/>
                    </a:lnTo>
                    <a:lnTo>
                      <a:pt x="587693" y="1053179"/>
                    </a:lnTo>
                    <a:lnTo>
                      <a:pt x="579787" y="1061085"/>
                    </a:lnTo>
                    <a:lnTo>
                      <a:pt x="555879" y="1061085"/>
                    </a:lnTo>
                    <a:lnTo>
                      <a:pt x="539972" y="1068991"/>
                    </a:lnTo>
                    <a:lnTo>
                      <a:pt x="516160" y="1092803"/>
                    </a:lnTo>
                    <a:close/>
                    <a:moveTo>
                      <a:pt x="897636" y="268986"/>
                    </a:moveTo>
                    <a:lnTo>
                      <a:pt x="889730" y="261080"/>
                    </a:lnTo>
                    <a:lnTo>
                      <a:pt x="873824" y="253174"/>
                    </a:lnTo>
                    <a:lnTo>
                      <a:pt x="857917" y="237363"/>
                    </a:lnTo>
                    <a:lnTo>
                      <a:pt x="857917" y="229457"/>
                    </a:lnTo>
                    <a:lnTo>
                      <a:pt x="865823" y="213646"/>
                    </a:lnTo>
                    <a:lnTo>
                      <a:pt x="873728" y="205740"/>
                    </a:lnTo>
                    <a:lnTo>
                      <a:pt x="881634" y="189928"/>
                    </a:lnTo>
                    <a:lnTo>
                      <a:pt x="849821" y="174117"/>
                    </a:lnTo>
                    <a:lnTo>
                      <a:pt x="857726" y="142399"/>
                    </a:lnTo>
                    <a:lnTo>
                      <a:pt x="841820" y="134493"/>
                    </a:lnTo>
                    <a:lnTo>
                      <a:pt x="841820" y="126587"/>
                    </a:lnTo>
                    <a:lnTo>
                      <a:pt x="849725" y="118681"/>
                    </a:lnTo>
                    <a:lnTo>
                      <a:pt x="849725" y="87058"/>
                    </a:lnTo>
                    <a:lnTo>
                      <a:pt x="841820" y="87058"/>
                    </a:lnTo>
                    <a:lnTo>
                      <a:pt x="833914" y="79153"/>
                    </a:lnTo>
                    <a:lnTo>
                      <a:pt x="818007" y="79153"/>
                    </a:lnTo>
                    <a:lnTo>
                      <a:pt x="778288" y="55340"/>
                    </a:lnTo>
                    <a:lnTo>
                      <a:pt x="730568" y="55340"/>
                    </a:lnTo>
                    <a:lnTo>
                      <a:pt x="714661" y="39529"/>
                    </a:lnTo>
                    <a:lnTo>
                      <a:pt x="706755" y="39529"/>
                    </a:lnTo>
                    <a:lnTo>
                      <a:pt x="698849" y="31623"/>
                    </a:lnTo>
                    <a:lnTo>
                      <a:pt x="682943" y="31623"/>
                    </a:lnTo>
                    <a:lnTo>
                      <a:pt x="667036" y="23717"/>
                    </a:lnTo>
                    <a:lnTo>
                      <a:pt x="659130" y="15811"/>
                    </a:lnTo>
                    <a:lnTo>
                      <a:pt x="643223" y="7906"/>
                    </a:lnTo>
                    <a:lnTo>
                      <a:pt x="603504" y="0"/>
                    </a:lnTo>
                    <a:lnTo>
                      <a:pt x="603504" y="31718"/>
                    </a:lnTo>
                    <a:lnTo>
                      <a:pt x="587597" y="31718"/>
                    </a:lnTo>
                    <a:lnTo>
                      <a:pt x="587597" y="39624"/>
                    </a:lnTo>
                    <a:lnTo>
                      <a:pt x="603504" y="55435"/>
                    </a:lnTo>
                    <a:lnTo>
                      <a:pt x="611410" y="55435"/>
                    </a:lnTo>
                    <a:lnTo>
                      <a:pt x="603504" y="63341"/>
                    </a:lnTo>
                    <a:lnTo>
                      <a:pt x="587597" y="63341"/>
                    </a:lnTo>
                    <a:lnTo>
                      <a:pt x="579692" y="55435"/>
                    </a:lnTo>
                    <a:lnTo>
                      <a:pt x="547878" y="55435"/>
                    </a:lnTo>
                    <a:lnTo>
                      <a:pt x="516065" y="47530"/>
                    </a:lnTo>
                    <a:lnTo>
                      <a:pt x="484251" y="55435"/>
                    </a:lnTo>
                    <a:lnTo>
                      <a:pt x="484251" y="39624"/>
                    </a:lnTo>
                    <a:lnTo>
                      <a:pt x="476345" y="31718"/>
                    </a:lnTo>
                    <a:lnTo>
                      <a:pt x="460439" y="47530"/>
                    </a:lnTo>
                    <a:lnTo>
                      <a:pt x="460439" y="87154"/>
                    </a:lnTo>
                    <a:lnTo>
                      <a:pt x="452533" y="95059"/>
                    </a:lnTo>
                    <a:lnTo>
                      <a:pt x="428720" y="95059"/>
                    </a:lnTo>
                    <a:lnTo>
                      <a:pt x="373094" y="102965"/>
                    </a:lnTo>
                    <a:lnTo>
                      <a:pt x="349282" y="126682"/>
                    </a:lnTo>
                    <a:lnTo>
                      <a:pt x="333375" y="134588"/>
                    </a:lnTo>
                    <a:lnTo>
                      <a:pt x="325469" y="134588"/>
                    </a:lnTo>
                    <a:lnTo>
                      <a:pt x="325469" y="150400"/>
                    </a:lnTo>
                    <a:lnTo>
                      <a:pt x="341376" y="158305"/>
                    </a:lnTo>
                    <a:lnTo>
                      <a:pt x="349377" y="166211"/>
                    </a:lnTo>
                    <a:lnTo>
                      <a:pt x="341376" y="190024"/>
                    </a:lnTo>
                    <a:lnTo>
                      <a:pt x="333470" y="190024"/>
                    </a:lnTo>
                    <a:lnTo>
                      <a:pt x="317564" y="197929"/>
                    </a:lnTo>
                    <a:lnTo>
                      <a:pt x="309658" y="205835"/>
                    </a:lnTo>
                    <a:lnTo>
                      <a:pt x="309658" y="213741"/>
                    </a:lnTo>
                    <a:lnTo>
                      <a:pt x="301752" y="221647"/>
                    </a:lnTo>
                    <a:lnTo>
                      <a:pt x="277940" y="221647"/>
                    </a:lnTo>
                    <a:lnTo>
                      <a:pt x="285845" y="229553"/>
                    </a:lnTo>
                    <a:lnTo>
                      <a:pt x="285845" y="237458"/>
                    </a:lnTo>
                    <a:lnTo>
                      <a:pt x="293751" y="245364"/>
                    </a:lnTo>
                    <a:lnTo>
                      <a:pt x="293751" y="253270"/>
                    </a:lnTo>
                    <a:lnTo>
                      <a:pt x="285845" y="253270"/>
                    </a:lnTo>
                    <a:lnTo>
                      <a:pt x="277940" y="261176"/>
                    </a:lnTo>
                    <a:lnTo>
                      <a:pt x="270034" y="261176"/>
                    </a:lnTo>
                    <a:lnTo>
                      <a:pt x="254127" y="269081"/>
                    </a:lnTo>
                    <a:lnTo>
                      <a:pt x="230315" y="253270"/>
                    </a:lnTo>
                    <a:lnTo>
                      <a:pt x="230315" y="300799"/>
                    </a:lnTo>
                    <a:lnTo>
                      <a:pt x="222409" y="356235"/>
                    </a:lnTo>
                    <a:lnTo>
                      <a:pt x="182690" y="395859"/>
                    </a:lnTo>
                    <a:lnTo>
                      <a:pt x="174784" y="395859"/>
                    </a:lnTo>
                    <a:lnTo>
                      <a:pt x="158877" y="403765"/>
                    </a:lnTo>
                    <a:lnTo>
                      <a:pt x="174784" y="411670"/>
                    </a:lnTo>
                    <a:lnTo>
                      <a:pt x="198596" y="435388"/>
                    </a:lnTo>
                    <a:lnTo>
                      <a:pt x="198596" y="443293"/>
                    </a:lnTo>
                    <a:lnTo>
                      <a:pt x="190691" y="451199"/>
                    </a:lnTo>
                    <a:lnTo>
                      <a:pt x="135065" y="451199"/>
                    </a:lnTo>
                    <a:lnTo>
                      <a:pt x="119158" y="459105"/>
                    </a:lnTo>
                    <a:lnTo>
                      <a:pt x="111252" y="467011"/>
                    </a:lnTo>
                    <a:lnTo>
                      <a:pt x="95345" y="474916"/>
                    </a:lnTo>
                    <a:lnTo>
                      <a:pt x="39719" y="530352"/>
                    </a:lnTo>
                    <a:lnTo>
                      <a:pt x="47625" y="538258"/>
                    </a:lnTo>
                    <a:lnTo>
                      <a:pt x="55531" y="538258"/>
                    </a:lnTo>
                    <a:lnTo>
                      <a:pt x="63437" y="546164"/>
                    </a:lnTo>
                    <a:lnTo>
                      <a:pt x="63437" y="554069"/>
                    </a:lnTo>
                    <a:lnTo>
                      <a:pt x="55531" y="561975"/>
                    </a:lnTo>
                    <a:lnTo>
                      <a:pt x="47625" y="561975"/>
                    </a:lnTo>
                    <a:lnTo>
                      <a:pt x="39719" y="569881"/>
                    </a:lnTo>
                    <a:lnTo>
                      <a:pt x="39719" y="585692"/>
                    </a:lnTo>
                    <a:lnTo>
                      <a:pt x="71533" y="617410"/>
                    </a:lnTo>
                    <a:lnTo>
                      <a:pt x="71533" y="633222"/>
                    </a:lnTo>
                    <a:lnTo>
                      <a:pt x="63627" y="649033"/>
                    </a:lnTo>
                    <a:lnTo>
                      <a:pt x="63627" y="672846"/>
                    </a:lnTo>
                    <a:lnTo>
                      <a:pt x="79534" y="688658"/>
                    </a:lnTo>
                    <a:lnTo>
                      <a:pt x="87440" y="688658"/>
                    </a:lnTo>
                    <a:lnTo>
                      <a:pt x="111252" y="712470"/>
                    </a:lnTo>
                    <a:lnTo>
                      <a:pt x="111252" y="728281"/>
                    </a:lnTo>
                    <a:lnTo>
                      <a:pt x="95345" y="744093"/>
                    </a:lnTo>
                    <a:lnTo>
                      <a:pt x="63532" y="751999"/>
                    </a:lnTo>
                    <a:lnTo>
                      <a:pt x="71438" y="759904"/>
                    </a:lnTo>
                    <a:lnTo>
                      <a:pt x="79343" y="775716"/>
                    </a:lnTo>
                    <a:lnTo>
                      <a:pt x="79343" y="783622"/>
                    </a:lnTo>
                    <a:lnTo>
                      <a:pt x="87249" y="791528"/>
                    </a:lnTo>
                    <a:lnTo>
                      <a:pt x="87249" y="799433"/>
                    </a:lnTo>
                    <a:lnTo>
                      <a:pt x="95155" y="815245"/>
                    </a:lnTo>
                    <a:lnTo>
                      <a:pt x="87249" y="815245"/>
                    </a:lnTo>
                    <a:lnTo>
                      <a:pt x="87249" y="846963"/>
                    </a:lnTo>
                    <a:lnTo>
                      <a:pt x="79343" y="854869"/>
                    </a:lnTo>
                    <a:lnTo>
                      <a:pt x="31623" y="854869"/>
                    </a:lnTo>
                    <a:lnTo>
                      <a:pt x="39529" y="870680"/>
                    </a:lnTo>
                    <a:lnTo>
                      <a:pt x="39529" y="878586"/>
                    </a:lnTo>
                    <a:lnTo>
                      <a:pt x="31623" y="878586"/>
                    </a:lnTo>
                    <a:lnTo>
                      <a:pt x="23717" y="886492"/>
                    </a:lnTo>
                    <a:lnTo>
                      <a:pt x="23717" y="894398"/>
                    </a:lnTo>
                    <a:lnTo>
                      <a:pt x="39624" y="910209"/>
                    </a:lnTo>
                    <a:lnTo>
                      <a:pt x="39624" y="934021"/>
                    </a:lnTo>
                    <a:lnTo>
                      <a:pt x="31718" y="941927"/>
                    </a:lnTo>
                    <a:lnTo>
                      <a:pt x="23813" y="957739"/>
                    </a:lnTo>
                    <a:lnTo>
                      <a:pt x="0" y="933926"/>
                    </a:lnTo>
                    <a:lnTo>
                      <a:pt x="0" y="1013174"/>
                    </a:lnTo>
                    <a:lnTo>
                      <a:pt x="7906" y="1005269"/>
                    </a:lnTo>
                    <a:lnTo>
                      <a:pt x="31718" y="1005269"/>
                    </a:lnTo>
                    <a:lnTo>
                      <a:pt x="47625" y="1021080"/>
                    </a:lnTo>
                    <a:lnTo>
                      <a:pt x="47625" y="1028986"/>
                    </a:lnTo>
                    <a:lnTo>
                      <a:pt x="39719" y="1028986"/>
                    </a:lnTo>
                    <a:lnTo>
                      <a:pt x="39719" y="1021080"/>
                    </a:lnTo>
                    <a:lnTo>
                      <a:pt x="31814" y="1021080"/>
                    </a:lnTo>
                    <a:lnTo>
                      <a:pt x="31814" y="1100328"/>
                    </a:lnTo>
                    <a:lnTo>
                      <a:pt x="39719" y="1108234"/>
                    </a:lnTo>
                    <a:lnTo>
                      <a:pt x="47625" y="1108234"/>
                    </a:lnTo>
                    <a:lnTo>
                      <a:pt x="63532" y="1116140"/>
                    </a:lnTo>
                    <a:lnTo>
                      <a:pt x="71438" y="1131951"/>
                    </a:lnTo>
                    <a:lnTo>
                      <a:pt x="79343" y="1139857"/>
                    </a:lnTo>
                    <a:lnTo>
                      <a:pt x="87249" y="1155668"/>
                    </a:lnTo>
                    <a:lnTo>
                      <a:pt x="119063" y="1187387"/>
                    </a:lnTo>
                    <a:lnTo>
                      <a:pt x="126968" y="1187387"/>
                    </a:lnTo>
                    <a:lnTo>
                      <a:pt x="126968" y="1203198"/>
                    </a:lnTo>
                    <a:lnTo>
                      <a:pt x="103156" y="1203198"/>
                    </a:lnTo>
                    <a:lnTo>
                      <a:pt x="103156" y="1242822"/>
                    </a:lnTo>
                    <a:lnTo>
                      <a:pt x="119063" y="1258634"/>
                    </a:lnTo>
                    <a:lnTo>
                      <a:pt x="134969" y="1266539"/>
                    </a:lnTo>
                    <a:lnTo>
                      <a:pt x="126968" y="1274445"/>
                    </a:lnTo>
                    <a:lnTo>
                      <a:pt x="126968" y="1298258"/>
                    </a:lnTo>
                    <a:lnTo>
                      <a:pt x="134969" y="1298258"/>
                    </a:lnTo>
                    <a:lnTo>
                      <a:pt x="142875" y="1306163"/>
                    </a:lnTo>
                    <a:lnTo>
                      <a:pt x="230315" y="1306163"/>
                    </a:lnTo>
                    <a:lnTo>
                      <a:pt x="238220" y="1298258"/>
                    </a:lnTo>
                    <a:lnTo>
                      <a:pt x="238220" y="1250728"/>
                    </a:lnTo>
                    <a:lnTo>
                      <a:pt x="262033" y="1242822"/>
                    </a:lnTo>
                    <a:lnTo>
                      <a:pt x="262033" y="1219009"/>
                    </a:lnTo>
                    <a:lnTo>
                      <a:pt x="349472" y="1226915"/>
                    </a:lnTo>
                    <a:lnTo>
                      <a:pt x="365379" y="1234821"/>
                    </a:lnTo>
                    <a:lnTo>
                      <a:pt x="397193" y="1155573"/>
                    </a:lnTo>
                    <a:lnTo>
                      <a:pt x="397193" y="1139762"/>
                    </a:lnTo>
                    <a:lnTo>
                      <a:pt x="405098" y="1123950"/>
                    </a:lnTo>
                    <a:lnTo>
                      <a:pt x="405098" y="1076420"/>
                    </a:lnTo>
                    <a:lnTo>
                      <a:pt x="397193" y="1068515"/>
                    </a:lnTo>
                    <a:lnTo>
                      <a:pt x="389287" y="1052703"/>
                    </a:lnTo>
                    <a:lnTo>
                      <a:pt x="413099" y="1052703"/>
                    </a:lnTo>
                    <a:lnTo>
                      <a:pt x="429006" y="1036892"/>
                    </a:lnTo>
                    <a:lnTo>
                      <a:pt x="429006" y="1028986"/>
                    </a:lnTo>
                    <a:lnTo>
                      <a:pt x="405194" y="1005269"/>
                    </a:lnTo>
                    <a:lnTo>
                      <a:pt x="389287" y="1005269"/>
                    </a:lnTo>
                    <a:lnTo>
                      <a:pt x="413099" y="997363"/>
                    </a:lnTo>
                    <a:lnTo>
                      <a:pt x="397193" y="989457"/>
                    </a:lnTo>
                    <a:lnTo>
                      <a:pt x="429006" y="989457"/>
                    </a:lnTo>
                    <a:lnTo>
                      <a:pt x="444913" y="981551"/>
                    </a:lnTo>
                    <a:lnTo>
                      <a:pt x="460820" y="981551"/>
                    </a:lnTo>
                    <a:lnTo>
                      <a:pt x="468725" y="973646"/>
                    </a:lnTo>
                    <a:lnTo>
                      <a:pt x="476631" y="957834"/>
                    </a:lnTo>
                    <a:lnTo>
                      <a:pt x="476631" y="942023"/>
                    </a:lnTo>
                    <a:lnTo>
                      <a:pt x="484537" y="934117"/>
                    </a:lnTo>
                    <a:lnTo>
                      <a:pt x="508349" y="957929"/>
                    </a:lnTo>
                    <a:lnTo>
                      <a:pt x="516255" y="957929"/>
                    </a:lnTo>
                    <a:lnTo>
                      <a:pt x="524161" y="950024"/>
                    </a:lnTo>
                    <a:lnTo>
                      <a:pt x="540068" y="918305"/>
                    </a:lnTo>
                    <a:lnTo>
                      <a:pt x="532162" y="910400"/>
                    </a:lnTo>
                    <a:lnTo>
                      <a:pt x="532162" y="902494"/>
                    </a:lnTo>
                    <a:lnTo>
                      <a:pt x="548069" y="902494"/>
                    </a:lnTo>
                    <a:lnTo>
                      <a:pt x="555974" y="894588"/>
                    </a:lnTo>
                    <a:lnTo>
                      <a:pt x="571881" y="886682"/>
                    </a:lnTo>
                    <a:lnTo>
                      <a:pt x="571881" y="870871"/>
                    </a:lnTo>
                    <a:lnTo>
                      <a:pt x="555974" y="839153"/>
                    </a:lnTo>
                    <a:lnTo>
                      <a:pt x="540068" y="831247"/>
                    </a:lnTo>
                    <a:lnTo>
                      <a:pt x="540068" y="815435"/>
                    </a:lnTo>
                    <a:lnTo>
                      <a:pt x="492347" y="791623"/>
                    </a:lnTo>
                    <a:lnTo>
                      <a:pt x="476441" y="799529"/>
                    </a:lnTo>
                    <a:lnTo>
                      <a:pt x="468535" y="799529"/>
                    </a:lnTo>
                    <a:lnTo>
                      <a:pt x="452628" y="791623"/>
                    </a:lnTo>
                    <a:lnTo>
                      <a:pt x="436721" y="759904"/>
                    </a:lnTo>
                    <a:lnTo>
                      <a:pt x="436721" y="736092"/>
                    </a:lnTo>
                    <a:lnTo>
                      <a:pt x="428816" y="720281"/>
                    </a:lnTo>
                    <a:lnTo>
                      <a:pt x="428816" y="696563"/>
                    </a:lnTo>
                    <a:lnTo>
                      <a:pt x="444722" y="680752"/>
                    </a:lnTo>
                    <a:lnTo>
                      <a:pt x="452628" y="664940"/>
                    </a:lnTo>
                    <a:lnTo>
                      <a:pt x="452628" y="641128"/>
                    </a:lnTo>
                    <a:lnTo>
                      <a:pt x="444722" y="625316"/>
                    </a:lnTo>
                    <a:lnTo>
                      <a:pt x="436817" y="617410"/>
                    </a:lnTo>
                    <a:lnTo>
                      <a:pt x="436817" y="609505"/>
                    </a:lnTo>
                    <a:lnTo>
                      <a:pt x="460629" y="609505"/>
                    </a:lnTo>
                    <a:lnTo>
                      <a:pt x="468535" y="601599"/>
                    </a:lnTo>
                    <a:lnTo>
                      <a:pt x="468535" y="577787"/>
                    </a:lnTo>
                    <a:lnTo>
                      <a:pt x="460629" y="561975"/>
                    </a:lnTo>
                    <a:lnTo>
                      <a:pt x="468535" y="569881"/>
                    </a:lnTo>
                    <a:lnTo>
                      <a:pt x="500348" y="569881"/>
                    </a:lnTo>
                    <a:lnTo>
                      <a:pt x="508254" y="561975"/>
                    </a:lnTo>
                    <a:lnTo>
                      <a:pt x="524161" y="554069"/>
                    </a:lnTo>
                    <a:lnTo>
                      <a:pt x="540068" y="538258"/>
                    </a:lnTo>
                    <a:lnTo>
                      <a:pt x="579787" y="546164"/>
                    </a:lnTo>
                    <a:lnTo>
                      <a:pt x="595694" y="514445"/>
                    </a:lnTo>
                    <a:lnTo>
                      <a:pt x="635413" y="514445"/>
                    </a:lnTo>
                    <a:lnTo>
                      <a:pt x="659225" y="506539"/>
                    </a:lnTo>
                    <a:lnTo>
                      <a:pt x="675132" y="498634"/>
                    </a:lnTo>
                    <a:lnTo>
                      <a:pt x="691039" y="466916"/>
                    </a:lnTo>
                    <a:lnTo>
                      <a:pt x="714851" y="443103"/>
                    </a:lnTo>
                    <a:lnTo>
                      <a:pt x="722757" y="427291"/>
                    </a:lnTo>
                    <a:lnTo>
                      <a:pt x="698945" y="395668"/>
                    </a:lnTo>
                    <a:lnTo>
                      <a:pt x="738664" y="348139"/>
                    </a:lnTo>
                    <a:lnTo>
                      <a:pt x="714851" y="324326"/>
                    </a:lnTo>
                    <a:lnTo>
                      <a:pt x="762572" y="308515"/>
                    </a:lnTo>
                    <a:lnTo>
                      <a:pt x="786384" y="284702"/>
                    </a:lnTo>
                    <a:lnTo>
                      <a:pt x="889730" y="292608"/>
                    </a:lnTo>
                    <a:lnTo>
                      <a:pt x="905637" y="316420"/>
                    </a:lnTo>
                    <a:lnTo>
                      <a:pt x="913543" y="316420"/>
                    </a:lnTo>
                    <a:lnTo>
                      <a:pt x="897636" y="268891"/>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76" name="Freeform: Shape 75">
                <a:extLst>
                  <a:ext uri="{FF2B5EF4-FFF2-40B4-BE49-F238E27FC236}">
                    <a16:creationId xmlns:a16="http://schemas.microsoft.com/office/drawing/2014/main" id="{71E48208-2A2B-04D2-C4CA-330C6B0BAFB6}"/>
                  </a:ext>
                </a:extLst>
              </p:cNvPr>
              <p:cNvSpPr/>
              <p:nvPr/>
            </p:nvSpPr>
            <p:spPr>
              <a:xfrm>
                <a:off x="6212776" y="1919858"/>
                <a:ext cx="913542" cy="1306163"/>
              </a:xfrm>
              <a:custGeom>
                <a:avLst/>
                <a:gdLst>
                  <a:gd name="connsiteX0" fmla="*/ 397002 w 913542"/>
                  <a:gd name="connsiteY0" fmla="*/ 1187958 h 1306163"/>
                  <a:gd name="connsiteX1" fmla="*/ 397002 w 913542"/>
                  <a:gd name="connsiteY1" fmla="*/ 1203770 h 1306163"/>
                  <a:gd name="connsiteX2" fmla="*/ 389096 w 913542"/>
                  <a:gd name="connsiteY2" fmla="*/ 1219581 h 1306163"/>
                  <a:gd name="connsiteX3" fmla="*/ 397002 w 913542"/>
                  <a:gd name="connsiteY3" fmla="*/ 1211675 h 1306163"/>
                  <a:gd name="connsiteX4" fmla="*/ 412909 w 913542"/>
                  <a:gd name="connsiteY4" fmla="*/ 1203770 h 1306163"/>
                  <a:gd name="connsiteX5" fmla="*/ 420815 w 913542"/>
                  <a:gd name="connsiteY5" fmla="*/ 1187958 h 1306163"/>
                  <a:gd name="connsiteX6" fmla="*/ 420815 w 913542"/>
                  <a:gd name="connsiteY6" fmla="*/ 1180052 h 1306163"/>
                  <a:gd name="connsiteX7" fmla="*/ 428720 w 913542"/>
                  <a:gd name="connsiteY7" fmla="*/ 1172147 h 1306163"/>
                  <a:gd name="connsiteX8" fmla="*/ 428720 w 913542"/>
                  <a:gd name="connsiteY8" fmla="*/ 1164241 h 1306163"/>
                  <a:gd name="connsiteX9" fmla="*/ 452533 w 913542"/>
                  <a:gd name="connsiteY9" fmla="*/ 1132523 h 1306163"/>
                  <a:gd name="connsiteX10" fmla="*/ 444627 w 913542"/>
                  <a:gd name="connsiteY10" fmla="*/ 1108710 h 1306163"/>
                  <a:gd name="connsiteX11" fmla="*/ 436721 w 913542"/>
                  <a:gd name="connsiteY11" fmla="*/ 1124522 h 1306163"/>
                  <a:gd name="connsiteX12" fmla="*/ 412909 w 913542"/>
                  <a:gd name="connsiteY12" fmla="*/ 1148334 h 1306163"/>
                  <a:gd name="connsiteX13" fmla="*/ 397002 w 913542"/>
                  <a:gd name="connsiteY13" fmla="*/ 1180052 h 1306163"/>
                  <a:gd name="connsiteX14" fmla="*/ 397002 w 913542"/>
                  <a:gd name="connsiteY14" fmla="*/ 1187958 h 1306163"/>
                  <a:gd name="connsiteX15" fmla="*/ 516160 w 913542"/>
                  <a:gd name="connsiteY15" fmla="*/ 1092899 h 1306163"/>
                  <a:gd name="connsiteX16" fmla="*/ 516160 w 913542"/>
                  <a:gd name="connsiteY16" fmla="*/ 1108710 h 1306163"/>
                  <a:gd name="connsiteX17" fmla="*/ 524066 w 913542"/>
                  <a:gd name="connsiteY17" fmla="*/ 1124522 h 1306163"/>
                  <a:gd name="connsiteX18" fmla="*/ 524066 w 913542"/>
                  <a:gd name="connsiteY18" fmla="*/ 1140333 h 1306163"/>
                  <a:gd name="connsiteX19" fmla="*/ 531971 w 913542"/>
                  <a:gd name="connsiteY19" fmla="*/ 1148239 h 1306163"/>
                  <a:gd name="connsiteX20" fmla="*/ 531971 w 913542"/>
                  <a:gd name="connsiteY20" fmla="*/ 1156145 h 1306163"/>
                  <a:gd name="connsiteX21" fmla="*/ 547878 w 913542"/>
                  <a:gd name="connsiteY21" fmla="*/ 1124426 h 1306163"/>
                  <a:gd name="connsiteX22" fmla="*/ 563785 w 913542"/>
                  <a:gd name="connsiteY22" fmla="*/ 1124426 h 1306163"/>
                  <a:gd name="connsiteX23" fmla="*/ 571786 w 913542"/>
                  <a:gd name="connsiteY23" fmla="*/ 1116521 h 1306163"/>
                  <a:gd name="connsiteX24" fmla="*/ 579692 w 913542"/>
                  <a:gd name="connsiteY24" fmla="*/ 1100709 h 1306163"/>
                  <a:gd name="connsiteX25" fmla="*/ 579692 w 913542"/>
                  <a:gd name="connsiteY25" fmla="*/ 1084898 h 1306163"/>
                  <a:gd name="connsiteX26" fmla="*/ 571786 w 913542"/>
                  <a:gd name="connsiteY26" fmla="*/ 1076992 h 1306163"/>
                  <a:gd name="connsiteX27" fmla="*/ 595598 w 913542"/>
                  <a:gd name="connsiteY27" fmla="*/ 1053179 h 1306163"/>
                  <a:gd name="connsiteX28" fmla="*/ 587693 w 913542"/>
                  <a:gd name="connsiteY28" fmla="*/ 1053179 h 1306163"/>
                  <a:gd name="connsiteX29" fmla="*/ 579787 w 913542"/>
                  <a:gd name="connsiteY29" fmla="*/ 1061085 h 1306163"/>
                  <a:gd name="connsiteX30" fmla="*/ 555879 w 913542"/>
                  <a:gd name="connsiteY30" fmla="*/ 1061085 h 1306163"/>
                  <a:gd name="connsiteX31" fmla="*/ 539972 w 913542"/>
                  <a:gd name="connsiteY31" fmla="*/ 1068991 h 1306163"/>
                  <a:gd name="connsiteX32" fmla="*/ 516160 w 913542"/>
                  <a:gd name="connsiteY32" fmla="*/ 1092803 h 1306163"/>
                  <a:gd name="connsiteX33" fmla="*/ 897636 w 913542"/>
                  <a:gd name="connsiteY33" fmla="*/ 268986 h 1306163"/>
                  <a:gd name="connsiteX34" fmla="*/ 889730 w 913542"/>
                  <a:gd name="connsiteY34" fmla="*/ 261080 h 1306163"/>
                  <a:gd name="connsiteX35" fmla="*/ 873824 w 913542"/>
                  <a:gd name="connsiteY35" fmla="*/ 253174 h 1306163"/>
                  <a:gd name="connsiteX36" fmla="*/ 857917 w 913542"/>
                  <a:gd name="connsiteY36" fmla="*/ 237363 h 1306163"/>
                  <a:gd name="connsiteX37" fmla="*/ 857917 w 913542"/>
                  <a:gd name="connsiteY37" fmla="*/ 229457 h 1306163"/>
                  <a:gd name="connsiteX38" fmla="*/ 865823 w 913542"/>
                  <a:gd name="connsiteY38" fmla="*/ 213646 h 1306163"/>
                  <a:gd name="connsiteX39" fmla="*/ 873728 w 913542"/>
                  <a:gd name="connsiteY39" fmla="*/ 205740 h 1306163"/>
                  <a:gd name="connsiteX40" fmla="*/ 881634 w 913542"/>
                  <a:gd name="connsiteY40" fmla="*/ 189928 h 1306163"/>
                  <a:gd name="connsiteX41" fmla="*/ 849821 w 913542"/>
                  <a:gd name="connsiteY41" fmla="*/ 174117 h 1306163"/>
                  <a:gd name="connsiteX42" fmla="*/ 857726 w 913542"/>
                  <a:gd name="connsiteY42" fmla="*/ 142399 h 1306163"/>
                  <a:gd name="connsiteX43" fmla="*/ 841820 w 913542"/>
                  <a:gd name="connsiteY43" fmla="*/ 134493 h 1306163"/>
                  <a:gd name="connsiteX44" fmla="*/ 841820 w 913542"/>
                  <a:gd name="connsiteY44" fmla="*/ 126587 h 1306163"/>
                  <a:gd name="connsiteX45" fmla="*/ 849725 w 913542"/>
                  <a:gd name="connsiteY45" fmla="*/ 118681 h 1306163"/>
                  <a:gd name="connsiteX46" fmla="*/ 849725 w 913542"/>
                  <a:gd name="connsiteY46" fmla="*/ 87058 h 1306163"/>
                  <a:gd name="connsiteX47" fmla="*/ 841820 w 913542"/>
                  <a:gd name="connsiteY47" fmla="*/ 87058 h 1306163"/>
                  <a:gd name="connsiteX48" fmla="*/ 833914 w 913542"/>
                  <a:gd name="connsiteY48" fmla="*/ 79153 h 1306163"/>
                  <a:gd name="connsiteX49" fmla="*/ 818007 w 913542"/>
                  <a:gd name="connsiteY49" fmla="*/ 79153 h 1306163"/>
                  <a:gd name="connsiteX50" fmla="*/ 778288 w 913542"/>
                  <a:gd name="connsiteY50" fmla="*/ 55340 h 1306163"/>
                  <a:gd name="connsiteX51" fmla="*/ 730568 w 913542"/>
                  <a:gd name="connsiteY51" fmla="*/ 55340 h 1306163"/>
                  <a:gd name="connsiteX52" fmla="*/ 714661 w 913542"/>
                  <a:gd name="connsiteY52" fmla="*/ 39529 h 1306163"/>
                  <a:gd name="connsiteX53" fmla="*/ 706755 w 913542"/>
                  <a:gd name="connsiteY53" fmla="*/ 39529 h 1306163"/>
                  <a:gd name="connsiteX54" fmla="*/ 698849 w 913542"/>
                  <a:gd name="connsiteY54" fmla="*/ 31623 h 1306163"/>
                  <a:gd name="connsiteX55" fmla="*/ 682943 w 913542"/>
                  <a:gd name="connsiteY55" fmla="*/ 31623 h 1306163"/>
                  <a:gd name="connsiteX56" fmla="*/ 667036 w 913542"/>
                  <a:gd name="connsiteY56" fmla="*/ 23717 h 1306163"/>
                  <a:gd name="connsiteX57" fmla="*/ 659130 w 913542"/>
                  <a:gd name="connsiteY57" fmla="*/ 15811 h 1306163"/>
                  <a:gd name="connsiteX58" fmla="*/ 643223 w 913542"/>
                  <a:gd name="connsiteY58" fmla="*/ 7906 h 1306163"/>
                  <a:gd name="connsiteX59" fmla="*/ 603504 w 913542"/>
                  <a:gd name="connsiteY59" fmla="*/ 0 h 1306163"/>
                  <a:gd name="connsiteX60" fmla="*/ 603504 w 913542"/>
                  <a:gd name="connsiteY60" fmla="*/ 31718 h 1306163"/>
                  <a:gd name="connsiteX61" fmla="*/ 587597 w 913542"/>
                  <a:gd name="connsiteY61" fmla="*/ 31718 h 1306163"/>
                  <a:gd name="connsiteX62" fmla="*/ 587597 w 913542"/>
                  <a:gd name="connsiteY62" fmla="*/ 39624 h 1306163"/>
                  <a:gd name="connsiteX63" fmla="*/ 603504 w 913542"/>
                  <a:gd name="connsiteY63" fmla="*/ 55435 h 1306163"/>
                  <a:gd name="connsiteX64" fmla="*/ 611410 w 913542"/>
                  <a:gd name="connsiteY64" fmla="*/ 55435 h 1306163"/>
                  <a:gd name="connsiteX65" fmla="*/ 603504 w 913542"/>
                  <a:gd name="connsiteY65" fmla="*/ 63341 h 1306163"/>
                  <a:gd name="connsiteX66" fmla="*/ 587597 w 913542"/>
                  <a:gd name="connsiteY66" fmla="*/ 63341 h 1306163"/>
                  <a:gd name="connsiteX67" fmla="*/ 579692 w 913542"/>
                  <a:gd name="connsiteY67" fmla="*/ 55435 h 1306163"/>
                  <a:gd name="connsiteX68" fmla="*/ 547878 w 913542"/>
                  <a:gd name="connsiteY68" fmla="*/ 55435 h 1306163"/>
                  <a:gd name="connsiteX69" fmla="*/ 516065 w 913542"/>
                  <a:gd name="connsiteY69" fmla="*/ 47530 h 1306163"/>
                  <a:gd name="connsiteX70" fmla="*/ 484251 w 913542"/>
                  <a:gd name="connsiteY70" fmla="*/ 55435 h 1306163"/>
                  <a:gd name="connsiteX71" fmla="*/ 484251 w 913542"/>
                  <a:gd name="connsiteY71" fmla="*/ 39624 h 1306163"/>
                  <a:gd name="connsiteX72" fmla="*/ 476345 w 913542"/>
                  <a:gd name="connsiteY72" fmla="*/ 31718 h 1306163"/>
                  <a:gd name="connsiteX73" fmla="*/ 460439 w 913542"/>
                  <a:gd name="connsiteY73" fmla="*/ 47530 h 1306163"/>
                  <a:gd name="connsiteX74" fmla="*/ 460439 w 913542"/>
                  <a:gd name="connsiteY74" fmla="*/ 87154 h 1306163"/>
                  <a:gd name="connsiteX75" fmla="*/ 452533 w 913542"/>
                  <a:gd name="connsiteY75" fmla="*/ 95059 h 1306163"/>
                  <a:gd name="connsiteX76" fmla="*/ 428720 w 913542"/>
                  <a:gd name="connsiteY76" fmla="*/ 95059 h 1306163"/>
                  <a:gd name="connsiteX77" fmla="*/ 373094 w 913542"/>
                  <a:gd name="connsiteY77" fmla="*/ 102965 h 1306163"/>
                  <a:gd name="connsiteX78" fmla="*/ 349282 w 913542"/>
                  <a:gd name="connsiteY78" fmla="*/ 126682 h 1306163"/>
                  <a:gd name="connsiteX79" fmla="*/ 333375 w 913542"/>
                  <a:gd name="connsiteY79" fmla="*/ 134588 h 1306163"/>
                  <a:gd name="connsiteX80" fmla="*/ 325469 w 913542"/>
                  <a:gd name="connsiteY80" fmla="*/ 134588 h 1306163"/>
                  <a:gd name="connsiteX81" fmla="*/ 325469 w 913542"/>
                  <a:gd name="connsiteY81" fmla="*/ 150400 h 1306163"/>
                  <a:gd name="connsiteX82" fmla="*/ 341376 w 913542"/>
                  <a:gd name="connsiteY82" fmla="*/ 158305 h 1306163"/>
                  <a:gd name="connsiteX83" fmla="*/ 349377 w 913542"/>
                  <a:gd name="connsiteY83" fmla="*/ 166211 h 1306163"/>
                  <a:gd name="connsiteX84" fmla="*/ 341376 w 913542"/>
                  <a:gd name="connsiteY84" fmla="*/ 190024 h 1306163"/>
                  <a:gd name="connsiteX85" fmla="*/ 333470 w 913542"/>
                  <a:gd name="connsiteY85" fmla="*/ 190024 h 1306163"/>
                  <a:gd name="connsiteX86" fmla="*/ 317564 w 913542"/>
                  <a:gd name="connsiteY86" fmla="*/ 197929 h 1306163"/>
                  <a:gd name="connsiteX87" fmla="*/ 309658 w 913542"/>
                  <a:gd name="connsiteY87" fmla="*/ 205835 h 1306163"/>
                  <a:gd name="connsiteX88" fmla="*/ 309658 w 913542"/>
                  <a:gd name="connsiteY88" fmla="*/ 213741 h 1306163"/>
                  <a:gd name="connsiteX89" fmla="*/ 301752 w 913542"/>
                  <a:gd name="connsiteY89" fmla="*/ 221647 h 1306163"/>
                  <a:gd name="connsiteX90" fmla="*/ 277940 w 913542"/>
                  <a:gd name="connsiteY90" fmla="*/ 221647 h 1306163"/>
                  <a:gd name="connsiteX91" fmla="*/ 285845 w 913542"/>
                  <a:gd name="connsiteY91" fmla="*/ 229553 h 1306163"/>
                  <a:gd name="connsiteX92" fmla="*/ 285845 w 913542"/>
                  <a:gd name="connsiteY92" fmla="*/ 237458 h 1306163"/>
                  <a:gd name="connsiteX93" fmla="*/ 293751 w 913542"/>
                  <a:gd name="connsiteY93" fmla="*/ 245364 h 1306163"/>
                  <a:gd name="connsiteX94" fmla="*/ 293751 w 913542"/>
                  <a:gd name="connsiteY94" fmla="*/ 253270 h 1306163"/>
                  <a:gd name="connsiteX95" fmla="*/ 285845 w 913542"/>
                  <a:gd name="connsiteY95" fmla="*/ 253270 h 1306163"/>
                  <a:gd name="connsiteX96" fmla="*/ 277940 w 913542"/>
                  <a:gd name="connsiteY96" fmla="*/ 261176 h 1306163"/>
                  <a:gd name="connsiteX97" fmla="*/ 270034 w 913542"/>
                  <a:gd name="connsiteY97" fmla="*/ 261176 h 1306163"/>
                  <a:gd name="connsiteX98" fmla="*/ 254127 w 913542"/>
                  <a:gd name="connsiteY98" fmla="*/ 269081 h 1306163"/>
                  <a:gd name="connsiteX99" fmla="*/ 230315 w 913542"/>
                  <a:gd name="connsiteY99" fmla="*/ 253270 h 1306163"/>
                  <a:gd name="connsiteX100" fmla="*/ 230315 w 913542"/>
                  <a:gd name="connsiteY100" fmla="*/ 300799 h 1306163"/>
                  <a:gd name="connsiteX101" fmla="*/ 222409 w 913542"/>
                  <a:gd name="connsiteY101" fmla="*/ 356235 h 1306163"/>
                  <a:gd name="connsiteX102" fmla="*/ 182690 w 913542"/>
                  <a:gd name="connsiteY102" fmla="*/ 395859 h 1306163"/>
                  <a:gd name="connsiteX103" fmla="*/ 174784 w 913542"/>
                  <a:gd name="connsiteY103" fmla="*/ 395859 h 1306163"/>
                  <a:gd name="connsiteX104" fmla="*/ 158877 w 913542"/>
                  <a:gd name="connsiteY104" fmla="*/ 403765 h 1306163"/>
                  <a:gd name="connsiteX105" fmla="*/ 174784 w 913542"/>
                  <a:gd name="connsiteY105" fmla="*/ 411670 h 1306163"/>
                  <a:gd name="connsiteX106" fmla="*/ 198596 w 913542"/>
                  <a:gd name="connsiteY106" fmla="*/ 435388 h 1306163"/>
                  <a:gd name="connsiteX107" fmla="*/ 198596 w 913542"/>
                  <a:gd name="connsiteY107" fmla="*/ 443293 h 1306163"/>
                  <a:gd name="connsiteX108" fmla="*/ 190691 w 913542"/>
                  <a:gd name="connsiteY108" fmla="*/ 451199 h 1306163"/>
                  <a:gd name="connsiteX109" fmla="*/ 135065 w 913542"/>
                  <a:gd name="connsiteY109" fmla="*/ 451199 h 1306163"/>
                  <a:gd name="connsiteX110" fmla="*/ 119158 w 913542"/>
                  <a:gd name="connsiteY110" fmla="*/ 459105 h 1306163"/>
                  <a:gd name="connsiteX111" fmla="*/ 111252 w 913542"/>
                  <a:gd name="connsiteY111" fmla="*/ 467011 h 1306163"/>
                  <a:gd name="connsiteX112" fmla="*/ 95345 w 913542"/>
                  <a:gd name="connsiteY112" fmla="*/ 474916 h 1306163"/>
                  <a:gd name="connsiteX113" fmla="*/ 39719 w 913542"/>
                  <a:gd name="connsiteY113" fmla="*/ 530352 h 1306163"/>
                  <a:gd name="connsiteX114" fmla="*/ 47625 w 913542"/>
                  <a:gd name="connsiteY114" fmla="*/ 538258 h 1306163"/>
                  <a:gd name="connsiteX115" fmla="*/ 55531 w 913542"/>
                  <a:gd name="connsiteY115" fmla="*/ 538258 h 1306163"/>
                  <a:gd name="connsiteX116" fmla="*/ 63437 w 913542"/>
                  <a:gd name="connsiteY116" fmla="*/ 546164 h 1306163"/>
                  <a:gd name="connsiteX117" fmla="*/ 63437 w 913542"/>
                  <a:gd name="connsiteY117" fmla="*/ 554069 h 1306163"/>
                  <a:gd name="connsiteX118" fmla="*/ 55531 w 913542"/>
                  <a:gd name="connsiteY118" fmla="*/ 561975 h 1306163"/>
                  <a:gd name="connsiteX119" fmla="*/ 47625 w 913542"/>
                  <a:gd name="connsiteY119" fmla="*/ 561975 h 1306163"/>
                  <a:gd name="connsiteX120" fmla="*/ 39719 w 913542"/>
                  <a:gd name="connsiteY120" fmla="*/ 569881 h 1306163"/>
                  <a:gd name="connsiteX121" fmla="*/ 39719 w 913542"/>
                  <a:gd name="connsiteY121" fmla="*/ 585692 h 1306163"/>
                  <a:gd name="connsiteX122" fmla="*/ 71533 w 913542"/>
                  <a:gd name="connsiteY122" fmla="*/ 617410 h 1306163"/>
                  <a:gd name="connsiteX123" fmla="*/ 71533 w 913542"/>
                  <a:gd name="connsiteY123" fmla="*/ 633222 h 1306163"/>
                  <a:gd name="connsiteX124" fmla="*/ 63627 w 913542"/>
                  <a:gd name="connsiteY124" fmla="*/ 649033 h 1306163"/>
                  <a:gd name="connsiteX125" fmla="*/ 63627 w 913542"/>
                  <a:gd name="connsiteY125" fmla="*/ 672846 h 1306163"/>
                  <a:gd name="connsiteX126" fmla="*/ 79534 w 913542"/>
                  <a:gd name="connsiteY126" fmla="*/ 688658 h 1306163"/>
                  <a:gd name="connsiteX127" fmla="*/ 87440 w 913542"/>
                  <a:gd name="connsiteY127" fmla="*/ 688658 h 1306163"/>
                  <a:gd name="connsiteX128" fmla="*/ 111252 w 913542"/>
                  <a:gd name="connsiteY128" fmla="*/ 712470 h 1306163"/>
                  <a:gd name="connsiteX129" fmla="*/ 111252 w 913542"/>
                  <a:gd name="connsiteY129" fmla="*/ 728281 h 1306163"/>
                  <a:gd name="connsiteX130" fmla="*/ 95345 w 913542"/>
                  <a:gd name="connsiteY130" fmla="*/ 744093 h 1306163"/>
                  <a:gd name="connsiteX131" fmla="*/ 63532 w 913542"/>
                  <a:gd name="connsiteY131" fmla="*/ 751999 h 1306163"/>
                  <a:gd name="connsiteX132" fmla="*/ 71438 w 913542"/>
                  <a:gd name="connsiteY132" fmla="*/ 759904 h 1306163"/>
                  <a:gd name="connsiteX133" fmla="*/ 79343 w 913542"/>
                  <a:gd name="connsiteY133" fmla="*/ 775716 h 1306163"/>
                  <a:gd name="connsiteX134" fmla="*/ 79343 w 913542"/>
                  <a:gd name="connsiteY134" fmla="*/ 783622 h 1306163"/>
                  <a:gd name="connsiteX135" fmla="*/ 87249 w 913542"/>
                  <a:gd name="connsiteY135" fmla="*/ 791528 h 1306163"/>
                  <a:gd name="connsiteX136" fmla="*/ 87249 w 913542"/>
                  <a:gd name="connsiteY136" fmla="*/ 799433 h 1306163"/>
                  <a:gd name="connsiteX137" fmla="*/ 95155 w 913542"/>
                  <a:gd name="connsiteY137" fmla="*/ 815245 h 1306163"/>
                  <a:gd name="connsiteX138" fmla="*/ 87249 w 913542"/>
                  <a:gd name="connsiteY138" fmla="*/ 815245 h 1306163"/>
                  <a:gd name="connsiteX139" fmla="*/ 87249 w 913542"/>
                  <a:gd name="connsiteY139" fmla="*/ 846963 h 1306163"/>
                  <a:gd name="connsiteX140" fmla="*/ 79343 w 913542"/>
                  <a:gd name="connsiteY140" fmla="*/ 854869 h 1306163"/>
                  <a:gd name="connsiteX141" fmla="*/ 31623 w 913542"/>
                  <a:gd name="connsiteY141" fmla="*/ 854869 h 1306163"/>
                  <a:gd name="connsiteX142" fmla="*/ 39529 w 913542"/>
                  <a:gd name="connsiteY142" fmla="*/ 870680 h 1306163"/>
                  <a:gd name="connsiteX143" fmla="*/ 39529 w 913542"/>
                  <a:gd name="connsiteY143" fmla="*/ 878586 h 1306163"/>
                  <a:gd name="connsiteX144" fmla="*/ 31623 w 913542"/>
                  <a:gd name="connsiteY144" fmla="*/ 878586 h 1306163"/>
                  <a:gd name="connsiteX145" fmla="*/ 23717 w 913542"/>
                  <a:gd name="connsiteY145" fmla="*/ 886492 h 1306163"/>
                  <a:gd name="connsiteX146" fmla="*/ 23717 w 913542"/>
                  <a:gd name="connsiteY146" fmla="*/ 894398 h 1306163"/>
                  <a:gd name="connsiteX147" fmla="*/ 39624 w 913542"/>
                  <a:gd name="connsiteY147" fmla="*/ 910209 h 1306163"/>
                  <a:gd name="connsiteX148" fmla="*/ 39624 w 913542"/>
                  <a:gd name="connsiteY148" fmla="*/ 934021 h 1306163"/>
                  <a:gd name="connsiteX149" fmla="*/ 31718 w 913542"/>
                  <a:gd name="connsiteY149" fmla="*/ 941927 h 1306163"/>
                  <a:gd name="connsiteX150" fmla="*/ 23813 w 913542"/>
                  <a:gd name="connsiteY150" fmla="*/ 957739 h 1306163"/>
                  <a:gd name="connsiteX151" fmla="*/ 0 w 913542"/>
                  <a:gd name="connsiteY151" fmla="*/ 933926 h 1306163"/>
                  <a:gd name="connsiteX152" fmla="*/ 0 w 913542"/>
                  <a:gd name="connsiteY152" fmla="*/ 1013174 h 1306163"/>
                  <a:gd name="connsiteX153" fmla="*/ 7906 w 913542"/>
                  <a:gd name="connsiteY153" fmla="*/ 1005269 h 1306163"/>
                  <a:gd name="connsiteX154" fmla="*/ 31718 w 913542"/>
                  <a:gd name="connsiteY154" fmla="*/ 1005269 h 1306163"/>
                  <a:gd name="connsiteX155" fmla="*/ 47625 w 913542"/>
                  <a:gd name="connsiteY155" fmla="*/ 1021080 h 1306163"/>
                  <a:gd name="connsiteX156" fmla="*/ 47625 w 913542"/>
                  <a:gd name="connsiteY156" fmla="*/ 1028986 h 1306163"/>
                  <a:gd name="connsiteX157" fmla="*/ 39719 w 913542"/>
                  <a:gd name="connsiteY157" fmla="*/ 1028986 h 1306163"/>
                  <a:gd name="connsiteX158" fmla="*/ 39719 w 913542"/>
                  <a:gd name="connsiteY158" fmla="*/ 1021080 h 1306163"/>
                  <a:gd name="connsiteX159" fmla="*/ 31814 w 913542"/>
                  <a:gd name="connsiteY159" fmla="*/ 1021080 h 1306163"/>
                  <a:gd name="connsiteX160" fmla="*/ 31814 w 913542"/>
                  <a:gd name="connsiteY160" fmla="*/ 1100328 h 1306163"/>
                  <a:gd name="connsiteX161" fmla="*/ 39719 w 913542"/>
                  <a:gd name="connsiteY161" fmla="*/ 1108234 h 1306163"/>
                  <a:gd name="connsiteX162" fmla="*/ 47625 w 913542"/>
                  <a:gd name="connsiteY162" fmla="*/ 1108234 h 1306163"/>
                  <a:gd name="connsiteX163" fmla="*/ 63532 w 913542"/>
                  <a:gd name="connsiteY163" fmla="*/ 1116140 h 1306163"/>
                  <a:gd name="connsiteX164" fmla="*/ 71438 w 913542"/>
                  <a:gd name="connsiteY164" fmla="*/ 1131951 h 1306163"/>
                  <a:gd name="connsiteX165" fmla="*/ 79343 w 913542"/>
                  <a:gd name="connsiteY165" fmla="*/ 1139857 h 1306163"/>
                  <a:gd name="connsiteX166" fmla="*/ 87249 w 913542"/>
                  <a:gd name="connsiteY166" fmla="*/ 1155668 h 1306163"/>
                  <a:gd name="connsiteX167" fmla="*/ 119063 w 913542"/>
                  <a:gd name="connsiteY167" fmla="*/ 1187387 h 1306163"/>
                  <a:gd name="connsiteX168" fmla="*/ 126968 w 913542"/>
                  <a:gd name="connsiteY168" fmla="*/ 1187387 h 1306163"/>
                  <a:gd name="connsiteX169" fmla="*/ 126968 w 913542"/>
                  <a:gd name="connsiteY169" fmla="*/ 1203198 h 1306163"/>
                  <a:gd name="connsiteX170" fmla="*/ 103156 w 913542"/>
                  <a:gd name="connsiteY170" fmla="*/ 1203198 h 1306163"/>
                  <a:gd name="connsiteX171" fmla="*/ 103156 w 913542"/>
                  <a:gd name="connsiteY171" fmla="*/ 1242822 h 1306163"/>
                  <a:gd name="connsiteX172" fmla="*/ 119063 w 913542"/>
                  <a:gd name="connsiteY172" fmla="*/ 1258634 h 1306163"/>
                  <a:gd name="connsiteX173" fmla="*/ 134969 w 913542"/>
                  <a:gd name="connsiteY173" fmla="*/ 1266539 h 1306163"/>
                  <a:gd name="connsiteX174" fmla="*/ 126968 w 913542"/>
                  <a:gd name="connsiteY174" fmla="*/ 1274445 h 1306163"/>
                  <a:gd name="connsiteX175" fmla="*/ 126968 w 913542"/>
                  <a:gd name="connsiteY175" fmla="*/ 1298258 h 1306163"/>
                  <a:gd name="connsiteX176" fmla="*/ 134969 w 913542"/>
                  <a:gd name="connsiteY176" fmla="*/ 1298258 h 1306163"/>
                  <a:gd name="connsiteX177" fmla="*/ 142875 w 913542"/>
                  <a:gd name="connsiteY177" fmla="*/ 1306163 h 1306163"/>
                  <a:gd name="connsiteX178" fmla="*/ 230315 w 913542"/>
                  <a:gd name="connsiteY178" fmla="*/ 1306163 h 1306163"/>
                  <a:gd name="connsiteX179" fmla="*/ 238220 w 913542"/>
                  <a:gd name="connsiteY179" fmla="*/ 1298258 h 1306163"/>
                  <a:gd name="connsiteX180" fmla="*/ 238220 w 913542"/>
                  <a:gd name="connsiteY180" fmla="*/ 1250728 h 1306163"/>
                  <a:gd name="connsiteX181" fmla="*/ 262033 w 913542"/>
                  <a:gd name="connsiteY181" fmla="*/ 1242822 h 1306163"/>
                  <a:gd name="connsiteX182" fmla="*/ 262033 w 913542"/>
                  <a:gd name="connsiteY182" fmla="*/ 1219009 h 1306163"/>
                  <a:gd name="connsiteX183" fmla="*/ 349472 w 913542"/>
                  <a:gd name="connsiteY183" fmla="*/ 1226915 h 1306163"/>
                  <a:gd name="connsiteX184" fmla="*/ 365379 w 913542"/>
                  <a:gd name="connsiteY184" fmla="*/ 1234821 h 1306163"/>
                  <a:gd name="connsiteX185" fmla="*/ 397193 w 913542"/>
                  <a:gd name="connsiteY185" fmla="*/ 1155573 h 1306163"/>
                  <a:gd name="connsiteX186" fmla="*/ 397193 w 913542"/>
                  <a:gd name="connsiteY186" fmla="*/ 1139762 h 1306163"/>
                  <a:gd name="connsiteX187" fmla="*/ 405098 w 913542"/>
                  <a:gd name="connsiteY187" fmla="*/ 1123950 h 1306163"/>
                  <a:gd name="connsiteX188" fmla="*/ 405098 w 913542"/>
                  <a:gd name="connsiteY188" fmla="*/ 1076420 h 1306163"/>
                  <a:gd name="connsiteX189" fmla="*/ 397193 w 913542"/>
                  <a:gd name="connsiteY189" fmla="*/ 1068515 h 1306163"/>
                  <a:gd name="connsiteX190" fmla="*/ 389287 w 913542"/>
                  <a:gd name="connsiteY190" fmla="*/ 1052703 h 1306163"/>
                  <a:gd name="connsiteX191" fmla="*/ 413099 w 913542"/>
                  <a:gd name="connsiteY191" fmla="*/ 1052703 h 1306163"/>
                  <a:gd name="connsiteX192" fmla="*/ 429006 w 913542"/>
                  <a:gd name="connsiteY192" fmla="*/ 1036892 h 1306163"/>
                  <a:gd name="connsiteX193" fmla="*/ 429006 w 913542"/>
                  <a:gd name="connsiteY193" fmla="*/ 1028986 h 1306163"/>
                  <a:gd name="connsiteX194" fmla="*/ 405194 w 913542"/>
                  <a:gd name="connsiteY194" fmla="*/ 1005269 h 1306163"/>
                  <a:gd name="connsiteX195" fmla="*/ 389287 w 913542"/>
                  <a:gd name="connsiteY195" fmla="*/ 1005269 h 1306163"/>
                  <a:gd name="connsiteX196" fmla="*/ 413099 w 913542"/>
                  <a:gd name="connsiteY196" fmla="*/ 997363 h 1306163"/>
                  <a:gd name="connsiteX197" fmla="*/ 397193 w 913542"/>
                  <a:gd name="connsiteY197" fmla="*/ 989457 h 1306163"/>
                  <a:gd name="connsiteX198" fmla="*/ 429006 w 913542"/>
                  <a:gd name="connsiteY198" fmla="*/ 989457 h 1306163"/>
                  <a:gd name="connsiteX199" fmla="*/ 444913 w 913542"/>
                  <a:gd name="connsiteY199" fmla="*/ 981551 h 1306163"/>
                  <a:gd name="connsiteX200" fmla="*/ 460820 w 913542"/>
                  <a:gd name="connsiteY200" fmla="*/ 981551 h 1306163"/>
                  <a:gd name="connsiteX201" fmla="*/ 468725 w 913542"/>
                  <a:gd name="connsiteY201" fmla="*/ 973646 h 1306163"/>
                  <a:gd name="connsiteX202" fmla="*/ 476631 w 913542"/>
                  <a:gd name="connsiteY202" fmla="*/ 957834 h 1306163"/>
                  <a:gd name="connsiteX203" fmla="*/ 476631 w 913542"/>
                  <a:gd name="connsiteY203" fmla="*/ 942023 h 1306163"/>
                  <a:gd name="connsiteX204" fmla="*/ 484537 w 913542"/>
                  <a:gd name="connsiteY204" fmla="*/ 934117 h 1306163"/>
                  <a:gd name="connsiteX205" fmla="*/ 508349 w 913542"/>
                  <a:gd name="connsiteY205" fmla="*/ 957929 h 1306163"/>
                  <a:gd name="connsiteX206" fmla="*/ 516255 w 913542"/>
                  <a:gd name="connsiteY206" fmla="*/ 957929 h 1306163"/>
                  <a:gd name="connsiteX207" fmla="*/ 524161 w 913542"/>
                  <a:gd name="connsiteY207" fmla="*/ 950024 h 1306163"/>
                  <a:gd name="connsiteX208" fmla="*/ 540068 w 913542"/>
                  <a:gd name="connsiteY208" fmla="*/ 918305 h 1306163"/>
                  <a:gd name="connsiteX209" fmla="*/ 532162 w 913542"/>
                  <a:gd name="connsiteY209" fmla="*/ 910400 h 1306163"/>
                  <a:gd name="connsiteX210" fmla="*/ 532162 w 913542"/>
                  <a:gd name="connsiteY210" fmla="*/ 902494 h 1306163"/>
                  <a:gd name="connsiteX211" fmla="*/ 548069 w 913542"/>
                  <a:gd name="connsiteY211" fmla="*/ 902494 h 1306163"/>
                  <a:gd name="connsiteX212" fmla="*/ 555974 w 913542"/>
                  <a:gd name="connsiteY212" fmla="*/ 894588 h 1306163"/>
                  <a:gd name="connsiteX213" fmla="*/ 571881 w 913542"/>
                  <a:gd name="connsiteY213" fmla="*/ 886682 h 1306163"/>
                  <a:gd name="connsiteX214" fmla="*/ 571881 w 913542"/>
                  <a:gd name="connsiteY214" fmla="*/ 870871 h 1306163"/>
                  <a:gd name="connsiteX215" fmla="*/ 555974 w 913542"/>
                  <a:gd name="connsiteY215" fmla="*/ 839153 h 1306163"/>
                  <a:gd name="connsiteX216" fmla="*/ 540068 w 913542"/>
                  <a:gd name="connsiteY216" fmla="*/ 831247 h 1306163"/>
                  <a:gd name="connsiteX217" fmla="*/ 540068 w 913542"/>
                  <a:gd name="connsiteY217" fmla="*/ 815435 h 1306163"/>
                  <a:gd name="connsiteX218" fmla="*/ 492347 w 913542"/>
                  <a:gd name="connsiteY218" fmla="*/ 791623 h 1306163"/>
                  <a:gd name="connsiteX219" fmla="*/ 476441 w 913542"/>
                  <a:gd name="connsiteY219" fmla="*/ 799529 h 1306163"/>
                  <a:gd name="connsiteX220" fmla="*/ 468535 w 913542"/>
                  <a:gd name="connsiteY220" fmla="*/ 799529 h 1306163"/>
                  <a:gd name="connsiteX221" fmla="*/ 452628 w 913542"/>
                  <a:gd name="connsiteY221" fmla="*/ 791623 h 1306163"/>
                  <a:gd name="connsiteX222" fmla="*/ 436721 w 913542"/>
                  <a:gd name="connsiteY222" fmla="*/ 759904 h 1306163"/>
                  <a:gd name="connsiteX223" fmla="*/ 436721 w 913542"/>
                  <a:gd name="connsiteY223" fmla="*/ 736092 h 1306163"/>
                  <a:gd name="connsiteX224" fmla="*/ 428816 w 913542"/>
                  <a:gd name="connsiteY224" fmla="*/ 720281 h 1306163"/>
                  <a:gd name="connsiteX225" fmla="*/ 428816 w 913542"/>
                  <a:gd name="connsiteY225" fmla="*/ 696563 h 1306163"/>
                  <a:gd name="connsiteX226" fmla="*/ 444722 w 913542"/>
                  <a:gd name="connsiteY226" fmla="*/ 680752 h 1306163"/>
                  <a:gd name="connsiteX227" fmla="*/ 452628 w 913542"/>
                  <a:gd name="connsiteY227" fmla="*/ 664940 h 1306163"/>
                  <a:gd name="connsiteX228" fmla="*/ 452628 w 913542"/>
                  <a:gd name="connsiteY228" fmla="*/ 641128 h 1306163"/>
                  <a:gd name="connsiteX229" fmla="*/ 444722 w 913542"/>
                  <a:gd name="connsiteY229" fmla="*/ 625316 h 1306163"/>
                  <a:gd name="connsiteX230" fmla="*/ 436817 w 913542"/>
                  <a:gd name="connsiteY230" fmla="*/ 617410 h 1306163"/>
                  <a:gd name="connsiteX231" fmla="*/ 436817 w 913542"/>
                  <a:gd name="connsiteY231" fmla="*/ 609505 h 1306163"/>
                  <a:gd name="connsiteX232" fmla="*/ 460629 w 913542"/>
                  <a:gd name="connsiteY232" fmla="*/ 609505 h 1306163"/>
                  <a:gd name="connsiteX233" fmla="*/ 468535 w 913542"/>
                  <a:gd name="connsiteY233" fmla="*/ 601599 h 1306163"/>
                  <a:gd name="connsiteX234" fmla="*/ 468535 w 913542"/>
                  <a:gd name="connsiteY234" fmla="*/ 577787 h 1306163"/>
                  <a:gd name="connsiteX235" fmla="*/ 460629 w 913542"/>
                  <a:gd name="connsiteY235" fmla="*/ 561975 h 1306163"/>
                  <a:gd name="connsiteX236" fmla="*/ 468535 w 913542"/>
                  <a:gd name="connsiteY236" fmla="*/ 569881 h 1306163"/>
                  <a:gd name="connsiteX237" fmla="*/ 500348 w 913542"/>
                  <a:gd name="connsiteY237" fmla="*/ 569881 h 1306163"/>
                  <a:gd name="connsiteX238" fmla="*/ 508254 w 913542"/>
                  <a:gd name="connsiteY238" fmla="*/ 561975 h 1306163"/>
                  <a:gd name="connsiteX239" fmla="*/ 524161 w 913542"/>
                  <a:gd name="connsiteY239" fmla="*/ 554069 h 1306163"/>
                  <a:gd name="connsiteX240" fmla="*/ 540068 w 913542"/>
                  <a:gd name="connsiteY240" fmla="*/ 538258 h 1306163"/>
                  <a:gd name="connsiteX241" fmla="*/ 579787 w 913542"/>
                  <a:gd name="connsiteY241" fmla="*/ 546164 h 1306163"/>
                  <a:gd name="connsiteX242" fmla="*/ 595694 w 913542"/>
                  <a:gd name="connsiteY242" fmla="*/ 514445 h 1306163"/>
                  <a:gd name="connsiteX243" fmla="*/ 635413 w 913542"/>
                  <a:gd name="connsiteY243" fmla="*/ 514445 h 1306163"/>
                  <a:gd name="connsiteX244" fmla="*/ 659225 w 913542"/>
                  <a:gd name="connsiteY244" fmla="*/ 506539 h 1306163"/>
                  <a:gd name="connsiteX245" fmla="*/ 675132 w 913542"/>
                  <a:gd name="connsiteY245" fmla="*/ 498634 h 1306163"/>
                  <a:gd name="connsiteX246" fmla="*/ 691039 w 913542"/>
                  <a:gd name="connsiteY246" fmla="*/ 466916 h 1306163"/>
                  <a:gd name="connsiteX247" fmla="*/ 714851 w 913542"/>
                  <a:gd name="connsiteY247" fmla="*/ 443103 h 1306163"/>
                  <a:gd name="connsiteX248" fmla="*/ 722757 w 913542"/>
                  <a:gd name="connsiteY248" fmla="*/ 427291 h 1306163"/>
                  <a:gd name="connsiteX249" fmla="*/ 698945 w 913542"/>
                  <a:gd name="connsiteY249" fmla="*/ 395668 h 1306163"/>
                  <a:gd name="connsiteX250" fmla="*/ 738664 w 913542"/>
                  <a:gd name="connsiteY250" fmla="*/ 348139 h 1306163"/>
                  <a:gd name="connsiteX251" fmla="*/ 714851 w 913542"/>
                  <a:gd name="connsiteY251" fmla="*/ 324326 h 1306163"/>
                  <a:gd name="connsiteX252" fmla="*/ 762572 w 913542"/>
                  <a:gd name="connsiteY252" fmla="*/ 308515 h 1306163"/>
                  <a:gd name="connsiteX253" fmla="*/ 786384 w 913542"/>
                  <a:gd name="connsiteY253" fmla="*/ 284702 h 1306163"/>
                  <a:gd name="connsiteX254" fmla="*/ 889730 w 913542"/>
                  <a:gd name="connsiteY254" fmla="*/ 292608 h 1306163"/>
                  <a:gd name="connsiteX255" fmla="*/ 905637 w 913542"/>
                  <a:gd name="connsiteY255" fmla="*/ 316420 h 1306163"/>
                  <a:gd name="connsiteX256" fmla="*/ 913543 w 913542"/>
                  <a:gd name="connsiteY256" fmla="*/ 316420 h 1306163"/>
                  <a:gd name="connsiteX257" fmla="*/ 897636 w 913542"/>
                  <a:gd name="connsiteY257" fmla="*/ 268891 h 130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913542" h="1306163">
                    <a:moveTo>
                      <a:pt x="397002" y="1187958"/>
                    </a:moveTo>
                    <a:lnTo>
                      <a:pt x="397002" y="1203770"/>
                    </a:lnTo>
                    <a:lnTo>
                      <a:pt x="389096" y="1219581"/>
                    </a:lnTo>
                    <a:lnTo>
                      <a:pt x="397002" y="1211675"/>
                    </a:lnTo>
                    <a:lnTo>
                      <a:pt x="412909" y="1203770"/>
                    </a:lnTo>
                    <a:lnTo>
                      <a:pt x="420815" y="1187958"/>
                    </a:lnTo>
                    <a:lnTo>
                      <a:pt x="420815" y="1180052"/>
                    </a:lnTo>
                    <a:lnTo>
                      <a:pt x="428720" y="1172147"/>
                    </a:lnTo>
                    <a:lnTo>
                      <a:pt x="428720" y="1164241"/>
                    </a:lnTo>
                    <a:lnTo>
                      <a:pt x="452533" y="1132523"/>
                    </a:lnTo>
                    <a:lnTo>
                      <a:pt x="444627" y="1108710"/>
                    </a:lnTo>
                    <a:lnTo>
                      <a:pt x="436721" y="1124522"/>
                    </a:lnTo>
                    <a:lnTo>
                      <a:pt x="412909" y="1148334"/>
                    </a:lnTo>
                    <a:lnTo>
                      <a:pt x="397002" y="1180052"/>
                    </a:lnTo>
                    <a:lnTo>
                      <a:pt x="397002" y="1187958"/>
                    </a:lnTo>
                    <a:close/>
                    <a:moveTo>
                      <a:pt x="516160" y="1092899"/>
                    </a:moveTo>
                    <a:lnTo>
                      <a:pt x="516160" y="1108710"/>
                    </a:lnTo>
                    <a:lnTo>
                      <a:pt x="524066" y="1124522"/>
                    </a:lnTo>
                    <a:lnTo>
                      <a:pt x="524066" y="1140333"/>
                    </a:lnTo>
                    <a:lnTo>
                      <a:pt x="531971" y="1148239"/>
                    </a:lnTo>
                    <a:lnTo>
                      <a:pt x="531971" y="1156145"/>
                    </a:lnTo>
                    <a:lnTo>
                      <a:pt x="547878" y="1124426"/>
                    </a:lnTo>
                    <a:lnTo>
                      <a:pt x="563785" y="1124426"/>
                    </a:lnTo>
                    <a:lnTo>
                      <a:pt x="571786" y="1116521"/>
                    </a:lnTo>
                    <a:lnTo>
                      <a:pt x="579692" y="1100709"/>
                    </a:lnTo>
                    <a:lnTo>
                      <a:pt x="579692" y="1084898"/>
                    </a:lnTo>
                    <a:lnTo>
                      <a:pt x="571786" y="1076992"/>
                    </a:lnTo>
                    <a:lnTo>
                      <a:pt x="595598" y="1053179"/>
                    </a:lnTo>
                    <a:lnTo>
                      <a:pt x="587693" y="1053179"/>
                    </a:lnTo>
                    <a:lnTo>
                      <a:pt x="579787" y="1061085"/>
                    </a:lnTo>
                    <a:lnTo>
                      <a:pt x="555879" y="1061085"/>
                    </a:lnTo>
                    <a:lnTo>
                      <a:pt x="539972" y="1068991"/>
                    </a:lnTo>
                    <a:lnTo>
                      <a:pt x="516160" y="1092803"/>
                    </a:lnTo>
                    <a:close/>
                    <a:moveTo>
                      <a:pt x="897636" y="268986"/>
                    </a:moveTo>
                    <a:lnTo>
                      <a:pt x="889730" y="261080"/>
                    </a:lnTo>
                    <a:lnTo>
                      <a:pt x="873824" y="253174"/>
                    </a:lnTo>
                    <a:lnTo>
                      <a:pt x="857917" y="237363"/>
                    </a:lnTo>
                    <a:lnTo>
                      <a:pt x="857917" y="229457"/>
                    </a:lnTo>
                    <a:lnTo>
                      <a:pt x="865823" y="213646"/>
                    </a:lnTo>
                    <a:lnTo>
                      <a:pt x="873728" y="205740"/>
                    </a:lnTo>
                    <a:lnTo>
                      <a:pt x="881634" y="189928"/>
                    </a:lnTo>
                    <a:lnTo>
                      <a:pt x="849821" y="174117"/>
                    </a:lnTo>
                    <a:lnTo>
                      <a:pt x="857726" y="142399"/>
                    </a:lnTo>
                    <a:lnTo>
                      <a:pt x="841820" y="134493"/>
                    </a:lnTo>
                    <a:lnTo>
                      <a:pt x="841820" y="126587"/>
                    </a:lnTo>
                    <a:lnTo>
                      <a:pt x="849725" y="118681"/>
                    </a:lnTo>
                    <a:lnTo>
                      <a:pt x="849725" y="87058"/>
                    </a:lnTo>
                    <a:lnTo>
                      <a:pt x="841820" y="87058"/>
                    </a:lnTo>
                    <a:lnTo>
                      <a:pt x="833914" y="79153"/>
                    </a:lnTo>
                    <a:lnTo>
                      <a:pt x="818007" y="79153"/>
                    </a:lnTo>
                    <a:lnTo>
                      <a:pt x="778288" y="55340"/>
                    </a:lnTo>
                    <a:lnTo>
                      <a:pt x="730568" y="55340"/>
                    </a:lnTo>
                    <a:lnTo>
                      <a:pt x="714661" y="39529"/>
                    </a:lnTo>
                    <a:lnTo>
                      <a:pt x="706755" y="39529"/>
                    </a:lnTo>
                    <a:lnTo>
                      <a:pt x="698849" y="31623"/>
                    </a:lnTo>
                    <a:lnTo>
                      <a:pt x="682943" y="31623"/>
                    </a:lnTo>
                    <a:lnTo>
                      <a:pt x="667036" y="23717"/>
                    </a:lnTo>
                    <a:lnTo>
                      <a:pt x="659130" y="15811"/>
                    </a:lnTo>
                    <a:lnTo>
                      <a:pt x="643223" y="7906"/>
                    </a:lnTo>
                    <a:lnTo>
                      <a:pt x="603504" y="0"/>
                    </a:lnTo>
                    <a:lnTo>
                      <a:pt x="603504" y="31718"/>
                    </a:lnTo>
                    <a:lnTo>
                      <a:pt x="587597" y="31718"/>
                    </a:lnTo>
                    <a:lnTo>
                      <a:pt x="587597" y="39624"/>
                    </a:lnTo>
                    <a:lnTo>
                      <a:pt x="603504" y="55435"/>
                    </a:lnTo>
                    <a:lnTo>
                      <a:pt x="611410" y="55435"/>
                    </a:lnTo>
                    <a:lnTo>
                      <a:pt x="603504" y="63341"/>
                    </a:lnTo>
                    <a:lnTo>
                      <a:pt x="587597" y="63341"/>
                    </a:lnTo>
                    <a:lnTo>
                      <a:pt x="579692" y="55435"/>
                    </a:lnTo>
                    <a:lnTo>
                      <a:pt x="547878" y="55435"/>
                    </a:lnTo>
                    <a:lnTo>
                      <a:pt x="516065" y="47530"/>
                    </a:lnTo>
                    <a:lnTo>
                      <a:pt x="484251" y="55435"/>
                    </a:lnTo>
                    <a:lnTo>
                      <a:pt x="484251" y="39624"/>
                    </a:lnTo>
                    <a:lnTo>
                      <a:pt x="476345" y="31718"/>
                    </a:lnTo>
                    <a:lnTo>
                      <a:pt x="460439" y="47530"/>
                    </a:lnTo>
                    <a:lnTo>
                      <a:pt x="460439" y="87154"/>
                    </a:lnTo>
                    <a:lnTo>
                      <a:pt x="452533" y="95059"/>
                    </a:lnTo>
                    <a:lnTo>
                      <a:pt x="428720" y="95059"/>
                    </a:lnTo>
                    <a:lnTo>
                      <a:pt x="373094" y="102965"/>
                    </a:lnTo>
                    <a:lnTo>
                      <a:pt x="349282" y="126682"/>
                    </a:lnTo>
                    <a:lnTo>
                      <a:pt x="333375" y="134588"/>
                    </a:lnTo>
                    <a:lnTo>
                      <a:pt x="325469" y="134588"/>
                    </a:lnTo>
                    <a:lnTo>
                      <a:pt x="325469" y="150400"/>
                    </a:lnTo>
                    <a:lnTo>
                      <a:pt x="341376" y="158305"/>
                    </a:lnTo>
                    <a:lnTo>
                      <a:pt x="349377" y="166211"/>
                    </a:lnTo>
                    <a:lnTo>
                      <a:pt x="341376" y="190024"/>
                    </a:lnTo>
                    <a:lnTo>
                      <a:pt x="333470" y="190024"/>
                    </a:lnTo>
                    <a:lnTo>
                      <a:pt x="317564" y="197929"/>
                    </a:lnTo>
                    <a:lnTo>
                      <a:pt x="309658" y="205835"/>
                    </a:lnTo>
                    <a:lnTo>
                      <a:pt x="309658" y="213741"/>
                    </a:lnTo>
                    <a:lnTo>
                      <a:pt x="301752" y="221647"/>
                    </a:lnTo>
                    <a:lnTo>
                      <a:pt x="277940" y="221647"/>
                    </a:lnTo>
                    <a:lnTo>
                      <a:pt x="285845" y="229553"/>
                    </a:lnTo>
                    <a:lnTo>
                      <a:pt x="285845" y="237458"/>
                    </a:lnTo>
                    <a:lnTo>
                      <a:pt x="293751" y="245364"/>
                    </a:lnTo>
                    <a:lnTo>
                      <a:pt x="293751" y="253270"/>
                    </a:lnTo>
                    <a:lnTo>
                      <a:pt x="285845" y="253270"/>
                    </a:lnTo>
                    <a:lnTo>
                      <a:pt x="277940" y="261176"/>
                    </a:lnTo>
                    <a:lnTo>
                      <a:pt x="270034" y="261176"/>
                    </a:lnTo>
                    <a:lnTo>
                      <a:pt x="254127" y="269081"/>
                    </a:lnTo>
                    <a:lnTo>
                      <a:pt x="230315" y="253270"/>
                    </a:lnTo>
                    <a:lnTo>
                      <a:pt x="230315" y="300799"/>
                    </a:lnTo>
                    <a:lnTo>
                      <a:pt x="222409" y="356235"/>
                    </a:lnTo>
                    <a:lnTo>
                      <a:pt x="182690" y="395859"/>
                    </a:lnTo>
                    <a:lnTo>
                      <a:pt x="174784" y="395859"/>
                    </a:lnTo>
                    <a:lnTo>
                      <a:pt x="158877" y="403765"/>
                    </a:lnTo>
                    <a:lnTo>
                      <a:pt x="174784" y="411670"/>
                    </a:lnTo>
                    <a:lnTo>
                      <a:pt x="198596" y="435388"/>
                    </a:lnTo>
                    <a:lnTo>
                      <a:pt x="198596" y="443293"/>
                    </a:lnTo>
                    <a:lnTo>
                      <a:pt x="190691" y="451199"/>
                    </a:lnTo>
                    <a:lnTo>
                      <a:pt x="135065" y="451199"/>
                    </a:lnTo>
                    <a:lnTo>
                      <a:pt x="119158" y="459105"/>
                    </a:lnTo>
                    <a:lnTo>
                      <a:pt x="111252" y="467011"/>
                    </a:lnTo>
                    <a:lnTo>
                      <a:pt x="95345" y="474916"/>
                    </a:lnTo>
                    <a:lnTo>
                      <a:pt x="39719" y="530352"/>
                    </a:lnTo>
                    <a:lnTo>
                      <a:pt x="47625" y="538258"/>
                    </a:lnTo>
                    <a:lnTo>
                      <a:pt x="55531" y="538258"/>
                    </a:lnTo>
                    <a:lnTo>
                      <a:pt x="63437" y="546164"/>
                    </a:lnTo>
                    <a:lnTo>
                      <a:pt x="63437" y="554069"/>
                    </a:lnTo>
                    <a:lnTo>
                      <a:pt x="55531" y="561975"/>
                    </a:lnTo>
                    <a:lnTo>
                      <a:pt x="47625" y="561975"/>
                    </a:lnTo>
                    <a:lnTo>
                      <a:pt x="39719" y="569881"/>
                    </a:lnTo>
                    <a:lnTo>
                      <a:pt x="39719" y="585692"/>
                    </a:lnTo>
                    <a:lnTo>
                      <a:pt x="71533" y="617410"/>
                    </a:lnTo>
                    <a:lnTo>
                      <a:pt x="71533" y="633222"/>
                    </a:lnTo>
                    <a:lnTo>
                      <a:pt x="63627" y="649033"/>
                    </a:lnTo>
                    <a:lnTo>
                      <a:pt x="63627" y="672846"/>
                    </a:lnTo>
                    <a:lnTo>
                      <a:pt x="79534" y="688658"/>
                    </a:lnTo>
                    <a:lnTo>
                      <a:pt x="87440" y="688658"/>
                    </a:lnTo>
                    <a:lnTo>
                      <a:pt x="111252" y="712470"/>
                    </a:lnTo>
                    <a:lnTo>
                      <a:pt x="111252" y="728281"/>
                    </a:lnTo>
                    <a:lnTo>
                      <a:pt x="95345" y="744093"/>
                    </a:lnTo>
                    <a:lnTo>
                      <a:pt x="63532" y="751999"/>
                    </a:lnTo>
                    <a:lnTo>
                      <a:pt x="71438" y="759904"/>
                    </a:lnTo>
                    <a:lnTo>
                      <a:pt x="79343" y="775716"/>
                    </a:lnTo>
                    <a:lnTo>
                      <a:pt x="79343" y="783622"/>
                    </a:lnTo>
                    <a:lnTo>
                      <a:pt x="87249" y="791528"/>
                    </a:lnTo>
                    <a:lnTo>
                      <a:pt x="87249" y="799433"/>
                    </a:lnTo>
                    <a:lnTo>
                      <a:pt x="95155" y="815245"/>
                    </a:lnTo>
                    <a:lnTo>
                      <a:pt x="87249" y="815245"/>
                    </a:lnTo>
                    <a:lnTo>
                      <a:pt x="87249" y="846963"/>
                    </a:lnTo>
                    <a:lnTo>
                      <a:pt x="79343" y="854869"/>
                    </a:lnTo>
                    <a:lnTo>
                      <a:pt x="31623" y="854869"/>
                    </a:lnTo>
                    <a:lnTo>
                      <a:pt x="39529" y="870680"/>
                    </a:lnTo>
                    <a:lnTo>
                      <a:pt x="39529" y="878586"/>
                    </a:lnTo>
                    <a:lnTo>
                      <a:pt x="31623" y="878586"/>
                    </a:lnTo>
                    <a:lnTo>
                      <a:pt x="23717" y="886492"/>
                    </a:lnTo>
                    <a:lnTo>
                      <a:pt x="23717" y="894398"/>
                    </a:lnTo>
                    <a:lnTo>
                      <a:pt x="39624" y="910209"/>
                    </a:lnTo>
                    <a:lnTo>
                      <a:pt x="39624" y="934021"/>
                    </a:lnTo>
                    <a:lnTo>
                      <a:pt x="31718" y="941927"/>
                    </a:lnTo>
                    <a:lnTo>
                      <a:pt x="23813" y="957739"/>
                    </a:lnTo>
                    <a:lnTo>
                      <a:pt x="0" y="933926"/>
                    </a:lnTo>
                    <a:lnTo>
                      <a:pt x="0" y="1013174"/>
                    </a:lnTo>
                    <a:lnTo>
                      <a:pt x="7906" y="1005269"/>
                    </a:lnTo>
                    <a:lnTo>
                      <a:pt x="31718" y="1005269"/>
                    </a:lnTo>
                    <a:lnTo>
                      <a:pt x="47625" y="1021080"/>
                    </a:lnTo>
                    <a:lnTo>
                      <a:pt x="47625" y="1028986"/>
                    </a:lnTo>
                    <a:lnTo>
                      <a:pt x="39719" y="1028986"/>
                    </a:lnTo>
                    <a:lnTo>
                      <a:pt x="39719" y="1021080"/>
                    </a:lnTo>
                    <a:lnTo>
                      <a:pt x="31814" y="1021080"/>
                    </a:lnTo>
                    <a:lnTo>
                      <a:pt x="31814" y="1100328"/>
                    </a:lnTo>
                    <a:lnTo>
                      <a:pt x="39719" y="1108234"/>
                    </a:lnTo>
                    <a:lnTo>
                      <a:pt x="47625" y="1108234"/>
                    </a:lnTo>
                    <a:lnTo>
                      <a:pt x="63532" y="1116140"/>
                    </a:lnTo>
                    <a:lnTo>
                      <a:pt x="71438" y="1131951"/>
                    </a:lnTo>
                    <a:lnTo>
                      <a:pt x="79343" y="1139857"/>
                    </a:lnTo>
                    <a:lnTo>
                      <a:pt x="87249" y="1155668"/>
                    </a:lnTo>
                    <a:lnTo>
                      <a:pt x="119063" y="1187387"/>
                    </a:lnTo>
                    <a:lnTo>
                      <a:pt x="126968" y="1187387"/>
                    </a:lnTo>
                    <a:lnTo>
                      <a:pt x="126968" y="1203198"/>
                    </a:lnTo>
                    <a:lnTo>
                      <a:pt x="103156" y="1203198"/>
                    </a:lnTo>
                    <a:lnTo>
                      <a:pt x="103156" y="1242822"/>
                    </a:lnTo>
                    <a:lnTo>
                      <a:pt x="119063" y="1258634"/>
                    </a:lnTo>
                    <a:lnTo>
                      <a:pt x="134969" y="1266539"/>
                    </a:lnTo>
                    <a:lnTo>
                      <a:pt x="126968" y="1274445"/>
                    </a:lnTo>
                    <a:lnTo>
                      <a:pt x="126968" y="1298258"/>
                    </a:lnTo>
                    <a:lnTo>
                      <a:pt x="134969" y="1298258"/>
                    </a:lnTo>
                    <a:lnTo>
                      <a:pt x="142875" y="1306163"/>
                    </a:lnTo>
                    <a:lnTo>
                      <a:pt x="230315" y="1306163"/>
                    </a:lnTo>
                    <a:lnTo>
                      <a:pt x="238220" y="1298258"/>
                    </a:lnTo>
                    <a:lnTo>
                      <a:pt x="238220" y="1250728"/>
                    </a:lnTo>
                    <a:lnTo>
                      <a:pt x="262033" y="1242822"/>
                    </a:lnTo>
                    <a:lnTo>
                      <a:pt x="262033" y="1219009"/>
                    </a:lnTo>
                    <a:lnTo>
                      <a:pt x="349472" y="1226915"/>
                    </a:lnTo>
                    <a:lnTo>
                      <a:pt x="365379" y="1234821"/>
                    </a:lnTo>
                    <a:lnTo>
                      <a:pt x="397193" y="1155573"/>
                    </a:lnTo>
                    <a:lnTo>
                      <a:pt x="397193" y="1139762"/>
                    </a:lnTo>
                    <a:lnTo>
                      <a:pt x="405098" y="1123950"/>
                    </a:lnTo>
                    <a:lnTo>
                      <a:pt x="405098" y="1076420"/>
                    </a:lnTo>
                    <a:lnTo>
                      <a:pt x="397193" y="1068515"/>
                    </a:lnTo>
                    <a:lnTo>
                      <a:pt x="389287" y="1052703"/>
                    </a:lnTo>
                    <a:lnTo>
                      <a:pt x="413099" y="1052703"/>
                    </a:lnTo>
                    <a:lnTo>
                      <a:pt x="429006" y="1036892"/>
                    </a:lnTo>
                    <a:lnTo>
                      <a:pt x="429006" y="1028986"/>
                    </a:lnTo>
                    <a:lnTo>
                      <a:pt x="405194" y="1005269"/>
                    </a:lnTo>
                    <a:lnTo>
                      <a:pt x="389287" y="1005269"/>
                    </a:lnTo>
                    <a:lnTo>
                      <a:pt x="413099" y="997363"/>
                    </a:lnTo>
                    <a:lnTo>
                      <a:pt x="397193" y="989457"/>
                    </a:lnTo>
                    <a:lnTo>
                      <a:pt x="429006" y="989457"/>
                    </a:lnTo>
                    <a:lnTo>
                      <a:pt x="444913" y="981551"/>
                    </a:lnTo>
                    <a:lnTo>
                      <a:pt x="460820" y="981551"/>
                    </a:lnTo>
                    <a:lnTo>
                      <a:pt x="468725" y="973646"/>
                    </a:lnTo>
                    <a:lnTo>
                      <a:pt x="476631" y="957834"/>
                    </a:lnTo>
                    <a:lnTo>
                      <a:pt x="476631" y="942023"/>
                    </a:lnTo>
                    <a:lnTo>
                      <a:pt x="484537" y="934117"/>
                    </a:lnTo>
                    <a:lnTo>
                      <a:pt x="508349" y="957929"/>
                    </a:lnTo>
                    <a:lnTo>
                      <a:pt x="516255" y="957929"/>
                    </a:lnTo>
                    <a:lnTo>
                      <a:pt x="524161" y="950024"/>
                    </a:lnTo>
                    <a:lnTo>
                      <a:pt x="540068" y="918305"/>
                    </a:lnTo>
                    <a:lnTo>
                      <a:pt x="532162" y="910400"/>
                    </a:lnTo>
                    <a:lnTo>
                      <a:pt x="532162" y="902494"/>
                    </a:lnTo>
                    <a:lnTo>
                      <a:pt x="548069" y="902494"/>
                    </a:lnTo>
                    <a:lnTo>
                      <a:pt x="555974" y="894588"/>
                    </a:lnTo>
                    <a:lnTo>
                      <a:pt x="571881" y="886682"/>
                    </a:lnTo>
                    <a:lnTo>
                      <a:pt x="571881" y="870871"/>
                    </a:lnTo>
                    <a:lnTo>
                      <a:pt x="555974" y="839153"/>
                    </a:lnTo>
                    <a:lnTo>
                      <a:pt x="540068" y="831247"/>
                    </a:lnTo>
                    <a:lnTo>
                      <a:pt x="540068" y="815435"/>
                    </a:lnTo>
                    <a:lnTo>
                      <a:pt x="492347" y="791623"/>
                    </a:lnTo>
                    <a:lnTo>
                      <a:pt x="476441" y="799529"/>
                    </a:lnTo>
                    <a:lnTo>
                      <a:pt x="468535" y="799529"/>
                    </a:lnTo>
                    <a:lnTo>
                      <a:pt x="452628" y="791623"/>
                    </a:lnTo>
                    <a:lnTo>
                      <a:pt x="436721" y="759904"/>
                    </a:lnTo>
                    <a:lnTo>
                      <a:pt x="436721" y="736092"/>
                    </a:lnTo>
                    <a:lnTo>
                      <a:pt x="428816" y="720281"/>
                    </a:lnTo>
                    <a:lnTo>
                      <a:pt x="428816" y="696563"/>
                    </a:lnTo>
                    <a:lnTo>
                      <a:pt x="444722" y="680752"/>
                    </a:lnTo>
                    <a:lnTo>
                      <a:pt x="452628" y="664940"/>
                    </a:lnTo>
                    <a:lnTo>
                      <a:pt x="452628" y="641128"/>
                    </a:lnTo>
                    <a:lnTo>
                      <a:pt x="444722" y="625316"/>
                    </a:lnTo>
                    <a:lnTo>
                      <a:pt x="436817" y="617410"/>
                    </a:lnTo>
                    <a:lnTo>
                      <a:pt x="436817" y="609505"/>
                    </a:lnTo>
                    <a:lnTo>
                      <a:pt x="460629" y="609505"/>
                    </a:lnTo>
                    <a:lnTo>
                      <a:pt x="468535" y="601599"/>
                    </a:lnTo>
                    <a:lnTo>
                      <a:pt x="468535" y="577787"/>
                    </a:lnTo>
                    <a:lnTo>
                      <a:pt x="460629" y="561975"/>
                    </a:lnTo>
                    <a:lnTo>
                      <a:pt x="468535" y="569881"/>
                    </a:lnTo>
                    <a:lnTo>
                      <a:pt x="500348" y="569881"/>
                    </a:lnTo>
                    <a:lnTo>
                      <a:pt x="508254" y="561975"/>
                    </a:lnTo>
                    <a:lnTo>
                      <a:pt x="524161" y="554069"/>
                    </a:lnTo>
                    <a:lnTo>
                      <a:pt x="540068" y="538258"/>
                    </a:lnTo>
                    <a:lnTo>
                      <a:pt x="579787" y="546164"/>
                    </a:lnTo>
                    <a:lnTo>
                      <a:pt x="595694" y="514445"/>
                    </a:lnTo>
                    <a:lnTo>
                      <a:pt x="635413" y="514445"/>
                    </a:lnTo>
                    <a:lnTo>
                      <a:pt x="659225" y="506539"/>
                    </a:lnTo>
                    <a:lnTo>
                      <a:pt x="675132" y="498634"/>
                    </a:lnTo>
                    <a:lnTo>
                      <a:pt x="691039" y="466916"/>
                    </a:lnTo>
                    <a:lnTo>
                      <a:pt x="714851" y="443103"/>
                    </a:lnTo>
                    <a:lnTo>
                      <a:pt x="722757" y="427291"/>
                    </a:lnTo>
                    <a:lnTo>
                      <a:pt x="698945" y="395668"/>
                    </a:lnTo>
                    <a:lnTo>
                      <a:pt x="738664" y="348139"/>
                    </a:lnTo>
                    <a:lnTo>
                      <a:pt x="714851" y="324326"/>
                    </a:lnTo>
                    <a:lnTo>
                      <a:pt x="762572" y="308515"/>
                    </a:lnTo>
                    <a:lnTo>
                      <a:pt x="786384" y="284702"/>
                    </a:lnTo>
                    <a:lnTo>
                      <a:pt x="889730" y="292608"/>
                    </a:lnTo>
                    <a:lnTo>
                      <a:pt x="905637" y="316420"/>
                    </a:lnTo>
                    <a:lnTo>
                      <a:pt x="913543" y="316420"/>
                    </a:lnTo>
                    <a:lnTo>
                      <a:pt x="897636" y="268891"/>
                    </a:lnTo>
                    <a:close/>
                  </a:path>
                </a:pathLst>
              </a:custGeom>
              <a:noFill/>
              <a:ln w="4763"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C109938E-DACF-78E8-BB28-924064FAAE40}"/>
                  </a:ext>
                </a:extLst>
              </p:cNvPr>
              <p:cNvSpPr/>
              <p:nvPr/>
            </p:nvSpPr>
            <p:spPr>
              <a:xfrm>
                <a:off x="4461510" y="4424933"/>
                <a:ext cx="1157096" cy="814768"/>
              </a:xfrm>
              <a:custGeom>
                <a:avLst/>
                <a:gdLst>
                  <a:gd name="connsiteX0" fmla="*/ 1062038 w 1157096"/>
                  <a:gd name="connsiteY0" fmla="*/ 197929 h 814768"/>
                  <a:gd name="connsiteX1" fmla="*/ 1054132 w 1157096"/>
                  <a:gd name="connsiteY1" fmla="*/ 182118 h 814768"/>
                  <a:gd name="connsiteX2" fmla="*/ 1054132 w 1157096"/>
                  <a:gd name="connsiteY2" fmla="*/ 174212 h 814768"/>
                  <a:gd name="connsiteX3" fmla="*/ 1069943 w 1157096"/>
                  <a:gd name="connsiteY3" fmla="*/ 158401 h 814768"/>
                  <a:gd name="connsiteX4" fmla="*/ 1054132 w 1157096"/>
                  <a:gd name="connsiteY4" fmla="*/ 150495 h 814768"/>
                  <a:gd name="connsiteX5" fmla="*/ 1046226 w 1157096"/>
                  <a:gd name="connsiteY5" fmla="*/ 142589 h 814768"/>
                  <a:gd name="connsiteX6" fmla="*/ 1046226 w 1157096"/>
                  <a:gd name="connsiteY6" fmla="*/ 134684 h 814768"/>
                  <a:gd name="connsiteX7" fmla="*/ 1030415 w 1157096"/>
                  <a:gd name="connsiteY7" fmla="*/ 134684 h 814768"/>
                  <a:gd name="connsiteX8" fmla="*/ 1030415 w 1157096"/>
                  <a:gd name="connsiteY8" fmla="*/ 142589 h 814768"/>
                  <a:gd name="connsiteX9" fmla="*/ 1022509 w 1157096"/>
                  <a:gd name="connsiteY9" fmla="*/ 150495 h 814768"/>
                  <a:gd name="connsiteX10" fmla="*/ 998696 w 1157096"/>
                  <a:gd name="connsiteY10" fmla="*/ 150495 h 814768"/>
                  <a:gd name="connsiteX11" fmla="*/ 990791 w 1157096"/>
                  <a:gd name="connsiteY11" fmla="*/ 142589 h 814768"/>
                  <a:gd name="connsiteX12" fmla="*/ 959072 w 1157096"/>
                  <a:gd name="connsiteY12" fmla="*/ 142589 h 814768"/>
                  <a:gd name="connsiteX13" fmla="*/ 959072 w 1157096"/>
                  <a:gd name="connsiteY13" fmla="*/ 134684 h 814768"/>
                  <a:gd name="connsiteX14" fmla="*/ 935260 w 1157096"/>
                  <a:gd name="connsiteY14" fmla="*/ 134684 h 814768"/>
                  <a:gd name="connsiteX15" fmla="*/ 919353 w 1157096"/>
                  <a:gd name="connsiteY15" fmla="*/ 142589 h 814768"/>
                  <a:gd name="connsiteX16" fmla="*/ 911447 w 1157096"/>
                  <a:gd name="connsiteY16" fmla="*/ 110871 h 814768"/>
                  <a:gd name="connsiteX17" fmla="*/ 887635 w 1157096"/>
                  <a:gd name="connsiteY17" fmla="*/ 110871 h 814768"/>
                  <a:gd name="connsiteX18" fmla="*/ 887635 w 1157096"/>
                  <a:gd name="connsiteY18" fmla="*/ 102965 h 814768"/>
                  <a:gd name="connsiteX19" fmla="*/ 879729 w 1157096"/>
                  <a:gd name="connsiteY19" fmla="*/ 95060 h 814768"/>
                  <a:gd name="connsiteX20" fmla="*/ 855917 w 1157096"/>
                  <a:gd name="connsiteY20" fmla="*/ 95060 h 814768"/>
                  <a:gd name="connsiteX21" fmla="*/ 848011 w 1157096"/>
                  <a:gd name="connsiteY21" fmla="*/ 102965 h 814768"/>
                  <a:gd name="connsiteX22" fmla="*/ 848011 w 1157096"/>
                  <a:gd name="connsiteY22" fmla="*/ 118777 h 814768"/>
                  <a:gd name="connsiteX23" fmla="*/ 824198 w 1157096"/>
                  <a:gd name="connsiteY23" fmla="*/ 126682 h 814768"/>
                  <a:gd name="connsiteX24" fmla="*/ 824198 w 1157096"/>
                  <a:gd name="connsiteY24" fmla="*/ 110871 h 814768"/>
                  <a:gd name="connsiteX25" fmla="*/ 784574 w 1157096"/>
                  <a:gd name="connsiteY25" fmla="*/ 110871 h 814768"/>
                  <a:gd name="connsiteX26" fmla="*/ 768763 w 1157096"/>
                  <a:gd name="connsiteY26" fmla="*/ 95060 h 814768"/>
                  <a:gd name="connsiteX27" fmla="*/ 752856 w 1157096"/>
                  <a:gd name="connsiteY27" fmla="*/ 95060 h 814768"/>
                  <a:gd name="connsiteX28" fmla="*/ 744950 w 1157096"/>
                  <a:gd name="connsiteY28" fmla="*/ 102965 h 814768"/>
                  <a:gd name="connsiteX29" fmla="*/ 721138 w 1157096"/>
                  <a:gd name="connsiteY29" fmla="*/ 79153 h 814768"/>
                  <a:gd name="connsiteX30" fmla="*/ 673608 w 1157096"/>
                  <a:gd name="connsiteY30" fmla="*/ 79153 h 814768"/>
                  <a:gd name="connsiteX31" fmla="*/ 681514 w 1157096"/>
                  <a:gd name="connsiteY31" fmla="*/ 71247 h 814768"/>
                  <a:gd name="connsiteX32" fmla="*/ 681514 w 1157096"/>
                  <a:gd name="connsiteY32" fmla="*/ 63341 h 814768"/>
                  <a:gd name="connsiteX33" fmla="*/ 665607 w 1157096"/>
                  <a:gd name="connsiteY33" fmla="*/ 47530 h 814768"/>
                  <a:gd name="connsiteX34" fmla="*/ 657701 w 1157096"/>
                  <a:gd name="connsiteY34" fmla="*/ 47530 h 814768"/>
                  <a:gd name="connsiteX35" fmla="*/ 649796 w 1157096"/>
                  <a:gd name="connsiteY35" fmla="*/ 55436 h 814768"/>
                  <a:gd name="connsiteX36" fmla="*/ 641890 w 1157096"/>
                  <a:gd name="connsiteY36" fmla="*/ 47530 h 814768"/>
                  <a:gd name="connsiteX37" fmla="*/ 594360 w 1157096"/>
                  <a:gd name="connsiteY37" fmla="*/ 47530 h 814768"/>
                  <a:gd name="connsiteX38" fmla="*/ 515112 w 1157096"/>
                  <a:gd name="connsiteY38" fmla="*/ 31718 h 814768"/>
                  <a:gd name="connsiteX39" fmla="*/ 499205 w 1157096"/>
                  <a:gd name="connsiteY39" fmla="*/ 31718 h 814768"/>
                  <a:gd name="connsiteX40" fmla="*/ 459581 w 1157096"/>
                  <a:gd name="connsiteY40" fmla="*/ 47530 h 814768"/>
                  <a:gd name="connsiteX41" fmla="*/ 388239 w 1157096"/>
                  <a:gd name="connsiteY41" fmla="*/ 39624 h 814768"/>
                  <a:gd name="connsiteX42" fmla="*/ 340709 w 1157096"/>
                  <a:gd name="connsiteY42" fmla="*/ 15812 h 814768"/>
                  <a:gd name="connsiteX43" fmla="*/ 308991 w 1157096"/>
                  <a:gd name="connsiteY43" fmla="*/ 15812 h 814768"/>
                  <a:gd name="connsiteX44" fmla="*/ 285179 w 1157096"/>
                  <a:gd name="connsiteY44" fmla="*/ 23717 h 814768"/>
                  <a:gd name="connsiteX45" fmla="*/ 213836 w 1157096"/>
                  <a:gd name="connsiteY45" fmla="*/ 23717 h 814768"/>
                  <a:gd name="connsiteX46" fmla="*/ 198025 w 1157096"/>
                  <a:gd name="connsiteY46" fmla="*/ 15812 h 814768"/>
                  <a:gd name="connsiteX47" fmla="*/ 182213 w 1157096"/>
                  <a:gd name="connsiteY47" fmla="*/ 15812 h 814768"/>
                  <a:gd name="connsiteX48" fmla="*/ 166402 w 1157096"/>
                  <a:gd name="connsiteY48" fmla="*/ 7906 h 814768"/>
                  <a:gd name="connsiteX49" fmla="*/ 158496 w 1157096"/>
                  <a:gd name="connsiteY49" fmla="*/ 0 h 814768"/>
                  <a:gd name="connsiteX50" fmla="*/ 142684 w 1157096"/>
                  <a:gd name="connsiteY50" fmla="*/ 0 h 814768"/>
                  <a:gd name="connsiteX51" fmla="*/ 126873 w 1157096"/>
                  <a:gd name="connsiteY51" fmla="*/ 7906 h 814768"/>
                  <a:gd name="connsiteX52" fmla="*/ 95155 w 1157096"/>
                  <a:gd name="connsiteY52" fmla="*/ 39529 h 814768"/>
                  <a:gd name="connsiteX53" fmla="*/ 79343 w 1157096"/>
                  <a:gd name="connsiteY53" fmla="*/ 39529 h 814768"/>
                  <a:gd name="connsiteX54" fmla="*/ 63437 w 1157096"/>
                  <a:gd name="connsiteY54" fmla="*/ 47435 h 814768"/>
                  <a:gd name="connsiteX55" fmla="*/ 39624 w 1157096"/>
                  <a:gd name="connsiteY55" fmla="*/ 47435 h 814768"/>
                  <a:gd name="connsiteX56" fmla="*/ 7906 w 1157096"/>
                  <a:gd name="connsiteY56" fmla="*/ 63246 h 814768"/>
                  <a:gd name="connsiteX57" fmla="*/ 0 w 1157096"/>
                  <a:gd name="connsiteY57" fmla="*/ 79057 h 814768"/>
                  <a:gd name="connsiteX58" fmla="*/ 0 w 1157096"/>
                  <a:gd name="connsiteY58" fmla="*/ 94869 h 814768"/>
                  <a:gd name="connsiteX59" fmla="*/ 7906 w 1157096"/>
                  <a:gd name="connsiteY59" fmla="*/ 102775 h 814768"/>
                  <a:gd name="connsiteX60" fmla="*/ 15811 w 1157096"/>
                  <a:gd name="connsiteY60" fmla="*/ 118586 h 814768"/>
                  <a:gd name="connsiteX61" fmla="*/ 31623 w 1157096"/>
                  <a:gd name="connsiteY61" fmla="*/ 126492 h 814768"/>
                  <a:gd name="connsiteX62" fmla="*/ 39529 w 1157096"/>
                  <a:gd name="connsiteY62" fmla="*/ 134398 h 814768"/>
                  <a:gd name="connsiteX63" fmla="*/ 23717 w 1157096"/>
                  <a:gd name="connsiteY63" fmla="*/ 181928 h 814768"/>
                  <a:gd name="connsiteX64" fmla="*/ 31623 w 1157096"/>
                  <a:gd name="connsiteY64" fmla="*/ 189833 h 814768"/>
                  <a:gd name="connsiteX65" fmla="*/ 31623 w 1157096"/>
                  <a:gd name="connsiteY65" fmla="*/ 197739 h 814768"/>
                  <a:gd name="connsiteX66" fmla="*/ 39529 w 1157096"/>
                  <a:gd name="connsiteY66" fmla="*/ 189833 h 814768"/>
                  <a:gd name="connsiteX67" fmla="*/ 71247 w 1157096"/>
                  <a:gd name="connsiteY67" fmla="*/ 174022 h 814768"/>
                  <a:gd name="connsiteX68" fmla="*/ 102965 w 1157096"/>
                  <a:gd name="connsiteY68" fmla="*/ 174022 h 814768"/>
                  <a:gd name="connsiteX69" fmla="*/ 102965 w 1157096"/>
                  <a:gd name="connsiteY69" fmla="*/ 181928 h 814768"/>
                  <a:gd name="connsiteX70" fmla="*/ 87154 w 1157096"/>
                  <a:gd name="connsiteY70" fmla="*/ 197739 h 814768"/>
                  <a:gd name="connsiteX71" fmla="*/ 79248 w 1157096"/>
                  <a:gd name="connsiteY71" fmla="*/ 197739 h 814768"/>
                  <a:gd name="connsiteX72" fmla="*/ 79248 w 1157096"/>
                  <a:gd name="connsiteY72" fmla="*/ 205645 h 814768"/>
                  <a:gd name="connsiteX73" fmla="*/ 95060 w 1157096"/>
                  <a:gd name="connsiteY73" fmla="*/ 205645 h 814768"/>
                  <a:gd name="connsiteX74" fmla="*/ 102965 w 1157096"/>
                  <a:gd name="connsiteY74" fmla="*/ 197739 h 814768"/>
                  <a:gd name="connsiteX75" fmla="*/ 126778 w 1157096"/>
                  <a:gd name="connsiteY75" fmla="*/ 197739 h 814768"/>
                  <a:gd name="connsiteX76" fmla="*/ 134684 w 1157096"/>
                  <a:gd name="connsiteY76" fmla="*/ 205645 h 814768"/>
                  <a:gd name="connsiteX77" fmla="*/ 150495 w 1157096"/>
                  <a:gd name="connsiteY77" fmla="*/ 205645 h 814768"/>
                  <a:gd name="connsiteX78" fmla="*/ 158401 w 1157096"/>
                  <a:gd name="connsiteY78" fmla="*/ 197739 h 814768"/>
                  <a:gd name="connsiteX79" fmla="*/ 158401 w 1157096"/>
                  <a:gd name="connsiteY79" fmla="*/ 189833 h 814768"/>
                  <a:gd name="connsiteX80" fmla="*/ 229743 w 1157096"/>
                  <a:gd name="connsiteY80" fmla="*/ 189833 h 814768"/>
                  <a:gd name="connsiteX81" fmla="*/ 229743 w 1157096"/>
                  <a:gd name="connsiteY81" fmla="*/ 213551 h 814768"/>
                  <a:gd name="connsiteX82" fmla="*/ 237649 w 1157096"/>
                  <a:gd name="connsiteY82" fmla="*/ 213551 h 814768"/>
                  <a:gd name="connsiteX83" fmla="*/ 253556 w 1157096"/>
                  <a:gd name="connsiteY83" fmla="*/ 221456 h 814768"/>
                  <a:gd name="connsiteX84" fmla="*/ 253556 w 1157096"/>
                  <a:gd name="connsiteY84" fmla="*/ 229362 h 814768"/>
                  <a:gd name="connsiteX85" fmla="*/ 221837 w 1157096"/>
                  <a:gd name="connsiteY85" fmla="*/ 260985 h 814768"/>
                  <a:gd name="connsiteX86" fmla="*/ 190119 w 1157096"/>
                  <a:gd name="connsiteY86" fmla="*/ 276796 h 814768"/>
                  <a:gd name="connsiteX87" fmla="*/ 182213 w 1157096"/>
                  <a:gd name="connsiteY87" fmla="*/ 284702 h 814768"/>
                  <a:gd name="connsiteX88" fmla="*/ 182213 w 1157096"/>
                  <a:gd name="connsiteY88" fmla="*/ 292608 h 814768"/>
                  <a:gd name="connsiteX89" fmla="*/ 190119 w 1157096"/>
                  <a:gd name="connsiteY89" fmla="*/ 292608 h 814768"/>
                  <a:gd name="connsiteX90" fmla="*/ 198025 w 1157096"/>
                  <a:gd name="connsiteY90" fmla="*/ 300514 h 814768"/>
                  <a:gd name="connsiteX91" fmla="*/ 198025 w 1157096"/>
                  <a:gd name="connsiteY91" fmla="*/ 316325 h 814768"/>
                  <a:gd name="connsiteX92" fmla="*/ 190119 w 1157096"/>
                  <a:gd name="connsiteY92" fmla="*/ 340138 h 814768"/>
                  <a:gd name="connsiteX93" fmla="*/ 190119 w 1157096"/>
                  <a:gd name="connsiteY93" fmla="*/ 363855 h 814768"/>
                  <a:gd name="connsiteX94" fmla="*/ 182213 w 1157096"/>
                  <a:gd name="connsiteY94" fmla="*/ 363855 h 814768"/>
                  <a:gd name="connsiteX95" fmla="*/ 174308 w 1157096"/>
                  <a:gd name="connsiteY95" fmla="*/ 371761 h 814768"/>
                  <a:gd name="connsiteX96" fmla="*/ 174308 w 1157096"/>
                  <a:gd name="connsiteY96" fmla="*/ 387572 h 814768"/>
                  <a:gd name="connsiteX97" fmla="*/ 182213 w 1157096"/>
                  <a:gd name="connsiteY97" fmla="*/ 395478 h 814768"/>
                  <a:gd name="connsiteX98" fmla="*/ 182213 w 1157096"/>
                  <a:gd name="connsiteY98" fmla="*/ 411289 h 814768"/>
                  <a:gd name="connsiteX99" fmla="*/ 166402 w 1157096"/>
                  <a:gd name="connsiteY99" fmla="*/ 427101 h 814768"/>
                  <a:gd name="connsiteX100" fmla="*/ 118872 w 1157096"/>
                  <a:gd name="connsiteY100" fmla="*/ 427101 h 814768"/>
                  <a:gd name="connsiteX101" fmla="*/ 150590 w 1157096"/>
                  <a:gd name="connsiteY101" fmla="*/ 458724 h 814768"/>
                  <a:gd name="connsiteX102" fmla="*/ 150590 w 1157096"/>
                  <a:gd name="connsiteY102" fmla="*/ 474536 h 814768"/>
                  <a:gd name="connsiteX103" fmla="*/ 158496 w 1157096"/>
                  <a:gd name="connsiteY103" fmla="*/ 482441 h 814768"/>
                  <a:gd name="connsiteX104" fmla="*/ 174403 w 1157096"/>
                  <a:gd name="connsiteY104" fmla="*/ 490347 h 814768"/>
                  <a:gd name="connsiteX105" fmla="*/ 174403 w 1157096"/>
                  <a:gd name="connsiteY105" fmla="*/ 498253 h 814768"/>
                  <a:gd name="connsiteX106" fmla="*/ 158496 w 1157096"/>
                  <a:gd name="connsiteY106" fmla="*/ 514064 h 814768"/>
                  <a:gd name="connsiteX107" fmla="*/ 142684 w 1157096"/>
                  <a:gd name="connsiteY107" fmla="*/ 521970 h 814768"/>
                  <a:gd name="connsiteX108" fmla="*/ 126873 w 1157096"/>
                  <a:gd name="connsiteY108" fmla="*/ 537781 h 814768"/>
                  <a:gd name="connsiteX109" fmla="*/ 126873 w 1157096"/>
                  <a:gd name="connsiteY109" fmla="*/ 545687 h 814768"/>
                  <a:gd name="connsiteX110" fmla="*/ 134779 w 1157096"/>
                  <a:gd name="connsiteY110" fmla="*/ 553593 h 814768"/>
                  <a:gd name="connsiteX111" fmla="*/ 134779 w 1157096"/>
                  <a:gd name="connsiteY111" fmla="*/ 561499 h 814768"/>
                  <a:gd name="connsiteX112" fmla="*/ 142684 w 1157096"/>
                  <a:gd name="connsiteY112" fmla="*/ 577310 h 814768"/>
                  <a:gd name="connsiteX113" fmla="*/ 150590 w 1157096"/>
                  <a:gd name="connsiteY113" fmla="*/ 585216 h 814768"/>
                  <a:gd name="connsiteX114" fmla="*/ 166497 w 1157096"/>
                  <a:gd name="connsiteY114" fmla="*/ 585216 h 814768"/>
                  <a:gd name="connsiteX115" fmla="*/ 166497 w 1157096"/>
                  <a:gd name="connsiteY115" fmla="*/ 593122 h 814768"/>
                  <a:gd name="connsiteX116" fmla="*/ 150590 w 1157096"/>
                  <a:gd name="connsiteY116" fmla="*/ 608933 h 814768"/>
                  <a:gd name="connsiteX117" fmla="*/ 134779 w 1157096"/>
                  <a:gd name="connsiteY117" fmla="*/ 608933 h 814768"/>
                  <a:gd name="connsiteX118" fmla="*/ 126873 w 1157096"/>
                  <a:gd name="connsiteY118" fmla="*/ 624745 h 814768"/>
                  <a:gd name="connsiteX119" fmla="*/ 118967 w 1157096"/>
                  <a:gd name="connsiteY119" fmla="*/ 632651 h 814768"/>
                  <a:gd name="connsiteX120" fmla="*/ 118967 w 1157096"/>
                  <a:gd name="connsiteY120" fmla="*/ 695992 h 814768"/>
                  <a:gd name="connsiteX121" fmla="*/ 158591 w 1157096"/>
                  <a:gd name="connsiteY121" fmla="*/ 695992 h 814768"/>
                  <a:gd name="connsiteX122" fmla="*/ 190309 w 1157096"/>
                  <a:gd name="connsiteY122" fmla="*/ 719804 h 814768"/>
                  <a:gd name="connsiteX123" fmla="*/ 214122 w 1157096"/>
                  <a:gd name="connsiteY123" fmla="*/ 719804 h 814768"/>
                  <a:gd name="connsiteX124" fmla="*/ 206216 w 1157096"/>
                  <a:gd name="connsiteY124" fmla="*/ 759428 h 814768"/>
                  <a:gd name="connsiteX125" fmla="*/ 214122 w 1157096"/>
                  <a:gd name="connsiteY125" fmla="*/ 759428 h 814768"/>
                  <a:gd name="connsiteX126" fmla="*/ 214122 w 1157096"/>
                  <a:gd name="connsiteY126" fmla="*/ 783146 h 814768"/>
                  <a:gd name="connsiteX127" fmla="*/ 222028 w 1157096"/>
                  <a:gd name="connsiteY127" fmla="*/ 798957 h 814768"/>
                  <a:gd name="connsiteX128" fmla="*/ 229934 w 1157096"/>
                  <a:gd name="connsiteY128" fmla="*/ 806863 h 814768"/>
                  <a:gd name="connsiteX129" fmla="*/ 253746 w 1157096"/>
                  <a:gd name="connsiteY129" fmla="*/ 806863 h 814768"/>
                  <a:gd name="connsiteX130" fmla="*/ 261652 w 1157096"/>
                  <a:gd name="connsiteY130" fmla="*/ 814769 h 814768"/>
                  <a:gd name="connsiteX131" fmla="*/ 269558 w 1157096"/>
                  <a:gd name="connsiteY131" fmla="*/ 814769 h 814768"/>
                  <a:gd name="connsiteX132" fmla="*/ 277463 w 1157096"/>
                  <a:gd name="connsiteY132" fmla="*/ 806863 h 814768"/>
                  <a:gd name="connsiteX133" fmla="*/ 293275 w 1157096"/>
                  <a:gd name="connsiteY133" fmla="*/ 798957 h 814768"/>
                  <a:gd name="connsiteX134" fmla="*/ 317087 w 1157096"/>
                  <a:gd name="connsiteY134" fmla="*/ 775240 h 814768"/>
                  <a:gd name="connsiteX135" fmla="*/ 332994 w 1157096"/>
                  <a:gd name="connsiteY135" fmla="*/ 767334 h 814768"/>
                  <a:gd name="connsiteX136" fmla="*/ 348806 w 1157096"/>
                  <a:gd name="connsiteY136" fmla="*/ 767334 h 814768"/>
                  <a:gd name="connsiteX137" fmla="*/ 388430 w 1157096"/>
                  <a:gd name="connsiteY137" fmla="*/ 743522 h 814768"/>
                  <a:gd name="connsiteX138" fmla="*/ 475583 w 1157096"/>
                  <a:gd name="connsiteY138" fmla="*/ 743522 h 814768"/>
                  <a:gd name="connsiteX139" fmla="*/ 483489 w 1157096"/>
                  <a:gd name="connsiteY139" fmla="*/ 735616 h 814768"/>
                  <a:gd name="connsiteX140" fmla="*/ 499301 w 1157096"/>
                  <a:gd name="connsiteY140" fmla="*/ 735616 h 814768"/>
                  <a:gd name="connsiteX141" fmla="*/ 515207 w 1157096"/>
                  <a:gd name="connsiteY141" fmla="*/ 751427 h 814768"/>
                  <a:gd name="connsiteX142" fmla="*/ 523113 w 1157096"/>
                  <a:gd name="connsiteY142" fmla="*/ 751427 h 814768"/>
                  <a:gd name="connsiteX143" fmla="*/ 538925 w 1157096"/>
                  <a:gd name="connsiteY143" fmla="*/ 743522 h 814768"/>
                  <a:gd name="connsiteX144" fmla="*/ 554736 w 1157096"/>
                  <a:gd name="connsiteY144" fmla="*/ 743522 h 814768"/>
                  <a:gd name="connsiteX145" fmla="*/ 562642 w 1157096"/>
                  <a:gd name="connsiteY145" fmla="*/ 735616 h 814768"/>
                  <a:gd name="connsiteX146" fmla="*/ 570548 w 1157096"/>
                  <a:gd name="connsiteY146" fmla="*/ 735616 h 814768"/>
                  <a:gd name="connsiteX147" fmla="*/ 570548 w 1157096"/>
                  <a:gd name="connsiteY147" fmla="*/ 751427 h 814768"/>
                  <a:gd name="connsiteX148" fmla="*/ 578453 w 1157096"/>
                  <a:gd name="connsiteY148" fmla="*/ 751427 h 814768"/>
                  <a:gd name="connsiteX149" fmla="*/ 594360 w 1157096"/>
                  <a:gd name="connsiteY149" fmla="*/ 735616 h 814768"/>
                  <a:gd name="connsiteX150" fmla="*/ 610172 w 1157096"/>
                  <a:gd name="connsiteY150" fmla="*/ 703993 h 814768"/>
                  <a:gd name="connsiteX151" fmla="*/ 610172 w 1157096"/>
                  <a:gd name="connsiteY151" fmla="*/ 688181 h 814768"/>
                  <a:gd name="connsiteX152" fmla="*/ 657701 w 1157096"/>
                  <a:gd name="connsiteY152" fmla="*/ 648557 h 814768"/>
                  <a:gd name="connsiteX153" fmla="*/ 697325 w 1157096"/>
                  <a:gd name="connsiteY153" fmla="*/ 648557 h 814768"/>
                  <a:gd name="connsiteX154" fmla="*/ 705231 w 1157096"/>
                  <a:gd name="connsiteY154" fmla="*/ 624840 h 814768"/>
                  <a:gd name="connsiteX155" fmla="*/ 705231 w 1157096"/>
                  <a:gd name="connsiteY155" fmla="*/ 616934 h 814768"/>
                  <a:gd name="connsiteX156" fmla="*/ 713137 w 1157096"/>
                  <a:gd name="connsiteY156" fmla="*/ 609029 h 814768"/>
                  <a:gd name="connsiteX157" fmla="*/ 713137 w 1157096"/>
                  <a:gd name="connsiteY157" fmla="*/ 593217 h 814768"/>
                  <a:gd name="connsiteX158" fmla="*/ 721043 w 1157096"/>
                  <a:gd name="connsiteY158" fmla="*/ 585311 h 814768"/>
                  <a:gd name="connsiteX159" fmla="*/ 728948 w 1157096"/>
                  <a:gd name="connsiteY159" fmla="*/ 569500 h 814768"/>
                  <a:gd name="connsiteX160" fmla="*/ 728948 w 1157096"/>
                  <a:gd name="connsiteY160" fmla="*/ 561594 h 814768"/>
                  <a:gd name="connsiteX161" fmla="*/ 752761 w 1157096"/>
                  <a:gd name="connsiteY161" fmla="*/ 561594 h 814768"/>
                  <a:gd name="connsiteX162" fmla="*/ 784479 w 1157096"/>
                  <a:gd name="connsiteY162" fmla="*/ 545782 h 814768"/>
                  <a:gd name="connsiteX163" fmla="*/ 792385 w 1157096"/>
                  <a:gd name="connsiteY163" fmla="*/ 537877 h 814768"/>
                  <a:gd name="connsiteX164" fmla="*/ 784479 w 1157096"/>
                  <a:gd name="connsiteY164" fmla="*/ 522065 h 814768"/>
                  <a:gd name="connsiteX165" fmla="*/ 776573 w 1157096"/>
                  <a:gd name="connsiteY165" fmla="*/ 514160 h 814768"/>
                  <a:gd name="connsiteX166" fmla="*/ 768668 w 1157096"/>
                  <a:gd name="connsiteY166" fmla="*/ 498348 h 814768"/>
                  <a:gd name="connsiteX167" fmla="*/ 760762 w 1157096"/>
                  <a:gd name="connsiteY167" fmla="*/ 490442 h 814768"/>
                  <a:gd name="connsiteX168" fmla="*/ 752856 w 1157096"/>
                  <a:gd name="connsiteY168" fmla="*/ 490442 h 814768"/>
                  <a:gd name="connsiteX169" fmla="*/ 752856 w 1157096"/>
                  <a:gd name="connsiteY169" fmla="*/ 442913 h 814768"/>
                  <a:gd name="connsiteX170" fmla="*/ 768763 w 1157096"/>
                  <a:gd name="connsiteY170" fmla="*/ 411194 h 814768"/>
                  <a:gd name="connsiteX171" fmla="*/ 784574 w 1157096"/>
                  <a:gd name="connsiteY171" fmla="*/ 403288 h 814768"/>
                  <a:gd name="connsiteX172" fmla="*/ 792480 w 1157096"/>
                  <a:gd name="connsiteY172" fmla="*/ 387477 h 814768"/>
                  <a:gd name="connsiteX173" fmla="*/ 808292 w 1157096"/>
                  <a:gd name="connsiteY173" fmla="*/ 371665 h 814768"/>
                  <a:gd name="connsiteX174" fmla="*/ 816197 w 1157096"/>
                  <a:gd name="connsiteY174" fmla="*/ 355854 h 814768"/>
                  <a:gd name="connsiteX175" fmla="*/ 832009 w 1157096"/>
                  <a:gd name="connsiteY175" fmla="*/ 340043 h 814768"/>
                  <a:gd name="connsiteX176" fmla="*/ 847916 w 1157096"/>
                  <a:gd name="connsiteY176" fmla="*/ 340043 h 814768"/>
                  <a:gd name="connsiteX177" fmla="*/ 863727 w 1157096"/>
                  <a:gd name="connsiteY177" fmla="*/ 324231 h 814768"/>
                  <a:gd name="connsiteX178" fmla="*/ 863727 w 1157096"/>
                  <a:gd name="connsiteY178" fmla="*/ 316325 h 814768"/>
                  <a:gd name="connsiteX179" fmla="*/ 855821 w 1157096"/>
                  <a:gd name="connsiteY179" fmla="*/ 316325 h 814768"/>
                  <a:gd name="connsiteX180" fmla="*/ 855821 w 1157096"/>
                  <a:gd name="connsiteY180" fmla="*/ 300514 h 814768"/>
                  <a:gd name="connsiteX181" fmla="*/ 863727 w 1157096"/>
                  <a:gd name="connsiteY181" fmla="*/ 292608 h 814768"/>
                  <a:gd name="connsiteX182" fmla="*/ 958787 w 1157096"/>
                  <a:gd name="connsiteY182" fmla="*/ 260890 h 814768"/>
                  <a:gd name="connsiteX183" fmla="*/ 990505 w 1157096"/>
                  <a:gd name="connsiteY183" fmla="*/ 245078 h 814768"/>
                  <a:gd name="connsiteX184" fmla="*/ 998411 w 1157096"/>
                  <a:gd name="connsiteY184" fmla="*/ 229267 h 814768"/>
                  <a:gd name="connsiteX185" fmla="*/ 1014222 w 1157096"/>
                  <a:gd name="connsiteY185" fmla="*/ 221361 h 814768"/>
                  <a:gd name="connsiteX186" fmla="*/ 1022128 w 1157096"/>
                  <a:gd name="connsiteY186" fmla="*/ 221361 h 814768"/>
                  <a:gd name="connsiteX187" fmla="*/ 1037939 w 1157096"/>
                  <a:gd name="connsiteY187" fmla="*/ 205550 h 814768"/>
                  <a:gd name="connsiteX188" fmla="*/ 1053751 w 1157096"/>
                  <a:gd name="connsiteY188" fmla="*/ 205550 h 814768"/>
                  <a:gd name="connsiteX189" fmla="*/ 1061657 w 1157096"/>
                  <a:gd name="connsiteY189" fmla="*/ 197644 h 814768"/>
                  <a:gd name="connsiteX190" fmla="*/ 1109567 w 1157096"/>
                  <a:gd name="connsiteY190" fmla="*/ 395859 h 814768"/>
                  <a:gd name="connsiteX191" fmla="*/ 1109567 w 1157096"/>
                  <a:gd name="connsiteY191" fmla="*/ 403765 h 814768"/>
                  <a:gd name="connsiteX192" fmla="*/ 1125379 w 1157096"/>
                  <a:gd name="connsiteY192" fmla="*/ 419576 h 814768"/>
                  <a:gd name="connsiteX193" fmla="*/ 1149191 w 1157096"/>
                  <a:gd name="connsiteY193" fmla="*/ 419576 h 814768"/>
                  <a:gd name="connsiteX194" fmla="*/ 1157097 w 1157096"/>
                  <a:gd name="connsiteY194" fmla="*/ 411671 h 814768"/>
                  <a:gd name="connsiteX195" fmla="*/ 1141286 w 1157096"/>
                  <a:gd name="connsiteY195" fmla="*/ 395859 h 814768"/>
                  <a:gd name="connsiteX196" fmla="*/ 1125474 w 1157096"/>
                  <a:gd name="connsiteY196" fmla="*/ 395859 h 814768"/>
                  <a:gd name="connsiteX197" fmla="*/ 1117568 w 1157096"/>
                  <a:gd name="connsiteY197" fmla="*/ 387953 h 814768"/>
                  <a:gd name="connsiteX198" fmla="*/ 1109663 w 1157096"/>
                  <a:gd name="connsiteY198" fmla="*/ 395859 h 814768"/>
                  <a:gd name="connsiteX199" fmla="*/ 887635 w 1157096"/>
                  <a:gd name="connsiteY199" fmla="*/ 514636 h 814768"/>
                  <a:gd name="connsiteX200" fmla="*/ 895541 w 1157096"/>
                  <a:gd name="connsiteY200" fmla="*/ 522542 h 814768"/>
                  <a:gd name="connsiteX201" fmla="*/ 903446 w 1157096"/>
                  <a:gd name="connsiteY201" fmla="*/ 522542 h 814768"/>
                  <a:gd name="connsiteX202" fmla="*/ 911352 w 1157096"/>
                  <a:gd name="connsiteY202" fmla="*/ 514636 h 814768"/>
                  <a:gd name="connsiteX203" fmla="*/ 911352 w 1157096"/>
                  <a:gd name="connsiteY203" fmla="*/ 490919 h 814768"/>
                  <a:gd name="connsiteX204" fmla="*/ 903446 w 1157096"/>
                  <a:gd name="connsiteY204" fmla="*/ 490919 h 814768"/>
                  <a:gd name="connsiteX205" fmla="*/ 887635 w 1157096"/>
                  <a:gd name="connsiteY205" fmla="*/ 506730 h 814768"/>
                  <a:gd name="connsiteX206" fmla="*/ 887635 w 1157096"/>
                  <a:gd name="connsiteY206" fmla="*/ 514636 h 814768"/>
                  <a:gd name="connsiteX207" fmla="*/ 1061942 w 1157096"/>
                  <a:gd name="connsiteY207" fmla="*/ 419576 h 814768"/>
                  <a:gd name="connsiteX208" fmla="*/ 1054037 w 1157096"/>
                  <a:gd name="connsiteY208" fmla="*/ 411671 h 814768"/>
                  <a:gd name="connsiteX209" fmla="*/ 1054037 w 1157096"/>
                  <a:gd name="connsiteY209" fmla="*/ 403765 h 814768"/>
                  <a:gd name="connsiteX210" fmla="*/ 1038225 w 1157096"/>
                  <a:gd name="connsiteY210" fmla="*/ 403765 h 814768"/>
                  <a:gd name="connsiteX211" fmla="*/ 1006507 w 1157096"/>
                  <a:gd name="connsiteY211" fmla="*/ 419576 h 814768"/>
                  <a:gd name="connsiteX212" fmla="*/ 990695 w 1157096"/>
                  <a:gd name="connsiteY212" fmla="*/ 435388 h 814768"/>
                  <a:gd name="connsiteX213" fmla="*/ 990695 w 1157096"/>
                  <a:gd name="connsiteY213" fmla="*/ 443294 h 814768"/>
                  <a:gd name="connsiteX214" fmla="*/ 998601 w 1157096"/>
                  <a:gd name="connsiteY214" fmla="*/ 451199 h 814768"/>
                  <a:gd name="connsiteX215" fmla="*/ 1014413 w 1157096"/>
                  <a:gd name="connsiteY215" fmla="*/ 451199 h 814768"/>
                  <a:gd name="connsiteX216" fmla="*/ 1022318 w 1157096"/>
                  <a:gd name="connsiteY216" fmla="*/ 459105 h 814768"/>
                  <a:gd name="connsiteX217" fmla="*/ 1022318 w 1157096"/>
                  <a:gd name="connsiteY217" fmla="*/ 467011 h 814768"/>
                  <a:gd name="connsiteX218" fmla="*/ 1061942 w 1157096"/>
                  <a:gd name="connsiteY218" fmla="*/ 467011 h 814768"/>
                  <a:gd name="connsiteX219" fmla="*/ 1077754 w 1157096"/>
                  <a:gd name="connsiteY219" fmla="*/ 451199 h 814768"/>
                  <a:gd name="connsiteX220" fmla="*/ 1077754 w 1157096"/>
                  <a:gd name="connsiteY220" fmla="*/ 427482 h 814768"/>
                  <a:gd name="connsiteX221" fmla="*/ 1069848 w 1157096"/>
                  <a:gd name="connsiteY221" fmla="*/ 419576 h 814768"/>
                  <a:gd name="connsiteX222" fmla="*/ 1061942 w 1157096"/>
                  <a:gd name="connsiteY222" fmla="*/ 419576 h 81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157096" h="814768">
                    <a:moveTo>
                      <a:pt x="1062038" y="197929"/>
                    </a:moveTo>
                    <a:lnTo>
                      <a:pt x="1054132" y="182118"/>
                    </a:lnTo>
                    <a:lnTo>
                      <a:pt x="1054132" y="174212"/>
                    </a:lnTo>
                    <a:lnTo>
                      <a:pt x="1069943" y="158401"/>
                    </a:lnTo>
                    <a:lnTo>
                      <a:pt x="1054132" y="150495"/>
                    </a:lnTo>
                    <a:lnTo>
                      <a:pt x="1046226" y="142589"/>
                    </a:lnTo>
                    <a:lnTo>
                      <a:pt x="1046226" y="134684"/>
                    </a:lnTo>
                    <a:lnTo>
                      <a:pt x="1030415" y="134684"/>
                    </a:lnTo>
                    <a:lnTo>
                      <a:pt x="1030415" y="142589"/>
                    </a:lnTo>
                    <a:lnTo>
                      <a:pt x="1022509" y="150495"/>
                    </a:lnTo>
                    <a:lnTo>
                      <a:pt x="998696" y="150495"/>
                    </a:lnTo>
                    <a:lnTo>
                      <a:pt x="990791" y="142589"/>
                    </a:lnTo>
                    <a:lnTo>
                      <a:pt x="959072" y="142589"/>
                    </a:lnTo>
                    <a:lnTo>
                      <a:pt x="959072" y="134684"/>
                    </a:lnTo>
                    <a:lnTo>
                      <a:pt x="935260" y="134684"/>
                    </a:lnTo>
                    <a:lnTo>
                      <a:pt x="919353" y="142589"/>
                    </a:lnTo>
                    <a:lnTo>
                      <a:pt x="911447" y="110871"/>
                    </a:lnTo>
                    <a:lnTo>
                      <a:pt x="887635" y="110871"/>
                    </a:lnTo>
                    <a:lnTo>
                      <a:pt x="887635" y="102965"/>
                    </a:lnTo>
                    <a:lnTo>
                      <a:pt x="879729" y="95060"/>
                    </a:lnTo>
                    <a:lnTo>
                      <a:pt x="855917" y="95060"/>
                    </a:lnTo>
                    <a:lnTo>
                      <a:pt x="848011" y="102965"/>
                    </a:lnTo>
                    <a:lnTo>
                      <a:pt x="848011" y="118777"/>
                    </a:lnTo>
                    <a:lnTo>
                      <a:pt x="824198" y="126682"/>
                    </a:lnTo>
                    <a:lnTo>
                      <a:pt x="824198" y="110871"/>
                    </a:lnTo>
                    <a:lnTo>
                      <a:pt x="784574" y="110871"/>
                    </a:lnTo>
                    <a:lnTo>
                      <a:pt x="768763" y="95060"/>
                    </a:lnTo>
                    <a:lnTo>
                      <a:pt x="752856" y="95060"/>
                    </a:lnTo>
                    <a:lnTo>
                      <a:pt x="744950" y="102965"/>
                    </a:lnTo>
                    <a:lnTo>
                      <a:pt x="721138" y="79153"/>
                    </a:lnTo>
                    <a:lnTo>
                      <a:pt x="673608" y="79153"/>
                    </a:lnTo>
                    <a:lnTo>
                      <a:pt x="681514" y="71247"/>
                    </a:lnTo>
                    <a:lnTo>
                      <a:pt x="681514" y="63341"/>
                    </a:lnTo>
                    <a:lnTo>
                      <a:pt x="665607" y="47530"/>
                    </a:lnTo>
                    <a:lnTo>
                      <a:pt x="657701" y="47530"/>
                    </a:lnTo>
                    <a:lnTo>
                      <a:pt x="649796" y="55436"/>
                    </a:lnTo>
                    <a:lnTo>
                      <a:pt x="641890" y="47530"/>
                    </a:lnTo>
                    <a:lnTo>
                      <a:pt x="594360" y="47530"/>
                    </a:lnTo>
                    <a:lnTo>
                      <a:pt x="515112" y="31718"/>
                    </a:lnTo>
                    <a:lnTo>
                      <a:pt x="499205" y="31718"/>
                    </a:lnTo>
                    <a:lnTo>
                      <a:pt x="459581" y="47530"/>
                    </a:lnTo>
                    <a:lnTo>
                      <a:pt x="388239" y="39624"/>
                    </a:lnTo>
                    <a:lnTo>
                      <a:pt x="340709" y="15812"/>
                    </a:lnTo>
                    <a:lnTo>
                      <a:pt x="308991" y="15812"/>
                    </a:lnTo>
                    <a:lnTo>
                      <a:pt x="285179" y="23717"/>
                    </a:lnTo>
                    <a:lnTo>
                      <a:pt x="213836" y="23717"/>
                    </a:lnTo>
                    <a:lnTo>
                      <a:pt x="198025" y="15812"/>
                    </a:lnTo>
                    <a:lnTo>
                      <a:pt x="182213" y="15812"/>
                    </a:lnTo>
                    <a:lnTo>
                      <a:pt x="166402" y="7906"/>
                    </a:lnTo>
                    <a:lnTo>
                      <a:pt x="158496" y="0"/>
                    </a:lnTo>
                    <a:lnTo>
                      <a:pt x="142684" y="0"/>
                    </a:lnTo>
                    <a:lnTo>
                      <a:pt x="126873" y="7906"/>
                    </a:lnTo>
                    <a:lnTo>
                      <a:pt x="95155" y="39529"/>
                    </a:lnTo>
                    <a:lnTo>
                      <a:pt x="79343" y="39529"/>
                    </a:lnTo>
                    <a:lnTo>
                      <a:pt x="63437" y="47435"/>
                    </a:lnTo>
                    <a:lnTo>
                      <a:pt x="39624" y="47435"/>
                    </a:lnTo>
                    <a:lnTo>
                      <a:pt x="7906" y="63246"/>
                    </a:lnTo>
                    <a:lnTo>
                      <a:pt x="0" y="79057"/>
                    </a:lnTo>
                    <a:lnTo>
                      <a:pt x="0" y="94869"/>
                    </a:lnTo>
                    <a:lnTo>
                      <a:pt x="7906" y="102775"/>
                    </a:lnTo>
                    <a:lnTo>
                      <a:pt x="15811" y="118586"/>
                    </a:lnTo>
                    <a:lnTo>
                      <a:pt x="31623" y="126492"/>
                    </a:lnTo>
                    <a:lnTo>
                      <a:pt x="39529" y="134398"/>
                    </a:lnTo>
                    <a:lnTo>
                      <a:pt x="23717" y="181928"/>
                    </a:lnTo>
                    <a:lnTo>
                      <a:pt x="31623" y="189833"/>
                    </a:lnTo>
                    <a:lnTo>
                      <a:pt x="31623" y="197739"/>
                    </a:lnTo>
                    <a:lnTo>
                      <a:pt x="39529" y="189833"/>
                    </a:lnTo>
                    <a:lnTo>
                      <a:pt x="71247" y="174022"/>
                    </a:lnTo>
                    <a:lnTo>
                      <a:pt x="102965" y="174022"/>
                    </a:lnTo>
                    <a:lnTo>
                      <a:pt x="102965" y="181928"/>
                    </a:lnTo>
                    <a:lnTo>
                      <a:pt x="87154" y="197739"/>
                    </a:lnTo>
                    <a:lnTo>
                      <a:pt x="79248" y="197739"/>
                    </a:lnTo>
                    <a:lnTo>
                      <a:pt x="79248" y="205645"/>
                    </a:lnTo>
                    <a:lnTo>
                      <a:pt x="95060" y="205645"/>
                    </a:lnTo>
                    <a:lnTo>
                      <a:pt x="102965" y="197739"/>
                    </a:lnTo>
                    <a:lnTo>
                      <a:pt x="126778" y="197739"/>
                    </a:lnTo>
                    <a:lnTo>
                      <a:pt x="134684" y="205645"/>
                    </a:lnTo>
                    <a:lnTo>
                      <a:pt x="150495" y="205645"/>
                    </a:lnTo>
                    <a:lnTo>
                      <a:pt x="158401" y="197739"/>
                    </a:lnTo>
                    <a:lnTo>
                      <a:pt x="158401" y="189833"/>
                    </a:lnTo>
                    <a:lnTo>
                      <a:pt x="229743" y="189833"/>
                    </a:lnTo>
                    <a:lnTo>
                      <a:pt x="229743" y="213551"/>
                    </a:lnTo>
                    <a:lnTo>
                      <a:pt x="237649" y="213551"/>
                    </a:lnTo>
                    <a:lnTo>
                      <a:pt x="253556" y="221456"/>
                    </a:lnTo>
                    <a:lnTo>
                      <a:pt x="253556" y="229362"/>
                    </a:lnTo>
                    <a:lnTo>
                      <a:pt x="221837" y="260985"/>
                    </a:lnTo>
                    <a:lnTo>
                      <a:pt x="190119" y="276796"/>
                    </a:lnTo>
                    <a:lnTo>
                      <a:pt x="182213" y="284702"/>
                    </a:lnTo>
                    <a:lnTo>
                      <a:pt x="182213" y="292608"/>
                    </a:lnTo>
                    <a:lnTo>
                      <a:pt x="190119" y="292608"/>
                    </a:lnTo>
                    <a:lnTo>
                      <a:pt x="198025" y="300514"/>
                    </a:lnTo>
                    <a:lnTo>
                      <a:pt x="198025" y="316325"/>
                    </a:lnTo>
                    <a:lnTo>
                      <a:pt x="190119" y="340138"/>
                    </a:lnTo>
                    <a:lnTo>
                      <a:pt x="190119" y="363855"/>
                    </a:lnTo>
                    <a:lnTo>
                      <a:pt x="182213" y="363855"/>
                    </a:lnTo>
                    <a:lnTo>
                      <a:pt x="174308" y="371761"/>
                    </a:lnTo>
                    <a:lnTo>
                      <a:pt x="174308" y="387572"/>
                    </a:lnTo>
                    <a:lnTo>
                      <a:pt x="182213" y="395478"/>
                    </a:lnTo>
                    <a:lnTo>
                      <a:pt x="182213" y="411289"/>
                    </a:lnTo>
                    <a:lnTo>
                      <a:pt x="166402" y="427101"/>
                    </a:lnTo>
                    <a:lnTo>
                      <a:pt x="118872" y="427101"/>
                    </a:lnTo>
                    <a:lnTo>
                      <a:pt x="150590" y="458724"/>
                    </a:lnTo>
                    <a:lnTo>
                      <a:pt x="150590" y="474536"/>
                    </a:lnTo>
                    <a:lnTo>
                      <a:pt x="158496" y="482441"/>
                    </a:lnTo>
                    <a:lnTo>
                      <a:pt x="174403" y="490347"/>
                    </a:lnTo>
                    <a:lnTo>
                      <a:pt x="174403" y="498253"/>
                    </a:lnTo>
                    <a:lnTo>
                      <a:pt x="158496" y="514064"/>
                    </a:lnTo>
                    <a:lnTo>
                      <a:pt x="142684" y="521970"/>
                    </a:lnTo>
                    <a:lnTo>
                      <a:pt x="126873" y="537781"/>
                    </a:lnTo>
                    <a:lnTo>
                      <a:pt x="126873" y="545687"/>
                    </a:lnTo>
                    <a:lnTo>
                      <a:pt x="134779" y="553593"/>
                    </a:lnTo>
                    <a:lnTo>
                      <a:pt x="134779" y="561499"/>
                    </a:lnTo>
                    <a:lnTo>
                      <a:pt x="142684" y="577310"/>
                    </a:lnTo>
                    <a:lnTo>
                      <a:pt x="150590" y="585216"/>
                    </a:lnTo>
                    <a:lnTo>
                      <a:pt x="166497" y="585216"/>
                    </a:lnTo>
                    <a:lnTo>
                      <a:pt x="166497" y="593122"/>
                    </a:lnTo>
                    <a:lnTo>
                      <a:pt x="150590" y="608933"/>
                    </a:lnTo>
                    <a:lnTo>
                      <a:pt x="134779" y="608933"/>
                    </a:lnTo>
                    <a:lnTo>
                      <a:pt x="126873" y="624745"/>
                    </a:lnTo>
                    <a:lnTo>
                      <a:pt x="118967" y="632651"/>
                    </a:lnTo>
                    <a:lnTo>
                      <a:pt x="118967" y="695992"/>
                    </a:lnTo>
                    <a:lnTo>
                      <a:pt x="158591" y="695992"/>
                    </a:lnTo>
                    <a:lnTo>
                      <a:pt x="190309" y="719804"/>
                    </a:lnTo>
                    <a:lnTo>
                      <a:pt x="214122" y="719804"/>
                    </a:lnTo>
                    <a:lnTo>
                      <a:pt x="206216" y="759428"/>
                    </a:lnTo>
                    <a:lnTo>
                      <a:pt x="214122" y="759428"/>
                    </a:lnTo>
                    <a:lnTo>
                      <a:pt x="214122" y="783146"/>
                    </a:lnTo>
                    <a:lnTo>
                      <a:pt x="222028" y="798957"/>
                    </a:lnTo>
                    <a:lnTo>
                      <a:pt x="229934" y="806863"/>
                    </a:lnTo>
                    <a:lnTo>
                      <a:pt x="253746" y="806863"/>
                    </a:lnTo>
                    <a:lnTo>
                      <a:pt x="261652" y="814769"/>
                    </a:lnTo>
                    <a:lnTo>
                      <a:pt x="269558" y="814769"/>
                    </a:lnTo>
                    <a:lnTo>
                      <a:pt x="277463" y="806863"/>
                    </a:lnTo>
                    <a:lnTo>
                      <a:pt x="293275" y="798957"/>
                    </a:lnTo>
                    <a:lnTo>
                      <a:pt x="317087" y="775240"/>
                    </a:lnTo>
                    <a:lnTo>
                      <a:pt x="332994" y="767334"/>
                    </a:lnTo>
                    <a:lnTo>
                      <a:pt x="348806" y="767334"/>
                    </a:lnTo>
                    <a:lnTo>
                      <a:pt x="388430" y="743522"/>
                    </a:lnTo>
                    <a:lnTo>
                      <a:pt x="475583" y="743522"/>
                    </a:lnTo>
                    <a:lnTo>
                      <a:pt x="483489" y="735616"/>
                    </a:lnTo>
                    <a:lnTo>
                      <a:pt x="499301" y="735616"/>
                    </a:lnTo>
                    <a:lnTo>
                      <a:pt x="515207" y="751427"/>
                    </a:lnTo>
                    <a:lnTo>
                      <a:pt x="523113" y="751427"/>
                    </a:lnTo>
                    <a:lnTo>
                      <a:pt x="538925" y="743522"/>
                    </a:lnTo>
                    <a:lnTo>
                      <a:pt x="554736" y="743522"/>
                    </a:lnTo>
                    <a:lnTo>
                      <a:pt x="562642" y="735616"/>
                    </a:lnTo>
                    <a:lnTo>
                      <a:pt x="570548" y="735616"/>
                    </a:lnTo>
                    <a:lnTo>
                      <a:pt x="570548" y="751427"/>
                    </a:lnTo>
                    <a:lnTo>
                      <a:pt x="578453" y="751427"/>
                    </a:lnTo>
                    <a:lnTo>
                      <a:pt x="594360" y="735616"/>
                    </a:lnTo>
                    <a:lnTo>
                      <a:pt x="610172" y="703993"/>
                    </a:lnTo>
                    <a:lnTo>
                      <a:pt x="610172" y="688181"/>
                    </a:lnTo>
                    <a:lnTo>
                      <a:pt x="657701" y="648557"/>
                    </a:lnTo>
                    <a:lnTo>
                      <a:pt x="697325" y="648557"/>
                    </a:lnTo>
                    <a:lnTo>
                      <a:pt x="705231" y="624840"/>
                    </a:lnTo>
                    <a:lnTo>
                      <a:pt x="705231" y="616934"/>
                    </a:lnTo>
                    <a:lnTo>
                      <a:pt x="713137" y="609029"/>
                    </a:lnTo>
                    <a:lnTo>
                      <a:pt x="713137" y="593217"/>
                    </a:lnTo>
                    <a:lnTo>
                      <a:pt x="721043" y="585311"/>
                    </a:lnTo>
                    <a:lnTo>
                      <a:pt x="728948" y="569500"/>
                    </a:lnTo>
                    <a:lnTo>
                      <a:pt x="728948" y="561594"/>
                    </a:lnTo>
                    <a:lnTo>
                      <a:pt x="752761" y="561594"/>
                    </a:lnTo>
                    <a:lnTo>
                      <a:pt x="784479" y="545782"/>
                    </a:lnTo>
                    <a:lnTo>
                      <a:pt x="792385" y="537877"/>
                    </a:lnTo>
                    <a:lnTo>
                      <a:pt x="784479" y="522065"/>
                    </a:lnTo>
                    <a:lnTo>
                      <a:pt x="776573" y="514160"/>
                    </a:lnTo>
                    <a:lnTo>
                      <a:pt x="768668" y="498348"/>
                    </a:lnTo>
                    <a:lnTo>
                      <a:pt x="760762" y="490442"/>
                    </a:lnTo>
                    <a:lnTo>
                      <a:pt x="752856" y="490442"/>
                    </a:lnTo>
                    <a:lnTo>
                      <a:pt x="752856" y="442913"/>
                    </a:lnTo>
                    <a:lnTo>
                      <a:pt x="768763" y="411194"/>
                    </a:lnTo>
                    <a:lnTo>
                      <a:pt x="784574" y="403288"/>
                    </a:lnTo>
                    <a:lnTo>
                      <a:pt x="792480" y="387477"/>
                    </a:lnTo>
                    <a:lnTo>
                      <a:pt x="808292" y="371665"/>
                    </a:lnTo>
                    <a:lnTo>
                      <a:pt x="816197" y="355854"/>
                    </a:lnTo>
                    <a:lnTo>
                      <a:pt x="832009" y="340043"/>
                    </a:lnTo>
                    <a:lnTo>
                      <a:pt x="847916" y="340043"/>
                    </a:lnTo>
                    <a:lnTo>
                      <a:pt x="863727" y="324231"/>
                    </a:lnTo>
                    <a:lnTo>
                      <a:pt x="863727" y="316325"/>
                    </a:lnTo>
                    <a:lnTo>
                      <a:pt x="855821" y="316325"/>
                    </a:lnTo>
                    <a:lnTo>
                      <a:pt x="855821" y="300514"/>
                    </a:lnTo>
                    <a:lnTo>
                      <a:pt x="863727" y="292608"/>
                    </a:lnTo>
                    <a:lnTo>
                      <a:pt x="958787" y="260890"/>
                    </a:lnTo>
                    <a:lnTo>
                      <a:pt x="990505" y="245078"/>
                    </a:lnTo>
                    <a:lnTo>
                      <a:pt x="998411" y="229267"/>
                    </a:lnTo>
                    <a:lnTo>
                      <a:pt x="1014222" y="221361"/>
                    </a:lnTo>
                    <a:lnTo>
                      <a:pt x="1022128" y="221361"/>
                    </a:lnTo>
                    <a:lnTo>
                      <a:pt x="1037939" y="205550"/>
                    </a:lnTo>
                    <a:lnTo>
                      <a:pt x="1053751" y="205550"/>
                    </a:lnTo>
                    <a:lnTo>
                      <a:pt x="1061657" y="197644"/>
                    </a:lnTo>
                    <a:close/>
                    <a:moveTo>
                      <a:pt x="1109567" y="395859"/>
                    </a:moveTo>
                    <a:lnTo>
                      <a:pt x="1109567" y="403765"/>
                    </a:lnTo>
                    <a:lnTo>
                      <a:pt x="1125379" y="419576"/>
                    </a:lnTo>
                    <a:lnTo>
                      <a:pt x="1149191" y="419576"/>
                    </a:lnTo>
                    <a:lnTo>
                      <a:pt x="1157097" y="411671"/>
                    </a:lnTo>
                    <a:lnTo>
                      <a:pt x="1141286" y="395859"/>
                    </a:lnTo>
                    <a:lnTo>
                      <a:pt x="1125474" y="395859"/>
                    </a:lnTo>
                    <a:lnTo>
                      <a:pt x="1117568" y="387953"/>
                    </a:lnTo>
                    <a:lnTo>
                      <a:pt x="1109663" y="395859"/>
                    </a:lnTo>
                    <a:close/>
                    <a:moveTo>
                      <a:pt x="887635" y="514636"/>
                    </a:moveTo>
                    <a:lnTo>
                      <a:pt x="895541" y="522542"/>
                    </a:lnTo>
                    <a:lnTo>
                      <a:pt x="903446" y="522542"/>
                    </a:lnTo>
                    <a:lnTo>
                      <a:pt x="911352" y="514636"/>
                    </a:lnTo>
                    <a:lnTo>
                      <a:pt x="911352" y="490919"/>
                    </a:lnTo>
                    <a:lnTo>
                      <a:pt x="903446" y="490919"/>
                    </a:lnTo>
                    <a:lnTo>
                      <a:pt x="887635" y="506730"/>
                    </a:lnTo>
                    <a:lnTo>
                      <a:pt x="887635" y="514636"/>
                    </a:lnTo>
                    <a:close/>
                    <a:moveTo>
                      <a:pt x="1061942" y="419576"/>
                    </a:moveTo>
                    <a:lnTo>
                      <a:pt x="1054037" y="411671"/>
                    </a:lnTo>
                    <a:lnTo>
                      <a:pt x="1054037" y="403765"/>
                    </a:lnTo>
                    <a:lnTo>
                      <a:pt x="1038225" y="403765"/>
                    </a:lnTo>
                    <a:lnTo>
                      <a:pt x="1006507" y="419576"/>
                    </a:lnTo>
                    <a:lnTo>
                      <a:pt x="990695" y="435388"/>
                    </a:lnTo>
                    <a:lnTo>
                      <a:pt x="990695" y="443294"/>
                    </a:lnTo>
                    <a:lnTo>
                      <a:pt x="998601" y="451199"/>
                    </a:lnTo>
                    <a:lnTo>
                      <a:pt x="1014413" y="451199"/>
                    </a:lnTo>
                    <a:lnTo>
                      <a:pt x="1022318" y="459105"/>
                    </a:lnTo>
                    <a:lnTo>
                      <a:pt x="1022318" y="467011"/>
                    </a:lnTo>
                    <a:lnTo>
                      <a:pt x="1061942" y="467011"/>
                    </a:lnTo>
                    <a:lnTo>
                      <a:pt x="1077754" y="451199"/>
                    </a:lnTo>
                    <a:lnTo>
                      <a:pt x="1077754" y="427482"/>
                    </a:lnTo>
                    <a:lnTo>
                      <a:pt x="1069848" y="419576"/>
                    </a:lnTo>
                    <a:lnTo>
                      <a:pt x="1061942" y="419576"/>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31962E0F-F92C-6F1A-6C7F-41D4FDB80ACA}"/>
                  </a:ext>
                </a:extLst>
              </p:cNvPr>
              <p:cNvSpPr/>
              <p:nvPr/>
            </p:nvSpPr>
            <p:spPr>
              <a:xfrm>
                <a:off x="4461510" y="4424933"/>
                <a:ext cx="1157096" cy="814768"/>
              </a:xfrm>
              <a:custGeom>
                <a:avLst/>
                <a:gdLst>
                  <a:gd name="connsiteX0" fmla="*/ 1062038 w 1157096"/>
                  <a:gd name="connsiteY0" fmla="*/ 197929 h 814768"/>
                  <a:gd name="connsiteX1" fmla="*/ 1054132 w 1157096"/>
                  <a:gd name="connsiteY1" fmla="*/ 182118 h 814768"/>
                  <a:gd name="connsiteX2" fmla="*/ 1054132 w 1157096"/>
                  <a:gd name="connsiteY2" fmla="*/ 174212 h 814768"/>
                  <a:gd name="connsiteX3" fmla="*/ 1069943 w 1157096"/>
                  <a:gd name="connsiteY3" fmla="*/ 158401 h 814768"/>
                  <a:gd name="connsiteX4" fmla="*/ 1054132 w 1157096"/>
                  <a:gd name="connsiteY4" fmla="*/ 150495 h 814768"/>
                  <a:gd name="connsiteX5" fmla="*/ 1046226 w 1157096"/>
                  <a:gd name="connsiteY5" fmla="*/ 142589 h 814768"/>
                  <a:gd name="connsiteX6" fmla="*/ 1046226 w 1157096"/>
                  <a:gd name="connsiteY6" fmla="*/ 134684 h 814768"/>
                  <a:gd name="connsiteX7" fmla="*/ 1030415 w 1157096"/>
                  <a:gd name="connsiteY7" fmla="*/ 134684 h 814768"/>
                  <a:gd name="connsiteX8" fmla="*/ 1030415 w 1157096"/>
                  <a:gd name="connsiteY8" fmla="*/ 142589 h 814768"/>
                  <a:gd name="connsiteX9" fmla="*/ 1022509 w 1157096"/>
                  <a:gd name="connsiteY9" fmla="*/ 150495 h 814768"/>
                  <a:gd name="connsiteX10" fmla="*/ 998696 w 1157096"/>
                  <a:gd name="connsiteY10" fmla="*/ 150495 h 814768"/>
                  <a:gd name="connsiteX11" fmla="*/ 990791 w 1157096"/>
                  <a:gd name="connsiteY11" fmla="*/ 142589 h 814768"/>
                  <a:gd name="connsiteX12" fmla="*/ 959072 w 1157096"/>
                  <a:gd name="connsiteY12" fmla="*/ 142589 h 814768"/>
                  <a:gd name="connsiteX13" fmla="*/ 959072 w 1157096"/>
                  <a:gd name="connsiteY13" fmla="*/ 134684 h 814768"/>
                  <a:gd name="connsiteX14" fmla="*/ 935260 w 1157096"/>
                  <a:gd name="connsiteY14" fmla="*/ 134684 h 814768"/>
                  <a:gd name="connsiteX15" fmla="*/ 919353 w 1157096"/>
                  <a:gd name="connsiteY15" fmla="*/ 142589 h 814768"/>
                  <a:gd name="connsiteX16" fmla="*/ 911447 w 1157096"/>
                  <a:gd name="connsiteY16" fmla="*/ 110871 h 814768"/>
                  <a:gd name="connsiteX17" fmla="*/ 887635 w 1157096"/>
                  <a:gd name="connsiteY17" fmla="*/ 110871 h 814768"/>
                  <a:gd name="connsiteX18" fmla="*/ 887635 w 1157096"/>
                  <a:gd name="connsiteY18" fmla="*/ 102965 h 814768"/>
                  <a:gd name="connsiteX19" fmla="*/ 879729 w 1157096"/>
                  <a:gd name="connsiteY19" fmla="*/ 95060 h 814768"/>
                  <a:gd name="connsiteX20" fmla="*/ 855917 w 1157096"/>
                  <a:gd name="connsiteY20" fmla="*/ 95060 h 814768"/>
                  <a:gd name="connsiteX21" fmla="*/ 848011 w 1157096"/>
                  <a:gd name="connsiteY21" fmla="*/ 102965 h 814768"/>
                  <a:gd name="connsiteX22" fmla="*/ 848011 w 1157096"/>
                  <a:gd name="connsiteY22" fmla="*/ 118777 h 814768"/>
                  <a:gd name="connsiteX23" fmla="*/ 824198 w 1157096"/>
                  <a:gd name="connsiteY23" fmla="*/ 126682 h 814768"/>
                  <a:gd name="connsiteX24" fmla="*/ 824198 w 1157096"/>
                  <a:gd name="connsiteY24" fmla="*/ 110871 h 814768"/>
                  <a:gd name="connsiteX25" fmla="*/ 784574 w 1157096"/>
                  <a:gd name="connsiteY25" fmla="*/ 110871 h 814768"/>
                  <a:gd name="connsiteX26" fmla="*/ 768763 w 1157096"/>
                  <a:gd name="connsiteY26" fmla="*/ 95060 h 814768"/>
                  <a:gd name="connsiteX27" fmla="*/ 752856 w 1157096"/>
                  <a:gd name="connsiteY27" fmla="*/ 95060 h 814768"/>
                  <a:gd name="connsiteX28" fmla="*/ 744950 w 1157096"/>
                  <a:gd name="connsiteY28" fmla="*/ 102965 h 814768"/>
                  <a:gd name="connsiteX29" fmla="*/ 721138 w 1157096"/>
                  <a:gd name="connsiteY29" fmla="*/ 79153 h 814768"/>
                  <a:gd name="connsiteX30" fmla="*/ 673608 w 1157096"/>
                  <a:gd name="connsiteY30" fmla="*/ 79153 h 814768"/>
                  <a:gd name="connsiteX31" fmla="*/ 681514 w 1157096"/>
                  <a:gd name="connsiteY31" fmla="*/ 71247 h 814768"/>
                  <a:gd name="connsiteX32" fmla="*/ 681514 w 1157096"/>
                  <a:gd name="connsiteY32" fmla="*/ 63341 h 814768"/>
                  <a:gd name="connsiteX33" fmla="*/ 665607 w 1157096"/>
                  <a:gd name="connsiteY33" fmla="*/ 47530 h 814768"/>
                  <a:gd name="connsiteX34" fmla="*/ 657701 w 1157096"/>
                  <a:gd name="connsiteY34" fmla="*/ 47530 h 814768"/>
                  <a:gd name="connsiteX35" fmla="*/ 649796 w 1157096"/>
                  <a:gd name="connsiteY35" fmla="*/ 55436 h 814768"/>
                  <a:gd name="connsiteX36" fmla="*/ 641890 w 1157096"/>
                  <a:gd name="connsiteY36" fmla="*/ 47530 h 814768"/>
                  <a:gd name="connsiteX37" fmla="*/ 594360 w 1157096"/>
                  <a:gd name="connsiteY37" fmla="*/ 47530 h 814768"/>
                  <a:gd name="connsiteX38" fmla="*/ 515112 w 1157096"/>
                  <a:gd name="connsiteY38" fmla="*/ 31718 h 814768"/>
                  <a:gd name="connsiteX39" fmla="*/ 499205 w 1157096"/>
                  <a:gd name="connsiteY39" fmla="*/ 31718 h 814768"/>
                  <a:gd name="connsiteX40" fmla="*/ 459581 w 1157096"/>
                  <a:gd name="connsiteY40" fmla="*/ 47530 h 814768"/>
                  <a:gd name="connsiteX41" fmla="*/ 388239 w 1157096"/>
                  <a:gd name="connsiteY41" fmla="*/ 39624 h 814768"/>
                  <a:gd name="connsiteX42" fmla="*/ 340709 w 1157096"/>
                  <a:gd name="connsiteY42" fmla="*/ 15812 h 814768"/>
                  <a:gd name="connsiteX43" fmla="*/ 308991 w 1157096"/>
                  <a:gd name="connsiteY43" fmla="*/ 15812 h 814768"/>
                  <a:gd name="connsiteX44" fmla="*/ 285179 w 1157096"/>
                  <a:gd name="connsiteY44" fmla="*/ 23717 h 814768"/>
                  <a:gd name="connsiteX45" fmla="*/ 213836 w 1157096"/>
                  <a:gd name="connsiteY45" fmla="*/ 23717 h 814768"/>
                  <a:gd name="connsiteX46" fmla="*/ 198025 w 1157096"/>
                  <a:gd name="connsiteY46" fmla="*/ 15812 h 814768"/>
                  <a:gd name="connsiteX47" fmla="*/ 182213 w 1157096"/>
                  <a:gd name="connsiteY47" fmla="*/ 15812 h 814768"/>
                  <a:gd name="connsiteX48" fmla="*/ 166402 w 1157096"/>
                  <a:gd name="connsiteY48" fmla="*/ 7906 h 814768"/>
                  <a:gd name="connsiteX49" fmla="*/ 158496 w 1157096"/>
                  <a:gd name="connsiteY49" fmla="*/ 0 h 814768"/>
                  <a:gd name="connsiteX50" fmla="*/ 142684 w 1157096"/>
                  <a:gd name="connsiteY50" fmla="*/ 0 h 814768"/>
                  <a:gd name="connsiteX51" fmla="*/ 126873 w 1157096"/>
                  <a:gd name="connsiteY51" fmla="*/ 7906 h 814768"/>
                  <a:gd name="connsiteX52" fmla="*/ 95155 w 1157096"/>
                  <a:gd name="connsiteY52" fmla="*/ 39529 h 814768"/>
                  <a:gd name="connsiteX53" fmla="*/ 79343 w 1157096"/>
                  <a:gd name="connsiteY53" fmla="*/ 39529 h 814768"/>
                  <a:gd name="connsiteX54" fmla="*/ 63437 w 1157096"/>
                  <a:gd name="connsiteY54" fmla="*/ 47435 h 814768"/>
                  <a:gd name="connsiteX55" fmla="*/ 39624 w 1157096"/>
                  <a:gd name="connsiteY55" fmla="*/ 47435 h 814768"/>
                  <a:gd name="connsiteX56" fmla="*/ 7906 w 1157096"/>
                  <a:gd name="connsiteY56" fmla="*/ 63246 h 814768"/>
                  <a:gd name="connsiteX57" fmla="*/ 0 w 1157096"/>
                  <a:gd name="connsiteY57" fmla="*/ 79057 h 814768"/>
                  <a:gd name="connsiteX58" fmla="*/ 0 w 1157096"/>
                  <a:gd name="connsiteY58" fmla="*/ 94869 h 814768"/>
                  <a:gd name="connsiteX59" fmla="*/ 7906 w 1157096"/>
                  <a:gd name="connsiteY59" fmla="*/ 102775 h 814768"/>
                  <a:gd name="connsiteX60" fmla="*/ 15811 w 1157096"/>
                  <a:gd name="connsiteY60" fmla="*/ 118586 h 814768"/>
                  <a:gd name="connsiteX61" fmla="*/ 31623 w 1157096"/>
                  <a:gd name="connsiteY61" fmla="*/ 126492 h 814768"/>
                  <a:gd name="connsiteX62" fmla="*/ 39529 w 1157096"/>
                  <a:gd name="connsiteY62" fmla="*/ 134398 h 814768"/>
                  <a:gd name="connsiteX63" fmla="*/ 23717 w 1157096"/>
                  <a:gd name="connsiteY63" fmla="*/ 181928 h 814768"/>
                  <a:gd name="connsiteX64" fmla="*/ 31623 w 1157096"/>
                  <a:gd name="connsiteY64" fmla="*/ 189833 h 814768"/>
                  <a:gd name="connsiteX65" fmla="*/ 31623 w 1157096"/>
                  <a:gd name="connsiteY65" fmla="*/ 197739 h 814768"/>
                  <a:gd name="connsiteX66" fmla="*/ 39529 w 1157096"/>
                  <a:gd name="connsiteY66" fmla="*/ 189833 h 814768"/>
                  <a:gd name="connsiteX67" fmla="*/ 71247 w 1157096"/>
                  <a:gd name="connsiteY67" fmla="*/ 174022 h 814768"/>
                  <a:gd name="connsiteX68" fmla="*/ 102965 w 1157096"/>
                  <a:gd name="connsiteY68" fmla="*/ 174022 h 814768"/>
                  <a:gd name="connsiteX69" fmla="*/ 102965 w 1157096"/>
                  <a:gd name="connsiteY69" fmla="*/ 181928 h 814768"/>
                  <a:gd name="connsiteX70" fmla="*/ 87154 w 1157096"/>
                  <a:gd name="connsiteY70" fmla="*/ 197739 h 814768"/>
                  <a:gd name="connsiteX71" fmla="*/ 79248 w 1157096"/>
                  <a:gd name="connsiteY71" fmla="*/ 197739 h 814768"/>
                  <a:gd name="connsiteX72" fmla="*/ 79248 w 1157096"/>
                  <a:gd name="connsiteY72" fmla="*/ 205645 h 814768"/>
                  <a:gd name="connsiteX73" fmla="*/ 95060 w 1157096"/>
                  <a:gd name="connsiteY73" fmla="*/ 205645 h 814768"/>
                  <a:gd name="connsiteX74" fmla="*/ 102965 w 1157096"/>
                  <a:gd name="connsiteY74" fmla="*/ 197739 h 814768"/>
                  <a:gd name="connsiteX75" fmla="*/ 126778 w 1157096"/>
                  <a:gd name="connsiteY75" fmla="*/ 197739 h 814768"/>
                  <a:gd name="connsiteX76" fmla="*/ 134684 w 1157096"/>
                  <a:gd name="connsiteY76" fmla="*/ 205645 h 814768"/>
                  <a:gd name="connsiteX77" fmla="*/ 150495 w 1157096"/>
                  <a:gd name="connsiteY77" fmla="*/ 205645 h 814768"/>
                  <a:gd name="connsiteX78" fmla="*/ 158401 w 1157096"/>
                  <a:gd name="connsiteY78" fmla="*/ 197739 h 814768"/>
                  <a:gd name="connsiteX79" fmla="*/ 158401 w 1157096"/>
                  <a:gd name="connsiteY79" fmla="*/ 189833 h 814768"/>
                  <a:gd name="connsiteX80" fmla="*/ 229743 w 1157096"/>
                  <a:gd name="connsiteY80" fmla="*/ 189833 h 814768"/>
                  <a:gd name="connsiteX81" fmla="*/ 229743 w 1157096"/>
                  <a:gd name="connsiteY81" fmla="*/ 213551 h 814768"/>
                  <a:gd name="connsiteX82" fmla="*/ 237649 w 1157096"/>
                  <a:gd name="connsiteY82" fmla="*/ 213551 h 814768"/>
                  <a:gd name="connsiteX83" fmla="*/ 253556 w 1157096"/>
                  <a:gd name="connsiteY83" fmla="*/ 221456 h 814768"/>
                  <a:gd name="connsiteX84" fmla="*/ 253556 w 1157096"/>
                  <a:gd name="connsiteY84" fmla="*/ 229362 h 814768"/>
                  <a:gd name="connsiteX85" fmla="*/ 221837 w 1157096"/>
                  <a:gd name="connsiteY85" fmla="*/ 260985 h 814768"/>
                  <a:gd name="connsiteX86" fmla="*/ 190119 w 1157096"/>
                  <a:gd name="connsiteY86" fmla="*/ 276796 h 814768"/>
                  <a:gd name="connsiteX87" fmla="*/ 182213 w 1157096"/>
                  <a:gd name="connsiteY87" fmla="*/ 284702 h 814768"/>
                  <a:gd name="connsiteX88" fmla="*/ 182213 w 1157096"/>
                  <a:gd name="connsiteY88" fmla="*/ 292608 h 814768"/>
                  <a:gd name="connsiteX89" fmla="*/ 190119 w 1157096"/>
                  <a:gd name="connsiteY89" fmla="*/ 292608 h 814768"/>
                  <a:gd name="connsiteX90" fmla="*/ 198025 w 1157096"/>
                  <a:gd name="connsiteY90" fmla="*/ 300514 h 814768"/>
                  <a:gd name="connsiteX91" fmla="*/ 198025 w 1157096"/>
                  <a:gd name="connsiteY91" fmla="*/ 316325 h 814768"/>
                  <a:gd name="connsiteX92" fmla="*/ 190119 w 1157096"/>
                  <a:gd name="connsiteY92" fmla="*/ 340138 h 814768"/>
                  <a:gd name="connsiteX93" fmla="*/ 190119 w 1157096"/>
                  <a:gd name="connsiteY93" fmla="*/ 363855 h 814768"/>
                  <a:gd name="connsiteX94" fmla="*/ 182213 w 1157096"/>
                  <a:gd name="connsiteY94" fmla="*/ 363855 h 814768"/>
                  <a:gd name="connsiteX95" fmla="*/ 174308 w 1157096"/>
                  <a:gd name="connsiteY95" fmla="*/ 371761 h 814768"/>
                  <a:gd name="connsiteX96" fmla="*/ 174308 w 1157096"/>
                  <a:gd name="connsiteY96" fmla="*/ 387572 h 814768"/>
                  <a:gd name="connsiteX97" fmla="*/ 182213 w 1157096"/>
                  <a:gd name="connsiteY97" fmla="*/ 395478 h 814768"/>
                  <a:gd name="connsiteX98" fmla="*/ 182213 w 1157096"/>
                  <a:gd name="connsiteY98" fmla="*/ 411289 h 814768"/>
                  <a:gd name="connsiteX99" fmla="*/ 166402 w 1157096"/>
                  <a:gd name="connsiteY99" fmla="*/ 427101 h 814768"/>
                  <a:gd name="connsiteX100" fmla="*/ 118872 w 1157096"/>
                  <a:gd name="connsiteY100" fmla="*/ 427101 h 814768"/>
                  <a:gd name="connsiteX101" fmla="*/ 150590 w 1157096"/>
                  <a:gd name="connsiteY101" fmla="*/ 458724 h 814768"/>
                  <a:gd name="connsiteX102" fmla="*/ 150590 w 1157096"/>
                  <a:gd name="connsiteY102" fmla="*/ 474536 h 814768"/>
                  <a:gd name="connsiteX103" fmla="*/ 158496 w 1157096"/>
                  <a:gd name="connsiteY103" fmla="*/ 482441 h 814768"/>
                  <a:gd name="connsiteX104" fmla="*/ 174403 w 1157096"/>
                  <a:gd name="connsiteY104" fmla="*/ 490347 h 814768"/>
                  <a:gd name="connsiteX105" fmla="*/ 174403 w 1157096"/>
                  <a:gd name="connsiteY105" fmla="*/ 498253 h 814768"/>
                  <a:gd name="connsiteX106" fmla="*/ 158496 w 1157096"/>
                  <a:gd name="connsiteY106" fmla="*/ 514064 h 814768"/>
                  <a:gd name="connsiteX107" fmla="*/ 142684 w 1157096"/>
                  <a:gd name="connsiteY107" fmla="*/ 521970 h 814768"/>
                  <a:gd name="connsiteX108" fmla="*/ 126873 w 1157096"/>
                  <a:gd name="connsiteY108" fmla="*/ 537781 h 814768"/>
                  <a:gd name="connsiteX109" fmla="*/ 126873 w 1157096"/>
                  <a:gd name="connsiteY109" fmla="*/ 545687 h 814768"/>
                  <a:gd name="connsiteX110" fmla="*/ 134779 w 1157096"/>
                  <a:gd name="connsiteY110" fmla="*/ 553593 h 814768"/>
                  <a:gd name="connsiteX111" fmla="*/ 134779 w 1157096"/>
                  <a:gd name="connsiteY111" fmla="*/ 561499 h 814768"/>
                  <a:gd name="connsiteX112" fmla="*/ 142684 w 1157096"/>
                  <a:gd name="connsiteY112" fmla="*/ 577310 h 814768"/>
                  <a:gd name="connsiteX113" fmla="*/ 150590 w 1157096"/>
                  <a:gd name="connsiteY113" fmla="*/ 585216 h 814768"/>
                  <a:gd name="connsiteX114" fmla="*/ 166497 w 1157096"/>
                  <a:gd name="connsiteY114" fmla="*/ 585216 h 814768"/>
                  <a:gd name="connsiteX115" fmla="*/ 166497 w 1157096"/>
                  <a:gd name="connsiteY115" fmla="*/ 593122 h 814768"/>
                  <a:gd name="connsiteX116" fmla="*/ 150590 w 1157096"/>
                  <a:gd name="connsiteY116" fmla="*/ 608933 h 814768"/>
                  <a:gd name="connsiteX117" fmla="*/ 134779 w 1157096"/>
                  <a:gd name="connsiteY117" fmla="*/ 608933 h 814768"/>
                  <a:gd name="connsiteX118" fmla="*/ 126873 w 1157096"/>
                  <a:gd name="connsiteY118" fmla="*/ 624745 h 814768"/>
                  <a:gd name="connsiteX119" fmla="*/ 118967 w 1157096"/>
                  <a:gd name="connsiteY119" fmla="*/ 632651 h 814768"/>
                  <a:gd name="connsiteX120" fmla="*/ 118967 w 1157096"/>
                  <a:gd name="connsiteY120" fmla="*/ 695992 h 814768"/>
                  <a:gd name="connsiteX121" fmla="*/ 158591 w 1157096"/>
                  <a:gd name="connsiteY121" fmla="*/ 695992 h 814768"/>
                  <a:gd name="connsiteX122" fmla="*/ 190309 w 1157096"/>
                  <a:gd name="connsiteY122" fmla="*/ 719804 h 814768"/>
                  <a:gd name="connsiteX123" fmla="*/ 214122 w 1157096"/>
                  <a:gd name="connsiteY123" fmla="*/ 719804 h 814768"/>
                  <a:gd name="connsiteX124" fmla="*/ 206216 w 1157096"/>
                  <a:gd name="connsiteY124" fmla="*/ 759428 h 814768"/>
                  <a:gd name="connsiteX125" fmla="*/ 214122 w 1157096"/>
                  <a:gd name="connsiteY125" fmla="*/ 759428 h 814768"/>
                  <a:gd name="connsiteX126" fmla="*/ 214122 w 1157096"/>
                  <a:gd name="connsiteY126" fmla="*/ 783146 h 814768"/>
                  <a:gd name="connsiteX127" fmla="*/ 222028 w 1157096"/>
                  <a:gd name="connsiteY127" fmla="*/ 798957 h 814768"/>
                  <a:gd name="connsiteX128" fmla="*/ 229934 w 1157096"/>
                  <a:gd name="connsiteY128" fmla="*/ 806863 h 814768"/>
                  <a:gd name="connsiteX129" fmla="*/ 253746 w 1157096"/>
                  <a:gd name="connsiteY129" fmla="*/ 806863 h 814768"/>
                  <a:gd name="connsiteX130" fmla="*/ 261652 w 1157096"/>
                  <a:gd name="connsiteY130" fmla="*/ 814769 h 814768"/>
                  <a:gd name="connsiteX131" fmla="*/ 269558 w 1157096"/>
                  <a:gd name="connsiteY131" fmla="*/ 814769 h 814768"/>
                  <a:gd name="connsiteX132" fmla="*/ 277463 w 1157096"/>
                  <a:gd name="connsiteY132" fmla="*/ 806863 h 814768"/>
                  <a:gd name="connsiteX133" fmla="*/ 293275 w 1157096"/>
                  <a:gd name="connsiteY133" fmla="*/ 798957 h 814768"/>
                  <a:gd name="connsiteX134" fmla="*/ 317087 w 1157096"/>
                  <a:gd name="connsiteY134" fmla="*/ 775240 h 814768"/>
                  <a:gd name="connsiteX135" fmla="*/ 332994 w 1157096"/>
                  <a:gd name="connsiteY135" fmla="*/ 767334 h 814768"/>
                  <a:gd name="connsiteX136" fmla="*/ 348806 w 1157096"/>
                  <a:gd name="connsiteY136" fmla="*/ 767334 h 814768"/>
                  <a:gd name="connsiteX137" fmla="*/ 388430 w 1157096"/>
                  <a:gd name="connsiteY137" fmla="*/ 743522 h 814768"/>
                  <a:gd name="connsiteX138" fmla="*/ 475583 w 1157096"/>
                  <a:gd name="connsiteY138" fmla="*/ 743522 h 814768"/>
                  <a:gd name="connsiteX139" fmla="*/ 483489 w 1157096"/>
                  <a:gd name="connsiteY139" fmla="*/ 735616 h 814768"/>
                  <a:gd name="connsiteX140" fmla="*/ 499301 w 1157096"/>
                  <a:gd name="connsiteY140" fmla="*/ 735616 h 814768"/>
                  <a:gd name="connsiteX141" fmla="*/ 515207 w 1157096"/>
                  <a:gd name="connsiteY141" fmla="*/ 751427 h 814768"/>
                  <a:gd name="connsiteX142" fmla="*/ 523113 w 1157096"/>
                  <a:gd name="connsiteY142" fmla="*/ 751427 h 814768"/>
                  <a:gd name="connsiteX143" fmla="*/ 538925 w 1157096"/>
                  <a:gd name="connsiteY143" fmla="*/ 743522 h 814768"/>
                  <a:gd name="connsiteX144" fmla="*/ 554736 w 1157096"/>
                  <a:gd name="connsiteY144" fmla="*/ 743522 h 814768"/>
                  <a:gd name="connsiteX145" fmla="*/ 562642 w 1157096"/>
                  <a:gd name="connsiteY145" fmla="*/ 735616 h 814768"/>
                  <a:gd name="connsiteX146" fmla="*/ 570548 w 1157096"/>
                  <a:gd name="connsiteY146" fmla="*/ 735616 h 814768"/>
                  <a:gd name="connsiteX147" fmla="*/ 570548 w 1157096"/>
                  <a:gd name="connsiteY147" fmla="*/ 751427 h 814768"/>
                  <a:gd name="connsiteX148" fmla="*/ 578453 w 1157096"/>
                  <a:gd name="connsiteY148" fmla="*/ 751427 h 814768"/>
                  <a:gd name="connsiteX149" fmla="*/ 594360 w 1157096"/>
                  <a:gd name="connsiteY149" fmla="*/ 735616 h 814768"/>
                  <a:gd name="connsiteX150" fmla="*/ 610172 w 1157096"/>
                  <a:gd name="connsiteY150" fmla="*/ 703993 h 814768"/>
                  <a:gd name="connsiteX151" fmla="*/ 610172 w 1157096"/>
                  <a:gd name="connsiteY151" fmla="*/ 688181 h 814768"/>
                  <a:gd name="connsiteX152" fmla="*/ 657701 w 1157096"/>
                  <a:gd name="connsiteY152" fmla="*/ 648557 h 814768"/>
                  <a:gd name="connsiteX153" fmla="*/ 697325 w 1157096"/>
                  <a:gd name="connsiteY153" fmla="*/ 648557 h 814768"/>
                  <a:gd name="connsiteX154" fmla="*/ 705231 w 1157096"/>
                  <a:gd name="connsiteY154" fmla="*/ 624840 h 814768"/>
                  <a:gd name="connsiteX155" fmla="*/ 705231 w 1157096"/>
                  <a:gd name="connsiteY155" fmla="*/ 616934 h 814768"/>
                  <a:gd name="connsiteX156" fmla="*/ 713137 w 1157096"/>
                  <a:gd name="connsiteY156" fmla="*/ 609029 h 814768"/>
                  <a:gd name="connsiteX157" fmla="*/ 713137 w 1157096"/>
                  <a:gd name="connsiteY157" fmla="*/ 593217 h 814768"/>
                  <a:gd name="connsiteX158" fmla="*/ 721043 w 1157096"/>
                  <a:gd name="connsiteY158" fmla="*/ 585311 h 814768"/>
                  <a:gd name="connsiteX159" fmla="*/ 728948 w 1157096"/>
                  <a:gd name="connsiteY159" fmla="*/ 569500 h 814768"/>
                  <a:gd name="connsiteX160" fmla="*/ 728948 w 1157096"/>
                  <a:gd name="connsiteY160" fmla="*/ 561594 h 814768"/>
                  <a:gd name="connsiteX161" fmla="*/ 752761 w 1157096"/>
                  <a:gd name="connsiteY161" fmla="*/ 561594 h 814768"/>
                  <a:gd name="connsiteX162" fmla="*/ 784479 w 1157096"/>
                  <a:gd name="connsiteY162" fmla="*/ 545782 h 814768"/>
                  <a:gd name="connsiteX163" fmla="*/ 792385 w 1157096"/>
                  <a:gd name="connsiteY163" fmla="*/ 537877 h 814768"/>
                  <a:gd name="connsiteX164" fmla="*/ 784479 w 1157096"/>
                  <a:gd name="connsiteY164" fmla="*/ 522065 h 814768"/>
                  <a:gd name="connsiteX165" fmla="*/ 776573 w 1157096"/>
                  <a:gd name="connsiteY165" fmla="*/ 514160 h 814768"/>
                  <a:gd name="connsiteX166" fmla="*/ 768668 w 1157096"/>
                  <a:gd name="connsiteY166" fmla="*/ 498348 h 814768"/>
                  <a:gd name="connsiteX167" fmla="*/ 760762 w 1157096"/>
                  <a:gd name="connsiteY167" fmla="*/ 490442 h 814768"/>
                  <a:gd name="connsiteX168" fmla="*/ 752856 w 1157096"/>
                  <a:gd name="connsiteY168" fmla="*/ 490442 h 814768"/>
                  <a:gd name="connsiteX169" fmla="*/ 752856 w 1157096"/>
                  <a:gd name="connsiteY169" fmla="*/ 442913 h 814768"/>
                  <a:gd name="connsiteX170" fmla="*/ 768763 w 1157096"/>
                  <a:gd name="connsiteY170" fmla="*/ 411194 h 814768"/>
                  <a:gd name="connsiteX171" fmla="*/ 784574 w 1157096"/>
                  <a:gd name="connsiteY171" fmla="*/ 403288 h 814768"/>
                  <a:gd name="connsiteX172" fmla="*/ 792480 w 1157096"/>
                  <a:gd name="connsiteY172" fmla="*/ 387477 h 814768"/>
                  <a:gd name="connsiteX173" fmla="*/ 808292 w 1157096"/>
                  <a:gd name="connsiteY173" fmla="*/ 371665 h 814768"/>
                  <a:gd name="connsiteX174" fmla="*/ 816197 w 1157096"/>
                  <a:gd name="connsiteY174" fmla="*/ 355854 h 814768"/>
                  <a:gd name="connsiteX175" fmla="*/ 832009 w 1157096"/>
                  <a:gd name="connsiteY175" fmla="*/ 340043 h 814768"/>
                  <a:gd name="connsiteX176" fmla="*/ 847916 w 1157096"/>
                  <a:gd name="connsiteY176" fmla="*/ 340043 h 814768"/>
                  <a:gd name="connsiteX177" fmla="*/ 863727 w 1157096"/>
                  <a:gd name="connsiteY177" fmla="*/ 324231 h 814768"/>
                  <a:gd name="connsiteX178" fmla="*/ 863727 w 1157096"/>
                  <a:gd name="connsiteY178" fmla="*/ 316325 h 814768"/>
                  <a:gd name="connsiteX179" fmla="*/ 855821 w 1157096"/>
                  <a:gd name="connsiteY179" fmla="*/ 316325 h 814768"/>
                  <a:gd name="connsiteX180" fmla="*/ 855821 w 1157096"/>
                  <a:gd name="connsiteY180" fmla="*/ 300514 h 814768"/>
                  <a:gd name="connsiteX181" fmla="*/ 863727 w 1157096"/>
                  <a:gd name="connsiteY181" fmla="*/ 292608 h 814768"/>
                  <a:gd name="connsiteX182" fmla="*/ 958787 w 1157096"/>
                  <a:gd name="connsiteY182" fmla="*/ 260890 h 814768"/>
                  <a:gd name="connsiteX183" fmla="*/ 990505 w 1157096"/>
                  <a:gd name="connsiteY183" fmla="*/ 245078 h 814768"/>
                  <a:gd name="connsiteX184" fmla="*/ 998411 w 1157096"/>
                  <a:gd name="connsiteY184" fmla="*/ 229267 h 814768"/>
                  <a:gd name="connsiteX185" fmla="*/ 1014222 w 1157096"/>
                  <a:gd name="connsiteY185" fmla="*/ 221361 h 814768"/>
                  <a:gd name="connsiteX186" fmla="*/ 1022128 w 1157096"/>
                  <a:gd name="connsiteY186" fmla="*/ 221361 h 814768"/>
                  <a:gd name="connsiteX187" fmla="*/ 1037939 w 1157096"/>
                  <a:gd name="connsiteY187" fmla="*/ 205550 h 814768"/>
                  <a:gd name="connsiteX188" fmla="*/ 1053751 w 1157096"/>
                  <a:gd name="connsiteY188" fmla="*/ 205550 h 814768"/>
                  <a:gd name="connsiteX189" fmla="*/ 1061657 w 1157096"/>
                  <a:gd name="connsiteY189" fmla="*/ 197644 h 814768"/>
                  <a:gd name="connsiteX190" fmla="*/ 1109567 w 1157096"/>
                  <a:gd name="connsiteY190" fmla="*/ 395859 h 814768"/>
                  <a:gd name="connsiteX191" fmla="*/ 1109567 w 1157096"/>
                  <a:gd name="connsiteY191" fmla="*/ 403765 h 814768"/>
                  <a:gd name="connsiteX192" fmla="*/ 1125379 w 1157096"/>
                  <a:gd name="connsiteY192" fmla="*/ 419576 h 814768"/>
                  <a:gd name="connsiteX193" fmla="*/ 1149191 w 1157096"/>
                  <a:gd name="connsiteY193" fmla="*/ 419576 h 814768"/>
                  <a:gd name="connsiteX194" fmla="*/ 1157097 w 1157096"/>
                  <a:gd name="connsiteY194" fmla="*/ 411671 h 814768"/>
                  <a:gd name="connsiteX195" fmla="*/ 1141286 w 1157096"/>
                  <a:gd name="connsiteY195" fmla="*/ 395859 h 814768"/>
                  <a:gd name="connsiteX196" fmla="*/ 1125474 w 1157096"/>
                  <a:gd name="connsiteY196" fmla="*/ 395859 h 814768"/>
                  <a:gd name="connsiteX197" fmla="*/ 1117568 w 1157096"/>
                  <a:gd name="connsiteY197" fmla="*/ 387953 h 814768"/>
                  <a:gd name="connsiteX198" fmla="*/ 1109663 w 1157096"/>
                  <a:gd name="connsiteY198" fmla="*/ 395859 h 814768"/>
                  <a:gd name="connsiteX199" fmla="*/ 887635 w 1157096"/>
                  <a:gd name="connsiteY199" fmla="*/ 514636 h 814768"/>
                  <a:gd name="connsiteX200" fmla="*/ 895541 w 1157096"/>
                  <a:gd name="connsiteY200" fmla="*/ 522542 h 814768"/>
                  <a:gd name="connsiteX201" fmla="*/ 903446 w 1157096"/>
                  <a:gd name="connsiteY201" fmla="*/ 522542 h 814768"/>
                  <a:gd name="connsiteX202" fmla="*/ 911352 w 1157096"/>
                  <a:gd name="connsiteY202" fmla="*/ 514636 h 814768"/>
                  <a:gd name="connsiteX203" fmla="*/ 911352 w 1157096"/>
                  <a:gd name="connsiteY203" fmla="*/ 490919 h 814768"/>
                  <a:gd name="connsiteX204" fmla="*/ 903446 w 1157096"/>
                  <a:gd name="connsiteY204" fmla="*/ 490919 h 814768"/>
                  <a:gd name="connsiteX205" fmla="*/ 887635 w 1157096"/>
                  <a:gd name="connsiteY205" fmla="*/ 506730 h 814768"/>
                  <a:gd name="connsiteX206" fmla="*/ 887635 w 1157096"/>
                  <a:gd name="connsiteY206" fmla="*/ 514636 h 814768"/>
                  <a:gd name="connsiteX207" fmla="*/ 1061942 w 1157096"/>
                  <a:gd name="connsiteY207" fmla="*/ 419576 h 814768"/>
                  <a:gd name="connsiteX208" fmla="*/ 1054037 w 1157096"/>
                  <a:gd name="connsiteY208" fmla="*/ 411671 h 814768"/>
                  <a:gd name="connsiteX209" fmla="*/ 1054037 w 1157096"/>
                  <a:gd name="connsiteY209" fmla="*/ 403765 h 814768"/>
                  <a:gd name="connsiteX210" fmla="*/ 1038225 w 1157096"/>
                  <a:gd name="connsiteY210" fmla="*/ 403765 h 814768"/>
                  <a:gd name="connsiteX211" fmla="*/ 1006507 w 1157096"/>
                  <a:gd name="connsiteY211" fmla="*/ 419576 h 814768"/>
                  <a:gd name="connsiteX212" fmla="*/ 990695 w 1157096"/>
                  <a:gd name="connsiteY212" fmla="*/ 435388 h 814768"/>
                  <a:gd name="connsiteX213" fmla="*/ 990695 w 1157096"/>
                  <a:gd name="connsiteY213" fmla="*/ 443294 h 814768"/>
                  <a:gd name="connsiteX214" fmla="*/ 998601 w 1157096"/>
                  <a:gd name="connsiteY214" fmla="*/ 451199 h 814768"/>
                  <a:gd name="connsiteX215" fmla="*/ 1014413 w 1157096"/>
                  <a:gd name="connsiteY215" fmla="*/ 451199 h 814768"/>
                  <a:gd name="connsiteX216" fmla="*/ 1022318 w 1157096"/>
                  <a:gd name="connsiteY216" fmla="*/ 459105 h 814768"/>
                  <a:gd name="connsiteX217" fmla="*/ 1022318 w 1157096"/>
                  <a:gd name="connsiteY217" fmla="*/ 467011 h 814768"/>
                  <a:gd name="connsiteX218" fmla="*/ 1061942 w 1157096"/>
                  <a:gd name="connsiteY218" fmla="*/ 467011 h 814768"/>
                  <a:gd name="connsiteX219" fmla="*/ 1077754 w 1157096"/>
                  <a:gd name="connsiteY219" fmla="*/ 451199 h 814768"/>
                  <a:gd name="connsiteX220" fmla="*/ 1077754 w 1157096"/>
                  <a:gd name="connsiteY220" fmla="*/ 427482 h 814768"/>
                  <a:gd name="connsiteX221" fmla="*/ 1069848 w 1157096"/>
                  <a:gd name="connsiteY221" fmla="*/ 419576 h 814768"/>
                  <a:gd name="connsiteX222" fmla="*/ 1061942 w 1157096"/>
                  <a:gd name="connsiteY222" fmla="*/ 419576 h 81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157096" h="814768">
                    <a:moveTo>
                      <a:pt x="1062038" y="197929"/>
                    </a:moveTo>
                    <a:lnTo>
                      <a:pt x="1054132" y="182118"/>
                    </a:lnTo>
                    <a:lnTo>
                      <a:pt x="1054132" y="174212"/>
                    </a:lnTo>
                    <a:lnTo>
                      <a:pt x="1069943" y="158401"/>
                    </a:lnTo>
                    <a:lnTo>
                      <a:pt x="1054132" y="150495"/>
                    </a:lnTo>
                    <a:lnTo>
                      <a:pt x="1046226" y="142589"/>
                    </a:lnTo>
                    <a:lnTo>
                      <a:pt x="1046226" y="134684"/>
                    </a:lnTo>
                    <a:lnTo>
                      <a:pt x="1030415" y="134684"/>
                    </a:lnTo>
                    <a:lnTo>
                      <a:pt x="1030415" y="142589"/>
                    </a:lnTo>
                    <a:lnTo>
                      <a:pt x="1022509" y="150495"/>
                    </a:lnTo>
                    <a:lnTo>
                      <a:pt x="998696" y="150495"/>
                    </a:lnTo>
                    <a:lnTo>
                      <a:pt x="990791" y="142589"/>
                    </a:lnTo>
                    <a:lnTo>
                      <a:pt x="959072" y="142589"/>
                    </a:lnTo>
                    <a:lnTo>
                      <a:pt x="959072" y="134684"/>
                    </a:lnTo>
                    <a:lnTo>
                      <a:pt x="935260" y="134684"/>
                    </a:lnTo>
                    <a:lnTo>
                      <a:pt x="919353" y="142589"/>
                    </a:lnTo>
                    <a:lnTo>
                      <a:pt x="911447" y="110871"/>
                    </a:lnTo>
                    <a:lnTo>
                      <a:pt x="887635" y="110871"/>
                    </a:lnTo>
                    <a:lnTo>
                      <a:pt x="887635" y="102965"/>
                    </a:lnTo>
                    <a:lnTo>
                      <a:pt x="879729" y="95060"/>
                    </a:lnTo>
                    <a:lnTo>
                      <a:pt x="855917" y="95060"/>
                    </a:lnTo>
                    <a:lnTo>
                      <a:pt x="848011" y="102965"/>
                    </a:lnTo>
                    <a:lnTo>
                      <a:pt x="848011" y="118777"/>
                    </a:lnTo>
                    <a:lnTo>
                      <a:pt x="824198" y="126682"/>
                    </a:lnTo>
                    <a:lnTo>
                      <a:pt x="824198" y="110871"/>
                    </a:lnTo>
                    <a:lnTo>
                      <a:pt x="784574" y="110871"/>
                    </a:lnTo>
                    <a:lnTo>
                      <a:pt x="768763" y="95060"/>
                    </a:lnTo>
                    <a:lnTo>
                      <a:pt x="752856" y="95060"/>
                    </a:lnTo>
                    <a:lnTo>
                      <a:pt x="744950" y="102965"/>
                    </a:lnTo>
                    <a:lnTo>
                      <a:pt x="721138" y="79153"/>
                    </a:lnTo>
                    <a:lnTo>
                      <a:pt x="673608" y="79153"/>
                    </a:lnTo>
                    <a:lnTo>
                      <a:pt x="681514" y="71247"/>
                    </a:lnTo>
                    <a:lnTo>
                      <a:pt x="681514" y="63341"/>
                    </a:lnTo>
                    <a:lnTo>
                      <a:pt x="665607" y="47530"/>
                    </a:lnTo>
                    <a:lnTo>
                      <a:pt x="657701" y="47530"/>
                    </a:lnTo>
                    <a:lnTo>
                      <a:pt x="649796" y="55436"/>
                    </a:lnTo>
                    <a:lnTo>
                      <a:pt x="641890" y="47530"/>
                    </a:lnTo>
                    <a:lnTo>
                      <a:pt x="594360" y="47530"/>
                    </a:lnTo>
                    <a:lnTo>
                      <a:pt x="515112" y="31718"/>
                    </a:lnTo>
                    <a:lnTo>
                      <a:pt x="499205" y="31718"/>
                    </a:lnTo>
                    <a:lnTo>
                      <a:pt x="459581" y="47530"/>
                    </a:lnTo>
                    <a:lnTo>
                      <a:pt x="388239" y="39624"/>
                    </a:lnTo>
                    <a:lnTo>
                      <a:pt x="340709" y="15812"/>
                    </a:lnTo>
                    <a:lnTo>
                      <a:pt x="308991" y="15812"/>
                    </a:lnTo>
                    <a:lnTo>
                      <a:pt x="285179" y="23717"/>
                    </a:lnTo>
                    <a:lnTo>
                      <a:pt x="213836" y="23717"/>
                    </a:lnTo>
                    <a:lnTo>
                      <a:pt x="198025" y="15812"/>
                    </a:lnTo>
                    <a:lnTo>
                      <a:pt x="182213" y="15812"/>
                    </a:lnTo>
                    <a:lnTo>
                      <a:pt x="166402" y="7906"/>
                    </a:lnTo>
                    <a:lnTo>
                      <a:pt x="158496" y="0"/>
                    </a:lnTo>
                    <a:lnTo>
                      <a:pt x="142684" y="0"/>
                    </a:lnTo>
                    <a:lnTo>
                      <a:pt x="126873" y="7906"/>
                    </a:lnTo>
                    <a:lnTo>
                      <a:pt x="95155" y="39529"/>
                    </a:lnTo>
                    <a:lnTo>
                      <a:pt x="79343" y="39529"/>
                    </a:lnTo>
                    <a:lnTo>
                      <a:pt x="63437" y="47435"/>
                    </a:lnTo>
                    <a:lnTo>
                      <a:pt x="39624" y="47435"/>
                    </a:lnTo>
                    <a:lnTo>
                      <a:pt x="7906" y="63246"/>
                    </a:lnTo>
                    <a:lnTo>
                      <a:pt x="0" y="79057"/>
                    </a:lnTo>
                    <a:lnTo>
                      <a:pt x="0" y="94869"/>
                    </a:lnTo>
                    <a:lnTo>
                      <a:pt x="7906" y="102775"/>
                    </a:lnTo>
                    <a:lnTo>
                      <a:pt x="15811" y="118586"/>
                    </a:lnTo>
                    <a:lnTo>
                      <a:pt x="31623" y="126492"/>
                    </a:lnTo>
                    <a:lnTo>
                      <a:pt x="39529" y="134398"/>
                    </a:lnTo>
                    <a:lnTo>
                      <a:pt x="23717" y="181928"/>
                    </a:lnTo>
                    <a:lnTo>
                      <a:pt x="31623" y="189833"/>
                    </a:lnTo>
                    <a:lnTo>
                      <a:pt x="31623" y="197739"/>
                    </a:lnTo>
                    <a:lnTo>
                      <a:pt x="39529" y="189833"/>
                    </a:lnTo>
                    <a:lnTo>
                      <a:pt x="71247" y="174022"/>
                    </a:lnTo>
                    <a:lnTo>
                      <a:pt x="102965" y="174022"/>
                    </a:lnTo>
                    <a:lnTo>
                      <a:pt x="102965" y="181928"/>
                    </a:lnTo>
                    <a:lnTo>
                      <a:pt x="87154" y="197739"/>
                    </a:lnTo>
                    <a:lnTo>
                      <a:pt x="79248" y="197739"/>
                    </a:lnTo>
                    <a:lnTo>
                      <a:pt x="79248" y="205645"/>
                    </a:lnTo>
                    <a:lnTo>
                      <a:pt x="95060" y="205645"/>
                    </a:lnTo>
                    <a:lnTo>
                      <a:pt x="102965" y="197739"/>
                    </a:lnTo>
                    <a:lnTo>
                      <a:pt x="126778" y="197739"/>
                    </a:lnTo>
                    <a:lnTo>
                      <a:pt x="134684" y="205645"/>
                    </a:lnTo>
                    <a:lnTo>
                      <a:pt x="150495" y="205645"/>
                    </a:lnTo>
                    <a:lnTo>
                      <a:pt x="158401" y="197739"/>
                    </a:lnTo>
                    <a:lnTo>
                      <a:pt x="158401" y="189833"/>
                    </a:lnTo>
                    <a:lnTo>
                      <a:pt x="229743" y="189833"/>
                    </a:lnTo>
                    <a:lnTo>
                      <a:pt x="229743" y="213551"/>
                    </a:lnTo>
                    <a:lnTo>
                      <a:pt x="237649" y="213551"/>
                    </a:lnTo>
                    <a:lnTo>
                      <a:pt x="253556" y="221456"/>
                    </a:lnTo>
                    <a:lnTo>
                      <a:pt x="253556" y="229362"/>
                    </a:lnTo>
                    <a:lnTo>
                      <a:pt x="221837" y="260985"/>
                    </a:lnTo>
                    <a:lnTo>
                      <a:pt x="190119" y="276796"/>
                    </a:lnTo>
                    <a:lnTo>
                      <a:pt x="182213" y="284702"/>
                    </a:lnTo>
                    <a:lnTo>
                      <a:pt x="182213" y="292608"/>
                    </a:lnTo>
                    <a:lnTo>
                      <a:pt x="190119" y="292608"/>
                    </a:lnTo>
                    <a:lnTo>
                      <a:pt x="198025" y="300514"/>
                    </a:lnTo>
                    <a:lnTo>
                      <a:pt x="198025" y="316325"/>
                    </a:lnTo>
                    <a:lnTo>
                      <a:pt x="190119" y="340138"/>
                    </a:lnTo>
                    <a:lnTo>
                      <a:pt x="190119" y="363855"/>
                    </a:lnTo>
                    <a:lnTo>
                      <a:pt x="182213" y="363855"/>
                    </a:lnTo>
                    <a:lnTo>
                      <a:pt x="174308" y="371761"/>
                    </a:lnTo>
                    <a:lnTo>
                      <a:pt x="174308" y="387572"/>
                    </a:lnTo>
                    <a:lnTo>
                      <a:pt x="182213" y="395478"/>
                    </a:lnTo>
                    <a:lnTo>
                      <a:pt x="182213" y="411289"/>
                    </a:lnTo>
                    <a:lnTo>
                      <a:pt x="166402" y="427101"/>
                    </a:lnTo>
                    <a:lnTo>
                      <a:pt x="118872" y="427101"/>
                    </a:lnTo>
                    <a:lnTo>
                      <a:pt x="150590" y="458724"/>
                    </a:lnTo>
                    <a:lnTo>
                      <a:pt x="150590" y="474536"/>
                    </a:lnTo>
                    <a:lnTo>
                      <a:pt x="158496" y="482441"/>
                    </a:lnTo>
                    <a:lnTo>
                      <a:pt x="174403" y="490347"/>
                    </a:lnTo>
                    <a:lnTo>
                      <a:pt x="174403" y="498253"/>
                    </a:lnTo>
                    <a:lnTo>
                      <a:pt x="158496" y="514064"/>
                    </a:lnTo>
                    <a:lnTo>
                      <a:pt x="142684" y="521970"/>
                    </a:lnTo>
                    <a:lnTo>
                      <a:pt x="126873" y="537781"/>
                    </a:lnTo>
                    <a:lnTo>
                      <a:pt x="126873" y="545687"/>
                    </a:lnTo>
                    <a:lnTo>
                      <a:pt x="134779" y="553593"/>
                    </a:lnTo>
                    <a:lnTo>
                      <a:pt x="134779" y="561499"/>
                    </a:lnTo>
                    <a:lnTo>
                      <a:pt x="142684" y="577310"/>
                    </a:lnTo>
                    <a:lnTo>
                      <a:pt x="150590" y="585216"/>
                    </a:lnTo>
                    <a:lnTo>
                      <a:pt x="166497" y="585216"/>
                    </a:lnTo>
                    <a:lnTo>
                      <a:pt x="166497" y="593122"/>
                    </a:lnTo>
                    <a:lnTo>
                      <a:pt x="150590" y="608933"/>
                    </a:lnTo>
                    <a:lnTo>
                      <a:pt x="134779" y="608933"/>
                    </a:lnTo>
                    <a:lnTo>
                      <a:pt x="126873" y="624745"/>
                    </a:lnTo>
                    <a:lnTo>
                      <a:pt x="118967" y="632651"/>
                    </a:lnTo>
                    <a:lnTo>
                      <a:pt x="118967" y="695992"/>
                    </a:lnTo>
                    <a:lnTo>
                      <a:pt x="158591" y="695992"/>
                    </a:lnTo>
                    <a:lnTo>
                      <a:pt x="190309" y="719804"/>
                    </a:lnTo>
                    <a:lnTo>
                      <a:pt x="214122" y="719804"/>
                    </a:lnTo>
                    <a:lnTo>
                      <a:pt x="206216" y="759428"/>
                    </a:lnTo>
                    <a:lnTo>
                      <a:pt x="214122" y="759428"/>
                    </a:lnTo>
                    <a:lnTo>
                      <a:pt x="214122" y="783146"/>
                    </a:lnTo>
                    <a:lnTo>
                      <a:pt x="222028" y="798957"/>
                    </a:lnTo>
                    <a:lnTo>
                      <a:pt x="229934" y="806863"/>
                    </a:lnTo>
                    <a:lnTo>
                      <a:pt x="253746" y="806863"/>
                    </a:lnTo>
                    <a:lnTo>
                      <a:pt x="261652" y="814769"/>
                    </a:lnTo>
                    <a:lnTo>
                      <a:pt x="269558" y="814769"/>
                    </a:lnTo>
                    <a:lnTo>
                      <a:pt x="277463" y="806863"/>
                    </a:lnTo>
                    <a:lnTo>
                      <a:pt x="293275" y="798957"/>
                    </a:lnTo>
                    <a:lnTo>
                      <a:pt x="317087" y="775240"/>
                    </a:lnTo>
                    <a:lnTo>
                      <a:pt x="332994" y="767334"/>
                    </a:lnTo>
                    <a:lnTo>
                      <a:pt x="348806" y="767334"/>
                    </a:lnTo>
                    <a:lnTo>
                      <a:pt x="388430" y="743522"/>
                    </a:lnTo>
                    <a:lnTo>
                      <a:pt x="475583" y="743522"/>
                    </a:lnTo>
                    <a:lnTo>
                      <a:pt x="483489" y="735616"/>
                    </a:lnTo>
                    <a:lnTo>
                      <a:pt x="499301" y="735616"/>
                    </a:lnTo>
                    <a:lnTo>
                      <a:pt x="515207" y="751427"/>
                    </a:lnTo>
                    <a:lnTo>
                      <a:pt x="523113" y="751427"/>
                    </a:lnTo>
                    <a:lnTo>
                      <a:pt x="538925" y="743522"/>
                    </a:lnTo>
                    <a:lnTo>
                      <a:pt x="554736" y="743522"/>
                    </a:lnTo>
                    <a:lnTo>
                      <a:pt x="562642" y="735616"/>
                    </a:lnTo>
                    <a:lnTo>
                      <a:pt x="570548" y="735616"/>
                    </a:lnTo>
                    <a:lnTo>
                      <a:pt x="570548" y="751427"/>
                    </a:lnTo>
                    <a:lnTo>
                      <a:pt x="578453" y="751427"/>
                    </a:lnTo>
                    <a:lnTo>
                      <a:pt x="594360" y="735616"/>
                    </a:lnTo>
                    <a:lnTo>
                      <a:pt x="610172" y="703993"/>
                    </a:lnTo>
                    <a:lnTo>
                      <a:pt x="610172" y="688181"/>
                    </a:lnTo>
                    <a:lnTo>
                      <a:pt x="657701" y="648557"/>
                    </a:lnTo>
                    <a:lnTo>
                      <a:pt x="697325" y="648557"/>
                    </a:lnTo>
                    <a:lnTo>
                      <a:pt x="705231" y="624840"/>
                    </a:lnTo>
                    <a:lnTo>
                      <a:pt x="705231" y="616934"/>
                    </a:lnTo>
                    <a:lnTo>
                      <a:pt x="713137" y="609029"/>
                    </a:lnTo>
                    <a:lnTo>
                      <a:pt x="713137" y="593217"/>
                    </a:lnTo>
                    <a:lnTo>
                      <a:pt x="721043" y="585311"/>
                    </a:lnTo>
                    <a:lnTo>
                      <a:pt x="728948" y="569500"/>
                    </a:lnTo>
                    <a:lnTo>
                      <a:pt x="728948" y="561594"/>
                    </a:lnTo>
                    <a:lnTo>
                      <a:pt x="752761" y="561594"/>
                    </a:lnTo>
                    <a:lnTo>
                      <a:pt x="784479" y="545782"/>
                    </a:lnTo>
                    <a:lnTo>
                      <a:pt x="792385" y="537877"/>
                    </a:lnTo>
                    <a:lnTo>
                      <a:pt x="784479" y="522065"/>
                    </a:lnTo>
                    <a:lnTo>
                      <a:pt x="776573" y="514160"/>
                    </a:lnTo>
                    <a:lnTo>
                      <a:pt x="768668" y="498348"/>
                    </a:lnTo>
                    <a:lnTo>
                      <a:pt x="760762" y="490442"/>
                    </a:lnTo>
                    <a:lnTo>
                      <a:pt x="752856" y="490442"/>
                    </a:lnTo>
                    <a:lnTo>
                      <a:pt x="752856" y="442913"/>
                    </a:lnTo>
                    <a:lnTo>
                      <a:pt x="768763" y="411194"/>
                    </a:lnTo>
                    <a:lnTo>
                      <a:pt x="784574" y="403288"/>
                    </a:lnTo>
                    <a:lnTo>
                      <a:pt x="792480" y="387477"/>
                    </a:lnTo>
                    <a:lnTo>
                      <a:pt x="808292" y="371665"/>
                    </a:lnTo>
                    <a:lnTo>
                      <a:pt x="816197" y="355854"/>
                    </a:lnTo>
                    <a:lnTo>
                      <a:pt x="832009" y="340043"/>
                    </a:lnTo>
                    <a:lnTo>
                      <a:pt x="847916" y="340043"/>
                    </a:lnTo>
                    <a:lnTo>
                      <a:pt x="863727" y="324231"/>
                    </a:lnTo>
                    <a:lnTo>
                      <a:pt x="863727" y="316325"/>
                    </a:lnTo>
                    <a:lnTo>
                      <a:pt x="855821" y="316325"/>
                    </a:lnTo>
                    <a:lnTo>
                      <a:pt x="855821" y="300514"/>
                    </a:lnTo>
                    <a:lnTo>
                      <a:pt x="863727" y="292608"/>
                    </a:lnTo>
                    <a:lnTo>
                      <a:pt x="958787" y="260890"/>
                    </a:lnTo>
                    <a:lnTo>
                      <a:pt x="990505" y="245078"/>
                    </a:lnTo>
                    <a:lnTo>
                      <a:pt x="998411" y="229267"/>
                    </a:lnTo>
                    <a:lnTo>
                      <a:pt x="1014222" y="221361"/>
                    </a:lnTo>
                    <a:lnTo>
                      <a:pt x="1022128" y="221361"/>
                    </a:lnTo>
                    <a:lnTo>
                      <a:pt x="1037939" y="205550"/>
                    </a:lnTo>
                    <a:lnTo>
                      <a:pt x="1053751" y="205550"/>
                    </a:lnTo>
                    <a:lnTo>
                      <a:pt x="1061657" y="197644"/>
                    </a:lnTo>
                    <a:close/>
                    <a:moveTo>
                      <a:pt x="1109567" y="395859"/>
                    </a:moveTo>
                    <a:lnTo>
                      <a:pt x="1109567" y="403765"/>
                    </a:lnTo>
                    <a:lnTo>
                      <a:pt x="1125379" y="419576"/>
                    </a:lnTo>
                    <a:lnTo>
                      <a:pt x="1149191" y="419576"/>
                    </a:lnTo>
                    <a:lnTo>
                      <a:pt x="1157097" y="411671"/>
                    </a:lnTo>
                    <a:lnTo>
                      <a:pt x="1141286" y="395859"/>
                    </a:lnTo>
                    <a:lnTo>
                      <a:pt x="1125474" y="395859"/>
                    </a:lnTo>
                    <a:lnTo>
                      <a:pt x="1117568" y="387953"/>
                    </a:lnTo>
                    <a:lnTo>
                      <a:pt x="1109663" y="395859"/>
                    </a:lnTo>
                    <a:close/>
                    <a:moveTo>
                      <a:pt x="887635" y="514636"/>
                    </a:moveTo>
                    <a:lnTo>
                      <a:pt x="895541" y="522542"/>
                    </a:lnTo>
                    <a:lnTo>
                      <a:pt x="903446" y="522542"/>
                    </a:lnTo>
                    <a:lnTo>
                      <a:pt x="911352" y="514636"/>
                    </a:lnTo>
                    <a:lnTo>
                      <a:pt x="911352" y="490919"/>
                    </a:lnTo>
                    <a:lnTo>
                      <a:pt x="903446" y="490919"/>
                    </a:lnTo>
                    <a:lnTo>
                      <a:pt x="887635" y="506730"/>
                    </a:lnTo>
                    <a:lnTo>
                      <a:pt x="887635" y="514636"/>
                    </a:lnTo>
                    <a:close/>
                    <a:moveTo>
                      <a:pt x="1061942" y="419576"/>
                    </a:moveTo>
                    <a:lnTo>
                      <a:pt x="1054037" y="411671"/>
                    </a:lnTo>
                    <a:lnTo>
                      <a:pt x="1054037" y="403765"/>
                    </a:lnTo>
                    <a:lnTo>
                      <a:pt x="1038225" y="403765"/>
                    </a:lnTo>
                    <a:lnTo>
                      <a:pt x="1006507" y="419576"/>
                    </a:lnTo>
                    <a:lnTo>
                      <a:pt x="990695" y="435388"/>
                    </a:lnTo>
                    <a:lnTo>
                      <a:pt x="990695" y="443294"/>
                    </a:lnTo>
                    <a:lnTo>
                      <a:pt x="998601" y="451199"/>
                    </a:lnTo>
                    <a:lnTo>
                      <a:pt x="1014413" y="451199"/>
                    </a:lnTo>
                    <a:lnTo>
                      <a:pt x="1022318" y="459105"/>
                    </a:lnTo>
                    <a:lnTo>
                      <a:pt x="1022318" y="467011"/>
                    </a:lnTo>
                    <a:lnTo>
                      <a:pt x="1061942" y="467011"/>
                    </a:lnTo>
                    <a:lnTo>
                      <a:pt x="1077754" y="451199"/>
                    </a:lnTo>
                    <a:lnTo>
                      <a:pt x="1077754" y="427482"/>
                    </a:lnTo>
                    <a:lnTo>
                      <a:pt x="1069848" y="419576"/>
                    </a:lnTo>
                    <a:lnTo>
                      <a:pt x="1061942" y="419576"/>
                    </a:lnTo>
                    <a:close/>
                  </a:path>
                </a:pathLst>
              </a:custGeom>
              <a:noFill/>
              <a:ln w="4763"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600E92E0-864A-A02C-FF05-F531A66AA7FE}"/>
                  </a:ext>
                </a:extLst>
              </p:cNvPr>
              <p:cNvSpPr/>
              <p:nvPr/>
            </p:nvSpPr>
            <p:spPr>
              <a:xfrm>
                <a:off x="6387750" y="4088796"/>
                <a:ext cx="278987" cy="159353"/>
              </a:xfrm>
              <a:custGeom>
                <a:avLst/>
                <a:gdLst>
                  <a:gd name="connsiteX0" fmla="*/ 31909 w 278987"/>
                  <a:gd name="connsiteY0" fmla="*/ 159353 h 159353"/>
                  <a:gd name="connsiteX1" fmla="*/ 55817 w 278987"/>
                  <a:gd name="connsiteY1" fmla="*/ 159353 h 159353"/>
                  <a:gd name="connsiteX2" fmla="*/ 55817 w 278987"/>
                  <a:gd name="connsiteY2" fmla="*/ 143446 h 159353"/>
                  <a:gd name="connsiteX3" fmla="*/ 71818 w 278987"/>
                  <a:gd name="connsiteY3" fmla="*/ 151448 h 159353"/>
                  <a:gd name="connsiteX4" fmla="*/ 95726 w 278987"/>
                  <a:gd name="connsiteY4" fmla="*/ 151448 h 159353"/>
                  <a:gd name="connsiteX5" fmla="*/ 103632 w 278987"/>
                  <a:gd name="connsiteY5" fmla="*/ 135446 h 159353"/>
                  <a:gd name="connsiteX6" fmla="*/ 103632 w 278987"/>
                  <a:gd name="connsiteY6" fmla="*/ 143446 h 159353"/>
                  <a:gd name="connsiteX7" fmla="*/ 111633 w 278987"/>
                  <a:gd name="connsiteY7" fmla="*/ 151448 h 159353"/>
                  <a:gd name="connsiteX8" fmla="*/ 167450 w 278987"/>
                  <a:gd name="connsiteY8" fmla="*/ 151448 h 159353"/>
                  <a:gd name="connsiteX9" fmla="*/ 167450 w 278987"/>
                  <a:gd name="connsiteY9" fmla="*/ 127540 h 159353"/>
                  <a:gd name="connsiteX10" fmla="*/ 183356 w 278987"/>
                  <a:gd name="connsiteY10" fmla="*/ 119539 h 159353"/>
                  <a:gd name="connsiteX11" fmla="*/ 199263 w 278987"/>
                  <a:gd name="connsiteY11" fmla="*/ 103632 h 159353"/>
                  <a:gd name="connsiteX12" fmla="*/ 199263 w 278987"/>
                  <a:gd name="connsiteY12" fmla="*/ 95631 h 159353"/>
                  <a:gd name="connsiteX13" fmla="*/ 191357 w 278987"/>
                  <a:gd name="connsiteY13" fmla="*/ 87630 h 159353"/>
                  <a:gd name="connsiteX14" fmla="*/ 191357 w 278987"/>
                  <a:gd name="connsiteY14" fmla="*/ 71723 h 159353"/>
                  <a:gd name="connsiteX15" fmla="*/ 231172 w 278987"/>
                  <a:gd name="connsiteY15" fmla="*/ 71723 h 159353"/>
                  <a:gd name="connsiteX16" fmla="*/ 247079 w 278987"/>
                  <a:gd name="connsiteY16" fmla="*/ 63722 h 159353"/>
                  <a:gd name="connsiteX17" fmla="*/ 247079 w 278987"/>
                  <a:gd name="connsiteY17" fmla="*/ 47816 h 159353"/>
                  <a:gd name="connsiteX18" fmla="*/ 278987 w 278987"/>
                  <a:gd name="connsiteY18" fmla="*/ 47816 h 159353"/>
                  <a:gd name="connsiteX19" fmla="*/ 255079 w 278987"/>
                  <a:gd name="connsiteY19" fmla="*/ 31909 h 159353"/>
                  <a:gd name="connsiteX20" fmla="*/ 247079 w 278987"/>
                  <a:gd name="connsiteY20" fmla="*/ 8001 h 159353"/>
                  <a:gd name="connsiteX21" fmla="*/ 239173 w 278987"/>
                  <a:gd name="connsiteY21" fmla="*/ 0 h 159353"/>
                  <a:gd name="connsiteX22" fmla="*/ 231172 w 278987"/>
                  <a:gd name="connsiteY22" fmla="*/ 15907 h 159353"/>
                  <a:gd name="connsiteX23" fmla="*/ 223171 w 278987"/>
                  <a:gd name="connsiteY23" fmla="*/ 39815 h 159353"/>
                  <a:gd name="connsiteX24" fmla="*/ 191357 w 278987"/>
                  <a:gd name="connsiteY24" fmla="*/ 31909 h 159353"/>
                  <a:gd name="connsiteX25" fmla="*/ 175355 w 278987"/>
                  <a:gd name="connsiteY25" fmla="*/ 39815 h 159353"/>
                  <a:gd name="connsiteX26" fmla="*/ 111633 w 278987"/>
                  <a:gd name="connsiteY26" fmla="*/ 39815 h 159353"/>
                  <a:gd name="connsiteX27" fmla="*/ 111633 w 278987"/>
                  <a:gd name="connsiteY27" fmla="*/ 55817 h 159353"/>
                  <a:gd name="connsiteX28" fmla="*/ 71818 w 278987"/>
                  <a:gd name="connsiteY28" fmla="*/ 55817 h 159353"/>
                  <a:gd name="connsiteX29" fmla="*/ 63817 w 278987"/>
                  <a:gd name="connsiteY29" fmla="*/ 47816 h 159353"/>
                  <a:gd name="connsiteX30" fmla="*/ 39910 w 278987"/>
                  <a:gd name="connsiteY30" fmla="*/ 47816 h 159353"/>
                  <a:gd name="connsiteX31" fmla="*/ 31909 w 278987"/>
                  <a:gd name="connsiteY31" fmla="*/ 55817 h 159353"/>
                  <a:gd name="connsiteX32" fmla="*/ 8001 w 278987"/>
                  <a:gd name="connsiteY32" fmla="*/ 55817 h 159353"/>
                  <a:gd name="connsiteX33" fmla="*/ 8001 w 278987"/>
                  <a:gd name="connsiteY33" fmla="*/ 63722 h 159353"/>
                  <a:gd name="connsiteX34" fmla="*/ 0 w 278987"/>
                  <a:gd name="connsiteY34" fmla="*/ 71723 h 159353"/>
                  <a:gd name="connsiteX35" fmla="*/ 16002 w 278987"/>
                  <a:gd name="connsiteY35" fmla="*/ 79724 h 159353"/>
                  <a:gd name="connsiteX36" fmla="*/ 8001 w 278987"/>
                  <a:gd name="connsiteY36" fmla="*/ 127540 h 159353"/>
                  <a:gd name="connsiteX37" fmla="*/ 23908 w 278987"/>
                  <a:gd name="connsiteY37" fmla="*/ 127540 h 159353"/>
                  <a:gd name="connsiteX38" fmla="*/ 39910 w 278987"/>
                  <a:gd name="connsiteY38" fmla="*/ 135446 h 159353"/>
                  <a:gd name="connsiteX39" fmla="*/ 47815 w 278987"/>
                  <a:gd name="connsiteY39" fmla="*/ 135446 h 159353"/>
                  <a:gd name="connsiteX40" fmla="*/ 47815 w 278987"/>
                  <a:gd name="connsiteY40" fmla="*/ 143446 h 159353"/>
                  <a:gd name="connsiteX41" fmla="*/ 39910 w 278987"/>
                  <a:gd name="connsiteY41" fmla="*/ 143446 h 159353"/>
                  <a:gd name="connsiteX42" fmla="*/ 39910 w 278987"/>
                  <a:gd name="connsiteY42" fmla="*/ 151448 h 159353"/>
                  <a:gd name="connsiteX43" fmla="*/ 31909 w 278987"/>
                  <a:gd name="connsiteY43" fmla="*/ 159353 h 15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8987" h="159353">
                    <a:moveTo>
                      <a:pt x="31909" y="159353"/>
                    </a:moveTo>
                    <a:lnTo>
                      <a:pt x="55817" y="159353"/>
                    </a:lnTo>
                    <a:lnTo>
                      <a:pt x="55817" y="143446"/>
                    </a:lnTo>
                    <a:lnTo>
                      <a:pt x="71818" y="151448"/>
                    </a:lnTo>
                    <a:lnTo>
                      <a:pt x="95726" y="151448"/>
                    </a:lnTo>
                    <a:lnTo>
                      <a:pt x="103632" y="135446"/>
                    </a:lnTo>
                    <a:lnTo>
                      <a:pt x="103632" y="143446"/>
                    </a:lnTo>
                    <a:lnTo>
                      <a:pt x="111633" y="151448"/>
                    </a:lnTo>
                    <a:lnTo>
                      <a:pt x="167450" y="151448"/>
                    </a:lnTo>
                    <a:lnTo>
                      <a:pt x="167450" y="127540"/>
                    </a:lnTo>
                    <a:lnTo>
                      <a:pt x="183356" y="119539"/>
                    </a:lnTo>
                    <a:lnTo>
                      <a:pt x="199263" y="103632"/>
                    </a:lnTo>
                    <a:lnTo>
                      <a:pt x="199263" y="95631"/>
                    </a:lnTo>
                    <a:lnTo>
                      <a:pt x="191357" y="87630"/>
                    </a:lnTo>
                    <a:lnTo>
                      <a:pt x="191357" y="71723"/>
                    </a:lnTo>
                    <a:lnTo>
                      <a:pt x="231172" y="71723"/>
                    </a:lnTo>
                    <a:lnTo>
                      <a:pt x="247079" y="63722"/>
                    </a:lnTo>
                    <a:lnTo>
                      <a:pt x="247079" y="47816"/>
                    </a:lnTo>
                    <a:lnTo>
                      <a:pt x="278987" y="47816"/>
                    </a:lnTo>
                    <a:lnTo>
                      <a:pt x="255079" y="31909"/>
                    </a:lnTo>
                    <a:lnTo>
                      <a:pt x="247079" y="8001"/>
                    </a:lnTo>
                    <a:lnTo>
                      <a:pt x="239173" y="0"/>
                    </a:lnTo>
                    <a:lnTo>
                      <a:pt x="231172" y="15907"/>
                    </a:lnTo>
                    <a:lnTo>
                      <a:pt x="223171" y="39815"/>
                    </a:lnTo>
                    <a:lnTo>
                      <a:pt x="191357" y="31909"/>
                    </a:lnTo>
                    <a:lnTo>
                      <a:pt x="175355" y="39815"/>
                    </a:lnTo>
                    <a:lnTo>
                      <a:pt x="111633" y="39815"/>
                    </a:lnTo>
                    <a:lnTo>
                      <a:pt x="111633" y="55817"/>
                    </a:lnTo>
                    <a:lnTo>
                      <a:pt x="71818" y="55817"/>
                    </a:lnTo>
                    <a:lnTo>
                      <a:pt x="63817" y="47816"/>
                    </a:lnTo>
                    <a:lnTo>
                      <a:pt x="39910" y="47816"/>
                    </a:lnTo>
                    <a:lnTo>
                      <a:pt x="31909" y="55817"/>
                    </a:lnTo>
                    <a:lnTo>
                      <a:pt x="8001" y="55817"/>
                    </a:lnTo>
                    <a:lnTo>
                      <a:pt x="8001" y="63722"/>
                    </a:lnTo>
                    <a:lnTo>
                      <a:pt x="0" y="71723"/>
                    </a:lnTo>
                    <a:lnTo>
                      <a:pt x="16002" y="79724"/>
                    </a:lnTo>
                    <a:lnTo>
                      <a:pt x="8001" y="127540"/>
                    </a:lnTo>
                    <a:lnTo>
                      <a:pt x="23908" y="127540"/>
                    </a:lnTo>
                    <a:lnTo>
                      <a:pt x="39910" y="135446"/>
                    </a:lnTo>
                    <a:lnTo>
                      <a:pt x="47815" y="135446"/>
                    </a:lnTo>
                    <a:lnTo>
                      <a:pt x="47815" y="143446"/>
                    </a:lnTo>
                    <a:lnTo>
                      <a:pt x="39910" y="143446"/>
                    </a:lnTo>
                    <a:lnTo>
                      <a:pt x="39910" y="151448"/>
                    </a:lnTo>
                    <a:lnTo>
                      <a:pt x="31909" y="159353"/>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BB504D70-ACB4-D56B-98B0-17816D12EE8C}"/>
                  </a:ext>
                </a:extLst>
              </p:cNvPr>
              <p:cNvSpPr/>
              <p:nvPr/>
            </p:nvSpPr>
            <p:spPr>
              <a:xfrm>
                <a:off x="6387750" y="4088796"/>
                <a:ext cx="278987" cy="159353"/>
              </a:xfrm>
              <a:custGeom>
                <a:avLst/>
                <a:gdLst>
                  <a:gd name="connsiteX0" fmla="*/ 31909 w 278987"/>
                  <a:gd name="connsiteY0" fmla="*/ 159353 h 159353"/>
                  <a:gd name="connsiteX1" fmla="*/ 55817 w 278987"/>
                  <a:gd name="connsiteY1" fmla="*/ 159353 h 159353"/>
                  <a:gd name="connsiteX2" fmla="*/ 55817 w 278987"/>
                  <a:gd name="connsiteY2" fmla="*/ 143446 h 159353"/>
                  <a:gd name="connsiteX3" fmla="*/ 71818 w 278987"/>
                  <a:gd name="connsiteY3" fmla="*/ 151448 h 159353"/>
                  <a:gd name="connsiteX4" fmla="*/ 95726 w 278987"/>
                  <a:gd name="connsiteY4" fmla="*/ 151448 h 159353"/>
                  <a:gd name="connsiteX5" fmla="*/ 103632 w 278987"/>
                  <a:gd name="connsiteY5" fmla="*/ 135446 h 159353"/>
                  <a:gd name="connsiteX6" fmla="*/ 103632 w 278987"/>
                  <a:gd name="connsiteY6" fmla="*/ 143446 h 159353"/>
                  <a:gd name="connsiteX7" fmla="*/ 111633 w 278987"/>
                  <a:gd name="connsiteY7" fmla="*/ 151448 h 159353"/>
                  <a:gd name="connsiteX8" fmla="*/ 167450 w 278987"/>
                  <a:gd name="connsiteY8" fmla="*/ 151448 h 159353"/>
                  <a:gd name="connsiteX9" fmla="*/ 167450 w 278987"/>
                  <a:gd name="connsiteY9" fmla="*/ 127540 h 159353"/>
                  <a:gd name="connsiteX10" fmla="*/ 183356 w 278987"/>
                  <a:gd name="connsiteY10" fmla="*/ 119539 h 159353"/>
                  <a:gd name="connsiteX11" fmla="*/ 199263 w 278987"/>
                  <a:gd name="connsiteY11" fmla="*/ 103632 h 159353"/>
                  <a:gd name="connsiteX12" fmla="*/ 199263 w 278987"/>
                  <a:gd name="connsiteY12" fmla="*/ 95631 h 159353"/>
                  <a:gd name="connsiteX13" fmla="*/ 191357 w 278987"/>
                  <a:gd name="connsiteY13" fmla="*/ 87630 h 159353"/>
                  <a:gd name="connsiteX14" fmla="*/ 191357 w 278987"/>
                  <a:gd name="connsiteY14" fmla="*/ 71723 h 159353"/>
                  <a:gd name="connsiteX15" fmla="*/ 231172 w 278987"/>
                  <a:gd name="connsiteY15" fmla="*/ 71723 h 159353"/>
                  <a:gd name="connsiteX16" fmla="*/ 247079 w 278987"/>
                  <a:gd name="connsiteY16" fmla="*/ 63722 h 159353"/>
                  <a:gd name="connsiteX17" fmla="*/ 247079 w 278987"/>
                  <a:gd name="connsiteY17" fmla="*/ 47816 h 159353"/>
                  <a:gd name="connsiteX18" fmla="*/ 278987 w 278987"/>
                  <a:gd name="connsiteY18" fmla="*/ 47816 h 159353"/>
                  <a:gd name="connsiteX19" fmla="*/ 255079 w 278987"/>
                  <a:gd name="connsiteY19" fmla="*/ 31909 h 159353"/>
                  <a:gd name="connsiteX20" fmla="*/ 247079 w 278987"/>
                  <a:gd name="connsiteY20" fmla="*/ 8001 h 159353"/>
                  <a:gd name="connsiteX21" fmla="*/ 239173 w 278987"/>
                  <a:gd name="connsiteY21" fmla="*/ 0 h 159353"/>
                  <a:gd name="connsiteX22" fmla="*/ 231172 w 278987"/>
                  <a:gd name="connsiteY22" fmla="*/ 15907 h 159353"/>
                  <a:gd name="connsiteX23" fmla="*/ 223171 w 278987"/>
                  <a:gd name="connsiteY23" fmla="*/ 39815 h 159353"/>
                  <a:gd name="connsiteX24" fmla="*/ 191357 w 278987"/>
                  <a:gd name="connsiteY24" fmla="*/ 31909 h 159353"/>
                  <a:gd name="connsiteX25" fmla="*/ 175355 w 278987"/>
                  <a:gd name="connsiteY25" fmla="*/ 39815 h 159353"/>
                  <a:gd name="connsiteX26" fmla="*/ 111633 w 278987"/>
                  <a:gd name="connsiteY26" fmla="*/ 39815 h 159353"/>
                  <a:gd name="connsiteX27" fmla="*/ 111633 w 278987"/>
                  <a:gd name="connsiteY27" fmla="*/ 55817 h 159353"/>
                  <a:gd name="connsiteX28" fmla="*/ 71818 w 278987"/>
                  <a:gd name="connsiteY28" fmla="*/ 55817 h 159353"/>
                  <a:gd name="connsiteX29" fmla="*/ 63817 w 278987"/>
                  <a:gd name="connsiteY29" fmla="*/ 47816 h 159353"/>
                  <a:gd name="connsiteX30" fmla="*/ 39910 w 278987"/>
                  <a:gd name="connsiteY30" fmla="*/ 47816 h 159353"/>
                  <a:gd name="connsiteX31" fmla="*/ 31909 w 278987"/>
                  <a:gd name="connsiteY31" fmla="*/ 55817 h 159353"/>
                  <a:gd name="connsiteX32" fmla="*/ 8001 w 278987"/>
                  <a:gd name="connsiteY32" fmla="*/ 55817 h 159353"/>
                  <a:gd name="connsiteX33" fmla="*/ 8001 w 278987"/>
                  <a:gd name="connsiteY33" fmla="*/ 63722 h 159353"/>
                  <a:gd name="connsiteX34" fmla="*/ 0 w 278987"/>
                  <a:gd name="connsiteY34" fmla="*/ 71723 h 159353"/>
                  <a:gd name="connsiteX35" fmla="*/ 16002 w 278987"/>
                  <a:gd name="connsiteY35" fmla="*/ 79724 h 159353"/>
                  <a:gd name="connsiteX36" fmla="*/ 8001 w 278987"/>
                  <a:gd name="connsiteY36" fmla="*/ 127540 h 159353"/>
                  <a:gd name="connsiteX37" fmla="*/ 23908 w 278987"/>
                  <a:gd name="connsiteY37" fmla="*/ 127540 h 159353"/>
                  <a:gd name="connsiteX38" fmla="*/ 39910 w 278987"/>
                  <a:gd name="connsiteY38" fmla="*/ 135446 h 159353"/>
                  <a:gd name="connsiteX39" fmla="*/ 47815 w 278987"/>
                  <a:gd name="connsiteY39" fmla="*/ 135446 h 159353"/>
                  <a:gd name="connsiteX40" fmla="*/ 47815 w 278987"/>
                  <a:gd name="connsiteY40" fmla="*/ 143446 h 159353"/>
                  <a:gd name="connsiteX41" fmla="*/ 39910 w 278987"/>
                  <a:gd name="connsiteY41" fmla="*/ 143446 h 159353"/>
                  <a:gd name="connsiteX42" fmla="*/ 39910 w 278987"/>
                  <a:gd name="connsiteY42" fmla="*/ 151448 h 159353"/>
                  <a:gd name="connsiteX43" fmla="*/ 31909 w 278987"/>
                  <a:gd name="connsiteY43" fmla="*/ 159353 h 15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8987" h="159353">
                    <a:moveTo>
                      <a:pt x="31909" y="159353"/>
                    </a:moveTo>
                    <a:lnTo>
                      <a:pt x="55817" y="159353"/>
                    </a:lnTo>
                    <a:lnTo>
                      <a:pt x="55817" y="143446"/>
                    </a:lnTo>
                    <a:lnTo>
                      <a:pt x="71818" y="151448"/>
                    </a:lnTo>
                    <a:lnTo>
                      <a:pt x="95726" y="151448"/>
                    </a:lnTo>
                    <a:lnTo>
                      <a:pt x="103632" y="135446"/>
                    </a:lnTo>
                    <a:lnTo>
                      <a:pt x="103632" y="143446"/>
                    </a:lnTo>
                    <a:lnTo>
                      <a:pt x="111633" y="151448"/>
                    </a:lnTo>
                    <a:lnTo>
                      <a:pt x="167450" y="151448"/>
                    </a:lnTo>
                    <a:lnTo>
                      <a:pt x="167450" y="127540"/>
                    </a:lnTo>
                    <a:lnTo>
                      <a:pt x="183356" y="119539"/>
                    </a:lnTo>
                    <a:lnTo>
                      <a:pt x="199263" y="103632"/>
                    </a:lnTo>
                    <a:lnTo>
                      <a:pt x="199263" y="95631"/>
                    </a:lnTo>
                    <a:lnTo>
                      <a:pt x="191357" y="87630"/>
                    </a:lnTo>
                    <a:lnTo>
                      <a:pt x="191357" y="71723"/>
                    </a:lnTo>
                    <a:lnTo>
                      <a:pt x="231172" y="71723"/>
                    </a:lnTo>
                    <a:lnTo>
                      <a:pt x="247079" y="63722"/>
                    </a:lnTo>
                    <a:lnTo>
                      <a:pt x="247079" y="47816"/>
                    </a:lnTo>
                    <a:lnTo>
                      <a:pt x="278987" y="47816"/>
                    </a:lnTo>
                    <a:lnTo>
                      <a:pt x="255079" y="31909"/>
                    </a:lnTo>
                    <a:lnTo>
                      <a:pt x="247079" y="8001"/>
                    </a:lnTo>
                    <a:lnTo>
                      <a:pt x="239173" y="0"/>
                    </a:lnTo>
                    <a:lnTo>
                      <a:pt x="231172" y="15907"/>
                    </a:lnTo>
                    <a:lnTo>
                      <a:pt x="223171" y="39815"/>
                    </a:lnTo>
                    <a:lnTo>
                      <a:pt x="191357" y="31909"/>
                    </a:lnTo>
                    <a:lnTo>
                      <a:pt x="175355" y="39815"/>
                    </a:lnTo>
                    <a:lnTo>
                      <a:pt x="111633" y="39815"/>
                    </a:lnTo>
                    <a:lnTo>
                      <a:pt x="111633" y="55817"/>
                    </a:lnTo>
                    <a:lnTo>
                      <a:pt x="71818" y="55817"/>
                    </a:lnTo>
                    <a:lnTo>
                      <a:pt x="63817" y="47816"/>
                    </a:lnTo>
                    <a:lnTo>
                      <a:pt x="39910" y="47816"/>
                    </a:lnTo>
                    <a:lnTo>
                      <a:pt x="31909" y="55817"/>
                    </a:lnTo>
                    <a:lnTo>
                      <a:pt x="8001" y="55817"/>
                    </a:lnTo>
                    <a:lnTo>
                      <a:pt x="8001" y="63722"/>
                    </a:lnTo>
                    <a:lnTo>
                      <a:pt x="0" y="71723"/>
                    </a:lnTo>
                    <a:lnTo>
                      <a:pt x="16002" y="79724"/>
                    </a:lnTo>
                    <a:lnTo>
                      <a:pt x="8001" y="127540"/>
                    </a:lnTo>
                    <a:lnTo>
                      <a:pt x="23908" y="127540"/>
                    </a:lnTo>
                    <a:lnTo>
                      <a:pt x="39910" y="135446"/>
                    </a:lnTo>
                    <a:lnTo>
                      <a:pt x="47815" y="135446"/>
                    </a:lnTo>
                    <a:lnTo>
                      <a:pt x="47815" y="143446"/>
                    </a:lnTo>
                    <a:lnTo>
                      <a:pt x="39910" y="143446"/>
                    </a:lnTo>
                    <a:lnTo>
                      <a:pt x="39910" y="151448"/>
                    </a:lnTo>
                    <a:lnTo>
                      <a:pt x="31909" y="159353"/>
                    </a:lnTo>
                    <a:close/>
                  </a:path>
                </a:pathLst>
              </a:custGeom>
              <a:noFill/>
              <a:ln w="4763" cap="flat">
                <a:noFill/>
                <a:prstDash val="solid"/>
                <a:miter/>
              </a:ln>
            </p:spPr>
            <p:txBody>
              <a:bodyPr rtlCol="0" anchor="ctr"/>
              <a:lstStyle/>
              <a:p>
                <a:endParaRPr lang="en-GB"/>
              </a:p>
            </p:txBody>
          </p:sp>
          <p:sp>
            <p:nvSpPr>
              <p:cNvPr id="81" name="Freeform: Shape 80">
                <a:extLst>
                  <a:ext uri="{FF2B5EF4-FFF2-40B4-BE49-F238E27FC236}">
                    <a16:creationId xmlns:a16="http://schemas.microsoft.com/office/drawing/2014/main" id="{DD0B5CB4-352C-CF08-1ABF-64E609219E32}"/>
                  </a:ext>
                </a:extLst>
              </p:cNvPr>
              <p:cNvSpPr/>
              <p:nvPr/>
            </p:nvSpPr>
            <p:spPr>
              <a:xfrm>
                <a:off x="6672071" y="3820477"/>
                <a:ext cx="470249" cy="191261"/>
              </a:xfrm>
              <a:custGeom>
                <a:avLst/>
                <a:gdLst>
                  <a:gd name="connsiteX0" fmla="*/ 462248 w 470249"/>
                  <a:gd name="connsiteY0" fmla="*/ 39814 h 191261"/>
                  <a:gd name="connsiteX1" fmla="*/ 430435 w 470249"/>
                  <a:gd name="connsiteY1" fmla="*/ 39814 h 191261"/>
                  <a:gd name="connsiteX2" fmla="*/ 398526 w 470249"/>
                  <a:gd name="connsiteY2" fmla="*/ 7906 h 191261"/>
                  <a:gd name="connsiteX3" fmla="*/ 366617 w 470249"/>
                  <a:gd name="connsiteY3" fmla="*/ 7906 h 191261"/>
                  <a:gd name="connsiteX4" fmla="*/ 358712 w 470249"/>
                  <a:gd name="connsiteY4" fmla="*/ 15907 h 191261"/>
                  <a:gd name="connsiteX5" fmla="*/ 342709 w 470249"/>
                  <a:gd name="connsiteY5" fmla="*/ 23908 h 191261"/>
                  <a:gd name="connsiteX6" fmla="*/ 326803 w 470249"/>
                  <a:gd name="connsiteY6" fmla="*/ 23908 h 191261"/>
                  <a:gd name="connsiteX7" fmla="*/ 318802 w 470249"/>
                  <a:gd name="connsiteY7" fmla="*/ 15907 h 191261"/>
                  <a:gd name="connsiteX8" fmla="*/ 278987 w 470249"/>
                  <a:gd name="connsiteY8" fmla="*/ 15907 h 191261"/>
                  <a:gd name="connsiteX9" fmla="*/ 278987 w 470249"/>
                  <a:gd name="connsiteY9" fmla="*/ 23908 h 191261"/>
                  <a:gd name="connsiteX10" fmla="*/ 270986 w 470249"/>
                  <a:gd name="connsiteY10" fmla="*/ 31813 h 191261"/>
                  <a:gd name="connsiteX11" fmla="*/ 255080 w 470249"/>
                  <a:gd name="connsiteY11" fmla="*/ 31813 h 191261"/>
                  <a:gd name="connsiteX12" fmla="*/ 247079 w 470249"/>
                  <a:gd name="connsiteY12" fmla="*/ 23908 h 191261"/>
                  <a:gd name="connsiteX13" fmla="*/ 247079 w 470249"/>
                  <a:gd name="connsiteY13" fmla="*/ 15907 h 191261"/>
                  <a:gd name="connsiteX14" fmla="*/ 239077 w 470249"/>
                  <a:gd name="connsiteY14" fmla="*/ 15907 h 191261"/>
                  <a:gd name="connsiteX15" fmla="*/ 223171 w 470249"/>
                  <a:gd name="connsiteY15" fmla="*/ 0 h 191261"/>
                  <a:gd name="connsiteX16" fmla="*/ 207264 w 470249"/>
                  <a:gd name="connsiteY16" fmla="*/ 0 h 191261"/>
                  <a:gd name="connsiteX17" fmla="*/ 191262 w 470249"/>
                  <a:gd name="connsiteY17" fmla="*/ 15907 h 191261"/>
                  <a:gd name="connsiteX18" fmla="*/ 183356 w 470249"/>
                  <a:gd name="connsiteY18" fmla="*/ 15907 h 191261"/>
                  <a:gd name="connsiteX19" fmla="*/ 167354 w 470249"/>
                  <a:gd name="connsiteY19" fmla="*/ 0 h 191261"/>
                  <a:gd name="connsiteX20" fmla="*/ 143446 w 470249"/>
                  <a:gd name="connsiteY20" fmla="*/ 15907 h 191261"/>
                  <a:gd name="connsiteX21" fmla="*/ 111633 w 470249"/>
                  <a:gd name="connsiteY21" fmla="*/ 23908 h 191261"/>
                  <a:gd name="connsiteX22" fmla="*/ 111633 w 470249"/>
                  <a:gd name="connsiteY22" fmla="*/ 55721 h 191261"/>
                  <a:gd name="connsiteX23" fmla="*/ 95631 w 470249"/>
                  <a:gd name="connsiteY23" fmla="*/ 63722 h 191261"/>
                  <a:gd name="connsiteX24" fmla="*/ 87725 w 470249"/>
                  <a:gd name="connsiteY24" fmla="*/ 71723 h 191261"/>
                  <a:gd name="connsiteX25" fmla="*/ 71723 w 470249"/>
                  <a:gd name="connsiteY25" fmla="*/ 79724 h 191261"/>
                  <a:gd name="connsiteX26" fmla="*/ 47816 w 470249"/>
                  <a:gd name="connsiteY26" fmla="*/ 79724 h 191261"/>
                  <a:gd name="connsiteX27" fmla="*/ 47816 w 470249"/>
                  <a:gd name="connsiteY27" fmla="*/ 71723 h 191261"/>
                  <a:gd name="connsiteX28" fmla="*/ 39815 w 470249"/>
                  <a:gd name="connsiteY28" fmla="*/ 79724 h 191261"/>
                  <a:gd name="connsiteX29" fmla="*/ 15907 w 470249"/>
                  <a:gd name="connsiteY29" fmla="*/ 79724 h 191261"/>
                  <a:gd name="connsiteX30" fmla="*/ 8001 w 470249"/>
                  <a:gd name="connsiteY30" fmla="*/ 87630 h 191261"/>
                  <a:gd name="connsiteX31" fmla="*/ 0 w 470249"/>
                  <a:gd name="connsiteY31" fmla="*/ 119539 h 191261"/>
                  <a:gd name="connsiteX32" fmla="*/ 0 w 470249"/>
                  <a:gd name="connsiteY32" fmla="*/ 135446 h 191261"/>
                  <a:gd name="connsiteX33" fmla="*/ 8001 w 470249"/>
                  <a:gd name="connsiteY33" fmla="*/ 135446 h 191261"/>
                  <a:gd name="connsiteX34" fmla="*/ 8001 w 470249"/>
                  <a:gd name="connsiteY34" fmla="*/ 151447 h 191261"/>
                  <a:gd name="connsiteX35" fmla="*/ 15907 w 470249"/>
                  <a:gd name="connsiteY35" fmla="*/ 151447 h 191261"/>
                  <a:gd name="connsiteX36" fmla="*/ 15907 w 470249"/>
                  <a:gd name="connsiteY36" fmla="*/ 167354 h 191261"/>
                  <a:gd name="connsiteX37" fmla="*/ 8001 w 470249"/>
                  <a:gd name="connsiteY37" fmla="*/ 175355 h 191261"/>
                  <a:gd name="connsiteX38" fmla="*/ 23908 w 470249"/>
                  <a:gd name="connsiteY38" fmla="*/ 183261 h 191261"/>
                  <a:gd name="connsiteX39" fmla="*/ 39815 w 470249"/>
                  <a:gd name="connsiteY39" fmla="*/ 159353 h 191261"/>
                  <a:gd name="connsiteX40" fmla="*/ 47816 w 470249"/>
                  <a:gd name="connsiteY40" fmla="*/ 167354 h 191261"/>
                  <a:gd name="connsiteX41" fmla="*/ 55817 w 470249"/>
                  <a:gd name="connsiteY41" fmla="*/ 183261 h 191261"/>
                  <a:gd name="connsiteX42" fmla="*/ 63722 w 470249"/>
                  <a:gd name="connsiteY42" fmla="*/ 191262 h 191261"/>
                  <a:gd name="connsiteX43" fmla="*/ 119539 w 470249"/>
                  <a:gd name="connsiteY43" fmla="*/ 191262 h 191261"/>
                  <a:gd name="connsiteX44" fmla="*/ 143446 w 470249"/>
                  <a:gd name="connsiteY44" fmla="*/ 183261 h 191261"/>
                  <a:gd name="connsiteX45" fmla="*/ 159449 w 470249"/>
                  <a:gd name="connsiteY45" fmla="*/ 183261 h 191261"/>
                  <a:gd name="connsiteX46" fmla="*/ 175355 w 470249"/>
                  <a:gd name="connsiteY46" fmla="*/ 151447 h 191261"/>
                  <a:gd name="connsiteX47" fmla="*/ 223171 w 470249"/>
                  <a:gd name="connsiteY47" fmla="*/ 159353 h 191261"/>
                  <a:gd name="connsiteX48" fmla="*/ 231172 w 470249"/>
                  <a:gd name="connsiteY48" fmla="*/ 143446 h 191261"/>
                  <a:gd name="connsiteX49" fmla="*/ 262985 w 470249"/>
                  <a:gd name="connsiteY49" fmla="*/ 143446 h 191261"/>
                  <a:gd name="connsiteX50" fmla="*/ 278987 w 470249"/>
                  <a:gd name="connsiteY50" fmla="*/ 135446 h 191261"/>
                  <a:gd name="connsiteX51" fmla="*/ 286893 w 470249"/>
                  <a:gd name="connsiteY51" fmla="*/ 135446 h 191261"/>
                  <a:gd name="connsiteX52" fmla="*/ 302895 w 470249"/>
                  <a:gd name="connsiteY52" fmla="*/ 119539 h 191261"/>
                  <a:gd name="connsiteX53" fmla="*/ 310896 w 470249"/>
                  <a:gd name="connsiteY53" fmla="*/ 103632 h 191261"/>
                  <a:gd name="connsiteX54" fmla="*/ 342709 w 470249"/>
                  <a:gd name="connsiteY54" fmla="*/ 103632 h 191261"/>
                  <a:gd name="connsiteX55" fmla="*/ 342709 w 470249"/>
                  <a:gd name="connsiteY55" fmla="*/ 119539 h 191261"/>
                  <a:gd name="connsiteX56" fmla="*/ 366617 w 470249"/>
                  <a:gd name="connsiteY56" fmla="*/ 127540 h 191261"/>
                  <a:gd name="connsiteX57" fmla="*/ 366617 w 470249"/>
                  <a:gd name="connsiteY57" fmla="*/ 103632 h 191261"/>
                  <a:gd name="connsiteX58" fmla="*/ 382619 w 470249"/>
                  <a:gd name="connsiteY58" fmla="*/ 103632 h 191261"/>
                  <a:gd name="connsiteX59" fmla="*/ 382619 w 470249"/>
                  <a:gd name="connsiteY59" fmla="*/ 119539 h 191261"/>
                  <a:gd name="connsiteX60" fmla="*/ 398526 w 470249"/>
                  <a:gd name="connsiteY60" fmla="*/ 119539 h 191261"/>
                  <a:gd name="connsiteX61" fmla="*/ 414433 w 470249"/>
                  <a:gd name="connsiteY61" fmla="*/ 111538 h 191261"/>
                  <a:gd name="connsiteX62" fmla="*/ 446342 w 470249"/>
                  <a:gd name="connsiteY62" fmla="*/ 111538 h 191261"/>
                  <a:gd name="connsiteX63" fmla="*/ 446342 w 470249"/>
                  <a:gd name="connsiteY63" fmla="*/ 119539 h 191261"/>
                  <a:gd name="connsiteX64" fmla="*/ 446342 w 470249"/>
                  <a:gd name="connsiteY64" fmla="*/ 95631 h 191261"/>
                  <a:gd name="connsiteX65" fmla="*/ 454342 w 470249"/>
                  <a:gd name="connsiteY65" fmla="*/ 95631 h 191261"/>
                  <a:gd name="connsiteX66" fmla="*/ 462248 w 470249"/>
                  <a:gd name="connsiteY66" fmla="*/ 87630 h 191261"/>
                  <a:gd name="connsiteX67" fmla="*/ 462248 w 470249"/>
                  <a:gd name="connsiteY67" fmla="*/ 79724 h 191261"/>
                  <a:gd name="connsiteX68" fmla="*/ 470249 w 470249"/>
                  <a:gd name="connsiteY68" fmla="*/ 71723 h 191261"/>
                  <a:gd name="connsiteX69" fmla="*/ 470249 w 470249"/>
                  <a:gd name="connsiteY69" fmla="*/ 39814 h 191261"/>
                  <a:gd name="connsiteX70" fmla="*/ 462248 w 470249"/>
                  <a:gd name="connsiteY70" fmla="*/ 39814 h 19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0249" h="191261">
                    <a:moveTo>
                      <a:pt x="462248" y="39814"/>
                    </a:moveTo>
                    <a:lnTo>
                      <a:pt x="430435" y="39814"/>
                    </a:lnTo>
                    <a:lnTo>
                      <a:pt x="398526" y="7906"/>
                    </a:lnTo>
                    <a:lnTo>
                      <a:pt x="366617" y="7906"/>
                    </a:lnTo>
                    <a:lnTo>
                      <a:pt x="358712" y="15907"/>
                    </a:lnTo>
                    <a:lnTo>
                      <a:pt x="342709" y="23908"/>
                    </a:lnTo>
                    <a:lnTo>
                      <a:pt x="326803" y="23908"/>
                    </a:lnTo>
                    <a:lnTo>
                      <a:pt x="318802" y="15907"/>
                    </a:lnTo>
                    <a:lnTo>
                      <a:pt x="278987" y="15907"/>
                    </a:lnTo>
                    <a:lnTo>
                      <a:pt x="278987" y="23908"/>
                    </a:lnTo>
                    <a:lnTo>
                      <a:pt x="270986" y="31813"/>
                    </a:lnTo>
                    <a:lnTo>
                      <a:pt x="255080" y="31813"/>
                    </a:lnTo>
                    <a:lnTo>
                      <a:pt x="247079" y="23908"/>
                    </a:lnTo>
                    <a:lnTo>
                      <a:pt x="247079" y="15907"/>
                    </a:lnTo>
                    <a:lnTo>
                      <a:pt x="239077" y="15907"/>
                    </a:lnTo>
                    <a:lnTo>
                      <a:pt x="223171" y="0"/>
                    </a:lnTo>
                    <a:lnTo>
                      <a:pt x="207264" y="0"/>
                    </a:lnTo>
                    <a:lnTo>
                      <a:pt x="191262" y="15907"/>
                    </a:lnTo>
                    <a:lnTo>
                      <a:pt x="183356" y="15907"/>
                    </a:lnTo>
                    <a:lnTo>
                      <a:pt x="167354" y="0"/>
                    </a:lnTo>
                    <a:lnTo>
                      <a:pt x="143446" y="15907"/>
                    </a:lnTo>
                    <a:lnTo>
                      <a:pt x="111633" y="23908"/>
                    </a:lnTo>
                    <a:lnTo>
                      <a:pt x="111633" y="55721"/>
                    </a:lnTo>
                    <a:lnTo>
                      <a:pt x="95631" y="63722"/>
                    </a:lnTo>
                    <a:lnTo>
                      <a:pt x="87725" y="71723"/>
                    </a:lnTo>
                    <a:lnTo>
                      <a:pt x="71723" y="79724"/>
                    </a:lnTo>
                    <a:lnTo>
                      <a:pt x="47816" y="79724"/>
                    </a:lnTo>
                    <a:lnTo>
                      <a:pt x="47816" y="71723"/>
                    </a:lnTo>
                    <a:lnTo>
                      <a:pt x="39815" y="79724"/>
                    </a:lnTo>
                    <a:lnTo>
                      <a:pt x="15907" y="79724"/>
                    </a:lnTo>
                    <a:lnTo>
                      <a:pt x="8001" y="87630"/>
                    </a:lnTo>
                    <a:lnTo>
                      <a:pt x="0" y="119539"/>
                    </a:lnTo>
                    <a:lnTo>
                      <a:pt x="0" y="135446"/>
                    </a:lnTo>
                    <a:lnTo>
                      <a:pt x="8001" y="135446"/>
                    </a:lnTo>
                    <a:lnTo>
                      <a:pt x="8001" y="151447"/>
                    </a:lnTo>
                    <a:lnTo>
                      <a:pt x="15907" y="151447"/>
                    </a:lnTo>
                    <a:lnTo>
                      <a:pt x="15907" y="167354"/>
                    </a:lnTo>
                    <a:lnTo>
                      <a:pt x="8001" y="175355"/>
                    </a:lnTo>
                    <a:lnTo>
                      <a:pt x="23908" y="183261"/>
                    </a:lnTo>
                    <a:lnTo>
                      <a:pt x="39815" y="159353"/>
                    </a:lnTo>
                    <a:lnTo>
                      <a:pt x="47816" y="167354"/>
                    </a:lnTo>
                    <a:lnTo>
                      <a:pt x="55817" y="183261"/>
                    </a:lnTo>
                    <a:lnTo>
                      <a:pt x="63722" y="191262"/>
                    </a:lnTo>
                    <a:lnTo>
                      <a:pt x="119539" y="191262"/>
                    </a:lnTo>
                    <a:lnTo>
                      <a:pt x="143446" y="183261"/>
                    </a:lnTo>
                    <a:lnTo>
                      <a:pt x="159449" y="183261"/>
                    </a:lnTo>
                    <a:lnTo>
                      <a:pt x="175355" y="151447"/>
                    </a:lnTo>
                    <a:lnTo>
                      <a:pt x="223171" y="159353"/>
                    </a:lnTo>
                    <a:lnTo>
                      <a:pt x="231172" y="143446"/>
                    </a:lnTo>
                    <a:lnTo>
                      <a:pt x="262985" y="143446"/>
                    </a:lnTo>
                    <a:lnTo>
                      <a:pt x="278987" y="135446"/>
                    </a:lnTo>
                    <a:lnTo>
                      <a:pt x="286893" y="135446"/>
                    </a:lnTo>
                    <a:lnTo>
                      <a:pt x="302895" y="119539"/>
                    </a:lnTo>
                    <a:lnTo>
                      <a:pt x="310896" y="103632"/>
                    </a:lnTo>
                    <a:lnTo>
                      <a:pt x="342709" y="103632"/>
                    </a:lnTo>
                    <a:lnTo>
                      <a:pt x="342709" y="119539"/>
                    </a:lnTo>
                    <a:lnTo>
                      <a:pt x="366617" y="127540"/>
                    </a:lnTo>
                    <a:lnTo>
                      <a:pt x="366617" y="103632"/>
                    </a:lnTo>
                    <a:lnTo>
                      <a:pt x="382619" y="103632"/>
                    </a:lnTo>
                    <a:lnTo>
                      <a:pt x="382619" y="119539"/>
                    </a:lnTo>
                    <a:lnTo>
                      <a:pt x="398526" y="119539"/>
                    </a:lnTo>
                    <a:lnTo>
                      <a:pt x="414433" y="111538"/>
                    </a:lnTo>
                    <a:lnTo>
                      <a:pt x="446342" y="111538"/>
                    </a:lnTo>
                    <a:lnTo>
                      <a:pt x="446342" y="119539"/>
                    </a:lnTo>
                    <a:lnTo>
                      <a:pt x="446342" y="95631"/>
                    </a:lnTo>
                    <a:lnTo>
                      <a:pt x="454342" y="95631"/>
                    </a:lnTo>
                    <a:lnTo>
                      <a:pt x="462248" y="87630"/>
                    </a:lnTo>
                    <a:lnTo>
                      <a:pt x="462248" y="79724"/>
                    </a:lnTo>
                    <a:lnTo>
                      <a:pt x="470249" y="71723"/>
                    </a:lnTo>
                    <a:lnTo>
                      <a:pt x="470249" y="39814"/>
                    </a:lnTo>
                    <a:lnTo>
                      <a:pt x="462248" y="39814"/>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a:p>
            </p:txBody>
          </p:sp>
          <p:sp>
            <p:nvSpPr>
              <p:cNvPr id="82" name="Freeform: Shape 81">
                <a:extLst>
                  <a:ext uri="{FF2B5EF4-FFF2-40B4-BE49-F238E27FC236}">
                    <a16:creationId xmlns:a16="http://schemas.microsoft.com/office/drawing/2014/main" id="{5AF4F5A7-A1E9-00B2-92B0-C43960643A1F}"/>
                  </a:ext>
                </a:extLst>
              </p:cNvPr>
              <p:cNvSpPr/>
              <p:nvPr/>
            </p:nvSpPr>
            <p:spPr>
              <a:xfrm>
                <a:off x="6672071" y="3820477"/>
                <a:ext cx="470249" cy="191261"/>
              </a:xfrm>
              <a:custGeom>
                <a:avLst/>
                <a:gdLst>
                  <a:gd name="connsiteX0" fmla="*/ 462248 w 470249"/>
                  <a:gd name="connsiteY0" fmla="*/ 39814 h 191261"/>
                  <a:gd name="connsiteX1" fmla="*/ 430435 w 470249"/>
                  <a:gd name="connsiteY1" fmla="*/ 39814 h 191261"/>
                  <a:gd name="connsiteX2" fmla="*/ 398526 w 470249"/>
                  <a:gd name="connsiteY2" fmla="*/ 7906 h 191261"/>
                  <a:gd name="connsiteX3" fmla="*/ 366617 w 470249"/>
                  <a:gd name="connsiteY3" fmla="*/ 7906 h 191261"/>
                  <a:gd name="connsiteX4" fmla="*/ 358712 w 470249"/>
                  <a:gd name="connsiteY4" fmla="*/ 15907 h 191261"/>
                  <a:gd name="connsiteX5" fmla="*/ 342709 w 470249"/>
                  <a:gd name="connsiteY5" fmla="*/ 23908 h 191261"/>
                  <a:gd name="connsiteX6" fmla="*/ 326803 w 470249"/>
                  <a:gd name="connsiteY6" fmla="*/ 23908 h 191261"/>
                  <a:gd name="connsiteX7" fmla="*/ 318802 w 470249"/>
                  <a:gd name="connsiteY7" fmla="*/ 15907 h 191261"/>
                  <a:gd name="connsiteX8" fmla="*/ 278987 w 470249"/>
                  <a:gd name="connsiteY8" fmla="*/ 15907 h 191261"/>
                  <a:gd name="connsiteX9" fmla="*/ 278987 w 470249"/>
                  <a:gd name="connsiteY9" fmla="*/ 23908 h 191261"/>
                  <a:gd name="connsiteX10" fmla="*/ 270986 w 470249"/>
                  <a:gd name="connsiteY10" fmla="*/ 31813 h 191261"/>
                  <a:gd name="connsiteX11" fmla="*/ 255080 w 470249"/>
                  <a:gd name="connsiteY11" fmla="*/ 31813 h 191261"/>
                  <a:gd name="connsiteX12" fmla="*/ 247079 w 470249"/>
                  <a:gd name="connsiteY12" fmla="*/ 23908 h 191261"/>
                  <a:gd name="connsiteX13" fmla="*/ 247079 w 470249"/>
                  <a:gd name="connsiteY13" fmla="*/ 15907 h 191261"/>
                  <a:gd name="connsiteX14" fmla="*/ 239077 w 470249"/>
                  <a:gd name="connsiteY14" fmla="*/ 15907 h 191261"/>
                  <a:gd name="connsiteX15" fmla="*/ 223171 w 470249"/>
                  <a:gd name="connsiteY15" fmla="*/ 0 h 191261"/>
                  <a:gd name="connsiteX16" fmla="*/ 207264 w 470249"/>
                  <a:gd name="connsiteY16" fmla="*/ 0 h 191261"/>
                  <a:gd name="connsiteX17" fmla="*/ 191262 w 470249"/>
                  <a:gd name="connsiteY17" fmla="*/ 15907 h 191261"/>
                  <a:gd name="connsiteX18" fmla="*/ 183356 w 470249"/>
                  <a:gd name="connsiteY18" fmla="*/ 15907 h 191261"/>
                  <a:gd name="connsiteX19" fmla="*/ 167354 w 470249"/>
                  <a:gd name="connsiteY19" fmla="*/ 0 h 191261"/>
                  <a:gd name="connsiteX20" fmla="*/ 143446 w 470249"/>
                  <a:gd name="connsiteY20" fmla="*/ 15907 h 191261"/>
                  <a:gd name="connsiteX21" fmla="*/ 111633 w 470249"/>
                  <a:gd name="connsiteY21" fmla="*/ 23908 h 191261"/>
                  <a:gd name="connsiteX22" fmla="*/ 111633 w 470249"/>
                  <a:gd name="connsiteY22" fmla="*/ 55721 h 191261"/>
                  <a:gd name="connsiteX23" fmla="*/ 95631 w 470249"/>
                  <a:gd name="connsiteY23" fmla="*/ 63722 h 191261"/>
                  <a:gd name="connsiteX24" fmla="*/ 87725 w 470249"/>
                  <a:gd name="connsiteY24" fmla="*/ 71723 h 191261"/>
                  <a:gd name="connsiteX25" fmla="*/ 71723 w 470249"/>
                  <a:gd name="connsiteY25" fmla="*/ 79629 h 191261"/>
                  <a:gd name="connsiteX26" fmla="*/ 47816 w 470249"/>
                  <a:gd name="connsiteY26" fmla="*/ 79629 h 191261"/>
                  <a:gd name="connsiteX27" fmla="*/ 47816 w 470249"/>
                  <a:gd name="connsiteY27" fmla="*/ 71723 h 191261"/>
                  <a:gd name="connsiteX28" fmla="*/ 39815 w 470249"/>
                  <a:gd name="connsiteY28" fmla="*/ 79629 h 191261"/>
                  <a:gd name="connsiteX29" fmla="*/ 15907 w 470249"/>
                  <a:gd name="connsiteY29" fmla="*/ 79629 h 191261"/>
                  <a:gd name="connsiteX30" fmla="*/ 8001 w 470249"/>
                  <a:gd name="connsiteY30" fmla="*/ 87630 h 191261"/>
                  <a:gd name="connsiteX31" fmla="*/ 0 w 470249"/>
                  <a:gd name="connsiteY31" fmla="*/ 119539 h 191261"/>
                  <a:gd name="connsiteX32" fmla="*/ 0 w 470249"/>
                  <a:gd name="connsiteY32" fmla="*/ 135446 h 191261"/>
                  <a:gd name="connsiteX33" fmla="*/ 8001 w 470249"/>
                  <a:gd name="connsiteY33" fmla="*/ 135446 h 191261"/>
                  <a:gd name="connsiteX34" fmla="*/ 8001 w 470249"/>
                  <a:gd name="connsiteY34" fmla="*/ 151447 h 191261"/>
                  <a:gd name="connsiteX35" fmla="*/ 15907 w 470249"/>
                  <a:gd name="connsiteY35" fmla="*/ 151447 h 191261"/>
                  <a:gd name="connsiteX36" fmla="*/ 15907 w 470249"/>
                  <a:gd name="connsiteY36" fmla="*/ 167354 h 191261"/>
                  <a:gd name="connsiteX37" fmla="*/ 8001 w 470249"/>
                  <a:gd name="connsiteY37" fmla="*/ 175355 h 191261"/>
                  <a:gd name="connsiteX38" fmla="*/ 23908 w 470249"/>
                  <a:gd name="connsiteY38" fmla="*/ 183261 h 191261"/>
                  <a:gd name="connsiteX39" fmla="*/ 39815 w 470249"/>
                  <a:gd name="connsiteY39" fmla="*/ 159353 h 191261"/>
                  <a:gd name="connsiteX40" fmla="*/ 47816 w 470249"/>
                  <a:gd name="connsiteY40" fmla="*/ 167354 h 191261"/>
                  <a:gd name="connsiteX41" fmla="*/ 55817 w 470249"/>
                  <a:gd name="connsiteY41" fmla="*/ 183261 h 191261"/>
                  <a:gd name="connsiteX42" fmla="*/ 63722 w 470249"/>
                  <a:gd name="connsiteY42" fmla="*/ 191262 h 191261"/>
                  <a:gd name="connsiteX43" fmla="*/ 119539 w 470249"/>
                  <a:gd name="connsiteY43" fmla="*/ 191262 h 191261"/>
                  <a:gd name="connsiteX44" fmla="*/ 143446 w 470249"/>
                  <a:gd name="connsiteY44" fmla="*/ 183261 h 191261"/>
                  <a:gd name="connsiteX45" fmla="*/ 159449 w 470249"/>
                  <a:gd name="connsiteY45" fmla="*/ 183261 h 191261"/>
                  <a:gd name="connsiteX46" fmla="*/ 175355 w 470249"/>
                  <a:gd name="connsiteY46" fmla="*/ 151447 h 191261"/>
                  <a:gd name="connsiteX47" fmla="*/ 223171 w 470249"/>
                  <a:gd name="connsiteY47" fmla="*/ 159353 h 191261"/>
                  <a:gd name="connsiteX48" fmla="*/ 231172 w 470249"/>
                  <a:gd name="connsiteY48" fmla="*/ 143446 h 191261"/>
                  <a:gd name="connsiteX49" fmla="*/ 262985 w 470249"/>
                  <a:gd name="connsiteY49" fmla="*/ 143446 h 191261"/>
                  <a:gd name="connsiteX50" fmla="*/ 278987 w 470249"/>
                  <a:gd name="connsiteY50" fmla="*/ 135446 h 191261"/>
                  <a:gd name="connsiteX51" fmla="*/ 286893 w 470249"/>
                  <a:gd name="connsiteY51" fmla="*/ 135446 h 191261"/>
                  <a:gd name="connsiteX52" fmla="*/ 302895 w 470249"/>
                  <a:gd name="connsiteY52" fmla="*/ 119539 h 191261"/>
                  <a:gd name="connsiteX53" fmla="*/ 310896 w 470249"/>
                  <a:gd name="connsiteY53" fmla="*/ 103632 h 191261"/>
                  <a:gd name="connsiteX54" fmla="*/ 342709 w 470249"/>
                  <a:gd name="connsiteY54" fmla="*/ 103632 h 191261"/>
                  <a:gd name="connsiteX55" fmla="*/ 342709 w 470249"/>
                  <a:gd name="connsiteY55" fmla="*/ 119539 h 191261"/>
                  <a:gd name="connsiteX56" fmla="*/ 366617 w 470249"/>
                  <a:gd name="connsiteY56" fmla="*/ 127540 h 191261"/>
                  <a:gd name="connsiteX57" fmla="*/ 366617 w 470249"/>
                  <a:gd name="connsiteY57" fmla="*/ 103632 h 191261"/>
                  <a:gd name="connsiteX58" fmla="*/ 382619 w 470249"/>
                  <a:gd name="connsiteY58" fmla="*/ 103632 h 191261"/>
                  <a:gd name="connsiteX59" fmla="*/ 382619 w 470249"/>
                  <a:gd name="connsiteY59" fmla="*/ 119539 h 191261"/>
                  <a:gd name="connsiteX60" fmla="*/ 398526 w 470249"/>
                  <a:gd name="connsiteY60" fmla="*/ 119539 h 191261"/>
                  <a:gd name="connsiteX61" fmla="*/ 414433 w 470249"/>
                  <a:gd name="connsiteY61" fmla="*/ 111538 h 191261"/>
                  <a:gd name="connsiteX62" fmla="*/ 446342 w 470249"/>
                  <a:gd name="connsiteY62" fmla="*/ 111538 h 191261"/>
                  <a:gd name="connsiteX63" fmla="*/ 446342 w 470249"/>
                  <a:gd name="connsiteY63" fmla="*/ 119539 h 191261"/>
                  <a:gd name="connsiteX64" fmla="*/ 446342 w 470249"/>
                  <a:gd name="connsiteY64" fmla="*/ 95631 h 191261"/>
                  <a:gd name="connsiteX65" fmla="*/ 454342 w 470249"/>
                  <a:gd name="connsiteY65" fmla="*/ 95631 h 191261"/>
                  <a:gd name="connsiteX66" fmla="*/ 462248 w 470249"/>
                  <a:gd name="connsiteY66" fmla="*/ 87630 h 191261"/>
                  <a:gd name="connsiteX67" fmla="*/ 462248 w 470249"/>
                  <a:gd name="connsiteY67" fmla="*/ 79629 h 191261"/>
                  <a:gd name="connsiteX68" fmla="*/ 470249 w 470249"/>
                  <a:gd name="connsiteY68" fmla="*/ 71723 h 191261"/>
                  <a:gd name="connsiteX69" fmla="*/ 470249 w 470249"/>
                  <a:gd name="connsiteY69" fmla="*/ 39814 h 191261"/>
                  <a:gd name="connsiteX70" fmla="*/ 462248 w 470249"/>
                  <a:gd name="connsiteY70" fmla="*/ 39814 h 19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0249" h="191261">
                    <a:moveTo>
                      <a:pt x="462248" y="39814"/>
                    </a:moveTo>
                    <a:lnTo>
                      <a:pt x="430435" y="39814"/>
                    </a:lnTo>
                    <a:lnTo>
                      <a:pt x="398526" y="7906"/>
                    </a:lnTo>
                    <a:lnTo>
                      <a:pt x="366617" y="7906"/>
                    </a:lnTo>
                    <a:lnTo>
                      <a:pt x="358712" y="15907"/>
                    </a:lnTo>
                    <a:lnTo>
                      <a:pt x="342709" y="23908"/>
                    </a:lnTo>
                    <a:lnTo>
                      <a:pt x="326803" y="23908"/>
                    </a:lnTo>
                    <a:lnTo>
                      <a:pt x="318802" y="15907"/>
                    </a:lnTo>
                    <a:lnTo>
                      <a:pt x="278987" y="15907"/>
                    </a:lnTo>
                    <a:lnTo>
                      <a:pt x="278987" y="23908"/>
                    </a:lnTo>
                    <a:lnTo>
                      <a:pt x="270986" y="31813"/>
                    </a:lnTo>
                    <a:lnTo>
                      <a:pt x="255080" y="31813"/>
                    </a:lnTo>
                    <a:lnTo>
                      <a:pt x="247079" y="23908"/>
                    </a:lnTo>
                    <a:lnTo>
                      <a:pt x="247079" y="15907"/>
                    </a:lnTo>
                    <a:lnTo>
                      <a:pt x="239077" y="15907"/>
                    </a:lnTo>
                    <a:lnTo>
                      <a:pt x="223171" y="0"/>
                    </a:lnTo>
                    <a:lnTo>
                      <a:pt x="207264" y="0"/>
                    </a:lnTo>
                    <a:lnTo>
                      <a:pt x="191262" y="15907"/>
                    </a:lnTo>
                    <a:lnTo>
                      <a:pt x="183356" y="15907"/>
                    </a:lnTo>
                    <a:lnTo>
                      <a:pt x="167354" y="0"/>
                    </a:lnTo>
                    <a:lnTo>
                      <a:pt x="143446" y="15907"/>
                    </a:lnTo>
                    <a:lnTo>
                      <a:pt x="111633" y="23908"/>
                    </a:lnTo>
                    <a:lnTo>
                      <a:pt x="111633" y="55721"/>
                    </a:lnTo>
                    <a:lnTo>
                      <a:pt x="95631" y="63722"/>
                    </a:lnTo>
                    <a:lnTo>
                      <a:pt x="87725" y="71723"/>
                    </a:lnTo>
                    <a:lnTo>
                      <a:pt x="71723" y="79629"/>
                    </a:lnTo>
                    <a:lnTo>
                      <a:pt x="47816" y="79629"/>
                    </a:lnTo>
                    <a:lnTo>
                      <a:pt x="47816" y="71723"/>
                    </a:lnTo>
                    <a:lnTo>
                      <a:pt x="39815" y="79629"/>
                    </a:lnTo>
                    <a:lnTo>
                      <a:pt x="15907" y="79629"/>
                    </a:lnTo>
                    <a:lnTo>
                      <a:pt x="8001" y="87630"/>
                    </a:lnTo>
                    <a:lnTo>
                      <a:pt x="0" y="119539"/>
                    </a:lnTo>
                    <a:lnTo>
                      <a:pt x="0" y="135446"/>
                    </a:lnTo>
                    <a:lnTo>
                      <a:pt x="8001" y="135446"/>
                    </a:lnTo>
                    <a:lnTo>
                      <a:pt x="8001" y="151447"/>
                    </a:lnTo>
                    <a:lnTo>
                      <a:pt x="15907" y="151447"/>
                    </a:lnTo>
                    <a:lnTo>
                      <a:pt x="15907" y="167354"/>
                    </a:lnTo>
                    <a:lnTo>
                      <a:pt x="8001" y="175355"/>
                    </a:lnTo>
                    <a:lnTo>
                      <a:pt x="23908" y="183261"/>
                    </a:lnTo>
                    <a:lnTo>
                      <a:pt x="39815" y="159353"/>
                    </a:lnTo>
                    <a:lnTo>
                      <a:pt x="47816" y="167354"/>
                    </a:lnTo>
                    <a:lnTo>
                      <a:pt x="55817" y="183261"/>
                    </a:lnTo>
                    <a:lnTo>
                      <a:pt x="63722" y="191262"/>
                    </a:lnTo>
                    <a:lnTo>
                      <a:pt x="119539" y="191262"/>
                    </a:lnTo>
                    <a:lnTo>
                      <a:pt x="143446" y="183261"/>
                    </a:lnTo>
                    <a:lnTo>
                      <a:pt x="159449" y="183261"/>
                    </a:lnTo>
                    <a:lnTo>
                      <a:pt x="175355" y="151447"/>
                    </a:lnTo>
                    <a:lnTo>
                      <a:pt x="223171" y="159353"/>
                    </a:lnTo>
                    <a:lnTo>
                      <a:pt x="231172" y="143446"/>
                    </a:lnTo>
                    <a:lnTo>
                      <a:pt x="262985" y="143446"/>
                    </a:lnTo>
                    <a:lnTo>
                      <a:pt x="278987" y="135446"/>
                    </a:lnTo>
                    <a:lnTo>
                      <a:pt x="286893" y="135446"/>
                    </a:lnTo>
                    <a:lnTo>
                      <a:pt x="302895" y="119539"/>
                    </a:lnTo>
                    <a:lnTo>
                      <a:pt x="310896" y="103632"/>
                    </a:lnTo>
                    <a:lnTo>
                      <a:pt x="342709" y="103632"/>
                    </a:lnTo>
                    <a:lnTo>
                      <a:pt x="342709" y="119539"/>
                    </a:lnTo>
                    <a:lnTo>
                      <a:pt x="366617" y="127540"/>
                    </a:lnTo>
                    <a:lnTo>
                      <a:pt x="366617" y="103632"/>
                    </a:lnTo>
                    <a:lnTo>
                      <a:pt x="382619" y="103632"/>
                    </a:lnTo>
                    <a:lnTo>
                      <a:pt x="382619" y="119539"/>
                    </a:lnTo>
                    <a:lnTo>
                      <a:pt x="398526" y="119539"/>
                    </a:lnTo>
                    <a:lnTo>
                      <a:pt x="414433" y="111538"/>
                    </a:lnTo>
                    <a:lnTo>
                      <a:pt x="446342" y="111538"/>
                    </a:lnTo>
                    <a:lnTo>
                      <a:pt x="446342" y="119539"/>
                    </a:lnTo>
                    <a:lnTo>
                      <a:pt x="446342" y="95631"/>
                    </a:lnTo>
                    <a:lnTo>
                      <a:pt x="454342" y="95631"/>
                    </a:lnTo>
                    <a:lnTo>
                      <a:pt x="462248" y="87630"/>
                    </a:lnTo>
                    <a:lnTo>
                      <a:pt x="462248" y="79629"/>
                    </a:lnTo>
                    <a:lnTo>
                      <a:pt x="470249" y="71723"/>
                    </a:lnTo>
                    <a:lnTo>
                      <a:pt x="470249" y="39814"/>
                    </a:lnTo>
                    <a:lnTo>
                      <a:pt x="462248" y="39814"/>
                    </a:lnTo>
                    <a:close/>
                  </a:path>
                </a:pathLst>
              </a:custGeom>
              <a:noFill/>
              <a:ln w="4763" cap="flat">
                <a:noFill/>
                <a:prstDash val="solid"/>
                <a:miter/>
              </a:ln>
            </p:spPr>
            <p:txBody>
              <a:bodyPr rtlCol="0" anchor="ctr"/>
              <a:lstStyle/>
              <a:p>
                <a:endParaRPr lang="en-GB"/>
              </a:p>
            </p:txBody>
          </p:sp>
          <p:sp>
            <p:nvSpPr>
              <p:cNvPr id="83" name="Freeform: Shape 82">
                <a:extLst>
                  <a:ext uri="{FF2B5EF4-FFF2-40B4-BE49-F238E27FC236}">
                    <a16:creationId xmlns:a16="http://schemas.microsoft.com/office/drawing/2014/main" id="{67ED8672-7CEB-D035-BA58-EBEC6EA82EA8}"/>
                  </a:ext>
                </a:extLst>
              </p:cNvPr>
              <p:cNvSpPr/>
              <p:nvPr/>
            </p:nvSpPr>
            <p:spPr>
              <a:xfrm>
                <a:off x="6852951" y="4170901"/>
                <a:ext cx="360902" cy="397859"/>
              </a:xfrm>
              <a:custGeom>
                <a:avLst/>
                <a:gdLst>
                  <a:gd name="connsiteX0" fmla="*/ 353854 w 360902"/>
                  <a:gd name="connsiteY0" fmla="*/ 297751 h 397859"/>
                  <a:gd name="connsiteX1" fmla="*/ 329851 w 360902"/>
                  <a:gd name="connsiteY1" fmla="*/ 289655 h 397859"/>
                  <a:gd name="connsiteX2" fmla="*/ 337852 w 360902"/>
                  <a:gd name="connsiteY2" fmla="*/ 274225 h 397859"/>
                  <a:gd name="connsiteX3" fmla="*/ 314515 w 360902"/>
                  <a:gd name="connsiteY3" fmla="*/ 266224 h 397859"/>
                  <a:gd name="connsiteX4" fmla="*/ 314515 w 360902"/>
                  <a:gd name="connsiteY4" fmla="*/ 242792 h 397859"/>
                  <a:gd name="connsiteX5" fmla="*/ 329851 w 360902"/>
                  <a:gd name="connsiteY5" fmla="*/ 227362 h 397859"/>
                  <a:gd name="connsiteX6" fmla="*/ 329851 w 360902"/>
                  <a:gd name="connsiteY6" fmla="*/ 195834 h 397859"/>
                  <a:gd name="connsiteX7" fmla="*/ 321850 w 360902"/>
                  <a:gd name="connsiteY7" fmla="*/ 187738 h 397859"/>
                  <a:gd name="connsiteX8" fmla="*/ 329851 w 360902"/>
                  <a:gd name="connsiteY8" fmla="*/ 172307 h 397859"/>
                  <a:gd name="connsiteX9" fmla="*/ 337852 w 360902"/>
                  <a:gd name="connsiteY9" fmla="*/ 164211 h 397859"/>
                  <a:gd name="connsiteX10" fmla="*/ 306514 w 360902"/>
                  <a:gd name="connsiteY10" fmla="*/ 156115 h 397859"/>
                  <a:gd name="connsiteX11" fmla="*/ 275177 w 360902"/>
                  <a:gd name="connsiteY11" fmla="*/ 164211 h 397859"/>
                  <a:gd name="connsiteX12" fmla="*/ 267176 w 360902"/>
                  <a:gd name="connsiteY12" fmla="*/ 156115 h 397859"/>
                  <a:gd name="connsiteX13" fmla="*/ 235839 w 360902"/>
                  <a:gd name="connsiteY13" fmla="*/ 148780 h 397859"/>
                  <a:gd name="connsiteX14" fmla="*/ 219837 w 360902"/>
                  <a:gd name="connsiteY14" fmla="*/ 125349 h 397859"/>
                  <a:gd name="connsiteX15" fmla="*/ 227838 w 360902"/>
                  <a:gd name="connsiteY15" fmla="*/ 117253 h 397859"/>
                  <a:gd name="connsiteX16" fmla="*/ 227838 w 360902"/>
                  <a:gd name="connsiteY16" fmla="*/ 93821 h 397859"/>
                  <a:gd name="connsiteX17" fmla="*/ 211836 w 360902"/>
                  <a:gd name="connsiteY17" fmla="*/ 86487 h 397859"/>
                  <a:gd name="connsiteX18" fmla="*/ 203835 w 360902"/>
                  <a:gd name="connsiteY18" fmla="*/ 86487 h 397859"/>
                  <a:gd name="connsiteX19" fmla="*/ 196596 w 360902"/>
                  <a:gd name="connsiteY19" fmla="*/ 93821 h 397859"/>
                  <a:gd name="connsiteX20" fmla="*/ 188595 w 360902"/>
                  <a:gd name="connsiteY20" fmla="*/ 93821 h 397859"/>
                  <a:gd name="connsiteX21" fmla="*/ 181356 w 360902"/>
                  <a:gd name="connsiteY21" fmla="*/ 86487 h 397859"/>
                  <a:gd name="connsiteX22" fmla="*/ 165354 w 360902"/>
                  <a:gd name="connsiteY22" fmla="*/ 38862 h 397859"/>
                  <a:gd name="connsiteX23" fmla="*/ 157353 w 360902"/>
                  <a:gd name="connsiteY23" fmla="*/ 38862 h 397859"/>
                  <a:gd name="connsiteX24" fmla="*/ 126016 w 360902"/>
                  <a:gd name="connsiteY24" fmla="*/ 15430 h 397859"/>
                  <a:gd name="connsiteX25" fmla="*/ 93916 w 360902"/>
                  <a:gd name="connsiteY25" fmla="*/ 0 h 397859"/>
                  <a:gd name="connsiteX26" fmla="*/ 63341 w 360902"/>
                  <a:gd name="connsiteY26" fmla="*/ 0 h 397859"/>
                  <a:gd name="connsiteX27" fmla="*/ 39338 w 360902"/>
                  <a:gd name="connsiteY27" fmla="*/ 23431 h 397859"/>
                  <a:gd name="connsiteX28" fmla="*/ 8001 w 360902"/>
                  <a:gd name="connsiteY28" fmla="*/ 23431 h 397859"/>
                  <a:gd name="connsiteX29" fmla="*/ 0 w 360902"/>
                  <a:gd name="connsiteY29" fmla="*/ 31528 h 397859"/>
                  <a:gd name="connsiteX30" fmla="*/ 8001 w 360902"/>
                  <a:gd name="connsiteY30" fmla="*/ 31528 h 397859"/>
                  <a:gd name="connsiteX31" fmla="*/ 16002 w 360902"/>
                  <a:gd name="connsiteY31" fmla="*/ 70390 h 397859"/>
                  <a:gd name="connsiteX32" fmla="*/ 23241 w 360902"/>
                  <a:gd name="connsiteY32" fmla="*/ 70390 h 397859"/>
                  <a:gd name="connsiteX33" fmla="*/ 16002 w 360902"/>
                  <a:gd name="connsiteY33" fmla="*/ 93821 h 397859"/>
                  <a:gd name="connsiteX34" fmla="*/ 31337 w 360902"/>
                  <a:gd name="connsiteY34" fmla="*/ 93821 h 397859"/>
                  <a:gd name="connsiteX35" fmla="*/ 47339 w 360902"/>
                  <a:gd name="connsiteY35" fmla="*/ 101917 h 397859"/>
                  <a:gd name="connsiteX36" fmla="*/ 55340 w 360902"/>
                  <a:gd name="connsiteY36" fmla="*/ 101917 h 397859"/>
                  <a:gd name="connsiteX37" fmla="*/ 47339 w 360902"/>
                  <a:gd name="connsiteY37" fmla="*/ 110014 h 397859"/>
                  <a:gd name="connsiteX38" fmla="*/ 39338 w 360902"/>
                  <a:gd name="connsiteY38" fmla="*/ 110014 h 397859"/>
                  <a:gd name="connsiteX39" fmla="*/ 31337 w 360902"/>
                  <a:gd name="connsiteY39" fmla="*/ 117348 h 397859"/>
                  <a:gd name="connsiteX40" fmla="*/ 23336 w 360902"/>
                  <a:gd name="connsiteY40" fmla="*/ 117348 h 397859"/>
                  <a:gd name="connsiteX41" fmla="*/ 23336 w 360902"/>
                  <a:gd name="connsiteY41" fmla="*/ 132778 h 397859"/>
                  <a:gd name="connsiteX42" fmla="*/ 16097 w 360902"/>
                  <a:gd name="connsiteY42" fmla="*/ 132778 h 397859"/>
                  <a:gd name="connsiteX43" fmla="*/ 16097 w 360902"/>
                  <a:gd name="connsiteY43" fmla="*/ 140875 h 397859"/>
                  <a:gd name="connsiteX44" fmla="*/ 23336 w 360902"/>
                  <a:gd name="connsiteY44" fmla="*/ 140875 h 397859"/>
                  <a:gd name="connsiteX45" fmla="*/ 39338 w 360902"/>
                  <a:gd name="connsiteY45" fmla="*/ 132778 h 397859"/>
                  <a:gd name="connsiteX46" fmla="*/ 55340 w 360902"/>
                  <a:gd name="connsiteY46" fmla="*/ 132778 h 397859"/>
                  <a:gd name="connsiteX47" fmla="*/ 55340 w 360902"/>
                  <a:gd name="connsiteY47" fmla="*/ 148876 h 397859"/>
                  <a:gd name="connsiteX48" fmla="*/ 31242 w 360902"/>
                  <a:gd name="connsiteY48" fmla="*/ 172307 h 397859"/>
                  <a:gd name="connsiteX49" fmla="*/ 31242 w 360902"/>
                  <a:gd name="connsiteY49" fmla="*/ 195739 h 397859"/>
                  <a:gd name="connsiteX50" fmla="*/ 63246 w 360902"/>
                  <a:gd name="connsiteY50" fmla="*/ 195739 h 397859"/>
                  <a:gd name="connsiteX51" fmla="*/ 71247 w 360902"/>
                  <a:gd name="connsiteY51" fmla="*/ 203835 h 397859"/>
                  <a:gd name="connsiteX52" fmla="*/ 78486 w 360902"/>
                  <a:gd name="connsiteY52" fmla="*/ 219170 h 397859"/>
                  <a:gd name="connsiteX53" fmla="*/ 47149 w 360902"/>
                  <a:gd name="connsiteY53" fmla="*/ 227266 h 397859"/>
                  <a:gd name="connsiteX54" fmla="*/ 63151 w 360902"/>
                  <a:gd name="connsiteY54" fmla="*/ 242697 h 397859"/>
                  <a:gd name="connsiteX55" fmla="*/ 71152 w 360902"/>
                  <a:gd name="connsiteY55" fmla="*/ 258794 h 397859"/>
                  <a:gd name="connsiteX56" fmla="*/ 71152 w 360902"/>
                  <a:gd name="connsiteY56" fmla="*/ 266128 h 397859"/>
                  <a:gd name="connsiteX57" fmla="*/ 63151 w 360902"/>
                  <a:gd name="connsiteY57" fmla="*/ 266128 h 397859"/>
                  <a:gd name="connsiteX58" fmla="*/ 63151 w 360902"/>
                  <a:gd name="connsiteY58" fmla="*/ 274130 h 397859"/>
                  <a:gd name="connsiteX59" fmla="*/ 86487 w 360902"/>
                  <a:gd name="connsiteY59" fmla="*/ 289560 h 397859"/>
                  <a:gd name="connsiteX60" fmla="*/ 101822 w 360902"/>
                  <a:gd name="connsiteY60" fmla="*/ 305657 h 397859"/>
                  <a:gd name="connsiteX61" fmla="*/ 114205 w 360902"/>
                  <a:gd name="connsiteY61" fmla="*/ 323945 h 397859"/>
                  <a:gd name="connsiteX62" fmla="*/ 120777 w 360902"/>
                  <a:gd name="connsiteY62" fmla="*/ 325374 h 397859"/>
                  <a:gd name="connsiteX63" fmla="*/ 121444 w 360902"/>
                  <a:gd name="connsiteY63" fmla="*/ 325374 h 397859"/>
                  <a:gd name="connsiteX64" fmla="*/ 125825 w 360902"/>
                  <a:gd name="connsiteY64" fmla="*/ 320992 h 397859"/>
                  <a:gd name="connsiteX65" fmla="*/ 125825 w 360902"/>
                  <a:gd name="connsiteY65" fmla="*/ 327565 h 397859"/>
                  <a:gd name="connsiteX66" fmla="*/ 128016 w 360902"/>
                  <a:gd name="connsiteY66" fmla="*/ 328993 h 397859"/>
                  <a:gd name="connsiteX67" fmla="*/ 130969 w 360902"/>
                  <a:gd name="connsiteY67" fmla="*/ 325374 h 397859"/>
                  <a:gd name="connsiteX68" fmla="*/ 144780 w 360902"/>
                  <a:gd name="connsiteY68" fmla="*/ 327565 h 397859"/>
                  <a:gd name="connsiteX69" fmla="*/ 154210 w 360902"/>
                  <a:gd name="connsiteY69" fmla="*/ 326803 h 397859"/>
                  <a:gd name="connsiteX70" fmla="*/ 167354 w 360902"/>
                  <a:gd name="connsiteY70" fmla="*/ 326803 h 397859"/>
                  <a:gd name="connsiteX71" fmla="*/ 174593 w 360902"/>
                  <a:gd name="connsiteY71" fmla="*/ 324612 h 397859"/>
                  <a:gd name="connsiteX72" fmla="*/ 173831 w 360902"/>
                  <a:gd name="connsiteY72" fmla="*/ 320230 h 397859"/>
                  <a:gd name="connsiteX73" fmla="*/ 172403 w 360902"/>
                  <a:gd name="connsiteY73" fmla="*/ 315849 h 397859"/>
                  <a:gd name="connsiteX74" fmla="*/ 178213 w 360902"/>
                  <a:gd name="connsiteY74" fmla="*/ 311467 h 397859"/>
                  <a:gd name="connsiteX75" fmla="*/ 185452 w 360902"/>
                  <a:gd name="connsiteY75" fmla="*/ 305562 h 397859"/>
                  <a:gd name="connsiteX76" fmla="*/ 187643 w 360902"/>
                  <a:gd name="connsiteY76" fmla="*/ 304800 h 397859"/>
                  <a:gd name="connsiteX77" fmla="*/ 187643 w 360902"/>
                  <a:gd name="connsiteY77" fmla="*/ 308419 h 397859"/>
                  <a:gd name="connsiteX78" fmla="*/ 190595 w 360902"/>
                  <a:gd name="connsiteY78" fmla="*/ 306991 h 397859"/>
                  <a:gd name="connsiteX79" fmla="*/ 193548 w 360902"/>
                  <a:gd name="connsiteY79" fmla="*/ 306229 h 397859"/>
                  <a:gd name="connsiteX80" fmla="*/ 191357 w 360902"/>
                  <a:gd name="connsiteY80" fmla="*/ 303276 h 397859"/>
                  <a:gd name="connsiteX81" fmla="*/ 194215 w 360902"/>
                  <a:gd name="connsiteY81" fmla="*/ 301847 h 397859"/>
                  <a:gd name="connsiteX82" fmla="*/ 194977 w 360902"/>
                  <a:gd name="connsiteY82" fmla="*/ 298228 h 397859"/>
                  <a:gd name="connsiteX83" fmla="*/ 192024 w 360902"/>
                  <a:gd name="connsiteY83" fmla="*/ 296799 h 397859"/>
                  <a:gd name="connsiteX84" fmla="*/ 192024 w 360902"/>
                  <a:gd name="connsiteY84" fmla="*/ 294608 h 397859"/>
                  <a:gd name="connsiteX85" fmla="*/ 194215 w 360902"/>
                  <a:gd name="connsiteY85" fmla="*/ 292417 h 397859"/>
                  <a:gd name="connsiteX86" fmla="*/ 193548 w 360902"/>
                  <a:gd name="connsiteY86" fmla="*/ 290226 h 397859"/>
                  <a:gd name="connsiteX87" fmla="*/ 187738 w 360902"/>
                  <a:gd name="connsiteY87" fmla="*/ 288798 h 397859"/>
                  <a:gd name="connsiteX88" fmla="*/ 184785 w 360902"/>
                  <a:gd name="connsiteY88" fmla="*/ 284416 h 397859"/>
                  <a:gd name="connsiteX89" fmla="*/ 186214 w 360902"/>
                  <a:gd name="connsiteY89" fmla="*/ 282226 h 397859"/>
                  <a:gd name="connsiteX90" fmla="*/ 188404 w 360902"/>
                  <a:gd name="connsiteY90" fmla="*/ 285178 h 397859"/>
                  <a:gd name="connsiteX91" fmla="*/ 190595 w 360902"/>
                  <a:gd name="connsiteY91" fmla="*/ 283750 h 397859"/>
                  <a:gd name="connsiteX92" fmla="*/ 194215 w 360902"/>
                  <a:gd name="connsiteY92" fmla="*/ 284512 h 397859"/>
                  <a:gd name="connsiteX93" fmla="*/ 197168 w 360902"/>
                  <a:gd name="connsiteY93" fmla="*/ 282321 h 397859"/>
                  <a:gd name="connsiteX94" fmla="*/ 202978 w 360902"/>
                  <a:gd name="connsiteY94" fmla="*/ 278701 h 397859"/>
                  <a:gd name="connsiteX95" fmla="*/ 205169 w 360902"/>
                  <a:gd name="connsiteY95" fmla="*/ 277273 h 397859"/>
                  <a:gd name="connsiteX96" fmla="*/ 205930 w 360902"/>
                  <a:gd name="connsiteY96" fmla="*/ 274320 h 397859"/>
                  <a:gd name="connsiteX97" fmla="*/ 209550 w 360902"/>
                  <a:gd name="connsiteY97" fmla="*/ 272891 h 397859"/>
                  <a:gd name="connsiteX98" fmla="*/ 213170 w 360902"/>
                  <a:gd name="connsiteY98" fmla="*/ 276511 h 397859"/>
                  <a:gd name="connsiteX99" fmla="*/ 216122 w 360902"/>
                  <a:gd name="connsiteY99" fmla="*/ 281654 h 397859"/>
                  <a:gd name="connsiteX100" fmla="*/ 216789 w 360902"/>
                  <a:gd name="connsiteY100" fmla="*/ 285369 h 397859"/>
                  <a:gd name="connsiteX101" fmla="*/ 216789 w 360902"/>
                  <a:gd name="connsiteY101" fmla="*/ 287559 h 397859"/>
                  <a:gd name="connsiteX102" fmla="*/ 211646 w 360902"/>
                  <a:gd name="connsiteY102" fmla="*/ 290513 h 397859"/>
                  <a:gd name="connsiteX103" fmla="*/ 212407 w 360902"/>
                  <a:gd name="connsiteY103" fmla="*/ 292703 h 397859"/>
                  <a:gd name="connsiteX104" fmla="*/ 217551 w 360902"/>
                  <a:gd name="connsiteY104" fmla="*/ 293465 h 397859"/>
                  <a:gd name="connsiteX105" fmla="*/ 220504 w 360902"/>
                  <a:gd name="connsiteY105" fmla="*/ 296418 h 397859"/>
                  <a:gd name="connsiteX106" fmla="*/ 224885 w 360902"/>
                  <a:gd name="connsiteY106" fmla="*/ 294989 h 397859"/>
                  <a:gd name="connsiteX107" fmla="*/ 228505 w 360902"/>
                  <a:gd name="connsiteY107" fmla="*/ 296418 h 397859"/>
                  <a:gd name="connsiteX108" fmla="*/ 232124 w 360902"/>
                  <a:gd name="connsiteY108" fmla="*/ 294227 h 397859"/>
                  <a:gd name="connsiteX109" fmla="*/ 233553 w 360902"/>
                  <a:gd name="connsiteY109" fmla="*/ 296418 h 397859"/>
                  <a:gd name="connsiteX110" fmla="*/ 231362 w 360902"/>
                  <a:gd name="connsiteY110" fmla="*/ 299371 h 397859"/>
                  <a:gd name="connsiteX111" fmla="*/ 235744 w 360902"/>
                  <a:gd name="connsiteY111" fmla="*/ 298609 h 397859"/>
                  <a:gd name="connsiteX112" fmla="*/ 237172 w 360902"/>
                  <a:gd name="connsiteY112" fmla="*/ 299371 h 397859"/>
                  <a:gd name="connsiteX113" fmla="*/ 235744 w 360902"/>
                  <a:gd name="connsiteY113" fmla="*/ 311848 h 397859"/>
                  <a:gd name="connsiteX114" fmla="*/ 235744 w 360902"/>
                  <a:gd name="connsiteY114" fmla="*/ 316992 h 397859"/>
                  <a:gd name="connsiteX115" fmla="*/ 238696 w 360902"/>
                  <a:gd name="connsiteY115" fmla="*/ 317754 h 397859"/>
                  <a:gd name="connsiteX116" fmla="*/ 240125 w 360902"/>
                  <a:gd name="connsiteY116" fmla="*/ 316325 h 397859"/>
                  <a:gd name="connsiteX117" fmla="*/ 240887 w 360902"/>
                  <a:gd name="connsiteY117" fmla="*/ 314134 h 397859"/>
                  <a:gd name="connsiteX118" fmla="*/ 243078 w 360902"/>
                  <a:gd name="connsiteY118" fmla="*/ 314896 h 397859"/>
                  <a:gd name="connsiteX119" fmla="*/ 244507 w 360902"/>
                  <a:gd name="connsiteY119" fmla="*/ 317849 h 397859"/>
                  <a:gd name="connsiteX120" fmla="*/ 244507 w 360902"/>
                  <a:gd name="connsiteY120" fmla="*/ 325183 h 397859"/>
                  <a:gd name="connsiteX121" fmla="*/ 243840 w 360902"/>
                  <a:gd name="connsiteY121" fmla="*/ 328898 h 397859"/>
                  <a:gd name="connsiteX122" fmla="*/ 246793 w 360902"/>
                  <a:gd name="connsiteY122" fmla="*/ 330327 h 397859"/>
                  <a:gd name="connsiteX123" fmla="*/ 250412 w 360902"/>
                  <a:gd name="connsiteY123" fmla="*/ 330327 h 397859"/>
                  <a:gd name="connsiteX124" fmla="*/ 253365 w 360902"/>
                  <a:gd name="connsiteY124" fmla="*/ 331756 h 397859"/>
                  <a:gd name="connsiteX125" fmla="*/ 256985 w 360902"/>
                  <a:gd name="connsiteY125" fmla="*/ 334708 h 397859"/>
                  <a:gd name="connsiteX126" fmla="*/ 259937 w 360902"/>
                  <a:gd name="connsiteY126" fmla="*/ 335470 h 397859"/>
                  <a:gd name="connsiteX127" fmla="*/ 259271 w 360902"/>
                  <a:gd name="connsiteY127" fmla="*/ 342805 h 397859"/>
                  <a:gd name="connsiteX128" fmla="*/ 259271 w 360902"/>
                  <a:gd name="connsiteY128" fmla="*/ 346424 h 397859"/>
                  <a:gd name="connsiteX129" fmla="*/ 256318 w 360902"/>
                  <a:gd name="connsiteY129" fmla="*/ 347186 h 397859"/>
                  <a:gd name="connsiteX130" fmla="*/ 257746 w 360902"/>
                  <a:gd name="connsiteY130" fmla="*/ 350806 h 397859"/>
                  <a:gd name="connsiteX131" fmla="*/ 255556 w 360902"/>
                  <a:gd name="connsiteY131" fmla="*/ 353758 h 397859"/>
                  <a:gd name="connsiteX132" fmla="*/ 256985 w 360902"/>
                  <a:gd name="connsiteY132" fmla="*/ 354520 h 397859"/>
                  <a:gd name="connsiteX133" fmla="*/ 259175 w 360902"/>
                  <a:gd name="connsiteY133" fmla="*/ 353758 h 397859"/>
                  <a:gd name="connsiteX134" fmla="*/ 262795 w 360902"/>
                  <a:gd name="connsiteY134" fmla="*/ 355949 h 397859"/>
                  <a:gd name="connsiteX135" fmla="*/ 264986 w 360902"/>
                  <a:gd name="connsiteY135" fmla="*/ 354520 h 397859"/>
                  <a:gd name="connsiteX136" fmla="*/ 268605 w 360902"/>
                  <a:gd name="connsiteY136" fmla="*/ 355949 h 397859"/>
                  <a:gd name="connsiteX137" fmla="*/ 270796 w 360902"/>
                  <a:gd name="connsiteY137" fmla="*/ 355949 h 397859"/>
                  <a:gd name="connsiteX138" fmla="*/ 274415 w 360902"/>
                  <a:gd name="connsiteY138" fmla="*/ 358902 h 397859"/>
                  <a:gd name="connsiteX139" fmla="*/ 277273 w 360902"/>
                  <a:gd name="connsiteY139" fmla="*/ 361093 h 397859"/>
                  <a:gd name="connsiteX140" fmla="*/ 278702 w 360902"/>
                  <a:gd name="connsiteY140" fmla="*/ 364045 h 397859"/>
                  <a:gd name="connsiteX141" fmla="*/ 280130 w 360902"/>
                  <a:gd name="connsiteY141" fmla="*/ 366236 h 397859"/>
                  <a:gd name="connsiteX142" fmla="*/ 283750 w 360902"/>
                  <a:gd name="connsiteY142" fmla="*/ 364045 h 397859"/>
                  <a:gd name="connsiteX143" fmla="*/ 286703 w 360902"/>
                  <a:gd name="connsiteY143" fmla="*/ 362617 h 397859"/>
                  <a:gd name="connsiteX144" fmla="*/ 289560 w 360902"/>
                  <a:gd name="connsiteY144" fmla="*/ 364045 h 397859"/>
                  <a:gd name="connsiteX145" fmla="*/ 290322 w 360902"/>
                  <a:gd name="connsiteY145" fmla="*/ 367760 h 397859"/>
                  <a:gd name="connsiteX146" fmla="*/ 287369 w 360902"/>
                  <a:gd name="connsiteY146" fmla="*/ 370713 h 397859"/>
                  <a:gd name="connsiteX147" fmla="*/ 287369 w 360902"/>
                  <a:gd name="connsiteY147" fmla="*/ 373666 h 397859"/>
                  <a:gd name="connsiteX148" fmla="*/ 285179 w 360902"/>
                  <a:gd name="connsiteY148" fmla="*/ 376618 h 397859"/>
                  <a:gd name="connsiteX149" fmla="*/ 285179 w 360902"/>
                  <a:gd name="connsiteY149" fmla="*/ 378809 h 397859"/>
                  <a:gd name="connsiteX150" fmla="*/ 280797 w 360902"/>
                  <a:gd name="connsiteY150" fmla="*/ 381000 h 397859"/>
                  <a:gd name="connsiteX151" fmla="*/ 279368 w 360902"/>
                  <a:gd name="connsiteY151" fmla="*/ 387572 h 397859"/>
                  <a:gd name="connsiteX152" fmla="*/ 275749 w 360902"/>
                  <a:gd name="connsiteY152" fmla="*/ 389763 h 397859"/>
                  <a:gd name="connsiteX153" fmla="*/ 273558 w 360902"/>
                  <a:gd name="connsiteY153" fmla="*/ 392716 h 397859"/>
                  <a:gd name="connsiteX154" fmla="*/ 273558 w 360902"/>
                  <a:gd name="connsiteY154" fmla="*/ 397859 h 397859"/>
                  <a:gd name="connsiteX155" fmla="*/ 314325 w 360902"/>
                  <a:gd name="connsiteY155" fmla="*/ 392716 h 397859"/>
                  <a:gd name="connsiteX156" fmla="*/ 329660 w 360902"/>
                  <a:gd name="connsiteY156" fmla="*/ 392716 h 397859"/>
                  <a:gd name="connsiteX157" fmla="*/ 329660 w 360902"/>
                  <a:gd name="connsiteY157" fmla="*/ 361188 h 397859"/>
                  <a:gd name="connsiteX158" fmla="*/ 321659 w 360902"/>
                  <a:gd name="connsiteY158" fmla="*/ 353092 h 397859"/>
                  <a:gd name="connsiteX159" fmla="*/ 321659 w 360902"/>
                  <a:gd name="connsiteY159" fmla="*/ 344995 h 397859"/>
                  <a:gd name="connsiteX160" fmla="*/ 353663 w 360902"/>
                  <a:gd name="connsiteY160" fmla="*/ 344995 h 397859"/>
                  <a:gd name="connsiteX161" fmla="*/ 360902 w 360902"/>
                  <a:gd name="connsiteY161" fmla="*/ 337661 h 397859"/>
                  <a:gd name="connsiteX162" fmla="*/ 360902 w 360902"/>
                  <a:gd name="connsiteY162" fmla="*/ 306133 h 397859"/>
                  <a:gd name="connsiteX163" fmla="*/ 353663 w 360902"/>
                  <a:gd name="connsiteY163" fmla="*/ 298037 h 39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360902" h="397859">
                    <a:moveTo>
                      <a:pt x="353854" y="297751"/>
                    </a:moveTo>
                    <a:lnTo>
                      <a:pt x="329851" y="289655"/>
                    </a:lnTo>
                    <a:lnTo>
                      <a:pt x="337852" y="274225"/>
                    </a:lnTo>
                    <a:lnTo>
                      <a:pt x="314515" y="266224"/>
                    </a:lnTo>
                    <a:lnTo>
                      <a:pt x="314515" y="242792"/>
                    </a:lnTo>
                    <a:lnTo>
                      <a:pt x="329851" y="227362"/>
                    </a:lnTo>
                    <a:lnTo>
                      <a:pt x="329851" y="195834"/>
                    </a:lnTo>
                    <a:lnTo>
                      <a:pt x="321850" y="187738"/>
                    </a:lnTo>
                    <a:lnTo>
                      <a:pt x="329851" y="172307"/>
                    </a:lnTo>
                    <a:lnTo>
                      <a:pt x="337852" y="164211"/>
                    </a:lnTo>
                    <a:lnTo>
                      <a:pt x="306514" y="156115"/>
                    </a:lnTo>
                    <a:lnTo>
                      <a:pt x="275177" y="164211"/>
                    </a:lnTo>
                    <a:lnTo>
                      <a:pt x="267176" y="156115"/>
                    </a:lnTo>
                    <a:lnTo>
                      <a:pt x="235839" y="148780"/>
                    </a:lnTo>
                    <a:lnTo>
                      <a:pt x="219837" y="125349"/>
                    </a:lnTo>
                    <a:lnTo>
                      <a:pt x="227838" y="117253"/>
                    </a:lnTo>
                    <a:lnTo>
                      <a:pt x="227838" y="93821"/>
                    </a:lnTo>
                    <a:lnTo>
                      <a:pt x="211836" y="86487"/>
                    </a:lnTo>
                    <a:lnTo>
                      <a:pt x="203835" y="86487"/>
                    </a:lnTo>
                    <a:lnTo>
                      <a:pt x="196596" y="93821"/>
                    </a:lnTo>
                    <a:lnTo>
                      <a:pt x="188595" y="93821"/>
                    </a:lnTo>
                    <a:lnTo>
                      <a:pt x="181356" y="86487"/>
                    </a:lnTo>
                    <a:lnTo>
                      <a:pt x="165354" y="38862"/>
                    </a:lnTo>
                    <a:lnTo>
                      <a:pt x="157353" y="38862"/>
                    </a:lnTo>
                    <a:lnTo>
                      <a:pt x="126016" y="15430"/>
                    </a:lnTo>
                    <a:lnTo>
                      <a:pt x="93916" y="0"/>
                    </a:lnTo>
                    <a:lnTo>
                      <a:pt x="63341" y="0"/>
                    </a:lnTo>
                    <a:lnTo>
                      <a:pt x="39338" y="23431"/>
                    </a:lnTo>
                    <a:lnTo>
                      <a:pt x="8001" y="23431"/>
                    </a:lnTo>
                    <a:lnTo>
                      <a:pt x="0" y="31528"/>
                    </a:lnTo>
                    <a:lnTo>
                      <a:pt x="8001" y="31528"/>
                    </a:lnTo>
                    <a:lnTo>
                      <a:pt x="16002" y="70390"/>
                    </a:lnTo>
                    <a:lnTo>
                      <a:pt x="23241" y="70390"/>
                    </a:lnTo>
                    <a:lnTo>
                      <a:pt x="16002" y="93821"/>
                    </a:lnTo>
                    <a:lnTo>
                      <a:pt x="31337" y="93821"/>
                    </a:lnTo>
                    <a:lnTo>
                      <a:pt x="47339" y="101917"/>
                    </a:lnTo>
                    <a:lnTo>
                      <a:pt x="55340" y="101917"/>
                    </a:lnTo>
                    <a:lnTo>
                      <a:pt x="47339" y="110014"/>
                    </a:lnTo>
                    <a:lnTo>
                      <a:pt x="39338" y="110014"/>
                    </a:lnTo>
                    <a:lnTo>
                      <a:pt x="31337" y="117348"/>
                    </a:lnTo>
                    <a:lnTo>
                      <a:pt x="23336" y="117348"/>
                    </a:lnTo>
                    <a:lnTo>
                      <a:pt x="23336" y="132778"/>
                    </a:lnTo>
                    <a:lnTo>
                      <a:pt x="16097" y="132778"/>
                    </a:lnTo>
                    <a:lnTo>
                      <a:pt x="16097" y="140875"/>
                    </a:lnTo>
                    <a:lnTo>
                      <a:pt x="23336" y="140875"/>
                    </a:lnTo>
                    <a:lnTo>
                      <a:pt x="39338" y="132778"/>
                    </a:lnTo>
                    <a:lnTo>
                      <a:pt x="55340" y="132778"/>
                    </a:lnTo>
                    <a:lnTo>
                      <a:pt x="55340" y="148876"/>
                    </a:lnTo>
                    <a:lnTo>
                      <a:pt x="31242" y="172307"/>
                    </a:lnTo>
                    <a:lnTo>
                      <a:pt x="31242" y="195739"/>
                    </a:lnTo>
                    <a:lnTo>
                      <a:pt x="63246" y="195739"/>
                    </a:lnTo>
                    <a:lnTo>
                      <a:pt x="71247" y="203835"/>
                    </a:lnTo>
                    <a:lnTo>
                      <a:pt x="78486" y="219170"/>
                    </a:lnTo>
                    <a:lnTo>
                      <a:pt x="47149" y="227266"/>
                    </a:lnTo>
                    <a:lnTo>
                      <a:pt x="63151" y="242697"/>
                    </a:lnTo>
                    <a:lnTo>
                      <a:pt x="71152" y="258794"/>
                    </a:lnTo>
                    <a:lnTo>
                      <a:pt x="71152" y="266128"/>
                    </a:lnTo>
                    <a:lnTo>
                      <a:pt x="63151" y="266128"/>
                    </a:lnTo>
                    <a:lnTo>
                      <a:pt x="63151" y="274130"/>
                    </a:lnTo>
                    <a:lnTo>
                      <a:pt x="86487" y="289560"/>
                    </a:lnTo>
                    <a:lnTo>
                      <a:pt x="101822" y="305657"/>
                    </a:lnTo>
                    <a:lnTo>
                      <a:pt x="114205" y="323945"/>
                    </a:lnTo>
                    <a:cubicBezTo>
                      <a:pt x="115633" y="323945"/>
                      <a:pt x="117157" y="324707"/>
                      <a:pt x="120777" y="325374"/>
                    </a:cubicBezTo>
                    <a:lnTo>
                      <a:pt x="121444" y="325374"/>
                    </a:lnTo>
                    <a:lnTo>
                      <a:pt x="125825" y="320992"/>
                    </a:lnTo>
                    <a:lnTo>
                      <a:pt x="125825" y="327565"/>
                    </a:lnTo>
                    <a:cubicBezTo>
                      <a:pt x="126492" y="328326"/>
                      <a:pt x="127254" y="328326"/>
                      <a:pt x="128016" y="328993"/>
                    </a:cubicBezTo>
                    <a:lnTo>
                      <a:pt x="130969" y="325374"/>
                    </a:lnTo>
                    <a:lnTo>
                      <a:pt x="144780" y="327565"/>
                    </a:lnTo>
                    <a:lnTo>
                      <a:pt x="154210" y="326803"/>
                    </a:lnTo>
                    <a:lnTo>
                      <a:pt x="167354" y="326803"/>
                    </a:lnTo>
                    <a:lnTo>
                      <a:pt x="174593" y="324612"/>
                    </a:lnTo>
                    <a:lnTo>
                      <a:pt x="173831" y="320230"/>
                    </a:lnTo>
                    <a:lnTo>
                      <a:pt x="172403" y="315849"/>
                    </a:lnTo>
                    <a:lnTo>
                      <a:pt x="178213" y="311467"/>
                    </a:lnTo>
                    <a:lnTo>
                      <a:pt x="185452" y="305562"/>
                    </a:lnTo>
                    <a:lnTo>
                      <a:pt x="187643" y="304800"/>
                    </a:lnTo>
                    <a:lnTo>
                      <a:pt x="187643" y="308419"/>
                    </a:lnTo>
                    <a:lnTo>
                      <a:pt x="190595" y="306991"/>
                    </a:lnTo>
                    <a:lnTo>
                      <a:pt x="193548" y="306229"/>
                    </a:lnTo>
                    <a:lnTo>
                      <a:pt x="191357" y="303276"/>
                    </a:lnTo>
                    <a:lnTo>
                      <a:pt x="194215" y="301847"/>
                    </a:lnTo>
                    <a:lnTo>
                      <a:pt x="194977" y="298228"/>
                    </a:lnTo>
                    <a:lnTo>
                      <a:pt x="192024" y="296799"/>
                    </a:lnTo>
                    <a:lnTo>
                      <a:pt x="192024" y="294608"/>
                    </a:lnTo>
                    <a:lnTo>
                      <a:pt x="194215" y="292417"/>
                    </a:lnTo>
                    <a:lnTo>
                      <a:pt x="193548" y="290226"/>
                    </a:lnTo>
                    <a:lnTo>
                      <a:pt x="187738" y="288798"/>
                    </a:lnTo>
                    <a:lnTo>
                      <a:pt x="184785" y="284416"/>
                    </a:lnTo>
                    <a:lnTo>
                      <a:pt x="186214" y="282226"/>
                    </a:lnTo>
                    <a:lnTo>
                      <a:pt x="188404" y="285178"/>
                    </a:lnTo>
                    <a:lnTo>
                      <a:pt x="190595" y="283750"/>
                    </a:lnTo>
                    <a:lnTo>
                      <a:pt x="194215" y="284512"/>
                    </a:lnTo>
                    <a:lnTo>
                      <a:pt x="197168" y="282321"/>
                    </a:lnTo>
                    <a:lnTo>
                      <a:pt x="202978" y="278701"/>
                    </a:lnTo>
                    <a:lnTo>
                      <a:pt x="205169" y="277273"/>
                    </a:lnTo>
                    <a:lnTo>
                      <a:pt x="205930" y="274320"/>
                    </a:lnTo>
                    <a:lnTo>
                      <a:pt x="209550" y="272891"/>
                    </a:lnTo>
                    <a:lnTo>
                      <a:pt x="213170" y="276511"/>
                    </a:lnTo>
                    <a:lnTo>
                      <a:pt x="216122" y="281654"/>
                    </a:lnTo>
                    <a:lnTo>
                      <a:pt x="216789" y="285369"/>
                    </a:lnTo>
                    <a:lnTo>
                      <a:pt x="216789" y="287559"/>
                    </a:lnTo>
                    <a:lnTo>
                      <a:pt x="211646" y="290513"/>
                    </a:lnTo>
                    <a:lnTo>
                      <a:pt x="212407" y="292703"/>
                    </a:lnTo>
                    <a:lnTo>
                      <a:pt x="217551" y="293465"/>
                    </a:lnTo>
                    <a:lnTo>
                      <a:pt x="220504" y="296418"/>
                    </a:lnTo>
                    <a:lnTo>
                      <a:pt x="224885" y="294989"/>
                    </a:lnTo>
                    <a:lnTo>
                      <a:pt x="228505" y="296418"/>
                    </a:lnTo>
                    <a:lnTo>
                      <a:pt x="232124" y="294227"/>
                    </a:lnTo>
                    <a:lnTo>
                      <a:pt x="233553" y="296418"/>
                    </a:lnTo>
                    <a:lnTo>
                      <a:pt x="231362" y="299371"/>
                    </a:lnTo>
                    <a:lnTo>
                      <a:pt x="235744" y="298609"/>
                    </a:lnTo>
                    <a:lnTo>
                      <a:pt x="237172" y="299371"/>
                    </a:lnTo>
                    <a:lnTo>
                      <a:pt x="235744" y="311848"/>
                    </a:lnTo>
                    <a:lnTo>
                      <a:pt x="235744" y="316992"/>
                    </a:lnTo>
                    <a:lnTo>
                      <a:pt x="238696" y="317754"/>
                    </a:lnTo>
                    <a:lnTo>
                      <a:pt x="240125" y="316325"/>
                    </a:lnTo>
                    <a:lnTo>
                      <a:pt x="240887" y="314134"/>
                    </a:lnTo>
                    <a:lnTo>
                      <a:pt x="243078" y="314896"/>
                    </a:lnTo>
                    <a:lnTo>
                      <a:pt x="244507" y="317849"/>
                    </a:lnTo>
                    <a:lnTo>
                      <a:pt x="244507" y="325183"/>
                    </a:lnTo>
                    <a:lnTo>
                      <a:pt x="243840" y="328898"/>
                    </a:lnTo>
                    <a:lnTo>
                      <a:pt x="246793" y="330327"/>
                    </a:lnTo>
                    <a:lnTo>
                      <a:pt x="250412" y="330327"/>
                    </a:lnTo>
                    <a:lnTo>
                      <a:pt x="253365" y="331756"/>
                    </a:lnTo>
                    <a:lnTo>
                      <a:pt x="256985" y="334708"/>
                    </a:lnTo>
                    <a:lnTo>
                      <a:pt x="259937" y="335470"/>
                    </a:lnTo>
                    <a:lnTo>
                      <a:pt x="259271" y="342805"/>
                    </a:lnTo>
                    <a:lnTo>
                      <a:pt x="259271" y="346424"/>
                    </a:lnTo>
                    <a:lnTo>
                      <a:pt x="256318" y="347186"/>
                    </a:lnTo>
                    <a:lnTo>
                      <a:pt x="257746" y="350806"/>
                    </a:lnTo>
                    <a:lnTo>
                      <a:pt x="255556" y="353758"/>
                    </a:lnTo>
                    <a:lnTo>
                      <a:pt x="256985" y="354520"/>
                    </a:lnTo>
                    <a:lnTo>
                      <a:pt x="259175" y="353758"/>
                    </a:lnTo>
                    <a:lnTo>
                      <a:pt x="262795" y="355949"/>
                    </a:lnTo>
                    <a:lnTo>
                      <a:pt x="264986" y="354520"/>
                    </a:lnTo>
                    <a:lnTo>
                      <a:pt x="268605" y="355949"/>
                    </a:lnTo>
                    <a:lnTo>
                      <a:pt x="270796" y="355949"/>
                    </a:lnTo>
                    <a:lnTo>
                      <a:pt x="274415" y="358902"/>
                    </a:lnTo>
                    <a:lnTo>
                      <a:pt x="277273" y="361093"/>
                    </a:lnTo>
                    <a:lnTo>
                      <a:pt x="278702" y="364045"/>
                    </a:lnTo>
                    <a:lnTo>
                      <a:pt x="280130" y="366236"/>
                    </a:lnTo>
                    <a:lnTo>
                      <a:pt x="283750" y="364045"/>
                    </a:lnTo>
                    <a:lnTo>
                      <a:pt x="286703" y="362617"/>
                    </a:lnTo>
                    <a:lnTo>
                      <a:pt x="289560" y="364045"/>
                    </a:lnTo>
                    <a:lnTo>
                      <a:pt x="290322" y="367760"/>
                    </a:lnTo>
                    <a:lnTo>
                      <a:pt x="287369" y="370713"/>
                    </a:lnTo>
                    <a:lnTo>
                      <a:pt x="287369" y="373666"/>
                    </a:lnTo>
                    <a:lnTo>
                      <a:pt x="285179" y="376618"/>
                    </a:lnTo>
                    <a:lnTo>
                      <a:pt x="285179" y="378809"/>
                    </a:lnTo>
                    <a:lnTo>
                      <a:pt x="280797" y="381000"/>
                    </a:lnTo>
                    <a:lnTo>
                      <a:pt x="279368" y="387572"/>
                    </a:lnTo>
                    <a:lnTo>
                      <a:pt x="275749" y="389763"/>
                    </a:lnTo>
                    <a:lnTo>
                      <a:pt x="273558" y="392716"/>
                    </a:lnTo>
                    <a:lnTo>
                      <a:pt x="273558" y="397859"/>
                    </a:lnTo>
                    <a:lnTo>
                      <a:pt x="314325" y="392716"/>
                    </a:lnTo>
                    <a:lnTo>
                      <a:pt x="329660" y="392716"/>
                    </a:lnTo>
                    <a:lnTo>
                      <a:pt x="329660" y="361188"/>
                    </a:lnTo>
                    <a:lnTo>
                      <a:pt x="321659" y="353092"/>
                    </a:lnTo>
                    <a:lnTo>
                      <a:pt x="321659" y="344995"/>
                    </a:lnTo>
                    <a:lnTo>
                      <a:pt x="353663" y="344995"/>
                    </a:lnTo>
                    <a:lnTo>
                      <a:pt x="360902" y="337661"/>
                    </a:lnTo>
                    <a:lnTo>
                      <a:pt x="360902" y="306133"/>
                    </a:lnTo>
                    <a:lnTo>
                      <a:pt x="353663" y="298037"/>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4F1E3CF4-0C52-74FA-B12C-EEFDDFFDC9E0}"/>
                  </a:ext>
                </a:extLst>
              </p:cNvPr>
              <p:cNvSpPr/>
              <p:nvPr/>
            </p:nvSpPr>
            <p:spPr>
              <a:xfrm>
                <a:off x="6852951" y="4170901"/>
                <a:ext cx="360902" cy="397859"/>
              </a:xfrm>
              <a:custGeom>
                <a:avLst/>
                <a:gdLst>
                  <a:gd name="connsiteX0" fmla="*/ 353854 w 360902"/>
                  <a:gd name="connsiteY0" fmla="*/ 297751 h 397859"/>
                  <a:gd name="connsiteX1" fmla="*/ 329851 w 360902"/>
                  <a:gd name="connsiteY1" fmla="*/ 289655 h 397859"/>
                  <a:gd name="connsiteX2" fmla="*/ 337852 w 360902"/>
                  <a:gd name="connsiteY2" fmla="*/ 274225 h 397859"/>
                  <a:gd name="connsiteX3" fmla="*/ 314515 w 360902"/>
                  <a:gd name="connsiteY3" fmla="*/ 266224 h 397859"/>
                  <a:gd name="connsiteX4" fmla="*/ 314515 w 360902"/>
                  <a:gd name="connsiteY4" fmla="*/ 242792 h 397859"/>
                  <a:gd name="connsiteX5" fmla="*/ 329851 w 360902"/>
                  <a:gd name="connsiteY5" fmla="*/ 227362 h 397859"/>
                  <a:gd name="connsiteX6" fmla="*/ 329851 w 360902"/>
                  <a:gd name="connsiteY6" fmla="*/ 195834 h 397859"/>
                  <a:gd name="connsiteX7" fmla="*/ 321850 w 360902"/>
                  <a:gd name="connsiteY7" fmla="*/ 187738 h 397859"/>
                  <a:gd name="connsiteX8" fmla="*/ 329851 w 360902"/>
                  <a:gd name="connsiteY8" fmla="*/ 172307 h 397859"/>
                  <a:gd name="connsiteX9" fmla="*/ 337852 w 360902"/>
                  <a:gd name="connsiteY9" fmla="*/ 164211 h 397859"/>
                  <a:gd name="connsiteX10" fmla="*/ 306514 w 360902"/>
                  <a:gd name="connsiteY10" fmla="*/ 156115 h 397859"/>
                  <a:gd name="connsiteX11" fmla="*/ 275177 w 360902"/>
                  <a:gd name="connsiteY11" fmla="*/ 164211 h 397859"/>
                  <a:gd name="connsiteX12" fmla="*/ 267176 w 360902"/>
                  <a:gd name="connsiteY12" fmla="*/ 156115 h 397859"/>
                  <a:gd name="connsiteX13" fmla="*/ 235839 w 360902"/>
                  <a:gd name="connsiteY13" fmla="*/ 148780 h 397859"/>
                  <a:gd name="connsiteX14" fmla="*/ 219837 w 360902"/>
                  <a:gd name="connsiteY14" fmla="*/ 125349 h 397859"/>
                  <a:gd name="connsiteX15" fmla="*/ 227838 w 360902"/>
                  <a:gd name="connsiteY15" fmla="*/ 117253 h 397859"/>
                  <a:gd name="connsiteX16" fmla="*/ 227838 w 360902"/>
                  <a:gd name="connsiteY16" fmla="*/ 93821 h 397859"/>
                  <a:gd name="connsiteX17" fmla="*/ 211836 w 360902"/>
                  <a:gd name="connsiteY17" fmla="*/ 86487 h 397859"/>
                  <a:gd name="connsiteX18" fmla="*/ 203835 w 360902"/>
                  <a:gd name="connsiteY18" fmla="*/ 86487 h 397859"/>
                  <a:gd name="connsiteX19" fmla="*/ 196596 w 360902"/>
                  <a:gd name="connsiteY19" fmla="*/ 93821 h 397859"/>
                  <a:gd name="connsiteX20" fmla="*/ 188595 w 360902"/>
                  <a:gd name="connsiteY20" fmla="*/ 93821 h 397859"/>
                  <a:gd name="connsiteX21" fmla="*/ 181356 w 360902"/>
                  <a:gd name="connsiteY21" fmla="*/ 86487 h 397859"/>
                  <a:gd name="connsiteX22" fmla="*/ 165354 w 360902"/>
                  <a:gd name="connsiteY22" fmla="*/ 38862 h 397859"/>
                  <a:gd name="connsiteX23" fmla="*/ 157353 w 360902"/>
                  <a:gd name="connsiteY23" fmla="*/ 38862 h 397859"/>
                  <a:gd name="connsiteX24" fmla="*/ 126016 w 360902"/>
                  <a:gd name="connsiteY24" fmla="*/ 15430 h 397859"/>
                  <a:gd name="connsiteX25" fmla="*/ 93916 w 360902"/>
                  <a:gd name="connsiteY25" fmla="*/ 0 h 397859"/>
                  <a:gd name="connsiteX26" fmla="*/ 63341 w 360902"/>
                  <a:gd name="connsiteY26" fmla="*/ 0 h 397859"/>
                  <a:gd name="connsiteX27" fmla="*/ 39338 w 360902"/>
                  <a:gd name="connsiteY27" fmla="*/ 23431 h 397859"/>
                  <a:gd name="connsiteX28" fmla="*/ 8001 w 360902"/>
                  <a:gd name="connsiteY28" fmla="*/ 23431 h 397859"/>
                  <a:gd name="connsiteX29" fmla="*/ 0 w 360902"/>
                  <a:gd name="connsiteY29" fmla="*/ 31528 h 397859"/>
                  <a:gd name="connsiteX30" fmla="*/ 8001 w 360902"/>
                  <a:gd name="connsiteY30" fmla="*/ 31528 h 397859"/>
                  <a:gd name="connsiteX31" fmla="*/ 16002 w 360902"/>
                  <a:gd name="connsiteY31" fmla="*/ 70390 h 397859"/>
                  <a:gd name="connsiteX32" fmla="*/ 23241 w 360902"/>
                  <a:gd name="connsiteY32" fmla="*/ 70390 h 397859"/>
                  <a:gd name="connsiteX33" fmla="*/ 16002 w 360902"/>
                  <a:gd name="connsiteY33" fmla="*/ 93821 h 397859"/>
                  <a:gd name="connsiteX34" fmla="*/ 31337 w 360902"/>
                  <a:gd name="connsiteY34" fmla="*/ 93821 h 397859"/>
                  <a:gd name="connsiteX35" fmla="*/ 47339 w 360902"/>
                  <a:gd name="connsiteY35" fmla="*/ 101917 h 397859"/>
                  <a:gd name="connsiteX36" fmla="*/ 55340 w 360902"/>
                  <a:gd name="connsiteY36" fmla="*/ 101917 h 397859"/>
                  <a:gd name="connsiteX37" fmla="*/ 47339 w 360902"/>
                  <a:gd name="connsiteY37" fmla="*/ 110014 h 397859"/>
                  <a:gd name="connsiteX38" fmla="*/ 39338 w 360902"/>
                  <a:gd name="connsiteY38" fmla="*/ 110014 h 397859"/>
                  <a:gd name="connsiteX39" fmla="*/ 31337 w 360902"/>
                  <a:gd name="connsiteY39" fmla="*/ 117348 h 397859"/>
                  <a:gd name="connsiteX40" fmla="*/ 23336 w 360902"/>
                  <a:gd name="connsiteY40" fmla="*/ 117348 h 397859"/>
                  <a:gd name="connsiteX41" fmla="*/ 23336 w 360902"/>
                  <a:gd name="connsiteY41" fmla="*/ 132778 h 397859"/>
                  <a:gd name="connsiteX42" fmla="*/ 16097 w 360902"/>
                  <a:gd name="connsiteY42" fmla="*/ 132778 h 397859"/>
                  <a:gd name="connsiteX43" fmla="*/ 16097 w 360902"/>
                  <a:gd name="connsiteY43" fmla="*/ 140875 h 397859"/>
                  <a:gd name="connsiteX44" fmla="*/ 23336 w 360902"/>
                  <a:gd name="connsiteY44" fmla="*/ 140875 h 397859"/>
                  <a:gd name="connsiteX45" fmla="*/ 39338 w 360902"/>
                  <a:gd name="connsiteY45" fmla="*/ 132778 h 397859"/>
                  <a:gd name="connsiteX46" fmla="*/ 55340 w 360902"/>
                  <a:gd name="connsiteY46" fmla="*/ 132778 h 397859"/>
                  <a:gd name="connsiteX47" fmla="*/ 55340 w 360902"/>
                  <a:gd name="connsiteY47" fmla="*/ 148876 h 397859"/>
                  <a:gd name="connsiteX48" fmla="*/ 31242 w 360902"/>
                  <a:gd name="connsiteY48" fmla="*/ 172307 h 397859"/>
                  <a:gd name="connsiteX49" fmla="*/ 31242 w 360902"/>
                  <a:gd name="connsiteY49" fmla="*/ 195739 h 397859"/>
                  <a:gd name="connsiteX50" fmla="*/ 63246 w 360902"/>
                  <a:gd name="connsiteY50" fmla="*/ 195739 h 397859"/>
                  <a:gd name="connsiteX51" fmla="*/ 71247 w 360902"/>
                  <a:gd name="connsiteY51" fmla="*/ 203835 h 397859"/>
                  <a:gd name="connsiteX52" fmla="*/ 78486 w 360902"/>
                  <a:gd name="connsiteY52" fmla="*/ 219170 h 397859"/>
                  <a:gd name="connsiteX53" fmla="*/ 47149 w 360902"/>
                  <a:gd name="connsiteY53" fmla="*/ 227266 h 397859"/>
                  <a:gd name="connsiteX54" fmla="*/ 63151 w 360902"/>
                  <a:gd name="connsiteY54" fmla="*/ 242697 h 397859"/>
                  <a:gd name="connsiteX55" fmla="*/ 71152 w 360902"/>
                  <a:gd name="connsiteY55" fmla="*/ 258794 h 397859"/>
                  <a:gd name="connsiteX56" fmla="*/ 71152 w 360902"/>
                  <a:gd name="connsiteY56" fmla="*/ 266128 h 397859"/>
                  <a:gd name="connsiteX57" fmla="*/ 63151 w 360902"/>
                  <a:gd name="connsiteY57" fmla="*/ 266128 h 397859"/>
                  <a:gd name="connsiteX58" fmla="*/ 63151 w 360902"/>
                  <a:gd name="connsiteY58" fmla="*/ 274130 h 397859"/>
                  <a:gd name="connsiteX59" fmla="*/ 86487 w 360902"/>
                  <a:gd name="connsiteY59" fmla="*/ 289560 h 397859"/>
                  <a:gd name="connsiteX60" fmla="*/ 101822 w 360902"/>
                  <a:gd name="connsiteY60" fmla="*/ 305657 h 397859"/>
                  <a:gd name="connsiteX61" fmla="*/ 114205 w 360902"/>
                  <a:gd name="connsiteY61" fmla="*/ 323945 h 397859"/>
                  <a:gd name="connsiteX62" fmla="*/ 120777 w 360902"/>
                  <a:gd name="connsiteY62" fmla="*/ 325374 h 397859"/>
                  <a:gd name="connsiteX63" fmla="*/ 121444 w 360902"/>
                  <a:gd name="connsiteY63" fmla="*/ 325374 h 397859"/>
                  <a:gd name="connsiteX64" fmla="*/ 125825 w 360902"/>
                  <a:gd name="connsiteY64" fmla="*/ 320992 h 397859"/>
                  <a:gd name="connsiteX65" fmla="*/ 125825 w 360902"/>
                  <a:gd name="connsiteY65" fmla="*/ 327565 h 397859"/>
                  <a:gd name="connsiteX66" fmla="*/ 128016 w 360902"/>
                  <a:gd name="connsiteY66" fmla="*/ 328993 h 397859"/>
                  <a:gd name="connsiteX67" fmla="*/ 130969 w 360902"/>
                  <a:gd name="connsiteY67" fmla="*/ 325374 h 397859"/>
                  <a:gd name="connsiteX68" fmla="*/ 144780 w 360902"/>
                  <a:gd name="connsiteY68" fmla="*/ 327565 h 397859"/>
                  <a:gd name="connsiteX69" fmla="*/ 154210 w 360902"/>
                  <a:gd name="connsiteY69" fmla="*/ 326803 h 397859"/>
                  <a:gd name="connsiteX70" fmla="*/ 167354 w 360902"/>
                  <a:gd name="connsiteY70" fmla="*/ 326803 h 397859"/>
                  <a:gd name="connsiteX71" fmla="*/ 174593 w 360902"/>
                  <a:gd name="connsiteY71" fmla="*/ 324612 h 397859"/>
                  <a:gd name="connsiteX72" fmla="*/ 173831 w 360902"/>
                  <a:gd name="connsiteY72" fmla="*/ 320230 h 397859"/>
                  <a:gd name="connsiteX73" fmla="*/ 172403 w 360902"/>
                  <a:gd name="connsiteY73" fmla="*/ 315849 h 397859"/>
                  <a:gd name="connsiteX74" fmla="*/ 178213 w 360902"/>
                  <a:gd name="connsiteY74" fmla="*/ 311467 h 397859"/>
                  <a:gd name="connsiteX75" fmla="*/ 185452 w 360902"/>
                  <a:gd name="connsiteY75" fmla="*/ 305562 h 397859"/>
                  <a:gd name="connsiteX76" fmla="*/ 187643 w 360902"/>
                  <a:gd name="connsiteY76" fmla="*/ 304800 h 397859"/>
                  <a:gd name="connsiteX77" fmla="*/ 187643 w 360902"/>
                  <a:gd name="connsiteY77" fmla="*/ 308419 h 397859"/>
                  <a:gd name="connsiteX78" fmla="*/ 190595 w 360902"/>
                  <a:gd name="connsiteY78" fmla="*/ 306991 h 397859"/>
                  <a:gd name="connsiteX79" fmla="*/ 193548 w 360902"/>
                  <a:gd name="connsiteY79" fmla="*/ 306229 h 397859"/>
                  <a:gd name="connsiteX80" fmla="*/ 191357 w 360902"/>
                  <a:gd name="connsiteY80" fmla="*/ 303276 h 397859"/>
                  <a:gd name="connsiteX81" fmla="*/ 194215 w 360902"/>
                  <a:gd name="connsiteY81" fmla="*/ 301847 h 397859"/>
                  <a:gd name="connsiteX82" fmla="*/ 194977 w 360902"/>
                  <a:gd name="connsiteY82" fmla="*/ 298228 h 397859"/>
                  <a:gd name="connsiteX83" fmla="*/ 192024 w 360902"/>
                  <a:gd name="connsiteY83" fmla="*/ 296799 h 397859"/>
                  <a:gd name="connsiteX84" fmla="*/ 192024 w 360902"/>
                  <a:gd name="connsiteY84" fmla="*/ 294608 h 397859"/>
                  <a:gd name="connsiteX85" fmla="*/ 194215 w 360902"/>
                  <a:gd name="connsiteY85" fmla="*/ 292417 h 397859"/>
                  <a:gd name="connsiteX86" fmla="*/ 193548 w 360902"/>
                  <a:gd name="connsiteY86" fmla="*/ 290226 h 397859"/>
                  <a:gd name="connsiteX87" fmla="*/ 187738 w 360902"/>
                  <a:gd name="connsiteY87" fmla="*/ 288798 h 397859"/>
                  <a:gd name="connsiteX88" fmla="*/ 184785 w 360902"/>
                  <a:gd name="connsiteY88" fmla="*/ 284416 h 397859"/>
                  <a:gd name="connsiteX89" fmla="*/ 186214 w 360902"/>
                  <a:gd name="connsiteY89" fmla="*/ 282226 h 397859"/>
                  <a:gd name="connsiteX90" fmla="*/ 188404 w 360902"/>
                  <a:gd name="connsiteY90" fmla="*/ 285178 h 397859"/>
                  <a:gd name="connsiteX91" fmla="*/ 190595 w 360902"/>
                  <a:gd name="connsiteY91" fmla="*/ 283750 h 397859"/>
                  <a:gd name="connsiteX92" fmla="*/ 194215 w 360902"/>
                  <a:gd name="connsiteY92" fmla="*/ 284512 h 397859"/>
                  <a:gd name="connsiteX93" fmla="*/ 197168 w 360902"/>
                  <a:gd name="connsiteY93" fmla="*/ 282321 h 397859"/>
                  <a:gd name="connsiteX94" fmla="*/ 202978 w 360902"/>
                  <a:gd name="connsiteY94" fmla="*/ 278701 h 397859"/>
                  <a:gd name="connsiteX95" fmla="*/ 205169 w 360902"/>
                  <a:gd name="connsiteY95" fmla="*/ 277273 h 397859"/>
                  <a:gd name="connsiteX96" fmla="*/ 205930 w 360902"/>
                  <a:gd name="connsiteY96" fmla="*/ 274320 h 397859"/>
                  <a:gd name="connsiteX97" fmla="*/ 209550 w 360902"/>
                  <a:gd name="connsiteY97" fmla="*/ 272891 h 397859"/>
                  <a:gd name="connsiteX98" fmla="*/ 213170 w 360902"/>
                  <a:gd name="connsiteY98" fmla="*/ 276511 h 397859"/>
                  <a:gd name="connsiteX99" fmla="*/ 216122 w 360902"/>
                  <a:gd name="connsiteY99" fmla="*/ 281654 h 397859"/>
                  <a:gd name="connsiteX100" fmla="*/ 216789 w 360902"/>
                  <a:gd name="connsiteY100" fmla="*/ 285369 h 397859"/>
                  <a:gd name="connsiteX101" fmla="*/ 216789 w 360902"/>
                  <a:gd name="connsiteY101" fmla="*/ 287559 h 397859"/>
                  <a:gd name="connsiteX102" fmla="*/ 211646 w 360902"/>
                  <a:gd name="connsiteY102" fmla="*/ 290513 h 397859"/>
                  <a:gd name="connsiteX103" fmla="*/ 212407 w 360902"/>
                  <a:gd name="connsiteY103" fmla="*/ 292703 h 397859"/>
                  <a:gd name="connsiteX104" fmla="*/ 217551 w 360902"/>
                  <a:gd name="connsiteY104" fmla="*/ 293465 h 397859"/>
                  <a:gd name="connsiteX105" fmla="*/ 220504 w 360902"/>
                  <a:gd name="connsiteY105" fmla="*/ 296418 h 397859"/>
                  <a:gd name="connsiteX106" fmla="*/ 224885 w 360902"/>
                  <a:gd name="connsiteY106" fmla="*/ 294989 h 397859"/>
                  <a:gd name="connsiteX107" fmla="*/ 228505 w 360902"/>
                  <a:gd name="connsiteY107" fmla="*/ 296418 h 397859"/>
                  <a:gd name="connsiteX108" fmla="*/ 232124 w 360902"/>
                  <a:gd name="connsiteY108" fmla="*/ 294227 h 397859"/>
                  <a:gd name="connsiteX109" fmla="*/ 233553 w 360902"/>
                  <a:gd name="connsiteY109" fmla="*/ 296418 h 397859"/>
                  <a:gd name="connsiteX110" fmla="*/ 231362 w 360902"/>
                  <a:gd name="connsiteY110" fmla="*/ 299371 h 397859"/>
                  <a:gd name="connsiteX111" fmla="*/ 235744 w 360902"/>
                  <a:gd name="connsiteY111" fmla="*/ 298609 h 397859"/>
                  <a:gd name="connsiteX112" fmla="*/ 237172 w 360902"/>
                  <a:gd name="connsiteY112" fmla="*/ 299371 h 397859"/>
                  <a:gd name="connsiteX113" fmla="*/ 235744 w 360902"/>
                  <a:gd name="connsiteY113" fmla="*/ 311848 h 397859"/>
                  <a:gd name="connsiteX114" fmla="*/ 235744 w 360902"/>
                  <a:gd name="connsiteY114" fmla="*/ 316992 h 397859"/>
                  <a:gd name="connsiteX115" fmla="*/ 238696 w 360902"/>
                  <a:gd name="connsiteY115" fmla="*/ 317754 h 397859"/>
                  <a:gd name="connsiteX116" fmla="*/ 240125 w 360902"/>
                  <a:gd name="connsiteY116" fmla="*/ 316325 h 397859"/>
                  <a:gd name="connsiteX117" fmla="*/ 240887 w 360902"/>
                  <a:gd name="connsiteY117" fmla="*/ 314134 h 397859"/>
                  <a:gd name="connsiteX118" fmla="*/ 243078 w 360902"/>
                  <a:gd name="connsiteY118" fmla="*/ 314896 h 397859"/>
                  <a:gd name="connsiteX119" fmla="*/ 244507 w 360902"/>
                  <a:gd name="connsiteY119" fmla="*/ 317849 h 397859"/>
                  <a:gd name="connsiteX120" fmla="*/ 244507 w 360902"/>
                  <a:gd name="connsiteY120" fmla="*/ 325183 h 397859"/>
                  <a:gd name="connsiteX121" fmla="*/ 243840 w 360902"/>
                  <a:gd name="connsiteY121" fmla="*/ 328898 h 397859"/>
                  <a:gd name="connsiteX122" fmla="*/ 246793 w 360902"/>
                  <a:gd name="connsiteY122" fmla="*/ 330327 h 397859"/>
                  <a:gd name="connsiteX123" fmla="*/ 250412 w 360902"/>
                  <a:gd name="connsiteY123" fmla="*/ 330327 h 397859"/>
                  <a:gd name="connsiteX124" fmla="*/ 253365 w 360902"/>
                  <a:gd name="connsiteY124" fmla="*/ 331756 h 397859"/>
                  <a:gd name="connsiteX125" fmla="*/ 256985 w 360902"/>
                  <a:gd name="connsiteY125" fmla="*/ 334708 h 397859"/>
                  <a:gd name="connsiteX126" fmla="*/ 259937 w 360902"/>
                  <a:gd name="connsiteY126" fmla="*/ 335470 h 397859"/>
                  <a:gd name="connsiteX127" fmla="*/ 259271 w 360902"/>
                  <a:gd name="connsiteY127" fmla="*/ 342805 h 397859"/>
                  <a:gd name="connsiteX128" fmla="*/ 259271 w 360902"/>
                  <a:gd name="connsiteY128" fmla="*/ 346424 h 397859"/>
                  <a:gd name="connsiteX129" fmla="*/ 256318 w 360902"/>
                  <a:gd name="connsiteY129" fmla="*/ 347186 h 397859"/>
                  <a:gd name="connsiteX130" fmla="*/ 257746 w 360902"/>
                  <a:gd name="connsiteY130" fmla="*/ 350806 h 397859"/>
                  <a:gd name="connsiteX131" fmla="*/ 255556 w 360902"/>
                  <a:gd name="connsiteY131" fmla="*/ 353758 h 397859"/>
                  <a:gd name="connsiteX132" fmla="*/ 256985 w 360902"/>
                  <a:gd name="connsiteY132" fmla="*/ 354520 h 397859"/>
                  <a:gd name="connsiteX133" fmla="*/ 259175 w 360902"/>
                  <a:gd name="connsiteY133" fmla="*/ 353758 h 397859"/>
                  <a:gd name="connsiteX134" fmla="*/ 262795 w 360902"/>
                  <a:gd name="connsiteY134" fmla="*/ 355949 h 397859"/>
                  <a:gd name="connsiteX135" fmla="*/ 264986 w 360902"/>
                  <a:gd name="connsiteY135" fmla="*/ 354520 h 397859"/>
                  <a:gd name="connsiteX136" fmla="*/ 268605 w 360902"/>
                  <a:gd name="connsiteY136" fmla="*/ 355949 h 397859"/>
                  <a:gd name="connsiteX137" fmla="*/ 270796 w 360902"/>
                  <a:gd name="connsiteY137" fmla="*/ 355949 h 397859"/>
                  <a:gd name="connsiteX138" fmla="*/ 274415 w 360902"/>
                  <a:gd name="connsiteY138" fmla="*/ 358902 h 397859"/>
                  <a:gd name="connsiteX139" fmla="*/ 277273 w 360902"/>
                  <a:gd name="connsiteY139" fmla="*/ 361093 h 397859"/>
                  <a:gd name="connsiteX140" fmla="*/ 278702 w 360902"/>
                  <a:gd name="connsiteY140" fmla="*/ 364045 h 397859"/>
                  <a:gd name="connsiteX141" fmla="*/ 280130 w 360902"/>
                  <a:gd name="connsiteY141" fmla="*/ 366236 h 397859"/>
                  <a:gd name="connsiteX142" fmla="*/ 283750 w 360902"/>
                  <a:gd name="connsiteY142" fmla="*/ 364045 h 397859"/>
                  <a:gd name="connsiteX143" fmla="*/ 286703 w 360902"/>
                  <a:gd name="connsiteY143" fmla="*/ 362617 h 397859"/>
                  <a:gd name="connsiteX144" fmla="*/ 289560 w 360902"/>
                  <a:gd name="connsiteY144" fmla="*/ 364045 h 397859"/>
                  <a:gd name="connsiteX145" fmla="*/ 290322 w 360902"/>
                  <a:gd name="connsiteY145" fmla="*/ 367760 h 397859"/>
                  <a:gd name="connsiteX146" fmla="*/ 287369 w 360902"/>
                  <a:gd name="connsiteY146" fmla="*/ 370713 h 397859"/>
                  <a:gd name="connsiteX147" fmla="*/ 287369 w 360902"/>
                  <a:gd name="connsiteY147" fmla="*/ 373666 h 397859"/>
                  <a:gd name="connsiteX148" fmla="*/ 285179 w 360902"/>
                  <a:gd name="connsiteY148" fmla="*/ 376618 h 397859"/>
                  <a:gd name="connsiteX149" fmla="*/ 285179 w 360902"/>
                  <a:gd name="connsiteY149" fmla="*/ 378809 h 397859"/>
                  <a:gd name="connsiteX150" fmla="*/ 280797 w 360902"/>
                  <a:gd name="connsiteY150" fmla="*/ 381000 h 397859"/>
                  <a:gd name="connsiteX151" fmla="*/ 279368 w 360902"/>
                  <a:gd name="connsiteY151" fmla="*/ 387572 h 397859"/>
                  <a:gd name="connsiteX152" fmla="*/ 275749 w 360902"/>
                  <a:gd name="connsiteY152" fmla="*/ 389763 h 397859"/>
                  <a:gd name="connsiteX153" fmla="*/ 273558 w 360902"/>
                  <a:gd name="connsiteY153" fmla="*/ 392716 h 397859"/>
                  <a:gd name="connsiteX154" fmla="*/ 273558 w 360902"/>
                  <a:gd name="connsiteY154" fmla="*/ 397859 h 397859"/>
                  <a:gd name="connsiteX155" fmla="*/ 314325 w 360902"/>
                  <a:gd name="connsiteY155" fmla="*/ 392716 h 397859"/>
                  <a:gd name="connsiteX156" fmla="*/ 329660 w 360902"/>
                  <a:gd name="connsiteY156" fmla="*/ 392716 h 397859"/>
                  <a:gd name="connsiteX157" fmla="*/ 329660 w 360902"/>
                  <a:gd name="connsiteY157" fmla="*/ 361188 h 397859"/>
                  <a:gd name="connsiteX158" fmla="*/ 321659 w 360902"/>
                  <a:gd name="connsiteY158" fmla="*/ 353092 h 397859"/>
                  <a:gd name="connsiteX159" fmla="*/ 321659 w 360902"/>
                  <a:gd name="connsiteY159" fmla="*/ 344995 h 397859"/>
                  <a:gd name="connsiteX160" fmla="*/ 353663 w 360902"/>
                  <a:gd name="connsiteY160" fmla="*/ 344995 h 397859"/>
                  <a:gd name="connsiteX161" fmla="*/ 360902 w 360902"/>
                  <a:gd name="connsiteY161" fmla="*/ 337661 h 397859"/>
                  <a:gd name="connsiteX162" fmla="*/ 360902 w 360902"/>
                  <a:gd name="connsiteY162" fmla="*/ 306133 h 397859"/>
                  <a:gd name="connsiteX163" fmla="*/ 353663 w 360902"/>
                  <a:gd name="connsiteY163" fmla="*/ 298037 h 39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360902" h="397859">
                    <a:moveTo>
                      <a:pt x="353854" y="297751"/>
                    </a:moveTo>
                    <a:lnTo>
                      <a:pt x="329851" y="289655"/>
                    </a:lnTo>
                    <a:lnTo>
                      <a:pt x="337852" y="274225"/>
                    </a:lnTo>
                    <a:lnTo>
                      <a:pt x="314515" y="266224"/>
                    </a:lnTo>
                    <a:lnTo>
                      <a:pt x="314515" y="242792"/>
                    </a:lnTo>
                    <a:lnTo>
                      <a:pt x="329851" y="227362"/>
                    </a:lnTo>
                    <a:lnTo>
                      <a:pt x="329851" y="195834"/>
                    </a:lnTo>
                    <a:lnTo>
                      <a:pt x="321850" y="187738"/>
                    </a:lnTo>
                    <a:lnTo>
                      <a:pt x="329851" y="172307"/>
                    </a:lnTo>
                    <a:lnTo>
                      <a:pt x="337852" y="164211"/>
                    </a:lnTo>
                    <a:lnTo>
                      <a:pt x="306514" y="156115"/>
                    </a:lnTo>
                    <a:lnTo>
                      <a:pt x="275177" y="164211"/>
                    </a:lnTo>
                    <a:lnTo>
                      <a:pt x="267176" y="156115"/>
                    </a:lnTo>
                    <a:lnTo>
                      <a:pt x="235839" y="148780"/>
                    </a:lnTo>
                    <a:lnTo>
                      <a:pt x="219837" y="125349"/>
                    </a:lnTo>
                    <a:lnTo>
                      <a:pt x="227838" y="117253"/>
                    </a:lnTo>
                    <a:lnTo>
                      <a:pt x="227838" y="93821"/>
                    </a:lnTo>
                    <a:lnTo>
                      <a:pt x="211836" y="86487"/>
                    </a:lnTo>
                    <a:lnTo>
                      <a:pt x="203835" y="86487"/>
                    </a:lnTo>
                    <a:lnTo>
                      <a:pt x="196596" y="93821"/>
                    </a:lnTo>
                    <a:lnTo>
                      <a:pt x="188595" y="93821"/>
                    </a:lnTo>
                    <a:lnTo>
                      <a:pt x="181356" y="86487"/>
                    </a:lnTo>
                    <a:lnTo>
                      <a:pt x="165354" y="38862"/>
                    </a:lnTo>
                    <a:lnTo>
                      <a:pt x="157353" y="38862"/>
                    </a:lnTo>
                    <a:lnTo>
                      <a:pt x="126016" y="15430"/>
                    </a:lnTo>
                    <a:lnTo>
                      <a:pt x="93916" y="0"/>
                    </a:lnTo>
                    <a:lnTo>
                      <a:pt x="63341" y="0"/>
                    </a:lnTo>
                    <a:lnTo>
                      <a:pt x="39338" y="23431"/>
                    </a:lnTo>
                    <a:lnTo>
                      <a:pt x="8001" y="23431"/>
                    </a:lnTo>
                    <a:lnTo>
                      <a:pt x="0" y="31528"/>
                    </a:lnTo>
                    <a:lnTo>
                      <a:pt x="8001" y="31528"/>
                    </a:lnTo>
                    <a:lnTo>
                      <a:pt x="16002" y="70390"/>
                    </a:lnTo>
                    <a:lnTo>
                      <a:pt x="23241" y="70390"/>
                    </a:lnTo>
                    <a:lnTo>
                      <a:pt x="16002" y="93821"/>
                    </a:lnTo>
                    <a:lnTo>
                      <a:pt x="31337" y="93821"/>
                    </a:lnTo>
                    <a:lnTo>
                      <a:pt x="47339" y="101917"/>
                    </a:lnTo>
                    <a:lnTo>
                      <a:pt x="55340" y="101917"/>
                    </a:lnTo>
                    <a:lnTo>
                      <a:pt x="47339" y="110014"/>
                    </a:lnTo>
                    <a:lnTo>
                      <a:pt x="39338" y="110014"/>
                    </a:lnTo>
                    <a:lnTo>
                      <a:pt x="31337" y="117348"/>
                    </a:lnTo>
                    <a:lnTo>
                      <a:pt x="23336" y="117348"/>
                    </a:lnTo>
                    <a:lnTo>
                      <a:pt x="23336" y="132778"/>
                    </a:lnTo>
                    <a:lnTo>
                      <a:pt x="16097" y="132778"/>
                    </a:lnTo>
                    <a:lnTo>
                      <a:pt x="16097" y="140875"/>
                    </a:lnTo>
                    <a:lnTo>
                      <a:pt x="23336" y="140875"/>
                    </a:lnTo>
                    <a:lnTo>
                      <a:pt x="39338" y="132778"/>
                    </a:lnTo>
                    <a:lnTo>
                      <a:pt x="55340" y="132778"/>
                    </a:lnTo>
                    <a:lnTo>
                      <a:pt x="55340" y="148876"/>
                    </a:lnTo>
                    <a:lnTo>
                      <a:pt x="31242" y="172307"/>
                    </a:lnTo>
                    <a:lnTo>
                      <a:pt x="31242" y="195739"/>
                    </a:lnTo>
                    <a:lnTo>
                      <a:pt x="63246" y="195739"/>
                    </a:lnTo>
                    <a:lnTo>
                      <a:pt x="71247" y="203835"/>
                    </a:lnTo>
                    <a:lnTo>
                      <a:pt x="78486" y="219170"/>
                    </a:lnTo>
                    <a:lnTo>
                      <a:pt x="47149" y="227266"/>
                    </a:lnTo>
                    <a:lnTo>
                      <a:pt x="63151" y="242697"/>
                    </a:lnTo>
                    <a:lnTo>
                      <a:pt x="71152" y="258794"/>
                    </a:lnTo>
                    <a:lnTo>
                      <a:pt x="71152" y="266128"/>
                    </a:lnTo>
                    <a:lnTo>
                      <a:pt x="63151" y="266128"/>
                    </a:lnTo>
                    <a:lnTo>
                      <a:pt x="63151" y="274130"/>
                    </a:lnTo>
                    <a:lnTo>
                      <a:pt x="86487" y="289560"/>
                    </a:lnTo>
                    <a:lnTo>
                      <a:pt x="101822" y="305657"/>
                    </a:lnTo>
                    <a:lnTo>
                      <a:pt x="114205" y="323945"/>
                    </a:lnTo>
                    <a:cubicBezTo>
                      <a:pt x="115633" y="323945"/>
                      <a:pt x="117157" y="324707"/>
                      <a:pt x="120777" y="325374"/>
                    </a:cubicBezTo>
                    <a:lnTo>
                      <a:pt x="121444" y="325374"/>
                    </a:lnTo>
                    <a:lnTo>
                      <a:pt x="125825" y="320992"/>
                    </a:lnTo>
                    <a:lnTo>
                      <a:pt x="125825" y="327565"/>
                    </a:lnTo>
                    <a:cubicBezTo>
                      <a:pt x="126492" y="328326"/>
                      <a:pt x="127254" y="328326"/>
                      <a:pt x="128016" y="328993"/>
                    </a:cubicBezTo>
                    <a:lnTo>
                      <a:pt x="130969" y="325374"/>
                    </a:lnTo>
                    <a:lnTo>
                      <a:pt x="144780" y="327565"/>
                    </a:lnTo>
                    <a:lnTo>
                      <a:pt x="154210" y="326803"/>
                    </a:lnTo>
                    <a:lnTo>
                      <a:pt x="167354" y="326803"/>
                    </a:lnTo>
                    <a:lnTo>
                      <a:pt x="174593" y="324612"/>
                    </a:lnTo>
                    <a:lnTo>
                      <a:pt x="173831" y="320230"/>
                    </a:lnTo>
                    <a:lnTo>
                      <a:pt x="172403" y="315849"/>
                    </a:lnTo>
                    <a:lnTo>
                      <a:pt x="178213" y="311467"/>
                    </a:lnTo>
                    <a:lnTo>
                      <a:pt x="185452" y="305562"/>
                    </a:lnTo>
                    <a:lnTo>
                      <a:pt x="187643" y="304800"/>
                    </a:lnTo>
                    <a:lnTo>
                      <a:pt x="187643" y="308419"/>
                    </a:lnTo>
                    <a:lnTo>
                      <a:pt x="190595" y="306991"/>
                    </a:lnTo>
                    <a:lnTo>
                      <a:pt x="193548" y="306229"/>
                    </a:lnTo>
                    <a:lnTo>
                      <a:pt x="191357" y="303276"/>
                    </a:lnTo>
                    <a:lnTo>
                      <a:pt x="194215" y="301847"/>
                    </a:lnTo>
                    <a:lnTo>
                      <a:pt x="194977" y="298228"/>
                    </a:lnTo>
                    <a:lnTo>
                      <a:pt x="192024" y="296799"/>
                    </a:lnTo>
                    <a:lnTo>
                      <a:pt x="192024" y="294608"/>
                    </a:lnTo>
                    <a:lnTo>
                      <a:pt x="194215" y="292417"/>
                    </a:lnTo>
                    <a:lnTo>
                      <a:pt x="193548" y="290226"/>
                    </a:lnTo>
                    <a:lnTo>
                      <a:pt x="187738" y="288798"/>
                    </a:lnTo>
                    <a:lnTo>
                      <a:pt x="184785" y="284416"/>
                    </a:lnTo>
                    <a:lnTo>
                      <a:pt x="186214" y="282226"/>
                    </a:lnTo>
                    <a:lnTo>
                      <a:pt x="188404" y="285178"/>
                    </a:lnTo>
                    <a:lnTo>
                      <a:pt x="190595" y="283750"/>
                    </a:lnTo>
                    <a:lnTo>
                      <a:pt x="194215" y="284512"/>
                    </a:lnTo>
                    <a:lnTo>
                      <a:pt x="197168" y="282321"/>
                    </a:lnTo>
                    <a:lnTo>
                      <a:pt x="202978" y="278701"/>
                    </a:lnTo>
                    <a:lnTo>
                      <a:pt x="205169" y="277273"/>
                    </a:lnTo>
                    <a:lnTo>
                      <a:pt x="205930" y="274320"/>
                    </a:lnTo>
                    <a:lnTo>
                      <a:pt x="209550" y="272891"/>
                    </a:lnTo>
                    <a:lnTo>
                      <a:pt x="213170" y="276511"/>
                    </a:lnTo>
                    <a:lnTo>
                      <a:pt x="216122" y="281654"/>
                    </a:lnTo>
                    <a:lnTo>
                      <a:pt x="216789" y="285369"/>
                    </a:lnTo>
                    <a:lnTo>
                      <a:pt x="216789" y="287559"/>
                    </a:lnTo>
                    <a:lnTo>
                      <a:pt x="211646" y="290513"/>
                    </a:lnTo>
                    <a:lnTo>
                      <a:pt x="212407" y="292703"/>
                    </a:lnTo>
                    <a:lnTo>
                      <a:pt x="217551" y="293465"/>
                    </a:lnTo>
                    <a:lnTo>
                      <a:pt x="220504" y="296418"/>
                    </a:lnTo>
                    <a:lnTo>
                      <a:pt x="224885" y="294989"/>
                    </a:lnTo>
                    <a:lnTo>
                      <a:pt x="228505" y="296418"/>
                    </a:lnTo>
                    <a:lnTo>
                      <a:pt x="232124" y="294227"/>
                    </a:lnTo>
                    <a:lnTo>
                      <a:pt x="233553" y="296418"/>
                    </a:lnTo>
                    <a:lnTo>
                      <a:pt x="231362" y="299371"/>
                    </a:lnTo>
                    <a:lnTo>
                      <a:pt x="235744" y="298609"/>
                    </a:lnTo>
                    <a:lnTo>
                      <a:pt x="237172" y="299371"/>
                    </a:lnTo>
                    <a:lnTo>
                      <a:pt x="235744" y="311848"/>
                    </a:lnTo>
                    <a:lnTo>
                      <a:pt x="235744" y="316992"/>
                    </a:lnTo>
                    <a:lnTo>
                      <a:pt x="238696" y="317754"/>
                    </a:lnTo>
                    <a:lnTo>
                      <a:pt x="240125" y="316325"/>
                    </a:lnTo>
                    <a:lnTo>
                      <a:pt x="240887" y="314134"/>
                    </a:lnTo>
                    <a:lnTo>
                      <a:pt x="243078" y="314896"/>
                    </a:lnTo>
                    <a:lnTo>
                      <a:pt x="244507" y="317849"/>
                    </a:lnTo>
                    <a:lnTo>
                      <a:pt x="244507" y="325183"/>
                    </a:lnTo>
                    <a:lnTo>
                      <a:pt x="243840" y="328898"/>
                    </a:lnTo>
                    <a:lnTo>
                      <a:pt x="246793" y="330327"/>
                    </a:lnTo>
                    <a:lnTo>
                      <a:pt x="250412" y="330327"/>
                    </a:lnTo>
                    <a:lnTo>
                      <a:pt x="253365" y="331756"/>
                    </a:lnTo>
                    <a:lnTo>
                      <a:pt x="256985" y="334708"/>
                    </a:lnTo>
                    <a:lnTo>
                      <a:pt x="259937" y="335470"/>
                    </a:lnTo>
                    <a:lnTo>
                      <a:pt x="259271" y="342805"/>
                    </a:lnTo>
                    <a:lnTo>
                      <a:pt x="259271" y="346424"/>
                    </a:lnTo>
                    <a:lnTo>
                      <a:pt x="256318" y="347186"/>
                    </a:lnTo>
                    <a:lnTo>
                      <a:pt x="257746" y="350806"/>
                    </a:lnTo>
                    <a:lnTo>
                      <a:pt x="255556" y="353758"/>
                    </a:lnTo>
                    <a:lnTo>
                      <a:pt x="256985" y="354520"/>
                    </a:lnTo>
                    <a:lnTo>
                      <a:pt x="259175" y="353758"/>
                    </a:lnTo>
                    <a:lnTo>
                      <a:pt x="262795" y="355949"/>
                    </a:lnTo>
                    <a:lnTo>
                      <a:pt x="264986" y="354520"/>
                    </a:lnTo>
                    <a:lnTo>
                      <a:pt x="268605" y="355949"/>
                    </a:lnTo>
                    <a:lnTo>
                      <a:pt x="270796" y="355949"/>
                    </a:lnTo>
                    <a:lnTo>
                      <a:pt x="274415" y="358902"/>
                    </a:lnTo>
                    <a:lnTo>
                      <a:pt x="277273" y="361093"/>
                    </a:lnTo>
                    <a:lnTo>
                      <a:pt x="278702" y="364045"/>
                    </a:lnTo>
                    <a:lnTo>
                      <a:pt x="280130" y="366236"/>
                    </a:lnTo>
                    <a:lnTo>
                      <a:pt x="283750" y="364045"/>
                    </a:lnTo>
                    <a:lnTo>
                      <a:pt x="286703" y="362617"/>
                    </a:lnTo>
                    <a:lnTo>
                      <a:pt x="289560" y="364045"/>
                    </a:lnTo>
                    <a:lnTo>
                      <a:pt x="290322" y="367760"/>
                    </a:lnTo>
                    <a:lnTo>
                      <a:pt x="287369" y="370713"/>
                    </a:lnTo>
                    <a:lnTo>
                      <a:pt x="287369" y="373666"/>
                    </a:lnTo>
                    <a:lnTo>
                      <a:pt x="285179" y="376618"/>
                    </a:lnTo>
                    <a:lnTo>
                      <a:pt x="285179" y="378809"/>
                    </a:lnTo>
                    <a:lnTo>
                      <a:pt x="280797" y="381000"/>
                    </a:lnTo>
                    <a:lnTo>
                      <a:pt x="279368" y="387572"/>
                    </a:lnTo>
                    <a:lnTo>
                      <a:pt x="275749" y="389763"/>
                    </a:lnTo>
                    <a:lnTo>
                      <a:pt x="273558" y="392716"/>
                    </a:lnTo>
                    <a:lnTo>
                      <a:pt x="273558" y="397859"/>
                    </a:lnTo>
                    <a:lnTo>
                      <a:pt x="314325" y="392716"/>
                    </a:lnTo>
                    <a:lnTo>
                      <a:pt x="329660" y="392716"/>
                    </a:lnTo>
                    <a:lnTo>
                      <a:pt x="329660" y="361188"/>
                    </a:lnTo>
                    <a:lnTo>
                      <a:pt x="321659" y="353092"/>
                    </a:lnTo>
                    <a:lnTo>
                      <a:pt x="321659" y="344995"/>
                    </a:lnTo>
                    <a:lnTo>
                      <a:pt x="353663" y="344995"/>
                    </a:lnTo>
                    <a:lnTo>
                      <a:pt x="360902" y="337661"/>
                    </a:lnTo>
                    <a:lnTo>
                      <a:pt x="360902" y="306133"/>
                    </a:lnTo>
                    <a:lnTo>
                      <a:pt x="353663" y="298037"/>
                    </a:lnTo>
                    <a:close/>
                  </a:path>
                </a:pathLst>
              </a:custGeom>
              <a:noFill/>
              <a:ln w="4763"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7A13619C-908A-3F51-1A1C-891A44ED1500}"/>
                  </a:ext>
                </a:extLst>
              </p:cNvPr>
              <p:cNvSpPr/>
              <p:nvPr/>
            </p:nvSpPr>
            <p:spPr>
              <a:xfrm>
                <a:off x="4412456" y="1493043"/>
                <a:ext cx="3366706" cy="3874008"/>
              </a:xfrm>
              <a:custGeom>
                <a:avLst/>
                <a:gdLst>
                  <a:gd name="connsiteX0" fmla="*/ 0 w 3366706"/>
                  <a:gd name="connsiteY0" fmla="*/ 0 h 3874008"/>
                  <a:gd name="connsiteX1" fmla="*/ 3366707 w 3366706"/>
                  <a:gd name="connsiteY1" fmla="*/ 0 h 3874008"/>
                  <a:gd name="connsiteX2" fmla="*/ 3366707 w 3366706"/>
                  <a:gd name="connsiteY2" fmla="*/ 3874008 h 3874008"/>
                  <a:gd name="connsiteX3" fmla="*/ 0 w 3366706"/>
                  <a:gd name="connsiteY3" fmla="*/ 3874008 h 3874008"/>
                </a:gdLst>
                <a:ahLst/>
                <a:cxnLst>
                  <a:cxn ang="0">
                    <a:pos x="connsiteX0" y="connsiteY0"/>
                  </a:cxn>
                  <a:cxn ang="0">
                    <a:pos x="connsiteX1" y="connsiteY1"/>
                  </a:cxn>
                  <a:cxn ang="0">
                    <a:pos x="connsiteX2" y="connsiteY2"/>
                  </a:cxn>
                  <a:cxn ang="0">
                    <a:pos x="connsiteX3" y="connsiteY3"/>
                  </a:cxn>
                </a:cxnLst>
                <a:rect l="l" t="t" r="r" b="b"/>
                <a:pathLst>
                  <a:path w="3366706" h="3874008">
                    <a:moveTo>
                      <a:pt x="0" y="0"/>
                    </a:moveTo>
                    <a:lnTo>
                      <a:pt x="3366707" y="0"/>
                    </a:lnTo>
                    <a:lnTo>
                      <a:pt x="3366707" y="3874008"/>
                    </a:lnTo>
                    <a:lnTo>
                      <a:pt x="0" y="3874008"/>
                    </a:lnTo>
                    <a:close/>
                  </a:path>
                </a:pathLst>
              </a:custGeom>
              <a:noFill/>
              <a:ln w="4763"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BC2C9D28-A798-3B73-16E3-D68E9D5AB04A}"/>
                  </a:ext>
                </a:extLst>
              </p:cNvPr>
              <p:cNvSpPr/>
              <p:nvPr/>
            </p:nvSpPr>
            <p:spPr>
              <a:xfrm>
                <a:off x="6966966" y="3954588"/>
                <a:ext cx="810386" cy="484917"/>
              </a:xfrm>
              <a:custGeom>
                <a:avLst/>
                <a:gdLst>
                  <a:gd name="connsiteX0" fmla="*/ 508445 w 810386"/>
                  <a:gd name="connsiteY0" fmla="*/ 0 h 484917"/>
                  <a:gd name="connsiteX1" fmla="*/ 500539 w 810386"/>
                  <a:gd name="connsiteY1" fmla="*/ 8001 h 484917"/>
                  <a:gd name="connsiteX2" fmla="*/ 500539 w 810386"/>
                  <a:gd name="connsiteY2" fmla="*/ 15907 h 484917"/>
                  <a:gd name="connsiteX3" fmla="*/ 484632 w 810386"/>
                  <a:gd name="connsiteY3" fmla="*/ 31813 h 484917"/>
                  <a:gd name="connsiteX4" fmla="*/ 460820 w 810386"/>
                  <a:gd name="connsiteY4" fmla="*/ 31813 h 484917"/>
                  <a:gd name="connsiteX5" fmla="*/ 452819 w 810386"/>
                  <a:gd name="connsiteY5" fmla="*/ 23813 h 484917"/>
                  <a:gd name="connsiteX6" fmla="*/ 444913 w 810386"/>
                  <a:gd name="connsiteY6" fmla="*/ 39814 h 484917"/>
                  <a:gd name="connsiteX7" fmla="*/ 413099 w 810386"/>
                  <a:gd name="connsiteY7" fmla="*/ 31813 h 484917"/>
                  <a:gd name="connsiteX8" fmla="*/ 413099 w 810386"/>
                  <a:gd name="connsiteY8" fmla="*/ 39814 h 484917"/>
                  <a:gd name="connsiteX9" fmla="*/ 397193 w 810386"/>
                  <a:gd name="connsiteY9" fmla="*/ 55626 h 484917"/>
                  <a:gd name="connsiteX10" fmla="*/ 381286 w 810386"/>
                  <a:gd name="connsiteY10" fmla="*/ 55626 h 484917"/>
                  <a:gd name="connsiteX11" fmla="*/ 349568 w 810386"/>
                  <a:gd name="connsiteY11" fmla="*/ 23813 h 484917"/>
                  <a:gd name="connsiteX12" fmla="*/ 341662 w 810386"/>
                  <a:gd name="connsiteY12" fmla="*/ 23813 h 484917"/>
                  <a:gd name="connsiteX13" fmla="*/ 325755 w 810386"/>
                  <a:gd name="connsiteY13" fmla="*/ 31813 h 484917"/>
                  <a:gd name="connsiteX14" fmla="*/ 317754 w 810386"/>
                  <a:gd name="connsiteY14" fmla="*/ 31813 h 484917"/>
                  <a:gd name="connsiteX15" fmla="*/ 301943 w 810386"/>
                  <a:gd name="connsiteY15" fmla="*/ 39814 h 484917"/>
                  <a:gd name="connsiteX16" fmla="*/ 293941 w 810386"/>
                  <a:gd name="connsiteY16" fmla="*/ 31813 h 484917"/>
                  <a:gd name="connsiteX17" fmla="*/ 262223 w 810386"/>
                  <a:gd name="connsiteY17" fmla="*/ 31813 h 484917"/>
                  <a:gd name="connsiteX18" fmla="*/ 254222 w 810386"/>
                  <a:gd name="connsiteY18" fmla="*/ 23813 h 484917"/>
                  <a:gd name="connsiteX19" fmla="*/ 222409 w 810386"/>
                  <a:gd name="connsiteY19" fmla="*/ 23813 h 484917"/>
                  <a:gd name="connsiteX20" fmla="*/ 198596 w 810386"/>
                  <a:gd name="connsiteY20" fmla="*/ 47720 h 484917"/>
                  <a:gd name="connsiteX21" fmla="*/ 158877 w 810386"/>
                  <a:gd name="connsiteY21" fmla="*/ 47720 h 484917"/>
                  <a:gd name="connsiteX22" fmla="*/ 142970 w 810386"/>
                  <a:gd name="connsiteY22" fmla="*/ 63627 h 484917"/>
                  <a:gd name="connsiteX23" fmla="*/ 142970 w 810386"/>
                  <a:gd name="connsiteY23" fmla="*/ 119253 h 484917"/>
                  <a:gd name="connsiteX24" fmla="*/ 119158 w 810386"/>
                  <a:gd name="connsiteY24" fmla="*/ 143066 h 484917"/>
                  <a:gd name="connsiteX25" fmla="*/ 103346 w 810386"/>
                  <a:gd name="connsiteY25" fmla="*/ 151067 h 484917"/>
                  <a:gd name="connsiteX26" fmla="*/ 95345 w 810386"/>
                  <a:gd name="connsiteY26" fmla="*/ 158972 h 484917"/>
                  <a:gd name="connsiteX27" fmla="*/ 95345 w 810386"/>
                  <a:gd name="connsiteY27" fmla="*/ 182880 h 484917"/>
                  <a:gd name="connsiteX28" fmla="*/ 87344 w 810386"/>
                  <a:gd name="connsiteY28" fmla="*/ 190786 h 484917"/>
                  <a:gd name="connsiteX29" fmla="*/ 71533 w 810386"/>
                  <a:gd name="connsiteY29" fmla="*/ 198787 h 484917"/>
                  <a:gd name="connsiteX30" fmla="*/ 63532 w 810386"/>
                  <a:gd name="connsiteY30" fmla="*/ 206693 h 484917"/>
                  <a:gd name="connsiteX31" fmla="*/ 39719 w 810386"/>
                  <a:gd name="connsiteY31" fmla="*/ 198787 h 484917"/>
                  <a:gd name="connsiteX32" fmla="*/ 39719 w 810386"/>
                  <a:gd name="connsiteY32" fmla="*/ 222599 h 484917"/>
                  <a:gd name="connsiteX33" fmla="*/ 0 w 810386"/>
                  <a:gd name="connsiteY33" fmla="*/ 230505 h 484917"/>
                  <a:gd name="connsiteX34" fmla="*/ 7906 w 810386"/>
                  <a:gd name="connsiteY34" fmla="*/ 230505 h 484917"/>
                  <a:gd name="connsiteX35" fmla="*/ 39719 w 810386"/>
                  <a:gd name="connsiteY35" fmla="*/ 254413 h 484917"/>
                  <a:gd name="connsiteX36" fmla="*/ 47720 w 810386"/>
                  <a:gd name="connsiteY36" fmla="*/ 254413 h 484917"/>
                  <a:gd name="connsiteX37" fmla="*/ 63532 w 810386"/>
                  <a:gd name="connsiteY37" fmla="*/ 302038 h 484917"/>
                  <a:gd name="connsiteX38" fmla="*/ 71533 w 810386"/>
                  <a:gd name="connsiteY38" fmla="*/ 310039 h 484917"/>
                  <a:gd name="connsiteX39" fmla="*/ 79438 w 810386"/>
                  <a:gd name="connsiteY39" fmla="*/ 310039 h 484917"/>
                  <a:gd name="connsiteX40" fmla="*/ 87344 w 810386"/>
                  <a:gd name="connsiteY40" fmla="*/ 302038 h 484917"/>
                  <a:gd name="connsiteX41" fmla="*/ 95345 w 810386"/>
                  <a:gd name="connsiteY41" fmla="*/ 302038 h 484917"/>
                  <a:gd name="connsiteX42" fmla="*/ 111252 w 810386"/>
                  <a:gd name="connsiteY42" fmla="*/ 310039 h 484917"/>
                  <a:gd name="connsiteX43" fmla="*/ 111252 w 810386"/>
                  <a:gd name="connsiteY43" fmla="*/ 333851 h 484917"/>
                  <a:gd name="connsiteX44" fmla="*/ 103346 w 810386"/>
                  <a:gd name="connsiteY44" fmla="*/ 341852 h 484917"/>
                  <a:gd name="connsiteX45" fmla="*/ 119158 w 810386"/>
                  <a:gd name="connsiteY45" fmla="*/ 365665 h 484917"/>
                  <a:gd name="connsiteX46" fmla="*/ 150971 w 810386"/>
                  <a:gd name="connsiteY46" fmla="*/ 373666 h 484917"/>
                  <a:gd name="connsiteX47" fmla="*/ 158877 w 810386"/>
                  <a:gd name="connsiteY47" fmla="*/ 381571 h 484917"/>
                  <a:gd name="connsiteX48" fmla="*/ 190690 w 810386"/>
                  <a:gd name="connsiteY48" fmla="*/ 373666 h 484917"/>
                  <a:gd name="connsiteX49" fmla="*/ 222409 w 810386"/>
                  <a:gd name="connsiteY49" fmla="*/ 381571 h 484917"/>
                  <a:gd name="connsiteX50" fmla="*/ 214503 w 810386"/>
                  <a:gd name="connsiteY50" fmla="*/ 389477 h 484917"/>
                  <a:gd name="connsiteX51" fmla="*/ 206597 w 810386"/>
                  <a:gd name="connsiteY51" fmla="*/ 405384 h 484917"/>
                  <a:gd name="connsiteX52" fmla="*/ 214503 w 810386"/>
                  <a:gd name="connsiteY52" fmla="*/ 413385 h 484917"/>
                  <a:gd name="connsiteX53" fmla="*/ 214503 w 810386"/>
                  <a:gd name="connsiteY53" fmla="*/ 429292 h 484917"/>
                  <a:gd name="connsiteX54" fmla="*/ 246316 w 810386"/>
                  <a:gd name="connsiteY54" fmla="*/ 429292 h 484917"/>
                  <a:gd name="connsiteX55" fmla="*/ 254222 w 810386"/>
                  <a:gd name="connsiteY55" fmla="*/ 437197 h 484917"/>
                  <a:gd name="connsiteX56" fmla="*/ 246316 w 810386"/>
                  <a:gd name="connsiteY56" fmla="*/ 445199 h 484917"/>
                  <a:gd name="connsiteX57" fmla="*/ 246316 w 810386"/>
                  <a:gd name="connsiteY57" fmla="*/ 453104 h 484917"/>
                  <a:gd name="connsiteX58" fmla="*/ 238315 w 810386"/>
                  <a:gd name="connsiteY58" fmla="*/ 461010 h 484917"/>
                  <a:gd name="connsiteX59" fmla="*/ 246316 w 810386"/>
                  <a:gd name="connsiteY59" fmla="*/ 469011 h 484917"/>
                  <a:gd name="connsiteX60" fmla="*/ 270129 w 810386"/>
                  <a:gd name="connsiteY60" fmla="*/ 469011 h 484917"/>
                  <a:gd name="connsiteX61" fmla="*/ 286036 w 810386"/>
                  <a:gd name="connsiteY61" fmla="*/ 453104 h 484917"/>
                  <a:gd name="connsiteX62" fmla="*/ 317754 w 810386"/>
                  <a:gd name="connsiteY62" fmla="*/ 469011 h 484917"/>
                  <a:gd name="connsiteX63" fmla="*/ 333661 w 810386"/>
                  <a:gd name="connsiteY63" fmla="*/ 469011 h 484917"/>
                  <a:gd name="connsiteX64" fmla="*/ 341662 w 810386"/>
                  <a:gd name="connsiteY64" fmla="*/ 476917 h 484917"/>
                  <a:gd name="connsiteX65" fmla="*/ 373380 w 810386"/>
                  <a:gd name="connsiteY65" fmla="*/ 476917 h 484917"/>
                  <a:gd name="connsiteX66" fmla="*/ 381286 w 810386"/>
                  <a:gd name="connsiteY66" fmla="*/ 469011 h 484917"/>
                  <a:gd name="connsiteX67" fmla="*/ 381286 w 810386"/>
                  <a:gd name="connsiteY67" fmla="*/ 461010 h 484917"/>
                  <a:gd name="connsiteX68" fmla="*/ 405194 w 810386"/>
                  <a:gd name="connsiteY68" fmla="*/ 469011 h 484917"/>
                  <a:gd name="connsiteX69" fmla="*/ 436912 w 810386"/>
                  <a:gd name="connsiteY69" fmla="*/ 469011 h 484917"/>
                  <a:gd name="connsiteX70" fmla="*/ 444913 w 810386"/>
                  <a:gd name="connsiteY70" fmla="*/ 476917 h 484917"/>
                  <a:gd name="connsiteX71" fmla="*/ 460820 w 810386"/>
                  <a:gd name="connsiteY71" fmla="*/ 484918 h 484917"/>
                  <a:gd name="connsiteX72" fmla="*/ 484632 w 810386"/>
                  <a:gd name="connsiteY72" fmla="*/ 484918 h 484917"/>
                  <a:gd name="connsiteX73" fmla="*/ 492538 w 810386"/>
                  <a:gd name="connsiteY73" fmla="*/ 476917 h 484917"/>
                  <a:gd name="connsiteX74" fmla="*/ 492538 w 810386"/>
                  <a:gd name="connsiteY74" fmla="*/ 461010 h 484917"/>
                  <a:gd name="connsiteX75" fmla="*/ 500539 w 810386"/>
                  <a:gd name="connsiteY75" fmla="*/ 453104 h 484917"/>
                  <a:gd name="connsiteX76" fmla="*/ 508445 w 810386"/>
                  <a:gd name="connsiteY76" fmla="*/ 453104 h 484917"/>
                  <a:gd name="connsiteX77" fmla="*/ 524351 w 810386"/>
                  <a:gd name="connsiteY77" fmla="*/ 445199 h 484917"/>
                  <a:gd name="connsiteX78" fmla="*/ 532257 w 810386"/>
                  <a:gd name="connsiteY78" fmla="*/ 445199 h 484917"/>
                  <a:gd name="connsiteX79" fmla="*/ 532257 w 810386"/>
                  <a:gd name="connsiteY79" fmla="*/ 437197 h 484917"/>
                  <a:gd name="connsiteX80" fmla="*/ 571976 w 810386"/>
                  <a:gd name="connsiteY80" fmla="*/ 445199 h 484917"/>
                  <a:gd name="connsiteX81" fmla="*/ 571976 w 810386"/>
                  <a:gd name="connsiteY81" fmla="*/ 429292 h 484917"/>
                  <a:gd name="connsiteX82" fmla="*/ 579977 w 810386"/>
                  <a:gd name="connsiteY82" fmla="*/ 429292 h 484917"/>
                  <a:gd name="connsiteX83" fmla="*/ 595884 w 810386"/>
                  <a:gd name="connsiteY83" fmla="*/ 437197 h 484917"/>
                  <a:gd name="connsiteX84" fmla="*/ 611696 w 810386"/>
                  <a:gd name="connsiteY84" fmla="*/ 437197 h 484917"/>
                  <a:gd name="connsiteX85" fmla="*/ 627602 w 810386"/>
                  <a:gd name="connsiteY85" fmla="*/ 445199 h 484917"/>
                  <a:gd name="connsiteX86" fmla="*/ 659416 w 810386"/>
                  <a:gd name="connsiteY86" fmla="*/ 445199 h 484917"/>
                  <a:gd name="connsiteX87" fmla="*/ 683228 w 810386"/>
                  <a:gd name="connsiteY87" fmla="*/ 469011 h 484917"/>
                  <a:gd name="connsiteX88" fmla="*/ 691134 w 810386"/>
                  <a:gd name="connsiteY88" fmla="*/ 476917 h 484917"/>
                  <a:gd name="connsiteX89" fmla="*/ 715042 w 810386"/>
                  <a:gd name="connsiteY89" fmla="*/ 476917 h 484917"/>
                  <a:gd name="connsiteX90" fmla="*/ 715042 w 810386"/>
                  <a:gd name="connsiteY90" fmla="*/ 421291 h 484917"/>
                  <a:gd name="connsiteX91" fmla="*/ 722947 w 810386"/>
                  <a:gd name="connsiteY91" fmla="*/ 413385 h 484917"/>
                  <a:gd name="connsiteX92" fmla="*/ 738854 w 810386"/>
                  <a:gd name="connsiteY92" fmla="*/ 389477 h 484917"/>
                  <a:gd name="connsiteX93" fmla="*/ 746760 w 810386"/>
                  <a:gd name="connsiteY93" fmla="*/ 373666 h 484917"/>
                  <a:gd name="connsiteX94" fmla="*/ 754761 w 810386"/>
                  <a:gd name="connsiteY94" fmla="*/ 365665 h 484917"/>
                  <a:gd name="connsiteX95" fmla="*/ 802386 w 810386"/>
                  <a:gd name="connsiteY95" fmla="*/ 365665 h 484917"/>
                  <a:gd name="connsiteX96" fmla="*/ 810387 w 810386"/>
                  <a:gd name="connsiteY96" fmla="*/ 357664 h 484917"/>
                  <a:gd name="connsiteX97" fmla="*/ 810387 w 810386"/>
                  <a:gd name="connsiteY97" fmla="*/ 341852 h 484917"/>
                  <a:gd name="connsiteX98" fmla="*/ 794385 w 810386"/>
                  <a:gd name="connsiteY98" fmla="*/ 294132 h 484917"/>
                  <a:gd name="connsiteX99" fmla="*/ 794385 w 810386"/>
                  <a:gd name="connsiteY99" fmla="*/ 286226 h 484917"/>
                  <a:gd name="connsiteX100" fmla="*/ 786479 w 810386"/>
                  <a:gd name="connsiteY100" fmla="*/ 286226 h 484917"/>
                  <a:gd name="connsiteX101" fmla="*/ 778573 w 810386"/>
                  <a:gd name="connsiteY101" fmla="*/ 294132 h 484917"/>
                  <a:gd name="connsiteX102" fmla="*/ 754761 w 810386"/>
                  <a:gd name="connsiteY102" fmla="*/ 294132 h 484917"/>
                  <a:gd name="connsiteX103" fmla="*/ 746760 w 810386"/>
                  <a:gd name="connsiteY103" fmla="*/ 302038 h 484917"/>
                  <a:gd name="connsiteX104" fmla="*/ 738854 w 810386"/>
                  <a:gd name="connsiteY104" fmla="*/ 302038 h 484917"/>
                  <a:gd name="connsiteX105" fmla="*/ 730853 w 810386"/>
                  <a:gd name="connsiteY105" fmla="*/ 310039 h 484917"/>
                  <a:gd name="connsiteX106" fmla="*/ 691134 w 810386"/>
                  <a:gd name="connsiteY106" fmla="*/ 310039 h 484917"/>
                  <a:gd name="connsiteX107" fmla="*/ 675322 w 810386"/>
                  <a:gd name="connsiteY107" fmla="*/ 294132 h 484917"/>
                  <a:gd name="connsiteX108" fmla="*/ 675322 w 810386"/>
                  <a:gd name="connsiteY108" fmla="*/ 262319 h 484917"/>
                  <a:gd name="connsiteX109" fmla="*/ 667322 w 810386"/>
                  <a:gd name="connsiteY109" fmla="*/ 254413 h 484917"/>
                  <a:gd name="connsiteX110" fmla="*/ 659416 w 810386"/>
                  <a:gd name="connsiteY110" fmla="*/ 238506 h 484917"/>
                  <a:gd name="connsiteX111" fmla="*/ 659416 w 810386"/>
                  <a:gd name="connsiteY111" fmla="*/ 222599 h 484917"/>
                  <a:gd name="connsiteX112" fmla="*/ 667322 w 810386"/>
                  <a:gd name="connsiteY112" fmla="*/ 214598 h 484917"/>
                  <a:gd name="connsiteX113" fmla="*/ 667322 w 810386"/>
                  <a:gd name="connsiteY113" fmla="*/ 198787 h 484917"/>
                  <a:gd name="connsiteX114" fmla="*/ 675322 w 810386"/>
                  <a:gd name="connsiteY114" fmla="*/ 190786 h 484917"/>
                  <a:gd name="connsiteX115" fmla="*/ 667322 w 810386"/>
                  <a:gd name="connsiteY115" fmla="*/ 190786 h 484917"/>
                  <a:gd name="connsiteX116" fmla="*/ 667322 w 810386"/>
                  <a:gd name="connsiteY116" fmla="*/ 135160 h 484917"/>
                  <a:gd name="connsiteX117" fmla="*/ 659416 w 810386"/>
                  <a:gd name="connsiteY117" fmla="*/ 127254 h 484917"/>
                  <a:gd name="connsiteX118" fmla="*/ 635603 w 810386"/>
                  <a:gd name="connsiteY118" fmla="*/ 127254 h 484917"/>
                  <a:gd name="connsiteX119" fmla="*/ 627602 w 810386"/>
                  <a:gd name="connsiteY119" fmla="*/ 103346 h 484917"/>
                  <a:gd name="connsiteX120" fmla="*/ 611696 w 810386"/>
                  <a:gd name="connsiteY120" fmla="*/ 103346 h 484917"/>
                  <a:gd name="connsiteX121" fmla="*/ 603790 w 810386"/>
                  <a:gd name="connsiteY121" fmla="*/ 71533 h 484917"/>
                  <a:gd name="connsiteX122" fmla="*/ 571976 w 810386"/>
                  <a:gd name="connsiteY122" fmla="*/ 55626 h 484917"/>
                  <a:gd name="connsiteX123" fmla="*/ 571976 w 810386"/>
                  <a:gd name="connsiteY123" fmla="*/ 39814 h 484917"/>
                  <a:gd name="connsiteX124" fmla="*/ 564071 w 810386"/>
                  <a:gd name="connsiteY124" fmla="*/ 31813 h 484917"/>
                  <a:gd name="connsiteX125" fmla="*/ 556165 w 810386"/>
                  <a:gd name="connsiteY125" fmla="*/ 15907 h 484917"/>
                  <a:gd name="connsiteX126" fmla="*/ 548164 w 810386"/>
                  <a:gd name="connsiteY126" fmla="*/ 8001 h 484917"/>
                  <a:gd name="connsiteX127" fmla="*/ 524351 w 810386"/>
                  <a:gd name="connsiteY127" fmla="*/ 0 h 484917"/>
                  <a:gd name="connsiteX128" fmla="*/ 508445 w 810386"/>
                  <a:gd name="connsiteY128" fmla="*/ 0 h 48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810386" h="484917">
                    <a:moveTo>
                      <a:pt x="508445" y="0"/>
                    </a:moveTo>
                    <a:lnTo>
                      <a:pt x="500539" y="8001"/>
                    </a:lnTo>
                    <a:lnTo>
                      <a:pt x="500539" y="15907"/>
                    </a:lnTo>
                    <a:lnTo>
                      <a:pt x="484632" y="31813"/>
                    </a:lnTo>
                    <a:lnTo>
                      <a:pt x="460820" y="31813"/>
                    </a:lnTo>
                    <a:lnTo>
                      <a:pt x="452819" y="23813"/>
                    </a:lnTo>
                    <a:lnTo>
                      <a:pt x="444913" y="39814"/>
                    </a:lnTo>
                    <a:lnTo>
                      <a:pt x="413099" y="31813"/>
                    </a:lnTo>
                    <a:lnTo>
                      <a:pt x="413099" y="39814"/>
                    </a:lnTo>
                    <a:lnTo>
                      <a:pt x="397193" y="55626"/>
                    </a:lnTo>
                    <a:lnTo>
                      <a:pt x="381286" y="55626"/>
                    </a:lnTo>
                    <a:lnTo>
                      <a:pt x="349568" y="23813"/>
                    </a:lnTo>
                    <a:lnTo>
                      <a:pt x="341662" y="23813"/>
                    </a:lnTo>
                    <a:lnTo>
                      <a:pt x="325755" y="31813"/>
                    </a:lnTo>
                    <a:lnTo>
                      <a:pt x="317754" y="31813"/>
                    </a:lnTo>
                    <a:lnTo>
                      <a:pt x="301943" y="39814"/>
                    </a:lnTo>
                    <a:lnTo>
                      <a:pt x="293941" y="31813"/>
                    </a:lnTo>
                    <a:lnTo>
                      <a:pt x="262223" y="31813"/>
                    </a:lnTo>
                    <a:lnTo>
                      <a:pt x="254222" y="23813"/>
                    </a:lnTo>
                    <a:lnTo>
                      <a:pt x="222409" y="23813"/>
                    </a:lnTo>
                    <a:lnTo>
                      <a:pt x="198596" y="47720"/>
                    </a:lnTo>
                    <a:lnTo>
                      <a:pt x="158877" y="47720"/>
                    </a:lnTo>
                    <a:lnTo>
                      <a:pt x="142970" y="63627"/>
                    </a:lnTo>
                    <a:lnTo>
                      <a:pt x="142970" y="119253"/>
                    </a:lnTo>
                    <a:lnTo>
                      <a:pt x="119158" y="143066"/>
                    </a:lnTo>
                    <a:lnTo>
                      <a:pt x="103346" y="151067"/>
                    </a:lnTo>
                    <a:lnTo>
                      <a:pt x="95345" y="158972"/>
                    </a:lnTo>
                    <a:lnTo>
                      <a:pt x="95345" y="182880"/>
                    </a:lnTo>
                    <a:lnTo>
                      <a:pt x="87344" y="190786"/>
                    </a:lnTo>
                    <a:lnTo>
                      <a:pt x="71533" y="198787"/>
                    </a:lnTo>
                    <a:lnTo>
                      <a:pt x="63532" y="206693"/>
                    </a:lnTo>
                    <a:lnTo>
                      <a:pt x="39719" y="198787"/>
                    </a:lnTo>
                    <a:lnTo>
                      <a:pt x="39719" y="222599"/>
                    </a:lnTo>
                    <a:lnTo>
                      <a:pt x="0" y="230505"/>
                    </a:lnTo>
                    <a:lnTo>
                      <a:pt x="7906" y="230505"/>
                    </a:lnTo>
                    <a:lnTo>
                      <a:pt x="39719" y="254413"/>
                    </a:lnTo>
                    <a:lnTo>
                      <a:pt x="47720" y="254413"/>
                    </a:lnTo>
                    <a:lnTo>
                      <a:pt x="63532" y="302038"/>
                    </a:lnTo>
                    <a:lnTo>
                      <a:pt x="71533" y="310039"/>
                    </a:lnTo>
                    <a:lnTo>
                      <a:pt x="79438" y="310039"/>
                    </a:lnTo>
                    <a:lnTo>
                      <a:pt x="87344" y="302038"/>
                    </a:lnTo>
                    <a:lnTo>
                      <a:pt x="95345" y="302038"/>
                    </a:lnTo>
                    <a:lnTo>
                      <a:pt x="111252" y="310039"/>
                    </a:lnTo>
                    <a:lnTo>
                      <a:pt x="111252" y="333851"/>
                    </a:lnTo>
                    <a:lnTo>
                      <a:pt x="103346" y="341852"/>
                    </a:lnTo>
                    <a:lnTo>
                      <a:pt x="119158" y="365665"/>
                    </a:lnTo>
                    <a:lnTo>
                      <a:pt x="150971" y="373666"/>
                    </a:lnTo>
                    <a:lnTo>
                      <a:pt x="158877" y="381571"/>
                    </a:lnTo>
                    <a:lnTo>
                      <a:pt x="190690" y="373666"/>
                    </a:lnTo>
                    <a:lnTo>
                      <a:pt x="222409" y="381571"/>
                    </a:lnTo>
                    <a:lnTo>
                      <a:pt x="214503" y="389477"/>
                    </a:lnTo>
                    <a:lnTo>
                      <a:pt x="206597" y="405384"/>
                    </a:lnTo>
                    <a:lnTo>
                      <a:pt x="214503" y="413385"/>
                    </a:lnTo>
                    <a:lnTo>
                      <a:pt x="214503" y="429292"/>
                    </a:lnTo>
                    <a:lnTo>
                      <a:pt x="246316" y="429292"/>
                    </a:lnTo>
                    <a:lnTo>
                      <a:pt x="254222" y="437197"/>
                    </a:lnTo>
                    <a:lnTo>
                      <a:pt x="246316" y="445199"/>
                    </a:lnTo>
                    <a:lnTo>
                      <a:pt x="246316" y="453104"/>
                    </a:lnTo>
                    <a:lnTo>
                      <a:pt x="238315" y="461010"/>
                    </a:lnTo>
                    <a:lnTo>
                      <a:pt x="246316" y="469011"/>
                    </a:lnTo>
                    <a:lnTo>
                      <a:pt x="270129" y="469011"/>
                    </a:lnTo>
                    <a:lnTo>
                      <a:pt x="286036" y="453104"/>
                    </a:lnTo>
                    <a:lnTo>
                      <a:pt x="317754" y="469011"/>
                    </a:lnTo>
                    <a:lnTo>
                      <a:pt x="333661" y="469011"/>
                    </a:lnTo>
                    <a:lnTo>
                      <a:pt x="341662" y="476917"/>
                    </a:lnTo>
                    <a:lnTo>
                      <a:pt x="373380" y="476917"/>
                    </a:lnTo>
                    <a:lnTo>
                      <a:pt x="381286" y="469011"/>
                    </a:lnTo>
                    <a:lnTo>
                      <a:pt x="381286" y="461010"/>
                    </a:lnTo>
                    <a:lnTo>
                      <a:pt x="405194" y="469011"/>
                    </a:lnTo>
                    <a:lnTo>
                      <a:pt x="436912" y="469011"/>
                    </a:lnTo>
                    <a:lnTo>
                      <a:pt x="444913" y="476917"/>
                    </a:lnTo>
                    <a:lnTo>
                      <a:pt x="460820" y="484918"/>
                    </a:lnTo>
                    <a:lnTo>
                      <a:pt x="484632" y="484918"/>
                    </a:lnTo>
                    <a:lnTo>
                      <a:pt x="492538" y="476917"/>
                    </a:lnTo>
                    <a:lnTo>
                      <a:pt x="492538" y="461010"/>
                    </a:lnTo>
                    <a:lnTo>
                      <a:pt x="500539" y="453104"/>
                    </a:lnTo>
                    <a:lnTo>
                      <a:pt x="508445" y="453104"/>
                    </a:lnTo>
                    <a:lnTo>
                      <a:pt x="524351" y="445199"/>
                    </a:lnTo>
                    <a:lnTo>
                      <a:pt x="532257" y="445199"/>
                    </a:lnTo>
                    <a:lnTo>
                      <a:pt x="532257" y="437197"/>
                    </a:lnTo>
                    <a:lnTo>
                      <a:pt x="571976" y="445199"/>
                    </a:lnTo>
                    <a:lnTo>
                      <a:pt x="571976" y="429292"/>
                    </a:lnTo>
                    <a:lnTo>
                      <a:pt x="579977" y="429292"/>
                    </a:lnTo>
                    <a:lnTo>
                      <a:pt x="595884" y="437197"/>
                    </a:lnTo>
                    <a:lnTo>
                      <a:pt x="611696" y="437197"/>
                    </a:lnTo>
                    <a:lnTo>
                      <a:pt x="627602" y="445199"/>
                    </a:lnTo>
                    <a:lnTo>
                      <a:pt x="659416" y="445199"/>
                    </a:lnTo>
                    <a:lnTo>
                      <a:pt x="683228" y="469011"/>
                    </a:lnTo>
                    <a:lnTo>
                      <a:pt x="691134" y="476917"/>
                    </a:lnTo>
                    <a:lnTo>
                      <a:pt x="715042" y="476917"/>
                    </a:lnTo>
                    <a:lnTo>
                      <a:pt x="715042" y="421291"/>
                    </a:lnTo>
                    <a:lnTo>
                      <a:pt x="722947" y="413385"/>
                    </a:lnTo>
                    <a:lnTo>
                      <a:pt x="738854" y="389477"/>
                    </a:lnTo>
                    <a:lnTo>
                      <a:pt x="746760" y="373666"/>
                    </a:lnTo>
                    <a:lnTo>
                      <a:pt x="754761" y="365665"/>
                    </a:lnTo>
                    <a:lnTo>
                      <a:pt x="802386" y="365665"/>
                    </a:lnTo>
                    <a:lnTo>
                      <a:pt x="810387" y="357664"/>
                    </a:lnTo>
                    <a:lnTo>
                      <a:pt x="810387" y="341852"/>
                    </a:lnTo>
                    <a:lnTo>
                      <a:pt x="794385" y="294132"/>
                    </a:lnTo>
                    <a:lnTo>
                      <a:pt x="794385" y="286226"/>
                    </a:lnTo>
                    <a:lnTo>
                      <a:pt x="786479" y="286226"/>
                    </a:lnTo>
                    <a:lnTo>
                      <a:pt x="778573" y="294132"/>
                    </a:lnTo>
                    <a:lnTo>
                      <a:pt x="754761" y="294132"/>
                    </a:lnTo>
                    <a:lnTo>
                      <a:pt x="746760" y="302038"/>
                    </a:lnTo>
                    <a:lnTo>
                      <a:pt x="738854" y="302038"/>
                    </a:lnTo>
                    <a:lnTo>
                      <a:pt x="730853" y="310039"/>
                    </a:lnTo>
                    <a:lnTo>
                      <a:pt x="691134" y="310039"/>
                    </a:lnTo>
                    <a:lnTo>
                      <a:pt x="675322" y="294132"/>
                    </a:lnTo>
                    <a:lnTo>
                      <a:pt x="675322" y="262319"/>
                    </a:lnTo>
                    <a:lnTo>
                      <a:pt x="667322" y="254413"/>
                    </a:lnTo>
                    <a:lnTo>
                      <a:pt x="659416" y="238506"/>
                    </a:lnTo>
                    <a:lnTo>
                      <a:pt x="659416" y="222599"/>
                    </a:lnTo>
                    <a:lnTo>
                      <a:pt x="667322" y="214598"/>
                    </a:lnTo>
                    <a:lnTo>
                      <a:pt x="667322" y="198787"/>
                    </a:lnTo>
                    <a:lnTo>
                      <a:pt x="675322" y="190786"/>
                    </a:lnTo>
                    <a:lnTo>
                      <a:pt x="667322" y="190786"/>
                    </a:lnTo>
                    <a:lnTo>
                      <a:pt x="667322" y="135160"/>
                    </a:lnTo>
                    <a:lnTo>
                      <a:pt x="659416" y="127254"/>
                    </a:lnTo>
                    <a:lnTo>
                      <a:pt x="635603" y="127254"/>
                    </a:lnTo>
                    <a:lnTo>
                      <a:pt x="627602" y="103346"/>
                    </a:lnTo>
                    <a:lnTo>
                      <a:pt x="611696" y="103346"/>
                    </a:lnTo>
                    <a:lnTo>
                      <a:pt x="603790" y="71533"/>
                    </a:lnTo>
                    <a:lnTo>
                      <a:pt x="571976" y="55626"/>
                    </a:lnTo>
                    <a:lnTo>
                      <a:pt x="571976" y="39814"/>
                    </a:lnTo>
                    <a:lnTo>
                      <a:pt x="564071" y="31813"/>
                    </a:lnTo>
                    <a:lnTo>
                      <a:pt x="556165" y="15907"/>
                    </a:lnTo>
                    <a:lnTo>
                      <a:pt x="548164" y="8001"/>
                    </a:lnTo>
                    <a:lnTo>
                      <a:pt x="524351" y="0"/>
                    </a:lnTo>
                    <a:lnTo>
                      <a:pt x="508445" y="0"/>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0C104CB8-684E-052E-AD42-373C784F0A7E}"/>
                  </a:ext>
                </a:extLst>
              </p:cNvPr>
              <p:cNvSpPr/>
              <p:nvPr/>
            </p:nvSpPr>
            <p:spPr>
              <a:xfrm>
                <a:off x="6966966" y="3954588"/>
                <a:ext cx="810386" cy="484917"/>
              </a:xfrm>
              <a:custGeom>
                <a:avLst/>
                <a:gdLst>
                  <a:gd name="connsiteX0" fmla="*/ 683228 w 810386"/>
                  <a:gd name="connsiteY0" fmla="*/ 469011 h 484917"/>
                  <a:gd name="connsiteX1" fmla="*/ 691134 w 810386"/>
                  <a:gd name="connsiteY1" fmla="*/ 476917 h 484917"/>
                  <a:gd name="connsiteX2" fmla="*/ 715042 w 810386"/>
                  <a:gd name="connsiteY2" fmla="*/ 476917 h 484917"/>
                  <a:gd name="connsiteX3" fmla="*/ 715042 w 810386"/>
                  <a:gd name="connsiteY3" fmla="*/ 421291 h 484917"/>
                  <a:gd name="connsiteX4" fmla="*/ 722947 w 810386"/>
                  <a:gd name="connsiteY4" fmla="*/ 413385 h 484917"/>
                  <a:gd name="connsiteX5" fmla="*/ 738854 w 810386"/>
                  <a:gd name="connsiteY5" fmla="*/ 389477 h 484917"/>
                  <a:gd name="connsiteX6" fmla="*/ 746760 w 810386"/>
                  <a:gd name="connsiteY6" fmla="*/ 373571 h 484917"/>
                  <a:gd name="connsiteX7" fmla="*/ 754761 w 810386"/>
                  <a:gd name="connsiteY7" fmla="*/ 365665 h 484917"/>
                  <a:gd name="connsiteX8" fmla="*/ 802386 w 810386"/>
                  <a:gd name="connsiteY8" fmla="*/ 365665 h 484917"/>
                  <a:gd name="connsiteX9" fmla="*/ 810387 w 810386"/>
                  <a:gd name="connsiteY9" fmla="*/ 357759 h 484917"/>
                  <a:gd name="connsiteX10" fmla="*/ 810387 w 810386"/>
                  <a:gd name="connsiteY10" fmla="*/ 341852 h 484917"/>
                  <a:gd name="connsiteX11" fmla="*/ 794480 w 810386"/>
                  <a:gd name="connsiteY11" fmla="*/ 294132 h 484917"/>
                  <a:gd name="connsiteX12" fmla="*/ 794480 w 810386"/>
                  <a:gd name="connsiteY12" fmla="*/ 286226 h 484917"/>
                  <a:gd name="connsiteX13" fmla="*/ 786479 w 810386"/>
                  <a:gd name="connsiteY13" fmla="*/ 286226 h 484917"/>
                  <a:gd name="connsiteX14" fmla="*/ 778573 w 810386"/>
                  <a:gd name="connsiteY14" fmla="*/ 294132 h 484917"/>
                  <a:gd name="connsiteX15" fmla="*/ 754761 w 810386"/>
                  <a:gd name="connsiteY15" fmla="*/ 294132 h 484917"/>
                  <a:gd name="connsiteX16" fmla="*/ 746760 w 810386"/>
                  <a:gd name="connsiteY16" fmla="*/ 302038 h 484917"/>
                  <a:gd name="connsiteX17" fmla="*/ 738854 w 810386"/>
                  <a:gd name="connsiteY17" fmla="*/ 302038 h 484917"/>
                  <a:gd name="connsiteX18" fmla="*/ 730853 w 810386"/>
                  <a:gd name="connsiteY18" fmla="*/ 310039 h 484917"/>
                  <a:gd name="connsiteX19" fmla="*/ 691134 w 810386"/>
                  <a:gd name="connsiteY19" fmla="*/ 310039 h 484917"/>
                  <a:gd name="connsiteX20" fmla="*/ 675322 w 810386"/>
                  <a:gd name="connsiteY20" fmla="*/ 294132 h 484917"/>
                  <a:gd name="connsiteX21" fmla="*/ 675322 w 810386"/>
                  <a:gd name="connsiteY21" fmla="*/ 262319 h 484917"/>
                  <a:gd name="connsiteX22" fmla="*/ 667322 w 810386"/>
                  <a:gd name="connsiteY22" fmla="*/ 254413 h 484917"/>
                  <a:gd name="connsiteX23" fmla="*/ 659416 w 810386"/>
                  <a:gd name="connsiteY23" fmla="*/ 238506 h 484917"/>
                  <a:gd name="connsiteX24" fmla="*/ 659416 w 810386"/>
                  <a:gd name="connsiteY24" fmla="*/ 222599 h 484917"/>
                  <a:gd name="connsiteX25" fmla="*/ 667322 w 810386"/>
                  <a:gd name="connsiteY25" fmla="*/ 214598 h 484917"/>
                  <a:gd name="connsiteX26" fmla="*/ 667322 w 810386"/>
                  <a:gd name="connsiteY26" fmla="*/ 198787 h 484917"/>
                  <a:gd name="connsiteX27" fmla="*/ 675322 w 810386"/>
                  <a:gd name="connsiteY27" fmla="*/ 190786 h 484917"/>
                  <a:gd name="connsiteX28" fmla="*/ 667322 w 810386"/>
                  <a:gd name="connsiteY28" fmla="*/ 190786 h 484917"/>
                  <a:gd name="connsiteX29" fmla="*/ 667322 w 810386"/>
                  <a:gd name="connsiteY29" fmla="*/ 135160 h 484917"/>
                  <a:gd name="connsiteX30" fmla="*/ 659416 w 810386"/>
                  <a:gd name="connsiteY30" fmla="*/ 127159 h 484917"/>
                  <a:gd name="connsiteX31" fmla="*/ 635603 w 810386"/>
                  <a:gd name="connsiteY31" fmla="*/ 127159 h 484917"/>
                  <a:gd name="connsiteX32" fmla="*/ 627602 w 810386"/>
                  <a:gd name="connsiteY32" fmla="*/ 103346 h 484917"/>
                  <a:gd name="connsiteX33" fmla="*/ 611696 w 810386"/>
                  <a:gd name="connsiteY33" fmla="*/ 103346 h 484917"/>
                  <a:gd name="connsiteX34" fmla="*/ 603790 w 810386"/>
                  <a:gd name="connsiteY34" fmla="*/ 71533 h 484917"/>
                  <a:gd name="connsiteX35" fmla="*/ 571976 w 810386"/>
                  <a:gd name="connsiteY35" fmla="*/ 55626 h 484917"/>
                  <a:gd name="connsiteX36" fmla="*/ 571976 w 810386"/>
                  <a:gd name="connsiteY36" fmla="*/ 39814 h 484917"/>
                  <a:gd name="connsiteX37" fmla="*/ 564071 w 810386"/>
                  <a:gd name="connsiteY37" fmla="*/ 31813 h 484917"/>
                  <a:gd name="connsiteX38" fmla="*/ 556070 w 810386"/>
                  <a:gd name="connsiteY38" fmla="*/ 15907 h 484917"/>
                  <a:gd name="connsiteX39" fmla="*/ 548164 w 810386"/>
                  <a:gd name="connsiteY39" fmla="*/ 8001 h 484917"/>
                  <a:gd name="connsiteX40" fmla="*/ 524351 w 810386"/>
                  <a:gd name="connsiteY40" fmla="*/ 0 h 484917"/>
                  <a:gd name="connsiteX41" fmla="*/ 508445 w 810386"/>
                  <a:gd name="connsiteY41" fmla="*/ 0 h 484917"/>
                  <a:gd name="connsiteX42" fmla="*/ 500539 w 810386"/>
                  <a:gd name="connsiteY42" fmla="*/ 8001 h 484917"/>
                  <a:gd name="connsiteX43" fmla="*/ 500539 w 810386"/>
                  <a:gd name="connsiteY43" fmla="*/ 15907 h 484917"/>
                  <a:gd name="connsiteX44" fmla="*/ 484632 w 810386"/>
                  <a:gd name="connsiteY44" fmla="*/ 31813 h 484917"/>
                  <a:gd name="connsiteX45" fmla="*/ 460820 w 810386"/>
                  <a:gd name="connsiteY45" fmla="*/ 31813 h 484917"/>
                  <a:gd name="connsiteX46" fmla="*/ 452819 w 810386"/>
                  <a:gd name="connsiteY46" fmla="*/ 23908 h 484917"/>
                  <a:gd name="connsiteX47" fmla="*/ 444913 w 810386"/>
                  <a:gd name="connsiteY47" fmla="*/ 39814 h 484917"/>
                  <a:gd name="connsiteX48" fmla="*/ 413099 w 810386"/>
                  <a:gd name="connsiteY48" fmla="*/ 31813 h 484917"/>
                  <a:gd name="connsiteX49" fmla="*/ 413099 w 810386"/>
                  <a:gd name="connsiteY49" fmla="*/ 39814 h 484917"/>
                  <a:gd name="connsiteX50" fmla="*/ 397193 w 810386"/>
                  <a:gd name="connsiteY50" fmla="*/ 55626 h 484917"/>
                  <a:gd name="connsiteX51" fmla="*/ 381286 w 810386"/>
                  <a:gd name="connsiteY51" fmla="*/ 55626 h 484917"/>
                  <a:gd name="connsiteX52" fmla="*/ 349568 w 810386"/>
                  <a:gd name="connsiteY52" fmla="*/ 23908 h 484917"/>
                  <a:gd name="connsiteX53" fmla="*/ 341662 w 810386"/>
                  <a:gd name="connsiteY53" fmla="*/ 23908 h 484917"/>
                  <a:gd name="connsiteX54" fmla="*/ 325755 w 810386"/>
                  <a:gd name="connsiteY54" fmla="*/ 31813 h 484917"/>
                  <a:gd name="connsiteX55" fmla="*/ 317754 w 810386"/>
                  <a:gd name="connsiteY55" fmla="*/ 31813 h 484917"/>
                  <a:gd name="connsiteX56" fmla="*/ 301847 w 810386"/>
                  <a:gd name="connsiteY56" fmla="*/ 39814 h 484917"/>
                  <a:gd name="connsiteX57" fmla="*/ 293941 w 810386"/>
                  <a:gd name="connsiteY57" fmla="*/ 31813 h 484917"/>
                  <a:gd name="connsiteX58" fmla="*/ 262223 w 810386"/>
                  <a:gd name="connsiteY58" fmla="*/ 31813 h 484917"/>
                  <a:gd name="connsiteX59" fmla="*/ 254222 w 810386"/>
                  <a:gd name="connsiteY59" fmla="*/ 23908 h 484917"/>
                  <a:gd name="connsiteX60" fmla="*/ 222409 w 810386"/>
                  <a:gd name="connsiteY60" fmla="*/ 23908 h 484917"/>
                  <a:gd name="connsiteX61" fmla="*/ 198596 w 810386"/>
                  <a:gd name="connsiteY61" fmla="*/ 47720 h 484917"/>
                  <a:gd name="connsiteX62" fmla="*/ 158877 w 810386"/>
                  <a:gd name="connsiteY62" fmla="*/ 47720 h 484917"/>
                  <a:gd name="connsiteX63" fmla="*/ 142970 w 810386"/>
                  <a:gd name="connsiteY63" fmla="*/ 63627 h 484917"/>
                  <a:gd name="connsiteX64" fmla="*/ 142970 w 810386"/>
                  <a:gd name="connsiteY64" fmla="*/ 119253 h 484917"/>
                  <a:gd name="connsiteX65" fmla="*/ 119158 w 810386"/>
                  <a:gd name="connsiteY65" fmla="*/ 143066 h 484917"/>
                  <a:gd name="connsiteX66" fmla="*/ 103251 w 810386"/>
                  <a:gd name="connsiteY66" fmla="*/ 151067 h 484917"/>
                  <a:gd name="connsiteX67" fmla="*/ 95345 w 810386"/>
                  <a:gd name="connsiteY67" fmla="*/ 158972 h 484917"/>
                  <a:gd name="connsiteX68" fmla="*/ 95345 w 810386"/>
                  <a:gd name="connsiteY68" fmla="*/ 182880 h 484917"/>
                  <a:gd name="connsiteX69" fmla="*/ 87439 w 810386"/>
                  <a:gd name="connsiteY69" fmla="*/ 190786 h 484917"/>
                  <a:gd name="connsiteX70" fmla="*/ 71533 w 810386"/>
                  <a:gd name="connsiteY70" fmla="*/ 198787 h 484917"/>
                  <a:gd name="connsiteX71" fmla="*/ 63532 w 810386"/>
                  <a:gd name="connsiteY71" fmla="*/ 206693 h 484917"/>
                  <a:gd name="connsiteX72" fmla="*/ 39719 w 810386"/>
                  <a:gd name="connsiteY72" fmla="*/ 198787 h 484917"/>
                  <a:gd name="connsiteX73" fmla="*/ 39719 w 810386"/>
                  <a:gd name="connsiteY73" fmla="*/ 222599 h 484917"/>
                  <a:gd name="connsiteX74" fmla="*/ 0 w 810386"/>
                  <a:gd name="connsiteY74" fmla="*/ 230505 h 484917"/>
                  <a:gd name="connsiteX75" fmla="*/ 7906 w 810386"/>
                  <a:gd name="connsiteY75" fmla="*/ 230505 h 484917"/>
                  <a:gd name="connsiteX76" fmla="*/ 39719 w 810386"/>
                  <a:gd name="connsiteY76" fmla="*/ 254413 h 484917"/>
                  <a:gd name="connsiteX77" fmla="*/ 47720 w 810386"/>
                  <a:gd name="connsiteY77" fmla="*/ 254413 h 484917"/>
                  <a:gd name="connsiteX78" fmla="*/ 63532 w 810386"/>
                  <a:gd name="connsiteY78" fmla="*/ 302038 h 484917"/>
                  <a:gd name="connsiteX79" fmla="*/ 71533 w 810386"/>
                  <a:gd name="connsiteY79" fmla="*/ 310039 h 484917"/>
                  <a:gd name="connsiteX80" fmla="*/ 79438 w 810386"/>
                  <a:gd name="connsiteY80" fmla="*/ 310039 h 484917"/>
                  <a:gd name="connsiteX81" fmla="*/ 87439 w 810386"/>
                  <a:gd name="connsiteY81" fmla="*/ 302038 h 484917"/>
                  <a:gd name="connsiteX82" fmla="*/ 95345 w 810386"/>
                  <a:gd name="connsiteY82" fmla="*/ 302038 h 484917"/>
                  <a:gd name="connsiteX83" fmla="*/ 111252 w 810386"/>
                  <a:gd name="connsiteY83" fmla="*/ 310039 h 484917"/>
                  <a:gd name="connsiteX84" fmla="*/ 111252 w 810386"/>
                  <a:gd name="connsiteY84" fmla="*/ 333851 h 484917"/>
                  <a:gd name="connsiteX85" fmla="*/ 103251 w 810386"/>
                  <a:gd name="connsiteY85" fmla="*/ 341852 h 484917"/>
                  <a:gd name="connsiteX86" fmla="*/ 119158 w 810386"/>
                  <a:gd name="connsiteY86" fmla="*/ 365665 h 484917"/>
                  <a:gd name="connsiteX87" fmla="*/ 150971 w 810386"/>
                  <a:gd name="connsiteY87" fmla="*/ 373571 h 484917"/>
                  <a:gd name="connsiteX88" fmla="*/ 158877 w 810386"/>
                  <a:gd name="connsiteY88" fmla="*/ 381571 h 484917"/>
                  <a:gd name="connsiteX89" fmla="*/ 190690 w 810386"/>
                  <a:gd name="connsiteY89" fmla="*/ 373571 h 484917"/>
                  <a:gd name="connsiteX90" fmla="*/ 222409 w 810386"/>
                  <a:gd name="connsiteY90" fmla="*/ 381571 h 484917"/>
                  <a:gd name="connsiteX91" fmla="*/ 214503 w 810386"/>
                  <a:gd name="connsiteY91" fmla="*/ 389477 h 484917"/>
                  <a:gd name="connsiteX92" fmla="*/ 206597 w 810386"/>
                  <a:gd name="connsiteY92" fmla="*/ 405384 h 484917"/>
                  <a:gd name="connsiteX93" fmla="*/ 214503 w 810386"/>
                  <a:gd name="connsiteY93" fmla="*/ 413385 h 484917"/>
                  <a:gd name="connsiteX94" fmla="*/ 214503 w 810386"/>
                  <a:gd name="connsiteY94" fmla="*/ 429292 h 484917"/>
                  <a:gd name="connsiteX95" fmla="*/ 246316 w 810386"/>
                  <a:gd name="connsiteY95" fmla="*/ 429292 h 484917"/>
                  <a:gd name="connsiteX96" fmla="*/ 254222 w 810386"/>
                  <a:gd name="connsiteY96" fmla="*/ 437197 h 484917"/>
                  <a:gd name="connsiteX97" fmla="*/ 246316 w 810386"/>
                  <a:gd name="connsiteY97" fmla="*/ 445199 h 484917"/>
                  <a:gd name="connsiteX98" fmla="*/ 246316 w 810386"/>
                  <a:gd name="connsiteY98" fmla="*/ 453104 h 484917"/>
                  <a:gd name="connsiteX99" fmla="*/ 238315 w 810386"/>
                  <a:gd name="connsiteY99" fmla="*/ 461010 h 484917"/>
                  <a:gd name="connsiteX100" fmla="*/ 246316 w 810386"/>
                  <a:gd name="connsiteY100" fmla="*/ 469011 h 484917"/>
                  <a:gd name="connsiteX101" fmla="*/ 270129 w 810386"/>
                  <a:gd name="connsiteY101" fmla="*/ 469011 h 484917"/>
                  <a:gd name="connsiteX102" fmla="*/ 286036 w 810386"/>
                  <a:gd name="connsiteY102" fmla="*/ 453104 h 484917"/>
                  <a:gd name="connsiteX103" fmla="*/ 317754 w 810386"/>
                  <a:gd name="connsiteY103" fmla="*/ 469011 h 484917"/>
                  <a:gd name="connsiteX104" fmla="*/ 333661 w 810386"/>
                  <a:gd name="connsiteY104" fmla="*/ 469011 h 484917"/>
                  <a:gd name="connsiteX105" fmla="*/ 341662 w 810386"/>
                  <a:gd name="connsiteY105" fmla="*/ 476917 h 484917"/>
                  <a:gd name="connsiteX106" fmla="*/ 373380 w 810386"/>
                  <a:gd name="connsiteY106" fmla="*/ 476917 h 484917"/>
                  <a:gd name="connsiteX107" fmla="*/ 381286 w 810386"/>
                  <a:gd name="connsiteY107" fmla="*/ 469011 h 484917"/>
                  <a:gd name="connsiteX108" fmla="*/ 381286 w 810386"/>
                  <a:gd name="connsiteY108" fmla="*/ 461010 h 484917"/>
                  <a:gd name="connsiteX109" fmla="*/ 405194 w 810386"/>
                  <a:gd name="connsiteY109" fmla="*/ 469011 h 484917"/>
                  <a:gd name="connsiteX110" fmla="*/ 436912 w 810386"/>
                  <a:gd name="connsiteY110" fmla="*/ 469011 h 484917"/>
                  <a:gd name="connsiteX111" fmla="*/ 444913 w 810386"/>
                  <a:gd name="connsiteY111" fmla="*/ 476917 h 484917"/>
                  <a:gd name="connsiteX112" fmla="*/ 460820 w 810386"/>
                  <a:gd name="connsiteY112" fmla="*/ 484918 h 484917"/>
                  <a:gd name="connsiteX113" fmla="*/ 484632 w 810386"/>
                  <a:gd name="connsiteY113" fmla="*/ 484918 h 484917"/>
                  <a:gd name="connsiteX114" fmla="*/ 492538 w 810386"/>
                  <a:gd name="connsiteY114" fmla="*/ 476917 h 484917"/>
                  <a:gd name="connsiteX115" fmla="*/ 492538 w 810386"/>
                  <a:gd name="connsiteY115" fmla="*/ 461010 h 484917"/>
                  <a:gd name="connsiteX116" fmla="*/ 500539 w 810386"/>
                  <a:gd name="connsiteY116" fmla="*/ 453104 h 484917"/>
                  <a:gd name="connsiteX117" fmla="*/ 508445 w 810386"/>
                  <a:gd name="connsiteY117" fmla="*/ 453104 h 484917"/>
                  <a:gd name="connsiteX118" fmla="*/ 524351 w 810386"/>
                  <a:gd name="connsiteY118" fmla="*/ 445199 h 484917"/>
                  <a:gd name="connsiteX119" fmla="*/ 532257 w 810386"/>
                  <a:gd name="connsiteY119" fmla="*/ 445199 h 484917"/>
                  <a:gd name="connsiteX120" fmla="*/ 532257 w 810386"/>
                  <a:gd name="connsiteY120" fmla="*/ 437197 h 484917"/>
                  <a:gd name="connsiteX121" fmla="*/ 571976 w 810386"/>
                  <a:gd name="connsiteY121" fmla="*/ 445199 h 484917"/>
                  <a:gd name="connsiteX122" fmla="*/ 571976 w 810386"/>
                  <a:gd name="connsiteY122" fmla="*/ 429292 h 484917"/>
                  <a:gd name="connsiteX123" fmla="*/ 579977 w 810386"/>
                  <a:gd name="connsiteY123" fmla="*/ 429292 h 484917"/>
                  <a:gd name="connsiteX124" fmla="*/ 595884 w 810386"/>
                  <a:gd name="connsiteY124" fmla="*/ 437197 h 484917"/>
                  <a:gd name="connsiteX125" fmla="*/ 611696 w 810386"/>
                  <a:gd name="connsiteY125" fmla="*/ 437197 h 484917"/>
                  <a:gd name="connsiteX126" fmla="*/ 627602 w 810386"/>
                  <a:gd name="connsiteY126" fmla="*/ 445199 h 484917"/>
                  <a:gd name="connsiteX127" fmla="*/ 659416 w 810386"/>
                  <a:gd name="connsiteY127" fmla="*/ 445199 h 484917"/>
                  <a:gd name="connsiteX128" fmla="*/ 683228 w 810386"/>
                  <a:gd name="connsiteY128" fmla="*/ 469011 h 48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810386" h="484917">
                    <a:moveTo>
                      <a:pt x="683228" y="469011"/>
                    </a:moveTo>
                    <a:lnTo>
                      <a:pt x="691134" y="476917"/>
                    </a:lnTo>
                    <a:lnTo>
                      <a:pt x="715042" y="476917"/>
                    </a:lnTo>
                    <a:lnTo>
                      <a:pt x="715042" y="421291"/>
                    </a:lnTo>
                    <a:lnTo>
                      <a:pt x="722947" y="413385"/>
                    </a:lnTo>
                    <a:lnTo>
                      <a:pt x="738854" y="389477"/>
                    </a:lnTo>
                    <a:lnTo>
                      <a:pt x="746760" y="373571"/>
                    </a:lnTo>
                    <a:lnTo>
                      <a:pt x="754761" y="365665"/>
                    </a:lnTo>
                    <a:lnTo>
                      <a:pt x="802386" y="365665"/>
                    </a:lnTo>
                    <a:lnTo>
                      <a:pt x="810387" y="357759"/>
                    </a:lnTo>
                    <a:lnTo>
                      <a:pt x="810387" y="341852"/>
                    </a:lnTo>
                    <a:lnTo>
                      <a:pt x="794480" y="294132"/>
                    </a:lnTo>
                    <a:lnTo>
                      <a:pt x="794480" y="286226"/>
                    </a:lnTo>
                    <a:lnTo>
                      <a:pt x="786479" y="286226"/>
                    </a:lnTo>
                    <a:lnTo>
                      <a:pt x="778573" y="294132"/>
                    </a:lnTo>
                    <a:lnTo>
                      <a:pt x="754761" y="294132"/>
                    </a:lnTo>
                    <a:lnTo>
                      <a:pt x="746760" y="302038"/>
                    </a:lnTo>
                    <a:lnTo>
                      <a:pt x="738854" y="302038"/>
                    </a:lnTo>
                    <a:lnTo>
                      <a:pt x="730853" y="310039"/>
                    </a:lnTo>
                    <a:lnTo>
                      <a:pt x="691134" y="310039"/>
                    </a:lnTo>
                    <a:lnTo>
                      <a:pt x="675322" y="294132"/>
                    </a:lnTo>
                    <a:lnTo>
                      <a:pt x="675322" y="262319"/>
                    </a:lnTo>
                    <a:lnTo>
                      <a:pt x="667322" y="254413"/>
                    </a:lnTo>
                    <a:lnTo>
                      <a:pt x="659416" y="238506"/>
                    </a:lnTo>
                    <a:lnTo>
                      <a:pt x="659416" y="222599"/>
                    </a:lnTo>
                    <a:lnTo>
                      <a:pt x="667322" y="214598"/>
                    </a:lnTo>
                    <a:lnTo>
                      <a:pt x="667322" y="198787"/>
                    </a:lnTo>
                    <a:lnTo>
                      <a:pt x="675322" y="190786"/>
                    </a:lnTo>
                    <a:lnTo>
                      <a:pt x="667322" y="190786"/>
                    </a:lnTo>
                    <a:lnTo>
                      <a:pt x="667322" y="135160"/>
                    </a:lnTo>
                    <a:lnTo>
                      <a:pt x="659416" y="127159"/>
                    </a:lnTo>
                    <a:lnTo>
                      <a:pt x="635603" y="127159"/>
                    </a:lnTo>
                    <a:lnTo>
                      <a:pt x="627602" y="103346"/>
                    </a:lnTo>
                    <a:lnTo>
                      <a:pt x="611696" y="103346"/>
                    </a:lnTo>
                    <a:lnTo>
                      <a:pt x="603790" y="71533"/>
                    </a:lnTo>
                    <a:lnTo>
                      <a:pt x="571976" y="55626"/>
                    </a:lnTo>
                    <a:lnTo>
                      <a:pt x="571976" y="39814"/>
                    </a:lnTo>
                    <a:lnTo>
                      <a:pt x="564071" y="31813"/>
                    </a:lnTo>
                    <a:lnTo>
                      <a:pt x="556070" y="15907"/>
                    </a:lnTo>
                    <a:lnTo>
                      <a:pt x="548164" y="8001"/>
                    </a:lnTo>
                    <a:lnTo>
                      <a:pt x="524351" y="0"/>
                    </a:lnTo>
                    <a:lnTo>
                      <a:pt x="508445" y="0"/>
                    </a:lnTo>
                    <a:lnTo>
                      <a:pt x="500539" y="8001"/>
                    </a:lnTo>
                    <a:lnTo>
                      <a:pt x="500539" y="15907"/>
                    </a:lnTo>
                    <a:lnTo>
                      <a:pt x="484632" y="31813"/>
                    </a:lnTo>
                    <a:lnTo>
                      <a:pt x="460820" y="31813"/>
                    </a:lnTo>
                    <a:lnTo>
                      <a:pt x="452819" y="23908"/>
                    </a:lnTo>
                    <a:lnTo>
                      <a:pt x="444913" y="39814"/>
                    </a:lnTo>
                    <a:lnTo>
                      <a:pt x="413099" y="31813"/>
                    </a:lnTo>
                    <a:lnTo>
                      <a:pt x="413099" y="39814"/>
                    </a:lnTo>
                    <a:lnTo>
                      <a:pt x="397193" y="55626"/>
                    </a:lnTo>
                    <a:lnTo>
                      <a:pt x="381286" y="55626"/>
                    </a:lnTo>
                    <a:lnTo>
                      <a:pt x="349568" y="23908"/>
                    </a:lnTo>
                    <a:lnTo>
                      <a:pt x="341662" y="23908"/>
                    </a:lnTo>
                    <a:lnTo>
                      <a:pt x="325755" y="31813"/>
                    </a:lnTo>
                    <a:lnTo>
                      <a:pt x="317754" y="31813"/>
                    </a:lnTo>
                    <a:lnTo>
                      <a:pt x="301847" y="39814"/>
                    </a:lnTo>
                    <a:lnTo>
                      <a:pt x="293941" y="31813"/>
                    </a:lnTo>
                    <a:lnTo>
                      <a:pt x="262223" y="31813"/>
                    </a:lnTo>
                    <a:lnTo>
                      <a:pt x="254222" y="23908"/>
                    </a:lnTo>
                    <a:lnTo>
                      <a:pt x="222409" y="23908"/>
                    </a:lnTo>
                    <a:lnTo>
                      <a:pt x="198596" y="47720"/>
                    </a:lnTo>
                    <a:lnTo>
                      <a:pt x="158877" y="47720"/>
                    </a:lnTo>
                    <a:lnTo>
                      <a:pt x="142970" y="63627"/>
                    </a:lnTo>
                    <a:lnTo>
                      <a:pt x="142970" y="119253"/>
                    </a:lnTo>
                    <a:lnTo>
                      <a:pt x="119158" y="143066"/>
                    </a:lnTo>
                    <a:lnTo>
                      <a:pt x="103251" y="151067"/>
                    </a:lnTo>
                    <a:lnTo>
                      <a:pt x="95345" y="158972"/>
                    </a:lnTo>
                    <a:lnTo>
                      <a:pt x="95345" y="182880"/>
                    </a:lnTo>
                    <a:lnTo>
                      <a:pt x="87439" y="190786"/>
                    </a:lnTo>
                    <a:lnTo>
                      <a:pt x="71533" y="198787"/>
                    </a:lnTo>
                    <a:lnTo>
                      <a:pt x="63532" y="206693"/>
                    </a:lnTo>
                    <a:lnTo>
                      <a:pt x="39719" y="198787"/>
                    </a:lnTo>
                    <a:lnTo>
                      <a:pt x="39719" y="222599"/>
                    </a:lnTo>
                    <a:lnTo>
                      <a:pt x="0" y="230505"/>
                    </a:lnTo>
                    <a:lnTo>
                      <a:pt x="7906" y="230505"/>
                    </a:lnTo>
                    <a:lnTo>
                      <a:pt x="39719" y="254413"/>
                    </a:lnTo>
                    <a:lnTo>
                      <a:pt x="47720" y="254413"/>
                    </a:lnTo>
                    <a:lnTo>
                      <a:pt x="63532" y="302038"/>
                    </a:lnTo>
                    <a:lnTo>
                      <a:pt x="71533" y="310039"/>
                    </a:lnTo>
                    <a:lnTo>
                      <a:pt x="79438" y="310039"/>
                    </a:lnTo>
                    <a:lnTo>
                      <a:pt x="87439" y="302038"/>
                    </a:lnTo>
                    <a:lnTo>
                      <a:pt x="95345" y="302038"/>
                    </a:lnTo>
                    <a:lnTo>
                      <a:pt x="111252" y="310039"/>
                    </a:lnTo>
                    <a:lnTo>
                      <a:pt x="111252" y="333851"/>
                    </a:lnTo>
                    <a:lnTo>
                      <a:pt x="103251" y="341852"/>
                    </a:lnTo>
                    <a:lnTo>
                      <a:pt x="119158" y="365665"/>
                    </a:lnTo>
                    <a:lnTo>
                      <a:pt x="150971" y="373571"/>
                    </a:lnTo>
                    <a:lnTo>
                      <a:pt x="158877" y="381571"/>
                    </a:lnTo>
                    <a:lnTo>
                      <a:pt x="190690" y="373571"/>
                    </a:lnTo>
                    <a:lnTo>
                      <a:pt x="222409" y="381571"/>
                    </a:lnTo>
                    <a:lnTo>
                      <a:pt x="214503" y="389477"/>
                    </a:lnTo>
                    <a:lnTo>
                      <a:pt x="206597" y="405384"/>
                    </a:lnTo>
                    <a:lnTo>
                      <a:pt x="214503" y="413385"/>
                    </a:lnTo>
                    <a:lnTo>
                      <a:pt x="214503" y="429292"/>
                    </a:lnTo>
                    <a:lnTo>
                      <a:pt x="246316" y="429292"/>
                    </a:lnTo>
                    <a:lnTo>
                      <a:pt x="254222" y="437197"/>
                    </a:lnTo>
                    <a:lnTo>
                      <a:pt x="246316" y="445199"/>
                    </a:lnTo>
                    <a:lnTo>
                      <a:pt x="246316" y="453104"/>
                    </a:lnTo>
                    <a:lnTo>
                      <a:pt x="238315" y="461010"/>
                    </a:lnTo>
                    <a:lnTo>
                      <a:pt x="246316" y="469011"/>
                    </a:lnTo>
                    <a:lnTo>
                      <a:pt x="270129" y="469011"/>
                    </a:lnTo>
                    <a:lnTo>
                      <a:pt x="286036" y="453104"/>
                    </a:lnTo>
                    <a:lnTo>
                      <a:pt x="317754" y="469011"/>
                    </a:lnTo>
                    <a:lnTo>
                      <a:pt x="333661" y="469011"/>
                    </a:lnTo>
                    <a:lnTo>
                      <a:pt x="341662" y="476917"/>
                    </a:lnTo>
                    <a:lnTo>
                      <a:pt x="373380" y="476917"/>
                    </a:lnTo>
                    <a:lnTo>
                      <a:pt x="381286" y="469011"/>
                    </a:lnTo>
                    <a:lnTo>
                      <a:pt x="381286" y="461010"/>
                    </a:lnTo>
                    <a:lnTo>
                      <a:pt x="405194" y="469011"/>
                    </a:lnTo>
                    <a:lnTo>
                      <a:pt x="436912" y="469011"/>
                    </a:lnTo>
                    <a:lnTo>
                      <a:pt x="444913" y="476917"/>
                    </a:lnTo>
                    <a:lnTo>
                      <a:pt x="460820" y="484918"/>
                    </a:lnTo>
                    <a:lnTo>
                      <a:pt x="484632" y="484918"/>
                    </a:lnTo>
                    <a:lnTo>
                      <a:pt x="492538" y="476917"/>
                    </a:lnTo>
                    <a:lnTo>
                      <a:pt x="492538" y="461010"/>
                    </a:lnTo>
                    <a:lnTo>
                      <a:pt x="500539" y="453104"/>
                    </a:lnTo>
                    <a:lnTo>
                      <a:pt x="508445" y="453104"/>
                    </a:lnTo>
                    <a:lnTo>
                      <a:pt x="524351" y="445199"/>
                    </a:lnTo>
                    <a:lnTo>
                      <a:pt x="532257" y="445199"/>
                    </a:lnTo>
                    <a:lnTo>
                      <a:pt x="532257" y="437197"/>
                    </a:lnTo>
                    <a:lnTo>
                      <a:pt x="571976" y="445199"/>
                    </a:lnTo>
                    <a:lnTo>
                      <a:pt x="571976" y="429292"/>
                    </a:lnTo>
                    <a:lnTo>
                      <a:pt x="579977" y="429292"/>
                    </a:lnTo>
                    <a:lnTo>
                      <a:pt x="595884" y="437197"/>
                    </a:lnTo>
                    <a:lnTo>
                      <a:pt x="611696" y="437197"/>
                    </a:lnTo>
                    <a:lnTo>
                      <a:pt x="627602" y="445199"/>
                    </a:lnTo>
                    <a:lnTo>
                      <a:pt x="659416" y="445199"/>
                    </a:lnTo>
                    <a:lnTo>
                      <a:pt x="683228" y="469011"/>
                    </a:lnTo>
                    <a:close/>
                  </a:path>
                </a:pathLst>
              </a:custGeom>
              <a:noFill/>
              <a:ln w="4763"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02BC3C2F-AB2F-0B88-C0DA-79647C96D3C1}"/>
                  </a:ext>
                </a:extLst>
              </p:cNvPr>
              <p:cNvSpPr/>
              <p:nvPr/>
            </p:nvSpPr>
            <p:spPr>
              <a:xfrm>
                <a:off x="4412456" y="1493043"/>
                <a:ext cx="3366706" cy="3874008"/>
              </a:xfrm>
              <a:custGeom>
                <a:avLst/>
                <a:gdLst>
                  <a:gd name="connsiteX0" fmla="*/ 0 w 3366706"/>
                  <a:gd name="connsiteY0" fmla="*/ 0 h 3874008"/>
                  <a:gd name="connsiteX1" fmla="*/ 3366707 w 3366706"/>
                  <a:gd name="connsiteY1" fmla="*/ 0 h 3874008"/>
                  <a:gd name="connsiteX2" fmla="*/ 3366707 w 3366706"/>
                  <a:gd name="connsiteY2" fmla="*/ 3874008 h 3874008"/>
                  <a:gd name="connsiteX3" fmla="*/ 0 w 3366706"/>
                  <a:gd name="connsiteY3" fmla="*/ 3874008 h 3874008"/>
                </a:gdLst>
                <a:ahLst/>
                <a:cxnLst>
                  <a:cxn ang="0">
                    <a:pos x="connsiteX0" y="connsiteY0"/>
                  </a:cxn>
                  <a:cxn ang="0">
                    <a:pos x="connsiteX1" y="connsiteY1"/>
                  </a:cxn>
                  <a:cxn ang="0">
                    <a:pos x="connsiteX2" y="connsiteY2"/>
                  </a:cxn>
                  <a:cxn ang="0">
                    <a:pos x="connsiteX3" y="connsiteY3"/>
                  </a:cxn>
                </a:cxnLst>
                <a:rect l="l" t="t" r="r" b="b"/>
                <a:pathLst>
                  <a:path w="3366706" h="3874008">
                    <a:moveTo>
                      <a:pt x="0" y="0"/>
                    </a:moveTo>
                    <a:lnTo>
                      <a:pt x="3366707" y="0"/>
                    </a:lnTo>
                    <a:lnTo>
                      <a:pt x="3366707" y="3874008"/>
                    </a:lnTo>
                    <a:lnTo>
                      <a:pt x="0" y="3874008"/>
                    </a:lnTo>
                    <a:close/>
                  </a:path>
                </a:pathLst>
              </a:custGeom>
              <a:noFill/>
              <a:ln w="4763" cap="flat">
                <a:noFill/>
                <a:prstDash val="solid"/>
                <a:miter/>
              </a:ln>
            </p:spPr>
            <p:txBody>
              <a:bodyPr rtlCol="0" anchor="ctr"/>
              <a:lstStyle/>
              <a:p>
                <a:endParaRPr lang="en-GB" dirty="0"/>
              </a:p>
            </p:txBody>
          </p:sp>
          <p:sp>
            <p:nvSpPr>
              <p:cNvPr id="89" name="Freeform: Shape 88">
                <a:extLst>
                  <a:ext uri="{FF2B5EF4-FFF2-40B4-BE49-F238E27FC236}">
                    <a16:creationId xmlns:a16="http://schemas.microsoft.com/office/drawing/2014/main" id="{EC5BBD8C-A830-55D0-C995-5DA8684FE01C}"/>
                  </a:ext>
                </a:extLst>
              </p:cNvPr>
              <p:cNvSpPr/>
              <p:nvPr/>
            </p:nvSpPr>
            <p:spPr>
              <a:xfrm>
                <a:off x="4415123" y="4600193"/>
                <a:ext cx="298894" cy="541972"/>
              </a:xfrm>
              <a:custGeom>
                <a:avLst/>
                <a:gdLst>
                  <a:gd name="connsiteX0" fmla="*/ 117920 w 298894"/>
                  <a:gd name="connsiteY0" fmla="*/ 0 h 541972"/>
                  <a:gd name="connsiteX1" fmla="*/ 86487 w 298894"/>
                  <a:gd name="connsiteY1" fmla="*/ 15716 h 541972"/>
                  <a:gd name="connsiteX2" fmla="*/ 78677 w 298894"/>
                  <a:gd name="connsiteY2" fmla="*/ 23622 h 541972"/>
                  <a:gd name="connsiteX3" fmla="*/ 78677 w 298894"/>
                  <a:gd name="connsiteY3" fmla="*/ 47149 h 541972"/>
                  <a:gd name="connsiteX4" fmla="*/ 86487 w 298894"/>
                  <a:gd name="connsiteY4" fmla="*/ 78581 h 541972"/>
                  <a:gd name="connsiteX5" fmla="*/ 86487 w 298894"/>
                  <a:gd name="connsiteY5" fmla="*/ 102203 h 541972"/>
                  <a:gd name="connsiteX6" fmla="*/ 78677 w 298894"/>
                  <a:gd name="connsiteY6" fmla="*/ 141446 h 541972"/>
                  <a:gd name="connsiteX7" fmla="*/ 62865 w 298894"/>
                  <a:gd name="connsiteY7" fmla="*/ 180689 h 541972"/>
                  <a:gd name="connsiteX8" fmla="*/ 39338 w 298894"/>
                  <a:gd name="connsiteY8" fmla="*/ 227838 h 541972"/>
                  <a:gd name="connsiteX9" fmla="*/ 15716 w 298894"/>
                  <a:gd name="connsiteY9" fmla="*/ 290703 h 541972"/>
                  <a:gd name="connsiteX10" fmla="*/ 7811 w 298894"/>
                  <a:gd name="connsiteY10" fmla="*/ 306419 h 541972"/>
                  <a:gd name="connsiteX11" fmla="*/ 7811 w 298894"/>
                  <a:gd name="connsiteY11" fmla="*/ 314230 h 541972"/>
                  <a:gd name="connsiteX12" fmla="*/ 0 w 298894"/>
                  <a:gd name="connsiteY12" fmla="*/ 329946 h 541972"/>
                  <a:gd name="connsiteX13" fmla="*/ 0 w 298894"/>
                  <a:gd name="connsiteY13" fmla="*/ 345662 h 541972"/>
                  <a:gd name="connsiteX14" fmla="*/ 23622 w 298894"/>
                  <a:gd name="connsiteY14" fmla="*/ 369189 h 541972"/>
                  <a:gd name="connsiteX15" fmla="*/ 39338 w 298894"/>
                  <a:gd name="connsiteY15" fmla="*/ 377095 h 541972"/>
                  <a:gd name="connsiteX16" fmla="*/ 55055 w 298894"/>
                  <a:gd name="connsiteY16" fmla="*/ 447770 h 541972"/>
                  <a:gd name="connsiteX17" fmla="*/ 55055 w 298894"/>
                  <a:gd name="connsiteY17" fmla="*/ 455581 h 541972"/>
                  <a:gd name="connsiteX18" fmla="*/ 47149 w 298894"/>
                  <a:gd name="connsiteY18" fmla="*/ 463487 h 541972"/>
                  <a:gd name="connsiteX19" fmla="*/ 47149 w 298894"/>
                  <a:gd name="connsiteY19" fmla="*/ 479203 h 541972"/>
                  <a:gd name="connsiteX20" fmla="*/ 39338 w 298894"/>
                  <a:gd name="connsiteY20" fmla="*/ 502730 h 541972"/>
                  <a:gd name="connsiteX21" fmla="*/ 31433 w 298894"/>
                  <a:gd name="connsiteY21" fmla="*/ 518446 h 541972"/>
                  <a:gd name="connsiteX22" fmla="*/ 31433 w 298894"/>
                  <a:gd name="connsiteY22" fmla="*/ 534162 h 541972"/>
                  <a:gd name="connsiteX23" fmla="*/ 62865 w 298894"/>
                  <a:gd name="connsiteY23" fmla="*/ 534162 h 541972"/>
                  <a:gd name="connsiteX24" fmla="*/ 78677 w 298894"/>
                  <a:gd name="connsiteY24" fmla="*/ 526352 h 541972"/>
                  <a:gd name="connsiteX25" fmla="*/ 94393 w 298894"/>
                  <a:gd name="connsiteY25" fmla="*/ 526352 h 541972"/>
                  <a:gd name="connsiteX26" fmla="*/ 110109 w 298894"/>
                  <a:gd name="connsiteY26" fmla="*/ 541972 h 541972"/>
                  <a:gd name="connsiteX27" fmla="*/ 125825 w 298894"/>
                  <a:gd name="connsiteY27" fmla="*/ 541972 h 541972"/>
                  <a:gd name="connsiteX28" fmla="*/ 141542 w 298894"/>
                  <a:gd name="connsiteY28" fmla="*/ 534162 h 541972"/>
                  <a:gd name="connsiteX29" fmla="*/ 149447 w 298894"/>
                  <a:gd name="connsiteY29" fmla="*/ 526352 h 541972"/>
                  <a:gd name="connsiteX30" fmla="*/ 157258 w 298894"/>
                  <a:gd name="connsiteY30" fmla="*/ 526352 h 541972"/>
                  <a:gd name="connsiteX31" fmla="*/ 165164 w 298894"/>
                  <a:gd name="connsiteY31" fmla="*/ 518446 h 541972"/>
                  <a:gd name="connsiteX32" fmla="*/ 165164 w 298894"/>
                  <a:gd name="connsiteY32" fmla="*/ 455581 h 541972"/>
                  <a:gd name="connsiteX33" fmla="*/ 172974 w 298894"/>
                  <a:gd name="connsiteY33" fmla="*/ 447770 h 541972"/>
                  <a:gd name="connsiteX34" fmla="*/ 180880 w 298894"/>
                  <a:gd name="connsiteY34" fmla="*/ 432054 h 541972"/>
                  <a:gd name="connsiteX35" fmla="*/ 196596 w 298894"/>
                  <a:gd name="connsiteY35" fmla="*/ 432054 h 541972"/>
                  <a:gd name="connsiteX36" fmla="*/ 212312 w 298894"/>
                  <a:gd name="connsiteY36" fmla="*/ 416338 h 541972"/>
                  <a:gd name="connsiteX37" fmla="*/ 212312 w 298894"/>
                  <a:gd name="connsiteY37" fmla="*/ 408527 h 541972"/>
                  <a:gd name="connsiteX38" fmla="*/ 196596 w 298894"/>
                  <a:gd name="connsiteY38" fmla="*/ 408527 h 541972"/>
                  <a:gd name="connsiteX39" fmla="*/ 188786 w 298894"/>
                  <a:gd name="connsiteY39" fmla="*/ 400621 h 541972"/>
                  <a:gd name="connsiteX40" fmla="*/ 180880 w 298894"/>
                  <a:gd name="connsiteY40" fmla="*/ 384905 h 541972"/>
                  <a:gd name="connsiteX41" fmla="*/ 180880 w 298894"/>
                  <a:gd name="connsiteY41" fmla="*/ 377095 h 541972"/>
                  <a:gd name="connsiteX42" fmla="*/ 172974 w 298894"/>
                  <a:gd name="connsiteY42" fmla="*/ 369189 h 541972"/>
                  <a:gd name="connsiteX43" fmla="*/ 172974 w 298894"/>
                  <a:gd name="connsiteY43" fmla="*/ 361379 h 541972"/>
                  <a:gd name="connsiteX44" fmla="*/ 188786 w 298894"/>
                  <a:gd name="connsiteY44" fmla="*/ 345662 h 541972"/>
                  <a:gd name="connsiteX45" fmla="*/ 204502 w 298894"/>
                  <a:gd name="connsiteY45" fmla="*/ 337852 h 541972"/>
                  <a:gd name="connsiteX46" fmla="*/ 220218 w 298894"/>
                  <a:gd name="connsiteY46" fmla="*/ 322040 h 541972"/>
                  <a:gd name="connsiteX47" fmla="*/ 220218 w 298894"/>
                  <a:gd name="connsiteY47" fmla="*/ 314230 h 541972"/>
                  <a:gd name="connsiteX48" fmla="*/ 204502 w 298894"/>
                  <a:gd name="connsiteY48" fmla="*/ 306419 h 541972"/>
                  <a:gd name="connsiteX49" fmla="*/ 196596 w 298894"/>
                  <a:gd name="connsiteY49" fmla="*/ 298513 h 541972"/>
                  <a:gd name="connsiteX50" fmla="*/ 196596 w 298894"/>
                  <a:gd name="connsiteY50" fmla="*/ 282797 h 541972"/>
                  <a:gd name="connsiteX51" fmla="*/ 165164 w 298894"/>
                  <a:gd name="connsiteY51" fmla="*/ 251365 h 541972"/>
                  <a:gd name="connsiteX52" fmla="*/ 212312 w 298894"/>
                  <a:gd name="connsiteY52" fmla="*/ 251365 h 541972"/>
                  <a:gd name="connsiteX53" fmla="*/ 228124 w 298894"/>
                  <a:gd name="connsiteY53" fmla="*/ 235649 h 541972"/>
                  <a:gd name="connsiteX54" fmla="*/ 228124 w 298894"/>
                  <a:gd name="connsiteY54" fmla="*/ 220028 h 541972"/>
                  <a:gd name="connsiteX55" fmla="*/ 220218 w 298894"/>
                  <a:gd name="connsiteY55" fmla="*/ 212122 h 541972"/>
                  <a:gd name="connsiteX56" fmla="*/ 220218 w 298894"/>
                  <a:gd name="connsiteY56" fmla="*/ 196405 h 541972"/>
                  <a:gd name="connsiteX57" fmla="*/ 228124 w 298894"/>
                  <a:gd name="connsiteY57" fmla="*/ 188595 h 541972"/>
                  <a:gd name="connsiteX58" fmla="*/ 235934 w 298894"/>
                  <a:gd name="connsiteY58" fmla="*/ 188595 h 541972"/>
                  <a:gd name="connsiteX59" fmla="*/ 235934 w 298894"/>
                  <a:gd name="connsiteY59" fmla="*/ 164973 h 541972"/>
                  <a:gd name="connsiteX60" fmla="*/ 243840 w 298894"/>
                  <a:gd name="connsiteY60" fmla="*/ 141446 h 541972"/>
                  <a:gd name="connsiteX61" fmla="*/ 243840 w 298894"/>
                  <a:gd name="connsiteY61" fmla="*/ 125730 h 541972"/>
                  <a:gd name="connsiteX62" fmla="*/ 235934 w 298894"/>
                  <a:gd name="connsiteY62" fmla="*/ 117824 h 541972"/>
                  <a:gd name="connsiteX63" fmla="*/ 228124 w 298894"/>
                  <a:gd name="connsiteY63" fmla="*/ 117824 h 541972"/>
                  <a:gd name="connsiteX64" fmla="*/ 228124 w 298894"/>
                  <a:gd name="connsiteY64" fmla="*/ 110014 h 541972"/>
                  <a:gd name="connsiteX65" fmla="*/ 235934 w 298894"/>
                  <a:gd name="connsiteY65" fmla="*/ 102203 h 541972"/>
                  <a:gd name="connsiteX66" fmla="*/ 267367 w 298894"/>
                  <a:gd name="connsiteY66" fmla="*/ 86392 h 541972"/>
                  <a:gd name="connsiteX67" fmla="*/ 298895 w 298894"/>
                  <a:gd name="connsiteY67" fmla="*/ 54959 h 541972"/>
                  <a:gd name="connsiteX68" fmla="*/ 298895 w 298894"/>
                  <a:gd name="connsiteY68" fmla="*/ 47149 h 541972"/>
                  <a:gd name="connsiteX69" fmla="*/ 283178 w 298894"/>
                  <a:gd name="connsiteY69" fmla="*/ 39338 h 541972"/>
                  <a:gd name="connsiteX70" fmla="*/ 275273 w 298894"/>
                  <a:gd name="connsiteY70" fmla="*/ 39338 h 541972"/>
                  <a:gd name="connsiteX71" fmla="*/ 275273 w 298894"/>
                  <a:gd name="connsiteY71" fmla="*/ 15716 h 541972"/>
                  <a:gd name="connsiteX72" fmla="*/ 204502 w 298894"/>
                  <a:gd name="connsiteY72" fmla="*/ 15716 h 541972"/>
                  <a:gd name="connsiteX73" fmla="*/ 204502 w 298894"/>
                  <a:gd name="connsiteY73" fmla="*/ 23622 h 541972"/>
                  <a:gd name="connsiteX74" fmla="*/ 196596 w 298894"/>
                  <a:gd name="connsiteY74" fmla="*/ 31433 h 541972"/>
                  <a:gd name="connsiteX75" fmla="*/ 180880 w 298894"/>
                  <a:gd name="connsiteY75" fmla="*/ 31433 h 541972"/>
                  <a:gd name="connsiteX76" fmla="*/ 172974 w 298894"/>
                  <a:gd name="connsiteY76" fmla="*/ 23622 h 541972"/>
                  <a:gd name="connsiteX77" fmla="*/ 149447 w 298894"/>
                  <a:gd name="connsiteY77" fmla="*/ 23622 h 541972"/>
                  <a:gd name="connsiteX78" fmla="*/ 141542 w 298894"/>
                  <a:gd name="connsiteY78" fmla="*/ 31433 h 541972"/>
                  <a:gd name="connsiteX79" fmla="*/ 125825 w 298894"/>
                  <a:gd name="connsiteY79" fmla="*/ 31433 h 541972"/>
                  <a:gd name="connsiteX80" fmla="*/ 125825 w 298894"/>
                  <a:gd name="connsiteY80" fmla="*/ 23622 h 541972"/>
                  <a:gd name="connsiteX81" fmla="*/ 133731 w 298894"/>
                  <a:gd name="connsiteY81" fmla="*/ 23622 h 541972"/>
                  <a:gd name="connsiteX82" fmla="*/ 149447 w 298894"/>
                  <a:gd name="connsiteY82" fmla="*/ 7906 h 541972"/>
                  <a:gd name="connsiteX83" fmla="*/ 149447 w 298894"/>
                  <a:gd name="connsiteY83" fmla="*/ 0 h 541972"/>
                  <a:gd name="connsiteX84" fmla="*/ 117920 w 298894"/>
                  <a:gd name="connsiteY84" fmla="*/ 0 h 54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98894" h="541972">
                    <a:moveTo>
                      <a:pt x="117920" y="0"/>
                    </a:moveTo>
                    <a:lnTo>
                      <a:pt x="86487" y="15716"/>
                    </a:lnTo>
                    <a:lnTo>
                      <a:pt x="78677" y="23622"/>
                    </a:lnTo>
                    <a:lnTo>
                      <a:pt x="78677" y="47149"/>
                    </a:lnTo>
                    <a:lnTo>
                      <a:pt x="86487" y="78581"/>
                    </a:lnTo>
                    <a:lnTo>
                      <a:pt x="86487" y="102203"/>
                    </a:lnTo>
                    <a:lnTo>
                      <a:pt x="78677" y="141446"/>
                    </a:lnTo>
                    <a:lnTo>
                      <a:pt x="62865" y="180689"/>
                    </a:lnTo>
                    <a:lnTo>
                      <a:pt x="39338" y="227838"/>
                    </a:lnTo>
                    <a:lnTo>
                      <a:pt x="15716" y="290703"/>
                    </a:lnTo>
                    <a:lnTo>
                      <a:pt x="7811" y="306419"/>
                    </a:lnTo>
                    <a:lnTo>
                      <a:pt x="7811" y="314230"/>
                    </a:lnTo>
                    <a:lnTo>
                      <a:pt x="0" y="329946"/>
                    </a:lnTo>
                    <a:lnTo>
                      <a:pt x="0" y="345662"/>
                    </a:lnTo>
                    <a:lnTo>
                      <a:pt x="23622" y="369189"/>
                    </a:lnTo>
                    <a:lnTo>
                      <a:pt x="39338" y="377095"/>
                    </a:lnTo>
                    <a:lnTo>
                      <a:pt x="55055" y="447770"/>
                    </a:lnTo>
                    <a:lnTo>
                      <a:pt x="55055" y="455581"/>
                    </a:lnTo>
                    <a:lnTo>
                      <a:pt x="47149" y="463487"/>
                    </a:lnTo>
                    <a:lnTo>
                      <a:pt x="47149" y="479203"/>
                    </a:lnTo>
                    <a:lnTo>
                      <a:pt x="39338" y="502730"/>
                    </a:lnTo>
                    <a:lnTo>
                      <a:pt x="31433" y="518446"/>
                    </a:lnTo>
                    <a:lnTo>
                      <a:pt x="31433" y="534162"/>
                    </a:lnTo>
                    <a:lnTo>
                      <a:pt x="62865" y="534162"/>
                    </a:lnTo>
                    <a:lnTo>
                      <a:pt x="78677" y="526352"/>
                    </a:lnTo>
                    <a:lnTo>
                      <a:pt x="94393" y="526352"/>
                    </a:lnTo>
                    <a:lnTo>
                      <a:pt x="110109" y="541972"/>
                    </a:lnTo>
                    <a:lnTo>
                      <a:pt x="125825" y="541972"/>
                    </a:lnTo>
                    <a:lnTo>
                      <a:pt x="141542" y="534162"/>
                    </a:lnTo>
                    <a:lnTo>
                      <a:pt x="149447" y="526352"/>
                    </a:lnTo>
                    <a:lnTo>
                      <a:pt x="157258" y="526352"/>
                    </a:lnTo>
                    <a:lnTo>
                      <a:pt x="165164" y="518446"/>
                    </a:lnTo>
                    <a:lnTo>
                      <a:pt x="165164" y="455581"/>
                    </a:lnTo>
                    <a:lnTo>
                      <a:pt x="172974" y="447770"/>
                    </a:lnTo>
                    <a:lnTo>
                      <a:pt x="180880" y="432054"/>
                    </a:lnTo>
                    <a:lnTo>
                      <a:pt x="196596" y="432054"/>
                    </a:lnTo>
                    <a:lnTo>
                      <a:pt x="212312" y="416338"/>
                    </a:lnTo>
                    <a:lnTo>
                      <a:pt x="212312" y="408527"/>
                    </a:lnTo>
                    <a:lnTo>
                      <a:pt x="196596" y="408527"/>
                    </a:lnTo>
                    <a:lnTo>
                      <a:pt x="188786" y="400621"/>
                    </a:lnTo>
                    <a:lnTo>
                      <a:pt x="180880" y="384905"/>
                    </a:lnTo>
                    <a:lnTo>
                      <a:pt x="180880" y="377095"/>
                    </a:lnTo>
                    <a:lnTo>
                      <a:pt x="172974" y="369189"/>
                    </a:lnTo>
                    <a:lnTo>
                      <a:pt x="172974" y="361379"/>
                    </a:lnTo>
                    <a:lnTo>
                      <a:pt x="188786" y="345662"/>
                    </a:lnTo>
                    <a:lnTo>
                      <a:pt x="204502" y="337852"/>
                    </a:lnTo>
                    <a:lnTo>
                      <a:pt x="220218" y="322040"/>
                    </a:lnTo>
                    <a:lnTo>
                      <a:pt x="220218" y="314230"/>
                    </a:lnTo>
                    <a:lnTo>
                      <a:pt x="204502" y="306419"/>
                    </a:lnTo>
                    <a:lnTo>
                      <a:pt x="196596" y="298513"/>
                    </a:lnTo>
                    <a:lnTo>
                      <a:pt x="196596" y="282797"/>
                    </a:lnTo>
                    <a:lnTo>
                      <a:pt x="165164" y="251365"/>
                    </a:lnTo>
                    <a:lnTo>
                      <a:pt x="212312" y="251365"/>
                    </a:lnTo>
                    <a:lnTo>
                      <a:pt x="228124" y="235649"/>
                    </a:lnTo>
                    <a:lnTo>
                      <a:pt x="228124" y="220028"/>
                    </a:lnTo>
                    <a:lnTo>
                      <a:pt x="220218" y="212122"/>
                    </a:lnTo>
                    <a:lnTo>
                      <a:pt x="220218" y="196405"/>
                    </a:lnTo>
                    <a:lnTo>
                      <a:pt x="228124" y="188595"/>
                    </a:lnTo>
                    <a:lnTo>
                      <a:pt x="235934" y="188595"/>
                    </a:lnTo>
                    <a:lnTo>
                      <a:pt x="235934" y="164973"/>
                    </a:lnTo>
                    <a:lnTo>
                      <a:pt x="243840" y="141446"/>
                    </a:lnTo>
                    <a:lnTo>
                      <a:pt x="243840" y="125730"/>
                    </a:lnTo>
                    <a:lnTo>
                      <a:pt x="235934" y="117824"/>
                    </a:lnTo>
                    <a:lnTo>
                      <a:pt x="228124" y="117824"/>
                    </a:lnTo>
                    <a:lnTo>
                      <a:pt x="228124" y="110014"/>
                    </a:lnTo>
                    <a:lnTo>
                      <a:pt x="235934" y="102203"/>
                    </a:lnTo>
                    <a:lnTo>
                      <a:pt x="267367" y="86392"/>
                    </a:lnTo>
                    <a:lnTo>
                      <a:pt x="298895" y="54959"/>
                    </a:lnTo>
                    <a:lnTo>
                      <a:pt x="298895" y="47149"/>
                    </a:lnTo>
                    <a:lnTo>
                      <a:pt x="283178" y="39338"/>
                    </a:lnTo>
                    <a:lnTo>
                      <a:pt x="275273" y="39338"/>
                    </a:lnTo>
                    <a:lnTo>
                      <a:pt x="275273" y="15716"/>
                    </a:lnTo>
                    <a:lnTo>
                      <a:pt x="204502" y="15716"/>
                    </a:lnTo>
                    <a:lnTo>
                      <a:pt x="204502" y="23622"/>
                    </a:lnTo>
                    <a:lnTo>
                      <a:pt x="196596" y="31433"/>
                    </a:lnTo>
                    <a:lnTo>
                      <a:pt x="180880" y="31433"/>
                    </a:lnTo>
                    <a:lnTo>
                      <a:pt x="172974" y="23622"/>
                    </a:lnTo>
                    <a:lnTo>
                      <a:pt x="149447" y="23622"/>
                    </a:lnTo>
                    <a:lnTo>
                      <a:pt x="141542" y="31433"/>
                    </a:lnTo>
                    <a:lnTo>
                      <a:pt x="125825" y="31433"/>
                    </a:lnTo>
                    <a:lnTo>
                      <a:pt x="125825" y="23622"/>
                    </a:lnTo>
                    <a:lnTo>
                      <a:pt x="133731" y="23622"/>
                    </a:lnTo>
                    <a:lnTo>
                      <a:pt x="149447" y="7906"/>
                    </a:lnTo>
                    <a:lnTo>
                      <a:pt x="149447" y="0"/>
                    </a:lnTo>
                    <a:lnTo>
                      <a:pt x="117920" y="0"/>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75FF15AD-39FB-98E7-D40F-FFE879E74B0B}"/>
                  </a:ext>
                </a:extLst>
              </p:cNvPr>
              <p:cNvSpPr/>
              <p:nvPr/>
            </p:nvSpPr>
            <p:spPr>
              <a:xfrm>
                <a:off x="4415123" y="4600193"/>
                <a:ext cx="298894" cy="541972"/>
              </a:xfrm>
              <a:custGeom>
                <a:avLst/>
                <a:gdLst>
                  <a:gd name="connsiteX0" fmla="*/ 275273 w 298894"/>
                  <a:gd name="connsiteY0" fmla="*/ 39338 h 541972"/>
                  <a:gd name="connsiteX1" fmla="*/ 275273 w 298894"/>
                  <a:gd name="connsiteY1" fmla="*/ 15716 h 541972"/>
                  <a:gd name="connsiteX2" fmla="*/ 204502 w 298894"/>
                  <a:gd name="connsiteY2" fmla="*/ 15716 h 541972"/>
                  <a:gd name="connsiteX3" fmla="*/ 204502 w 298894"/>
                  <a:gd name="connsiteY3" fmla="*/ 23622 h 541972"/>
                  <a:gd name="connsiteX4" fmla="*/ 196596 w 298894"/>
                  <a:gd name="connsiteY4" fmla="*/ 31433 h 541972"/>
                  <a:gd name="connsiteX5" fmla="*/ 180880 w 298894"/>
                  <a:gd name="connsiteY5" fmla="*/ 31433 h 541972"/>
                  <a:gd name="connsiteX6" fmla="*/ 172974 w 298894"/>
                  <a:gd name="connsiteY6" fmla="*/ 23622 h 541972"/>
                  <a:gd name="connsiteX7" fmla="*/ 149447 w 298894"/>
                  <a:gd name="connsiteY7" fmla="*/ 23622 h 541972"/>
                  <a:gd name="connsiteX8" fmla="*/ 141542 w 298894"/>
                  <a:gd name="connsiteY8" fmla="*/ 31433 h 541972"/>
                  <a:gd name="connsiteX9" fmla="*/ 125825 w 298894"/>
                  <a:gd name="connsiteY9" fmla="*/ 31433 h 541972"/>
                  <a:gd name="connsiteX10" fmla="*/ 125825 w 298894"/>
                  <a:gd name="connsiteY10" fmla="*/ 23622 h 541972"/>
                  <a:gd name="connsiteX11" fmla="*/ 133731 w 298894"/>
                  <a:gd name="connsiteY11" fmla="*/ 23622 h 541972"/>
                  <a:gd name="connsiteX12" fmla="*/ 149447 w 298894"/>
                  <a:gd name="connsiteY12" fmla="*/ 7906 h 541972"/>
                  <a:gd name="connsiteX13" fmla="*/ 149447 w 298894"/>
                  <a:gd name="connsiteY13" fmla="*/ 0 h 541972"/>
                  <a:gd name="connsiteX14" fmla="*/ 117920 w 298894"/>
                  <a:gd name="connsiteY14" fmla="*/ 0 h 541972"/>
                  <a:gd name="connsiteX15" fmla="*/ 86487 w 298894"/>
                  <a:gd name="connsiteY15" fmla="*/ 15716 h 541972"/>
                  <a:gd name="connsiteX16" fmla="*/ 78677 w 298894"/>
                  <a:gd name="connsiteY16" fmla="*/ 23622 h 541972"/>
                  <a:gd name="connsiteX17" fmla="*/ 78677 w 298894"/>
                  <a:gd name="connsiteY17" fmla="*/ 47149 h 541972"/>
                  <a:gd name="connsiteX18" fmla="*/ 86487 w 298894"/>
                  <a:gd name="connsiteY18" fmla="*/ 78581 h 541972"/>
                  <a:gd name="connsiteX19" fmla="*/ 86487 w 298894"/>
                  <a:gd name="connsiteY19" fmla="*/ 102108 h 541972"/>
                  <a:gd name="connsiteX20" fmla="*/ 78677 w 298894"/>
                  <a:gd name="connsiteY20" fmla="*/ 141446 h 541972"/>
                  <a:gd name="connsiteX21" fmla="*/ 62865 w 298894"/>
                  <a:gd name="connsiteY21" fmla="*/ 180689 h 541972"/>
                  <a:gd name="connsiteX22" fmla="*/ 39338 w 298894"/>
                  <a:gd name="connsiteY22" fmla="*/ 227838 h 541972"/>
                  <a:gd name="connsiteX23" fmla="*/ 15716 w 298894"/>
                  <a:gd name="connsiteY23" fmla="*/ 290608 h 541972"/>
                  <a:gd name="connsiteX24" fmla="*/ 7811 w 298894"/>
                  <a:gd name="connsiteY24" fmla="*/ 306419 h 541972"/>
                  <a:gd name="connsiteX25" fmla="*/ 7811 w 298894"/>
                  <a:gd name="connsiteY25" fmla="*/ 314230 h 541972"/>
                  <a:gd name="connsiteX26" fmla="*/ 0 w 298894"/>
                  <a:gd name="connsiteY26" fmla="*/ 329946 h 541972"/>
                  <a:gd name="connsiteX27" fmla="*/ 0 w 298894"/>
                  <a:gd name="connsiteY27" fmla="*/ 345662 h 541972"/>
                  <a:gd name="connsiteX28" fmla="*/ 23622 w 298894"/>
                  <a:gd name="connsiteY28" fmla="*/ 369189 h 541972"/>
                  <a:gd name="connsiteX29" fmla="*/ 39338 w 298894"/>
                  <a:gd name="connsiteY29" fmla="*/ 377095 h 541972"/>
                  <a:gd name="connsiteX30" fmla="*/ 55055 w 298894"/>
                  <a:gd name="connsiteY30" fmla="*/ 447770 h 541972"/>
                  <a:gd name="connsiteX31" fmla="*/ 55055 w 298894"/>
                  <a:gd name="connsiteY31" fmla="*/ 455581 h 541972"/>
                  <a:gd name="connsiteX32" fmla="*/ 47149 w 298894"/>
                  <a:gd name="connsiteY32" fmla="*/ 463487 h 541972"/>
                  <a:gd name="connsiteX33" fmla="*/ 47149 w 298894"/>
                  <a:gd name="connsiteY33" fmla="*/ 479203 h 541972"/>
                  <a:gd name="connsiteX34" fmla="*/ 39338 w 298894"/>
                  <a:gd name="connsiteY34" fmla="*/ 502730 h 541972"/>
                  <a:gd name="connsiteX35" fmla="*/ 31433 w 298894"/>
                  <a:gd name="connsiteY35" fmla="*/ 518446 h 541972"/>
                  <a:gd name="connsiteX36" fmla="*/ 31433 w 298894"/>
                  <a:gd name="connsiteY36" fmla="*/ 534162 h 541972"/>
                  <a:gd name="connsiteX37" fmla="*/ 62865 w 298894"/>
                  <a:gd name="connsiteY37" fmla="*/ 534162 h 541972"/>
                  <a:gd name="connsiteX38" fmla="*/ 78677 w 298894"/>
                  <a:gd name="connsiteY38" fmla="*/ 526352 h 541972"/>
                  <a:gd name="connsiteX39" fmla="*/ 94393 w 298894"/>
                  <a:gd name="connsiteY39" fmla="*/ 526352 h 541972"/>
                  <a:gd name="connsiteX40" fmla="*/ 110109 w 298894"/>
                  <a:gd name="connsiteY40" fmla="*/ 541972 h 541972"/>
                  <a:gd name="connsiteX41" fmla="*/ 125825 w 298894"/>
                  <a:gd name="connsiteY41" fmla="*/ 541972 h 541972"/>
                  <a:gd name="connsiteX42" fmla="*/ 141542 w 298894"/>
                  <a:gd name="connsiteY42" fmla="*/ 534162 h 541972"/>
                  <a:gd name="connsiteX43" fmla="*/ 149447 w 298894"/>
                  <a:gd name="connsiteY43" fmla="*/ 526352 h 541972"/>
                  <a:gd name="connsiteX44" fmla="*/ 157258 w 298894"/>
                  <a:gd name="connsiteY44" fmla="*/ 526352 h 541972"/>
                  <a:gd name="connsiteX45" fmla="*/ 165164 w 298894"/>
                  <a:gd name="connsiteY45" fmla="*/ 518446 h 541972"/>
                  <a:gd name="connsiteX46" fmla="*/ 165164 w 298894"/>
                  <a:gd name="connsiteY46" fmla="*/ 455581 h 541972"/>
                  <a:gd name="connsiteX47" fmla="*/ 172974 w 298894"/>
                  <a:gd name="connsiteY47" fmla="*/ 447770 h 541972"/>
                  <a:gd name="connsiteX48" fmla="*/ 180880 w 298894"/>
                  <a:gd name="connsiteY48" fmla="*/ 432054 h 541972"/>
                  <a:gd name="connsiteX49" fmla="*/ 196596 w 298894"/>
                  <a:gd name="connsiteY49" fmla="*/ 432054 h 541972"/>
                  <a:gd name="connsiteX50" fmla="*/ 212312 w 298894"/>
                  <a:gd name="connsiteY50" fmla="*/ 416338 h 541972"/>
                  <a:gd name="connsiteX51" fmla="*/ 212312 w 298894"/>
                  <a:gd name="connsiteY51" fmla="*/ 408527 h 541972"/>
                  <a:gd name="connsiteX52" fmla="*/ 196596 w 298894"/>
                  <a:gd name="connsiteY52" fmla="*/ 408527 h 541972"/>
                  <a:gd name="connsiteX53" fmla="*/ 188786 w 298894"/>
                  <a:gd name="connsiteY53" fmla="*/ 400621 h 541972"/>
                  <a:gd name="connsiteX54" fmla="*/ 180880 w 298894"/>
                  <a:gd name="connsiteY54" fmla="*/ 384905 h 541972"/>
                  <a:gd name="connsiteX55" fmla="*/ 180880 w 298894"/>
                  <a:gd name="connsiteY55" fmla="*/ 377095 h 541972"/>
                  <a:gd name="connsiteX56" fmla="*/ 172974 w 298894"/>
                  <a:gd name="connsiteY56" fmla="*/ 369189 h 541972"/>
                  <a:gd name="connsiteX57" fmla="*/ 172974 w 298894"/>
                  <a:gd name="connsiteY57" fmla="*/ 361379 h 541972"/>
                  <a:gd name="connsiteX58" fmla="*/ 188786 w 298894"/>
                  <a:gd name="connsiteY58" fmla="*/ 345662 h 541972"/>
                  <a:gd name="connsiteX59" fmla="*/ 204502 w 298894"/>
                  <a:gd name="connsiteY59" fmla="*/ 337757 h 541972"/>
                  <a:gd name="connsiteX60" fmla="*/ 220218 w 298894"/>
                  <a:gd name="connsiteY60" fmla="*/ 322040 h 541972"/>
                  <a:gd name="connsiteX61" fmla="*/ 220218 w 298894"/>
                  <a:gd name="connsiteY61" fmla="*/ 314230 h 541972"/>
                  <a:gd name="connsiteX62" fmla="*/ 204502 w 298894"/>
                  <a:gd name="connsiteY62" fmla="*/ 306419 h 541972"/>
                  <a:gd name="connsiteX63" fmla="*/ 196596 w 298894"/>
                  <a:gd name="connsiteY63" fmla="*/ 298513 h 541972"/>
                  <a:gd name="connsiteX64" fmla="*/ 196596 w 298894"/>
                  <a:gd name="connsiteY64" fmla="*/ 282797 h 541972"/>
                  <a:gd name="connsiteX65" fmla="*/ 165164 w 298894"/>
                  <a:gd name="connsiteY65" fmla="*/ 251365 h 541972"/>
                  <a:gd name="connsiteX66" fmla="*/ 212312 w 298894"/>
                  <a:gd name="connsiteY66" fmla="*/ 251365 h 541972"/>
                  <a:gd name="connsiteX67" fmla="*/ 228029 w 298894"/>
                  <a:gd name="connsiteY67" fmla="*/ 235649 h 541972"/>
                  <a:gd name="connsiteX68" fmla="*/ 228029 w 298894"/>
                  <a:gd name="connsiteY68" fmla="*/ 219932 h 541972"/>
                  <a:gd name="connsiteX69" fmla="*/ 220218 w 298894"/>
                  <a:gd name="connsiteY69" fmla="*/ 212122 h 541972"/>
                  <a:gd name="connsiteX70" fmla="*/ 220218 w 298894"/>
                  <a:gd name="connsiteY70" fmla="*/ 196405 h 541972"/>
                  <a:gd name="connsiteX71" fmla="*/ 228029 w 298894"/>
                  <a:gd name="connsiteY71" fmla="*/ 188595 h 541972"/>
                  <a:gd name="connsiteX72" fmla="*/ 235934 w 298894"/>
                  <a:gd name="connsiteY72" fmla="*/ 188595 h 541972"/>
                  <a:gd name="connsiteX73" fmla="*/ 235934 w 298894"/>
                  <a:gd name="connsiteY73" fmla="*/ 164973 h 541972"/>
                  <a:gd name="connsiteX74" fmla="*/ 243840 w 298894"/>
                  <a:gd name="connsiteY74" fmla="*/ 141446 h 541972"/>
                  <a:gd name="connsiteX75" fmla="*/ 243840 w 298894"/>
                  <a:gd name="connsiteY75" fmla="*/ 125730 h 541972"/>
                  <a:gd name="connsiteX76" fmla="*/ 235934 w 298894"/>
                  <a:gd name="connsiteY76" fmla="*/ 117824 h 541972"/>
                  <a:gd name="connsiteX77" fmla="*/ 228029 w 298894"/>
                  <a:gd name="connsiteY77" fmla="*/ 117824 h 541972"/>
                  <a:gd name="connsiteX78" fmla="*/ 228029 w 298894"/>
                  <a:gd name="connsiteY78" fmla="*/ 110014 h 541972"/>
                  <a:gd name="connsiteX79" fmla="*/ 235934 w 298894"/>
                  <a:gd name="connsiteY79" fmla="*/ 102108 h 541972"/>
                  <a:gd name="connsiteX80" fmla="*/ 267367 w 298894"/>
                  <a:gd name="connsiteY80" fmla="*/ 86392 h 541972"/>
                  <a:gd name="connsiteX81" fmla="*/ 298895 w 298894"/>
                  <a:gd name="connsiteY81" fmla="*/ 54959 h 541972"/>
                  <a:gd name="connsiteX82" fmla="*/ 298895 w 298894"/>
                  <a:gd name="connsiteY82" fmla="*/ 47149 h 541972"/>
                  <a:gd name="connsiteX83" fmla="*/ 283178 w 298894"/>
                  <a:gd name="connsiteY83" fmla="*/ 39338 h 541972"/>
                  <a:gd name="connsiteX84" fmla="*/ 275273 w 298894"/>
                  <a:gd name="connsiteY84" fmla="*/ 39338 h 54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98894" h="541972">
                    <a:moveTo>
                      <a:pt x="275273" y="39338"/>
                    </a:moveTo>
                    <a:lnTo>
                      <a:pt x="275273" y="15716"/>
                    </a:lnTo>
                    <a:lnTo>
                      <a:pt x="204502" y="15716"/>
                    </a:lnTo>
                    <a:lnTo>
                      <a:pt x="204502" y="23622"/>
                    </a:lnTo>
                    <a:lnTo>
                      <a:pt x="196596" y="31433"/>
                    </a:lnTo>
                    <a:lnTo>
                      <a:pt x="180880" y="31433"/>
                    </a:lnTo>
                    <a:lnTo>
                      <a:pt x="172974" y="23622"/>
                    </a:lnTo>
                    <a:lnTo>
                      <a:pt x="149447" y="23622"/>
                    </a:lnTo>
                    <a:lnTo>
                      <a:pt x="141542" y="31433"/>
                    </a:lnTo>
                    <a:lnTo>
                      <a:pt x="125825" y="31433"/>
                    </a:lnTo>
                    <a:lnTo>
                      <a:pt x="125825" y="23622"/>
                    </a:lnTo>
                    <a:lnTo>
                      <a:pt x="133731" y="23622"/>
                    </a:lnTo>
                    <a:lnTo>
                      <a:pt x="149447" y="7906"/>
                    </a:lnTo>
                    <a:lnTo>
                      <a:pt x="149447" y="0"/>
                    </a:lnTo>
                    <a:lnTo>
                      <a:pt x="117920" y="0"/>
                    </a:lnTo>
                    <a:lnTo>
                      <a:pt x="86487" y="15716"/>
                    </a:lnTo>
                    <a:lnTo>
                      <a:pt x="78677" y="23622"/>
                    </a:lnTo>
                    <a:lnTo>
                      <a:pt x="78677" y="47149"/>
                    </a:lnTo>
                    <a:lnTo>
                      <a:pt x="86487" y="78581"/>
                    </a:lnTo>
                    <a:lnTo>
                      <a:pt x="86487" y="102108"/>
                    </a:lnTo>
                    <a:lnTo>
                      <a:pt x="78677" y="141446"/>
                    </a:lnTo>
                    <a:lnTo>
                      <a:pt x="62865" y="180689"/>
                    </a:lnTo>
                    <a:lnTo>
                      <a:pt x="39338" y="227838"/>
                    </a:lnTo>
                    <a:lnTo>
                      <a:pt x="15716" y="290608"/>
                    </a:lnTo>
                    <a:lnTo>
                      <a:pt x="7811" y="306419"/>
                    </a:lnTo>
                    <a:lnTo>
                      <a:pt x="7811" y="314230"/>
                    </a:lnTo>
                    <a:lnTo>
                      <a:pt x="0" y="329946"/>
                    </a:lnTo>
                    <a:lnTo>
                      <a:pt x="0" y="345662"/>
                    </a:lnTo>
                    <a:lnTo>
                      <a:pt x="23622" y="369189"/>
                    </a:lnTo>
                    <a:lnTo>
                      <a:pt x="39338" y="377095"/>
                    </a:lnTo>
                    <a:lnTo>
                      <a:pt x="55055" y="447770"/>
                    </a:lnTo>
                    <a:lnTo>
                      <a:pt x="55055" y="455581"/>
                    </a:lnTo>
                    <a:lnTo>
                      <a:pt x="47149" y="463487"/>
                    </a:lnTo>
                    <a:lnTo>
                      <a:pt x="47149" y="479203"/>
                    </a:lnTo>
                    <a:lnTo>
                      <a:pt x="39338" y="502730"/>
                    </a:lnTo>
                    <a:lnTo>
                      <a:pt x="31433" y="518446"/>
                    </a:lnTo>
                    <a:lnTo>
                      <a:pt x="31433" y="534162"/>
                    </a:lnTo>
                    <a:lnTo>
                      <a:pt x="62865" y="534162"/>
                    </a:lnTo>
                    <a:lnTo>
                      <a:pt x="78677" y="526352"/>
                    </a:lnTo>
                    <a:lnTo>
                      <a:pt x="94393" y="526352"/>
                    </a:lnTo>
                    <a:lnTo>
                      <a:pt x="110109" y="541972"/>
                    </a:lnTo>
                    <a:lnTo>
                      <a:pt x="125825" y="541972"/>
                    </a:lnTo>
                    <a:lnTo>
                      <a:pt x="141542" y="534162"/>
                    </a:lnTo>
                    <a:lnTo>
                      <a:pt x="149447" y="526352"/>
                    </a:lnTo>
                    <a:lnTo>
                      <a:pt x="157258" y="526352"/>
                    </a:lnTo>
                    <a:lnTo>
                      <a:pt x="165164" y="518446"/>
                    </a:lnTo>
                    <a:lnTo>
                      <a:pt x="165164" y="455581"/>
                    </a:lnTo>
                    <a:lnTo>
                      <a:pt x="172974" y="447770"/>
                    </a:lnTo>
                    <a:lnTo>
                      <a:pt x="180880" y="432054"/>
                    </a:lnTo>
                    <a:lnTo>
                      <a:pt x="196596" y="432054"/>
                    </a:lnTo>
                    <a:lnTo>
                      <a:pt x="212312" y="416338"/>
                    </a:lnTo>
                    <a:lnTo>
                      <a:pt x="212312" y="408527"/>
                    </a:lnTo>
                    <a:lnTo>
                      <a:pt x="196596" y="408527"/>
                    </a:lnTo>
                    <a:lnTo>
                      <a:pt x="188786" y="400621"/>
                    </a:lnTo>
                    <a:lnTo>
                      <a:pt x="180880" y="384905"/>
                    </a:lnTo>
                    <a:lnTo>
                      <a:pt x="180880" y="377095"/>
                    </a:lnTo>
                    <a:lnTo>
                      <a:pt x="172974" y="369189"/>
                    </a:lnTo>
                    <a:lnTo>
                      <a:pt x="172974" y="361379"/>
                    </a:lnTo>
                    <a:lnTo>
                      <a:pt x="188786" y="345662"/>
                    </a:lnTo>
                    <a:lnTo>
                      <a:pt x="204502" y="337757"/>
                    </a:lnTo>
                    <a:lnTo>
                      <a:pt x="220218" y="322040"/>
                    </a:lnTo>
                    <a:lnTo>
                      <a:pt x="220218" y="314230"/>
                    </a:lnTo>
                    <a:lnTo>
                      <a:pt x="204502" y="306419"/>
                    </a:lnTo>
                    <a:lnTo>
                      <a:pt x="196596" y="298513"/>
                    </a:lnTo>
                    <a:lnTo>
                      <a:pt x="196596" y="282797"/>
                    </a:lnTo>
                    <a:lnTo>
                      <a:pt x="165164" y="251365"/>
                    </a:lnTo>
                    <a:lnTo>
                      <a:pt x="212312" y="251365"/>
                    </a:lnTo>
                    <a:lnTo>
                      <a:pt x="228029" y="235649"/>
                    </a:lnTo>
                    <a:lnTo>
                      <a:pt x="228029" y="219932"/>
                    </a:lnTo>
                    <a:lnTo>
                      <a:pt x="220218" y="212122"/>
                    </a:lnTo>
                    <a:lnTo>
                      <a:pt x="220218" y="196405"/>
                    </a:lnTo>
                    <a:lnTo>
                      <a:pt x="228029" y="188595"/>
                    </a:lnTo>
                    <a:lnTo>
                      <a:pt x="235934" y="188595"/>
                    </a:lnTo>
                    <a:lnTo>
                      <a:pt x="235934" y="164973"/>
                    </a:lnTo>
                    <a:lnTo>
                      <a:pt x="243840" y="141446"/>
                    </a:lnTo>
                    <a:lnTo>
                      <a:pt x="243840" y="125730"/>
                    </a:lnTo>
                    <a:lnTo>
                      <a:pt x="235934" y="117824"/>
                    </a:lnTo>
                    <a:lnTo>
                      <a:pt x="228029" y="117824"/>
                    </a:lnTo>
                    <a:lnTo>
                      <a:pt x="228029" y="110014"/>
                    </a:lnTo>
                    <a:lnTo>
                      <a:pt x="235934" y="102108"/>
                    </a:lnTo>
                    <a:lnTo>
                      <a:pt x="267367" y="86392"/>
                    </a:lnTo>
                    <a:lnTo>
                      <a:pt x="298895" y="54959"/>
                    </a:lnTo>
                    <a:lnTo>
                      <a:pt x="298895" y="47149"/>
                    </a:lnTo>
                    <a:lnTo>
                      <a:pt x="283178" y="39338"/>
                    </a:lnTo>
                    <a:lnTo>
                      <a:pt x="275273" y="39338"/>
                    </a:lnTo>
                    <a:close/>
                  </a:path>
                </a:pathLst>
              </a:custGeom>
              <a:noFill/>
              <a:ln w="4763"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F4E292D7-7B4C-C8A7-5A45-98B149112137}"/>
                  </a:ext>
                </a:extLst>
              </p:cNvPr>
              <p:cNvSpPr/>
              <p:nvPr/>
            </p:nvSpPr>
            <p:spPr>
              <a:xfrm>
                <a:off x="4412456" y="1493043"/>
                <a:ext cx="3366706" cy="3874008"/>
              </a:xfrm>
              <a:custGeom>
                <a:avLst/>
                <a:gdLst>
                  <a:gd name="connsiteX0" fmla="*/ 0 w 3366706"/>
                  <a:gd name="connsiteY0" fmla="*/ 0 h 3874008"/>
                  <a:gd name="connsiteX1" fmla="*/ 3366707 w 3366706"/>
                  <a:gd name="connsiteY1" fmla="*/ 0 h 3874008"/>
                  <a:gd name="connsiteX2" fmla="*/ 3366707 w 3366706"/>
                  <a:gd name="connsiteY2" fmla="*/ 3874008 h 3874008"/>
                  <a:gd name="connsiteX3" fmla="*/ 0 w 3366706"/>
                  <a:gd name="connsiteY3" fmla="*/ 3874008 h 3874008"/>
                </a:gdLst>
                <a:ahLst/>
                <a:cxnLst>
                  <a:cxn ang="0">
                    <a:pos x="connsiteX0" y="connsiteY0"/>
                  </a:cxn>
                  <a:cxn ang="0">
                    <a:pos x="connsiteX1" y="connsiteY1"/>
                  </a:cxn>
                  <a:cxn ang="0">
                    <a:pos x="connsiteX2" y="connsiteY2"/>
                  </a:cxn>
                  <a:cxn ang="0">
                    <a:pos x="connsiteX3" y="connsiteY3"/>
                  </a:cxn>
                </a:cxnLst>
                <a:rect l="l" t="t" r="r" b="b"/>
                <a:pathLst>
                  <a:path w="3366706" h="3874008">
                    <a:moveTo>
                      <a:pt x="0" y="0"/>
                    </a:moveTo>
                    <a:lnTo>
                      <a:pt x="3366707" y="0"/>
                    </a:lnTo>
                    <a:lnTo>
                      <a:pt x="3366707" y="3874008"/>
                    </a:lnTo>
                    <a:lnTo>
                      <a:pt x="0" y="3874008"/>
                    </a:lnTo>
                    <a:close/>
                  </a:path>
                </a:pathLst>
              </a:custGeom>
              <a:noFill/>
              <a:ln w="4763"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385EAA9B-A5ED-12E6-CFAA-DF7B19AF5EE2}"/>
                  </a:ext>
                </a:extLst>
              </p:cNvPr>
              <p:cNvSpPr/>
              <p:nvPr/>
            </p:nvSpPr>
            <p:spPr>
              <a:xfrm>
                <a:off x="6444900" y="3282409"/>
                <a:ext cx="826293" cy="595121"/>
              </a:xfrm>
              <a:custGeom>
                <a:avLst/>
                <a:gdLst>
                  <a:gd name="connsiteX0" fmla="*/ 564071 w 826293"/>
                  <a:gd name="connsiteY0" fmla="*/ 563404 h 595121"/>
                  <a:gd name="connsiteX1" fmla="*/ 572072 w 826293"/>
                  <a:gd name="connsiteY1" fmla="*/ 563404 h 595121"/>
                  <a:gd name="connsiteX2" fmla="*/ 587978 w 826293"/>
                  <a:gd name="connsiteY2" fmla="*/ 555498 h 595121"/>
                  <a:gd name="connsiteX3" fmla="*/ 595884 w 826293"/>
                  <a:gd name="connsiteY3" fmla="*/ 547592 h 595121"/>
                  <a:gd name="connsiteX4" fmla="*/ 627602 w 826293"/>
                  <a:gd name="connsiteY4" fmla="*/ 547592 h 595121"/>
                  <a:gd name="connsiteX5" fmla="*/ 659416 w 826293"/>
                  <a:gd name="connsiteY5" fmla="*/ 579310 h 595121"/>
                  <a:gd name="connsiteX6" fmla="*/ 699135 w 826293"/>
                  <a:gd name="connsiteY6" fmla="*/ 579310 h 595121"/>
                  <a:gd name="connsiteX7" fmla="*/ 699135 w 826293"/>
                  <a:gd name="connsiteY7" fmla="*/ 595122 h 595121"/>
                  <a:gd name="connsiteX8" fmla="*/ 730948 w 826293"/>
                  <a:gd name="connsiteY8" fmla="*/ 595122 h 595121"/>
                  <a:gd name="connsiteX9" fmla="*/ 715042 w 826293"/>
                  <a:gd name="connsiteY9" fmla="*/ 579310 h 595121"/>
                  <a:gd name="connsiteX10" fmla="*/ 715042 w 826293"/>
                  <a:gd name="connsiteY10" fmla="*/ 523780 h 595121"/>
                  <a:gd name="connsiteX11" fmla="*/ 786574 w 826293"/>
                  <a:gd name="connsiteY11" fmla="*/ 460248 h 595121"/>
                  <a:gd name="connsiteX12" fmla="*/ 802481 w 826293"/>
                  <a:gd name="connsiteY12" fmla="*/ 460248 h 595121"/>
                  <a:gd name="connsiteX13" fmla="*/ 810387 w 826293"/>
                  <a:gd name="connsiteY13" fmla="*/ 452342 h 595121"/>
                  <a:gd name="connsiteX14" fmla="*/ 818293 w 826293"/>
                  <a:gd name="connsiteY14" fmla="*/ 452342 h 595121"/>
                  <a:gd name="connsiteX15" fmla="*/ 826294 w 826293"/>
                  <a:gd name="connsiteY15" fmla="*/ 444437 h 595121"/>
                  <a:gd name="connsiteX16" fmla="*/ 818293 w 826293"/>
                  <a:gd name="connsiteY16" fmla="*/ 436435 h 595121"/>
                  <a:gd name="connsiteX17" fmla="*/ 818293 w 826293"/>
                  <a:gd name="connsiteY17" fmla="*/ 428530 h 595121"/>
                  <a:gd name="connsiteX18" fmla="*/ 810387 w 826293"/>
                  <a:gd name="connsiteY18" fmla="*/ 420624 h 595121"/>
                  <a:gd name="connsiteX19" fmla="*/ 818293 w 826293"/>
                  <a:gd name="connsiteY19" fmla="*/ 404717 h 595121"/>
                  <a:gd name="connsiteX20" fmla="*/ 810387 w 826293"/>
                  <a:gd name="connsiteY20" fmla="*/ 396812 h 595121"/>
                  <a:gd name="connsiteX21" fmla="*/ 794480 w 826293"/>
                  <a:gd name="connsiteY21" fmla="*/ 388906 h 595121"/>
                  <a:gd name="connsiteX22" fmla="*/ 794480 w 826293"/>
                  <a:gd name="connsiteY22" fmla="*/ 380905 h 595121"/>
                  <a:gd name="connsiteX23" fmla="*/ 770668 w 826293"/>
                  <a:gd name="connsiteY23" fmla="*/ 357092 h 595121"/>
                  <a:gd name="connsiteX24" fmla="*/ 762667 w 826293"/>
                  <a:gd name="connsiteY24" fmla="*/ 333280 h 595121"/>
                  <a:gd name="connsiteX25" fmla="*/ 770668 w 826293"/>
                  <a:gd name="connsiteY25" fmla="*/ 333280 h 595121"/>
                  <a:gd name="connsiteX26" fmla="*/ 762667 w 826293"/>
                  <a:gd name="connsiteY26" fmla="*/ 317468 h 595121"/>
                  <a:gd name="connsiteX27" fmla="*/ 762667 w 826293"/>
                  <a:gd name="connsiteY27" fmla="*/ 277749 h 595121"/>
                  <a:gd name="connsiteX28" fmla="*/ 746855 w 826293"/>
                  <a:gd name="connsiteY28" fmla="*/ 261842 h 595121"/>
                  <a:gd name="connsiteX29" fmla="*/ 738854 w 826293"/>
                  <a:gd name="connsiteY29" fmla="*/ 261842 h 595121"/>
                  <a:gd name="connsiteX30" fmla="*/ 730948 w 826293"/>
                  <a:gd name="connsiteY30" fmla="*/ 253937 h 595121"/>
                  <a:gd name="connsiteX31" fmla="*/ 730948 w 826293"/>
                  <a:gd name="connsiteY31" fmla="*/ 246031 h 595121"/>
                  <a:gd name="connsiteX32" fmla="*/ 746855 w 826293"/>
                  <a:gd name="connsiteY32" fmla="*/ 246031 h 595121"/>
                  <a:gd name="connsiteX33" fmla="*/ 746855 w 826293"/>
                  <a:gd name="connsiteY33" fmla="*/ 222218 h 595121"/>
                  <a:gd name="connsiteX34" fmla="*/ 778573 w 826293"/>
                  <a:gd name="connsiteY34" fmla="*/ 214313 h 595121"/>
                  <a:gd name="connsiteX35" fmla="*/ 778573 w 826293"/>
                  <a:gd name="connsiteY35" fmla="*/ 198406 h 595121"/>
                  <a:gd name="connsiteX36" fmla="*/ 786574 w 826293"/>
                  <a:gd name="connsiteY36" fmla="*/ 190500 h 595121"/>
                  <a:gd name="connsiteX37" fmla="*/ 786574 w 826293"/>
                  <a:gd name="connsiteY37" fmla="*/ 182499 h 595121"/>
                  <a:gd name="connsiteX38" fmla="*/ 778573 w 826293"/>
                  <a:gd name="connsiteY38" fmla="*/ 174593 h 595121"/>
                  <a:gd name="connsiteX39" fmla="*/ 762667 w 826293"/>
                  <a:gd name="connsiteY39" fmla="*/ 142875 h 595121"/>
                  <a:gd name="connsiteX40" fmla="*/ 754761 w 826293"/>
                  <a:gd name="connsiteY40" fmla="*/ 134969 h 595121"/>
                  <a:gd name="connsiteX41" fmla="*/ 754761 w 826293"/>
                  <a:gd name="connsiteY41" fmla="*/ 119063 h 595121"/>
                  <a:gd name="connsiteX42" fmla="*/ 746855 w 826293"/>
                  <a:gd name="connsiteY42" fmla="*/ 111157 h 595121"/>
                  <a:gd name="connsiteX43" fmla="*/ 738854 w 826293"/>
                  <a:gd name="connsiteY43" fmla="*/ 95250 h 595121"/>
                  <a:gd name="connsiteX44" fmla="*/ 738854 w 826293"/>
                  <a:gd name="connsiteY44" fmla="*/ 63532 h 595121"/>
                  <a:gd name="connsiteX45" fmla="*/ 723043 w 826293"/>
                  <a:gd name="connsiteY45" fmla="*/ 55626 h 595121"/>
                  <a:gd name="connsiteX46" fmla="*/ 715042 w 826293"/>
                  <a:gd name="connsiteY46" fmla="*/ 55626 h 595121"/>
                  <a:gd name="connsiteX47" fmla="*/ 691229 w 826293"/>
                  <a:gd name="connsiteY47" fmla="*/ 47625 h 595121"/>
                  <a:gd name="connsiteX48" fmla="*/ 659416 w 826293"/>
                  <a:gd name="connsiteY48" fmla="*/ 47625 h 595121"/>
                  <a:gd name="connsiteX49" fmla="*/ 659416 w 826293"/>
                  <a:gd name="connsiteY49" fmla="*/ 55626 h 595121"/>
                  <a:gd name="connsiteX50" fmla="*/ 540258 w 826293"/>
                  <a:gd name="connsiteY50" fmla="*/ 55626 h 595121"/>
                  <a:gd name="connsiteX51" fmla="*/ 532352 w 826293"/>
                  <a:gd name="connsiteY51" fmla="*/ 47625 h 595121"/>
                  <a:gd name="connsiteX52" fmla="*/ 516446 w 826293"/>
                  <a:gd name="connsiteY52" fmla="*/ 47625 h 595121"/>
                  <a:gd name="connsiteX53" fmla="*/ 508445 w 826293"/>
                  <a:gd name="connsiteY53" fmla="*/ 39719 h 595121"/>
                  <a:gd name="connsiteX54" fmla="*/ 476726 w 826293"/>
                  <a:gd name="connsiteY54" fmla="*/ 39719 h 595121"/>
                  <a:gd name="connsiteX55" fmla="*/ 468725 w 826293"/>
                  <a:gd name="connsiteY55" fmla="*/ 47625 h 595121"/>
                  <a:gd name="connsiteX56" fmla="*/ 460820 w 826293"/>
                  <a:gd name="connsiteY56" fmla="*/ 47625 h 595121"/>
                  <a:gd name="connsiteX57" fmla="*/ 452914 w 826293"/>
                  <a:gd name="connsiteY57" fmla="*/ 39719 h 595121"/>
                  <a:gd name="connsiteX58" fmla="*/ 413099 w 826293"/>
                  <a:gd name="connsiteY58" fmla="*/ 39719 h 595121"/>
                  <a:gd name="connsiteX59" fmla="*/ 397288 w 826293"/>
                  <a:gd name="connsiteY59" fmla="*/ 47625 h 595121"/>
                  <a:gd name="connsiteX60" fmla="*/ 373475 w 826293"/>
                  <a:gd name="connsiteY60" fmla="*/ 47625 h 595121"/>
                  <a:gd name="connsiteX61" fmla="*/ 365474 w 826293"/>
                  <a:gd name="connsiteY61" fmla="*/ 39719 h 595121"/>
                  <a:gd name="connsiteX62" fmla="*/ 357568 w 826293"/>
                  <a:gd name="connsiteY62" fmla="*/ 23813 h 595121"/>
                  <a:gd name="connsiteX63" fmla="*/ 349567 w 826293"/>
                  <a:gd name="connsiteY63" fmla="*/ 15907 h 595121"/>
                  <a:gd name="connsiteX64" fmla="*/ 349567 w 826293"/>
                  <a:gd name="connsiteY64" fmla="*/ 8001 h 595121"/>
                  <a:gd name="connsiteX65" fmla="*/ 341662 w 826293"/>
                  <a:gd name="connsiteY65" fmla="*/ 8001 h 595121"/>
                  <a:gd name="connsiteX66" fmla="*/ 333661 w 826293"/>
                  <a:gd name="connsiteY66" fmla="*/ 0 h 595121"/>
                  <a:gd name="connsiteX67" fmla="*/ 278035 w 826293"/>
                  <a:gd name="connsiteY67" fmla="*/ 0 h 595121"/>
                  <a:gd name="connsiteX68" fmla="*/ 254222 w 826293"/>
                  <a:gd name="connsiteY68" fmla="*/ 8001 h 595121"/>
                  <a:gd name="connsiteX69" fmla="*/ 238411 w 826293"/>
                  <a:gd name="connsiteY69" fmla="*/ 15907 h 595121"/>
                  <a:gd name="connsiteX70" fmla="*/ 214503 w 826293"/>
                  <a:gd name="connsiteY70" fmla="*/ 15907 h 595121"/>
                  <a:gd name="connsiteX71" fmla="*/ 198596 w 826293"/>
                  <a:gd name="connsiteY71" fmla="*/ 23813 h 595121"/>
                  <a:gd name="connsiteX72" fmla="*/ 190690 w 826293"/>
                  <a:gd name="connsiteY72" fmla="*/ 31718 h 595121"/>
                  <a:gd name="connsiteX73" fmla="*/ 182785 w 826293"/>
                  <a:gd name="connsiteY73" fmla="*/ 31718 h 595121"/>
                  <a:gd name="connsiteX74" fmla="*/ 158877 w 826293"/>
                  <a:gd name="connsiteY74" fmla="*/ 55626 h 595121"/>
                  <a:gd name="connsiteX75" fmla="*/ 79438 w 826293"/>
                  <a:gd name="connsiteY75" fmla="*/ 63532 h 595121"/>
                  <a:gd name="connsiteX76" fmla="*/ 71533 w 826293"/>
                  <a:gd name="connsiteY76" fmla="*/ 63532 h 595121"/>
                  <a:gd name="connsiteX77" fmla="*/ 63532 w 826293"/>
                  <a:gd name="connsiteY77" fmla="*/ 71438 h 595121"/>
                  <a:gd name="connsiteX78" fmla="*/ 31813 w 826293"/>
                  <a:gd name="connsiteY78" fmla="*/ 87344 h 595121"/>
                  <a:gd name="connsiteX79" fmla="*/ 23813 w 826293"/>
                  <a:gd name="connsiteY79" fmla="*/ 87344 h 595121"/>
                  <a:gd name="connsiteX80" fmla="*/ 15907 w 826293"/>
                  <a:gd name="connsiteY80" fmla="*/ 95250 h 595121"/>
                  <a:gd name="connsiteX81" fmla="*/ 23813 w 826293"/>
                  <a:gd name="connsiteY81" fmla="*/ 103156 h 595121"/>
                  <a:gd name="connsiteX82" fmla="*/ 23813 w 826293"/>
                  <a:gd name="connsiteY82" fmla="*/ 126968 h 595121"/>
                  <a:gd name="connsiteX83" fmla="*/ 8001 w 826293"/>
                  <a:gd name="connsiteY83" fmla="*/ 119063 h 595121"/>
                  <a:gd name="connsiteX84" fmla="*/ 8001 w 826293"/>
                  <a:gd name="connsiteY84" fmla="*/ 142875 h 595121"/>
                  <a:gd name="connsiteX85" fmla="*/ 15907 w 826293"/>
                  <a:gd name="connsiteY85" fmla="*/ 142875 h 595121"/>
                  <a:gd name="connsiteX86" fmla="*/ 23813 w 826293"/>
                  <a:gd name="connsiteY86" fmla="*/ 150781 h 595121"/>
                  <a:gd name="connsiteX87" fmla="*/ 23813 w 826293"/>
                  <a:gd name="connsiteY87" fmla="*/ 174593 h 595121"/>
                  <a:gd name="connsiteX88" fmla="*/ 8001 w 826293"/>
                  <a:gd name="connsiteY88" fmla="*/ 190500 h 595121"/>
                  <a:gd name="connsiteX89" fmla="*/ 0 w 826293"/>
                  <a:gd name="connsiteY89" fmla="*/ 190500 h 595121"/>
                  <a:gd name="connsiteX90" fmla="*/ 0 w 826293"/>
                  <a:gd name="connsiteY90" fmla="*/ 206312 h 595121"/>
                  <a:gd name="connsiteX91" fmla="*/ 8001 w 826293"/>
                  <a:gd name="connsiteY91" fmla="*/ 214313 h 595121"/>
                  <a:gd name="connsiteX92" fmla="*/ 15907 w 826293"/>
                  <a:gd name="connsiteY92" fmla="*/ 214313 h 595121"/>
                  <a:gd name="connsiteX93" fmla="*/ 23813 w 826293"/>
                  <a:gd name="connsiteY93" fmla="*/ 222218 h 595121"/>
                  <a:gd name="connsiteX94" fmla="*/ 39719 w 826293"/>
                  <a:gd name="connsiteY94" fmla="*/ 222218 h 595121"/>
                  <a:gd name="connsiteX95" fmla="*/ 39719 w 826293"/>
                  <a:gd name="connsiteY95" fmla="*/ 246031 h 595121"/>
                  <a:gd name="connsiteX96" fmla="*/ 31813 w 826293"/>
                  <a:gd name="connsiteY96" fmla="*/ 246031 h 595121"/>
                  <a:gd name="connsiteX97" fmla="*/ 31813 w 826293"/>
                  <a:gd name="connsiteY97" fmla="*/ 261842 h 595121"/>
                  <a:gd name="connsiteX98" fmla="*/ 47625 w 826293"/>
                  <a:gd name="connsiteY98" fmla="*/ 261842 h 595121"/>
                  <a:gd name="connsiteX99" fmla="*/ 47625 w 826293"/>
                  <a:gd name="connsiteY99" fmla="*/ 269843 h 595121"/>
                  <a:gd name="connsiteX100" fmla="*/ 39719 w 826293"/>
                  <a:gd name="connsiteY100" fmla="*/ 277749 h 595121"/>
                  <a:gd name="connsiteX101" fmla="*/ 47625 w 826293"/>
                  <a:gd name="connsiteY101" fmla="*/ 277749 h 595121"/>
                  <a:gd name="connsiteX102" fmla="*/ 55626 w 826293"/>
                  <a:gd name="connsiteY102" fmla="*/ 285655 h 595121"/>
                  <a:gd name="connsiteX103" fmla="*/ 47625 w 826293"/>
                  <a:gd name="connsiteY103" fmla="*/ 293656 h 595121"/>
                  <a:gd name="connsiteX104" fmla="*/ 31813 w 826293"/>
                  <a:gd name="connsiteY104" fmla="*/ 301562 h 595121"/>
                  <a:gd name="connsiteX105" fmla="*/ 31813 w 826293"/>
                  <a:gd name="connsiteY105" fmla="*/ 309467 h 595121"/>
                  <a:gd name="connsiteX106" fmla="*/ 39719 w 826293"/>
                  <a:gd name="connsiteY106" fmla="*/ 317468 h 595121"/>
                  <a:gd name="connsiteX107" fmla="*/ 47625 w 826293"/>
                  <a:gd name="connsiteY107" fmla="*/ 317468 h 595121"/>
                  <a:gd name="connsiteX108" fmla="*/ 55626 w 826293"/>
                  <a:gd name="connsiteY108" fmla="*/ 325374 h 595121"/>
                  <a:gd name="connsiteX109" fmla="*/ 55626 w 826293"/>
                  <a:gd name="connsiteY109" fmla="*/ 349187 h 595121"/>
                  <a:gd name="connsiteX110" fmla="*/ 63532 w 826293"/>
                  <a:gd name="connsiteY110" fmla="*/ 341281 h 595121"/>
                  <a:gd name="connsiteX111" fmla="*/ 71533 w 826293"/>
                  <a:gd name="connsiteY111" fmla="*/ 341281 h 595121"/>
                  <a:gd name="connsiteX112" fmla="*/ 71533 w 826293"/>
                  <a:gd name="connsiteY112" fmla="*/ 357092 h 595121"/>
                  <a:gd name="connsiteX113" fmla="*/ 63532 w 826293"/>
                  <a:gd name="connsiteY113" fmla="*/ 364998 h 595121"/>
                  <a:gd name="connsiteX114" fmla="*/ 79438 w 826293"/>
                  <a:gd name="connsiteY114" fmla="*/ 364998 h 595121"/>
                  <a:gd name="connsiteX115" fmla="*/ 79438 w 826293"/>
                  <a:gd name="connsiteY115" fmla="*/ 372999 h 595121"/>
                  <a:gd name="connsiteX116" fmla="*/ 71533 w 826293"/>
                  <a:gd name="connsiteY116" fmla="*/ 372999 h 595121"/>
                  <a:gd name="connsiteX117" fmla="*/ 71533 w 826293"/>
                  <a:gd name="connsiteY117" fmla="*/ 388906 h 595121"/>
                  <a:gd name="connsiteX118" fmla="*/ 95345 w 826293"/>
                  <a:gd name="connsiteY118" fmla="*/ 388906 h 595121"/>
                  <a:gd name="connsiteX119" fmla="*/ 103251 w 826293"/>
                  <a:gd name="connsiteY119" fmla="*/ 412623 h 595121"/>
                  <a:gd name="connsiteX120" fmla="*/ 127159 w 826293"/>
                  <a:gd name="connsiteY120" fmla="*/ 412623 h 595121"/>
                  <a:gd name="connsiteX121" fmla="*/ 143065 w 826293"/>
                  <a:gd name="connsiteY121" fmla="*/ 420624 h 595121"/>
                  <a:gd name="connsiteX122" fmla="*/ 150971 w 826293"/>
                  <a:gd name="connsiteY122" fmla="*/ 420624 h 595121"/>
                  <a:gd name="connsiteX123" fmla="*/ 150971 w 826293"/>
                  <a:gd name="connsiteY123" fmla="*/ 428530 h 595121"/>
                  <a:gd name="connsiteX124" fmla="*/ 182785 w 826293"/>
                  <a:gd name="connsiteY124" fmla="*/ 428530 h 595121"/>
                  <a:gd name="connsiteX125" fmla="*/ 190690 w 826293"/>
                  <a:gd name="connsiteY125" fmla="*/ 436435 h 595121"/>
                  <a:gd name="connsiteX126" fmla="*/ 174784 w 826293"/>
                  <a:gd name="connsiteY126" fmla="*/ 444437 h 595121"/>
                  <a:gd name="connsiteX127" fmla="*/ 190690 w 826293"/>
                  <a:gd name="connsiteY127" fmla="*/ 452342 h 595121"/>
                  <a:gd name="connsiteX128" fmla="*/ 190690 w 826293"/>
                  <a:gd name="connsiteY128" fmla="*/ 468249 h 595121"/>
                  <a:gd name="connsiteX129" fmla="*/ 198596 w 826293"/>
                  <a:gd name="connsiteY129" fmla="*/ 468249 h 595121"/>
                  <a:gd name="connsiteX130" fmla="*/ 206597 w 826293"/>
                  <a:gd name="connsiteY130" fmla="*/ 476155 h 595121"/>
                  <a:gd name="connsiteX131" fmla="*/ 230410 w 826293"/>
                  <a:gd name="connsiteY131" fmla="*/ 476155 h 595121"/>
                  <a:gd name="connsiteX132" fmla="*/ 230410 w 826293"/>
                  <a:gd name="connsiteY132" fmla="*/ 468249 h 595121"/>
                  <a:gd name="connsiteX133" fmla="*/ 238411 w 826293"/>
                  <a:gd name="connsiteY133" fmla="*/ 468249 h 595121"/>
                  <a:gd name="connsiteX134" fmla="*/ 254222 w 826293"/>
                  <a:gd name="connsiteY134" fmla="*/ 460248 h 595121"/>
                  <a:gd name="connsiteX135" fmla="*/ 278035 w 826293"/>
                  <a:gd name="connsiteY135" fmla="*/ 460248 h 595121"/>
                  <a:gd name="connsiteX136" fmla="*/ 270129 w 826293"/>
                  <a:gd name="connsiteY136" fmla="*/ 468249 h 595121"/>
                  <a:gd name="connsiteX137" fmla="*/ 293942 w 826293"/>
                  <a:gd name="connsiteY137" fmla="*/ 468249 h 595121"/>
                  <a:gd name="connsiteX138" fmla="*/ 301942 w 826293"/>
                  <a:gd name="connsiteY138" fmla="*/ 476155 h 595121"/>
                  <a:gd name="connsiteX139" fmla="*/ 309848 w 826293"/>
                  <a:gd name="connsiteY139" fmla="*/ 491966 h 595121"/>
                  <a:gd name="connsiteX140" fmla="*/ 317849 w 826293"/>
                  <a:gd name="connsiteY140" fmla="*/ 499967 h 595121"/>
                  <a:gd name="connsiteX141" fmla="*/ 325755 w 826293"/>
                  <a:gd name="connsiteY141" fmla="*/ 484060 h 595121"/>
                  <a:gd name="connsiteX142" fmla="*/ 333661 w 826293"/>
                  <a:gd name="connsiteY142" fmla="*/ 491966 h 595121"/>
                  <a:gd name="connsiteX143" fmla="*/ 333661 w 826293"/>
                  <a:gd name="connsiteY143" fmla="*/ 499967 h 595121"/>
                  <a:gd name="connsiteX144" fmla="*/ 357568 w 826293"/>
                  <a:gd name="connsiteY144" fmla="*/ 499967 h 595121"/>
                  <a:gd name="connsiteX145" fmla="*/ 373475 w 826293"/>
                  <a:gd name="connsiteY145" fmla="*/ 507873 h 595121"/>
                  <a:gd name="connsiteX146" fmla="*/ 373475 w 826293"/>
                  <a:gd name="connsiteY146" fmla="*/ 515779 h 595121"/>
                  <a:gd name="connsiteX147" fmla="*/ 381381 w 826293"/>
                  <a:gd name="connsiteY147" fmla="*/ 531685 h 595121"/>
                  <a:gd name="connsiteX148" fmla="*/ 405194 w 826293"/>
                  <a:gd name="connsiteY148" fmla="*/ 555498 h 595121"/>
                  <a:gd name="connsiteX149" fmla="*/ 421100 w 826293"/>
                  <a:gd name="connsiteY149" fmla="*/ 555498 h 595121"/>
                  <a:gd name="connsiteX150" fmla="*/ 437007 w 826293"/>
                  <a:gd name="connsiteY150" fmla="*/ 539591 h 595121"/>
                  <a:gd name="connsiteX151" fmla="*/ 452914 w 826293"/>
                  <a:gd name="connsiteY151" fmla="*/ 539591 h 595121"/>
                  <a:gd name="connsiteX152" fmla="*/ 468725 w 826293"/>
                  <a:gd name="connsiteY152" fmla="*/ 555498 h 595121"/>
                  <a:gd name="connsiteX153" fmla="*/ 476726 w 826293"/>
                  <a:gd name="connsiteY153" fmla="*/ 555498 h 595121"/>
                  <a:gd name="connsiteX154" fmla="*/ 476726 w 826293"/>
                  <a:gd name="connsiteY154" fmla="*/ 563404 h 595121"/>
                  <a:gd name="connsiteX155" fmla="*/ 484632 w 826293"/>
                  <a:gd name="connsiteY155" fmla="*/ 571405 h 595121"/>
                  <a:gd name="connsiteX156" fmla="*/ 500539 w 826293"/>
                  <a:gd name="connsiteY156" fmla="*/ 571405 h 595121"/>
                  <a:gd name="connsiteX157" fmla="*/ 508445 w 826293"/>
                  <a:gd name="connsiteY157" fmla="*/ 563404 h 595121"/>
                  <a:gd name="connsiteX158" fmla="*/ 508445 w 826293"/>
                  <a:gd name="connsiteY158" fmla="*/ 555498 h 595121"/>
                  <a:gd name="connsiteX159" fmla="*/ 548164 w 826293"/>
                  <a:gd name="connsiteY159" fmla="*/ 555498 h 595121"/>
                  <a:gd name="connsiteX160" fmla="*/ 556165 w 826293"/>
                  <a:gd name="connsiteY160" fmla="*/ 563404 h 595121"/>
                  <a:gd name="connsiteX161" fmla="*/ 564071 w 826293"/>
                  <a:gd name="connsiteY161" fmla="*/ 563404 h 59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826293" h="595121">
                    <a:moveTo>
                      <a:pt x="564071" y="563404"/>
                    </a:moveTo>
                    <a:lnTo>
                      <a:pt x="572072" y="563404"/>
                    </a:lnTo>
                    <a:lnTo>
                      <a:pt x="587978" y="555498"/>
                    </a:lnTo>
                    <a:lnTo>
                      <a:pt x="595884" y="547592"/>
                    </a:lnTo>
                    <a:lnTo>
                      <a:pt x="627602" y="547592"/>
                    </a:lnTo>
                    <a:lnTo>
                      <a:pt x="659416" y="579310"/>
                    </a:lnTo>
                    <a:lnTo>
                      <a:pt x="699135" y="579310"/>
                    </a:lnTo>
                    <a:lnTo>
                      <a:pt x="699135" y="595122"/>
                    </a:lnTo>
                    <a:lnTo>
                      <a:pt x="730948" y="595122"/>
                    </a:lnTo>
                    <a:lnTo>
                      <a:pt x="715042" y="579310"/>
                    </a:lnTo>
                    <a:lnTo>
                      <a:pt x="715042" y="523780"/>
                    </a:lnTo>
                    <a:lnTo>
                      <a:pt x="786574" y="460248"/>
                    </a:lnTo>
                    <a:lnTo>
                      <a:pt x="802481" y="460248"/>
                    </a:lnTo>
                    <a:lnTo>
                      <a:pt x="810387" y="452342"/>
                    </a:lnTo>
                    <a:lnTo>
                      <a:pt x="818293" y="452342"/>
                    </a:lnTo>
                    <a:lnTo>
                      <a:pt x="826294" y="444437"/>
                    </a:lnTo>
                    <a:lnTo>
                      <a:pt x="818293" y="436435"/>
                    </a:lnTo>
                    <a:lnTo>
                      <a:pt x="818293" y="428530"/>
                    </a:lnTo>
                    <a:lnTo>
                      <a:pt x="810387" y="420624"/>
                    </a:lnTo>
                    <a:lnTo>
                      <a:pt x="818293" y="404717"/>
                    </a:lnTo>
                    <a:lnTo>
                      <a:pt x="810387" y="396812"/>
                    </a:lnTo>
                    <a:lnTo>
                      <a:pt x="794480" y="388906"/>
                    </a:lnTo>
                    <a:lnTo>
                      <a:pt x="794480" y="380905"/>
                    </a:lnTo>
                    <a:lnTo>
                      <a:pt x="770668" y="357092"/>
                    </a:lnTo>
                    <a:lnTo>
                      <a:pt x="762667" y="333280"/>
                    </a:lnTo>
                    <a:lnTo>
                      <a:pt x="770668" y="333280"/>
                    </a:lnTo>
                    <a:lnTo>
                      <a:pt x="762667" y="317468"/>
                    </a:lnTo>
                    <a:lnTo>
                      <a:pt x="762667" y="277749"/>
                    </a:lnTo>
                    <a:lnTo>
                      <a:pt x="746855" y="261842"/>
                    </a:lnTo>
                    <a:lnTo>
                      <a:pt x="738854" y="261842"/>
                    </a:lnTo>
                    <a:lnTo>
                      <a:pt x="730948" y="253937"/>
                    </a:lnTo>
                    <a:lnTo>
                      <a:pt x="730948" y="246031"/>
                    </a:lnTo>
                    <a:lnTo>
                      <a:pt x="746855" y="246031"/>
                    </a:lnTo>
                    <a:lnTo>
                      <a:pt x="746855" y="222218"/>
                    </a:lnTo>
                    <a:lnTo>
                      <a:pt x="778573" y="214313"/>
                    </a:lnTo>
                    <a:lnTo>
                      <a:pt x="778573" y="198406"/>
                    </a:lnTo>
                    <a:lnTo>
                      <a:pt x="786574" y="190500"/>
                    </a:lnTo>
                    <a:lnTo>
                      <a:pt x="786574" y="182499"/>
                    </a:lnTo>
                    <a:lnTo>
                      <a:pt x="778573" y="174593"/>
                    </a:lnTo>
                    <a:lnTo>
                      <a:pt x="762667" y="142875"/>
                    </a:lnTo>
                    <a:lnTo>
                      <a:pt x="754761" y="134969"/>
                    </a:lnTo>
                    <a:lnTo>
                      <a:pt x="754761" y="119063"/>
                    </a:lnTo>
                    <a:lnTo>
                      <a:pt x="746855" y="111157"/>
                    </a:lnTo>
                    <a:lnTo>
                      <a:pt x="738854" y="95250"/>
                    </a:lnTo>
                    <a:lnTo>
                      <a:pt x="738854" y="63532"/>
                    </a:lnTo>
                    <a:lnTo>
                      <a:pt x="723043" y="55626"/>
                    </a:lnTo>
                    <a:lnTo>
                      <a:pt x="715042" y="55626"/>
                    </a:lnTo>
                    <a:lnTo>
                      <a:pt x="691229" y="47625"/>
                    </a:lnTo>
                    <a:lnTo>
                      <a:pt x="659416" y="47625"/>
                    </a:lnTo>
                    <a:lnTo>
                      <a:pt x="659416" y="55626"/>
                    </a:lnTo>
                    <a:lnTo>
                      <a:pt x="540258" y="55626"/>
                    </a:lnTo>
                    <a:lnTo>
                      <a:pt x="532352" y="47625"/>
                    </a:lnTo>
                    <a:lnTo>
                      <a:pt x="516446" y="47625"/>
                    </a:lnTo>
                    <a:lnTo>
                      <a:pt x="508445" y="39719"/>
                    </a:lnTo>
                    <a:lnTo>
                      <a:pt x="476726" y="39719"/>
                    </a:lnTo>
                    <a:lnTo>
                      <a:pt x="468725" y="47625"/>
                    </a:lnTo>
                    <a:lnTo>
                      <a:pt x="460820" y="47625"/>
                    </a:lnTo>
                    <a:lnTo>
                      <a:pt x="452914" y="39719"/>
                    </a:lnTo>
                    <a:lnTo>
                      <a:pt x="413099" y="39719"/>
                    </a:lnTo>
                    <a:lnTo>
                      <a:pt x="397288" y="47625"/>
                    </a:lnTo>
                    <a:lnTo>
                      <a:pt x="373475" y="47625"/>
                    </a:lnTo>
                    <a:lnTo>
                      <a:pt x="365474" y="39719"/>
                    </a:lnTo>
                    <a:lnTo>
                      <a:pt x="357568" y="23813"/>
                    </a:lnTo>
                    <a:lnTo>
                      <a:pt x="349567" y="15907"/>
                    </a:lnTo>
                    <a:lnTo>
                      <a:pt x="349567" y="8001"/>
                    </a:lnTo>
                    <a:lnTo>
                      <a:pt x="341662" y="8001"/>
                    </a:lnTo>
                    <a:lnTo>
                      <a:pt x="333661" y="0"/>
                    </a:lnTo>
                    <a:lnTo>
                      <a:pt x="278035" y="0"/>
                    </a:lnTo>
                    <a:lnTo>
                      <a:pt x="254222" y="8001"/>
                    </a:lnTo>
                    <a:lnTo>
                      <a:pt x="238411" y="15907"/>
                    </a:lnTo>
                    <a:lnTo>
                      <a:pt x="214503" y="15907"/>
                    </a:lnTo>
                    <a:lnTo>
                      <a:pt x="198596" y="23813"/>
                    </a:lnTo>
                    <a:lnTo>
                      <a:pt x="190690" y="31718"/>
                    </a:lnTo>
                    <a:lnTo>
                      <a:pt x="182785" y="31718"/>
                    </a:lnTo>
                    <a:lnTo>
                      <a:pt x="158877" y="55626"/>
                    </a:lnTo>
                    <a:lnTo>
                      <a:pt x="79438" y="63532"/>
                    </a:lnTo>
                    <a:lnTo>
                      <a:pt x="71533" y="63532"/>
                    </a:lnTo>
                    <a:lnTo>
                      <a:pt x="63532" y="71438"/>
                    </a:lnTo>
                    <a:lnTo>
                      <a:pt x="31813" y="87344"/>
                    </a:lnTo>
                    <a:lnTo>
                      <a:pt x="23813" y="87344"/>
                    </a:lnTo>
                    <a:lnTo>
                      <a:pt x="15907" y="95250"/>
                    </a:lnTo>
                    <a:lnTo>
                      <a:pt x="23813" y="103156"/>
                    </a:lnTo>
                    <a:lnTo>
                      <a:pt x="23813" y="126968"/>
                    </a:lnTo>
                    <a:lnTo>
                      <a:pt x="8001" y="119063"/>
                    </a:lnTo>
                    <a:lnTo>
                      <a:pt x="8001" y="142875"/>
                    </a:lnTo>
                    <a:lnTo>
                      <a:pt x="15907" y="142875"/>
                    </a:lnTo>
                    <a:lnTo>
                      <a:pt x="23813" y="150781"/>
                    </a:lnTo>
                    <a:lnTo>
                      <a:pt x="23813" y="174593"/>
                    </a:lnTo>
                    <a:lnTo>
                      <a:pt x="8001" y="190500"/>
                    </a:lnTo>
                    <a:lnTo>
                      <a:pt x="0" y="190500"/>
                    </a:lnTo>
                    <a:lnTo>
                      <a:pt x="0" y="206312"/>
                    </a:lnTo>
                    <a:lnTo>
                      <a:pt x="8001" y="214313"/>
                    </a:lnTo>
                    <a:lnTo>
                      <a:pt x="15907" y="214313"/>
                    </a:lnTo>
                    <a:lnTo>
                      <a:pt x="23813" y="222218"/>
                    </a:lnTo>
                    <a:lnTo>
                      <a:pt x="39719" y="222218"/>
                    </a:lnTo>
                    <a:lnTo>
                      <a:pt x="39719" y="246031"/>
                    </a:lnTo>
                    <a:lnTo>
                      <a:pt x="31813" y="246031"/>
                    </a:lnTo>
                    <a:lnTo>
                      <a:pt x="31813" y="261842"/>
                    </a:lnTo>
                    <a:lnTo>
                      <a:pt x="47625" y="261842"/>
                    </a:lnTo>
                    <a:lnTo>
                      <a:pt x="47625" y="269843"/>
                    </a:lnTo>
                    <a:lnTo>
                      <a:pt x="39719" y="277749"/>
                    </a:lnTo>
                    <a:lnTo>
                      <a:pt x="47625" y="277749"/>
                    </a:lnTo>
                    <a:lnTo>
                      <a:pt x="55626" y="285655"/>
                    </a:lnTo>
                    <a:lnTo>
                      <a:pt x="47625" y="293656"/>
                    </a:lnTo>
                    <a:lnTo>
                      <a:pt x="31813" y="301562"/>
                    </a:lnTo>
                    <a:lnTo>
                      <a:pt x="31813" y="309467"/>
                    </a:lnTo>
                    <a:lnTo>
                      <a:pt x="39719" y="317468"/>
                    </a:lnTo>
                    <a:lnTo>
                      <a:pt x="47625" y="317468"/>
                    </a:lnTo>
                    <a:lnTo>
                      <a:pt x="55626" y="325374"/>
                    </a:lnTo>
                    <a:lnTo>
                      <a:pt x="55626" y="349187"/>
                    </a:lnTo>
                    <a:lnTo>
                      <a:pt x="63532" y="341281"/>
                    </a:lnTo>
                    <a:lnTo>
                      <a:pt x="71533" y="341281"/>
                    </a:lnTo>
                    <a:lnTo>
                      <a:pt x="71533" y="357092"/>
                    </a:lnTo>
                    <a:lnTo>
                      <a:pt x="63532" y="364998"/>
                    </a:lnTo>
                    <a:lnTo>
                      <a:pt x="79438" y="364998"/>
                    </a:lnTo>
                    <a:lnTo>
                      <a:pt x="79438" y="372999"/>
                    </a:lnTo>
                    <a:lnTo>
                      <a:pt x="71533" y="372999"/>
                    </a:lnTo>
                    <a:lnTo>
                      <a:pt x="71533" y="388906"/>
                    </a:lnTo>
                    <a:lnTo>
                      <a:pt x="95345" y="388906"/>
                    </a:lnTo>
                    <a:lnTo>
                      <a:pt x="103251" y="412623"/>
                    </a:lnTo>
                    <a:lnTo>
                      <a:pt x="127159" y="412623"/>
                    </a:lnTo>
                    <a:lnTo>
                      <a:pt x="143065" y="420624"/>
                    </a:lnTo>
                    <a:lnTo>
                      <a:pt x="150971" y="420624"/>
                    </a:lnTo>
                    <a:lnTo>
                      <a:pt x="150971" y="428530"/>
                    </a:lnTo>
                    <a:lnTo>
                      <a:pt x="182785" y="428530"/>
                    </a:lnTo>
                    <a:lnTo>
                      <a:pt x="190690" y="436435"/>
                    </a:lnTo>
                    <a:lnTo>
                      <a:pt x="174784" y="444437"/>
                    </a:lnTo>
                    <a:lnTo>
                      <a:pt x="190690" y="452342"/>
                    </a:lnTo>
                    <a:lnTo>
                      <a:pt x="190690" y="468249"/>
                    </a:lnTo>
                    <a:lnTo>
                      <a:pt x="198596" y="468249"/>
                    </a:lnTo>
                    <a:lnTo>
                      <a:pt x="206597" y="476155"/>
                    </a:lnTo>
                    <a:lnTo>
                      <a:pt x="230410" y="476155"/>
                    </a:lnTo>
                    <a:lnTo>
                      <a:pt x="230410" y="468249"/>
                    </a:lnTo>
                    <a:lnTo>
                      <a:pt x="238411" y="468249"/>
                    </a:lnTo>
                    <a:lnTo>
                      <a:pt x="254222" y="460248"/>
                    </a:lnTo>
                    <a:lnTo>
                      <a:pt x="278035" y="460248"/>
                    </a:lnTo>
                    <a:lnTo>
                      <a:pt x="270129" y="468249"/>
                    </a:lnTo>
                    <a:lnTo>
                      <a:pt x="293942" y="468249"/>
                    </a:lnTo>
                    <a:lnTo>
                      <a:pt x="301942" y="476155"/>
                    </a:lnTo>
                    <a:lnTo>
                      <a:pt x="309848" y="491966"/>
                    </a:lnTo>
                    <a:lnTo>
                      <a:pt x="317849" y="499967"/>
                    </a:lnTo>
                    <a:lnTo>
                      <a:pt x="325755" y="484060"/>
                    </a:lnTo>
                    <a:lnTo>
                      <a:pt x="333661" y="491966"/>
                    </a:lnTo>
                    <a:lnTo>
                      <a:pt x="333661" y="499967"/>
                    </a:lnTo>
                    <a:lnTo>
                      <a:pt x="357568" y="499967"/>
                    </a:lnTo>
                    <a:lnTo>
                      <a:pt x="373475" y="507873"/>
                    </a:lnTo>
                    <a:lnTo>
                      <a:pt x="373475" y="515779"/>
                    </a:lnTo>
                    <a:lnTo>
                      <a:pt x="381381" y="531685"/>
                    </a:lnTo>
                    <a:lnTo>
                      <a:pt x="405194" y="555498"/>
                    </a:lnTo>
                    <a:lnTo>
                      <a:pt x="421100" y="555498"/>
                    </a:lnTo>
                    <a:lnTo>
                      <a:pt x="437007" y="539591"/>
                    </a:lnTo>
                    <a:lnTo>
                      <a:pt x="452914" y="539591"/>
                    </a:lnTo>
                    <a:lnTo>
                      <a:pt x="468725" y="555498"/>
                    </a:lnTo>
                    <a:lnTo>
                      <a:pt x="476726" y="555498"/>
                    </a:lnTo>
                    <a:lnTo>
                      <a:pt x="476726" y="563404"/>
                    </a:lnTo>
                    <a:lnTo>
                      <a:pt x="484632" y="571405"/>
                    </a:lnTo>
                    <a:lnTo>
                      <a:pt x="500539" y="571405"/>
                    </a:lnTo>
                    <a:lnTo>
                      <a:pt x="508445" y="563404"/>
                    </a:lnTo>
                    <a:lnTo>
                      <a:pt x="508445" y="555498"/>
                    </a:lnTo>
                    <a:lnTo>
                      <a:pt x="548164" y="555498"/>
                    </a:lnTo>
                    <a:lnTo>
                      <a:pt x="556165" y="563404"/>
                    </a:lnTo>
                    <a:lnTo>
                      <a:pt x="564071" y="563404"/>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33C66DDA-3610-BE06-455C-162B9E15737B}"/>
                  </a:ext>
                </a:extLst>
              </p:cNvPr>
              <p:cNvSpPr/>
              <p:nvPr/>
            </p:nvSpPr>
            <p:spPr>
              <a:xfrm>
                <a:off x="6444900" y="3282409"/>
                <a:ext cx="826293" cy="595121"/>
              </a:xfrm>
              <a:custGeom>
                <a:avLst/>
                <a:gdLst>
                  <a:gd name="connsiteX0" fmla="*/ 564071 w 826293"/>
                  <a:gd name="connsiteY0" fmla="*/ 563404 h 595121"/>
                  <a:gd name="connsiteX1" fmla="*/ 572072 w 826293"/>
                  <a:gd name="connsiteY1" fmla="*/ 563404 h 595121"/>
                  <a:gd name="connsiteX2" fmla="*/ 587978 w 826293"/>
                  <a:gd name="connsiteY2" fmla="*/ 555498 h 595121"/>
                  <a:gd name="connsiteX3" fmla="*/ 595884 w 826293"/>
                  <a:gd name="connsiteY3" fmla="*/ 547592 h 595121"/>
                  <a:gd name="connsiteX4" fmla="*/ 627602 w 826293"/>
                  <a:gd name="connsiteY4" fmla="*/ 547592 h 595121"/>
                  <a:gd name="connsiteX5" fmla="*/ 659416 w 826293"/>
                  <a:gd name="connsiteY5" fmla="*/ 579310 h 595121"/>
                  <a:gd name="connsiteX6" fmla="*/ 699135 w 826293"/>
                  <a:gd name="connsiteY6" fmla="*/ 579310 h 595121"/>
                  <a:gd name="connsiteX7" fmla="*/ 699135 w 826293"/>
                  <a:gd name="connsiteY7" fmla="*/ 595122 h 595121"/>
                  <a:gd name="connsiteX8" fmla="*/ 730948 w 826293"/>
                  <a:gd name="connsiteY8" fmla="*/ 595122 h 595121"/>
                  <a:gd name="connsiteX9" fmla="*/ 715042 w 826293"/>
                  <a:gd name="connsiteY9" fmla="*/ 579310 h 595121"/>
                  <a:gd name="connsiteX10" fmla="*/ 715042 w 826293"/>
                  <a:gd name="connsiteY10" fmla="*/ 523780 h 595121"/>
                  <a:gd name="connsiteX11" fmla="*/ 786574 w 826293"/>
                  <a:gd name="connsiteY11" fmla="*/ 460248 h 595121"/>
                  <a:gd name="connsiteX12" fmla="*/ 802481 w 826293"/>
                  <a:gd name="connsiteY12" fmla="*/ 460248 h 595121"/>
                  <a:gd name="connsiteX13" fmla="*/ 810387 w 826293"/>
                  <a:gd name="connsiteY13" fmla="*/ 452342 h 595121"/>
                  <a:gd name="connsiteX14" fmla="*/ 818293 w 826293"/>
                  <a:gd name="connsiteY14" fmla="*/ 452342 h 595121"/>
                  <a:gd name="connsiteX15" fmla="*/ 826294 w 826293"/>
                  <a:gd name="connsiteY15" fmla="*/ 444437 h 595121"/>
                  <a:gd name="connsiteX16" fmla="*/ 818293 w 826293"/>
                  <a:gd name="connsiteY16" fmla="*/ 436435 h 595121"/>
                  <a:gd name="connsiteX17" fmla="*/ 818293 w 826293"/>
                  <a:gd name="connsiteY17" fmla="*/ 428530 h 595121"/>
                  <a:gd name="connsiteX18" fmla="*/ 810387 w 826293"/>
                  <a:gd name="connsiteY18" fmla="*/ 420624 h 595121"/>
                  <a:gd name="connsiteX19" fmla="*/ 818293 w 826293"/>
                  <a:gd name="connsiteY19" fmla="*/ 404717 h 595121"/>
                  <a:gd name="connsiteX20" fmla="*/ 810387 w 826293"/>
                  <a:gd name="connsiteY20" fmla="*/ 396812 h 595121"/>
                  <a:gd name="connsiteX21" fmla="*/ 794480 w 826293"/>
                  <a:gd name="connsiteY21" fmla="*/ 388906 h 595121"/>
                  <a:gd name="connsiteX22" fmla="*/ 794480 w 826293"/>
                  <a:gd name="connsiteY22" fmla="*/ 380905 h 595121"/>
                  <a:gd name="connsiteX23" fmla="*/ 770668 w 826293"/>
                  <a:gd name="connsiteY23" fmla="*/ 357092 h 595121"/>
                  <a:gd name="connsiteX24" fmla="*/ 762667 w 826293"/>
                  <a:gd name="connsiteY24" fmla="*/ 333280 h 595121"/>
                  <a:gd name="connsiteX25" fmla="*/ 770668 w 826293"/>
                  <a:gd name="connsiteY25" fmla="*/ 333280 h 595121"/>
                  <a:gd name="connsiteX26" fmla="*/ 762667 w 826293"/>
                  <a:gd name="connsiteY26" fmla="*/ 317468 h 595121"/>
                  <a:gd name="connsiteX27" fmla="*/ 762667 w 826293"/>
                  <a:gd name="connsiteY27" fmla="*/ 277749 h 595121"/>
                  <a:gd name="connsiteX28" fmla="*/ 746855 w 826293"/>
                  <a:gd name="connsiteY28" fmla="*/ 261842 h 595121"/>
                  <a:gd name="connsiteX29" fmla="*/ 738854 w 826293"/>
                  <a:gd name="connsiteY29" fmla="*/ 261842 h 595121"/>
                  <a:gd name="connsiteX30" fmla="*/ 730948 w 826293"/>
                  <a:gd name="connsiteY30" fmla="*/ 253937 h 595121"/>
                  <a:gd name="connsiteX31" fmla="*/ 730948 w 826293"/>
                  <a:gd name="connsiteY31" fmla="*/ 246031 h 595121"/>
                  <a:gd name="connsiteX32" fmla="*/ 746855 w 826293"/>
                  <a:gd name="connsiteY32" fmla="*/ 246031 h 595121"/>
                  <a:gd name="connsiteX33" fmla="*/ 746855 w 826293"/>
                  <a:gd name="connsiteY33" fmla="*/ 222218 h 595121"/>
                  <a:gd name="connsiteX34" fmla="*/ 778573 w 826293"/>
                  <a:gd name="connsiteY34" fmla="*/ 214313 h 595121"/>
                  <a:gd name="connsiteX35" fmla="*/ 778573 w 826293"/>
                  <a:gd name="connsiteY35" fmla="*/ 198406 h 595121"/>
                  <a:gd name="connsiteX36" fmla="*/ 786574 w 826293"/>
                  <a:gd name="connsiteY36" fmla="*/ 190500 h 595121"/>
                  <a:gd name="connsiteX37" fmla="*/ 786574 w 826293"/>
                  <a:gd name="connsiteY37" fmla="*/ 182499 h 595121"/>
                  <a:gd name="connsiteX38" fmla="*/ 778573 w 826293"/>
                  <a:gd name="connsiteY38" fmla="*/ 174593 h 595121"/>
                  <a:gd name="connsiteX39" fmla="*/ 762667 w 826293"/>
                  <a:gd name="connsiteY39" fmla="*/ 142875 h 595121"/>
                  <a:gd name="connsiteX40" fmla="*/ 754761 w 826293"/>
                  <a:gd name="connsiteY40" fmla="*/ 134969 h 595121"/>
                  <a:gd name="connsiteX41" fmla="*/ 754761 w 826293"/>
                  <a:gd name="connsiteY41" fmla="*/ 119063 h 595121"/>
                  <a:gd name="connsiteX42" fmla="*/ 746855 w 826293"/>
                  <a:gd name="connsiteY42" fmla="*/ 111157 h 595121"/>
                  <a:gd name="connsiteX43" fmla="*/ 738854 w 826293"/>
                  <a:gd name="connsiteY43" fmla="*/ 95250 h 595121"/>
                  <a:gd name="connsiteX44" fmla="*/ 738854 w 826293"/>
                  <a:gd name="connsiteY44" fmla="*/ 63532 h 595121"/>
                  <a:gd name="connsiteX45" fmla="*/ 723043 w 826293"/>
                  <a:gd name="connsiteY45" fmla="*/ 55626 h 595121"/>
                  <a:gd name="connsiteX46" fmla="*/ 715042 w 826293"/>
                  <a:gd name="connsiteY46" fmla="*/ 55626 h 595121"/>
                  <a:gd name="connsiteX47" fmla="*/ 691229 w 826293"/>
                  <a:gd name="connsiteY47" fmla="*/ 47625 h 595121"/>
                  <a:gd name="connsiteX48" fmla="*/ 659416 w 826293"/>
                  <a:gd name="connsiteY48" fmla="*/ 47625 h 595121"/>
                  <a:gd name="connsiteX49" fmla="*/ 659416 w 826293"/>
                  <a:gd name="connsiteY49" fmla="*/ 55626 h 595121"/>
                  <a:gd name="connsiteX50" fmla="*/ 540258 w 826293"/>
                  <a:gd name="connsiteY50" fmla="*/ 55626 h 595121"/>
                  <a:gd name="connsiteX51" fmla="*/ 532352 w 826293"/>
                  <a:gd name="connsiteY51" fmla="*/ 47625 h 595121"/>
                  <a:gd name="connsiteX52" fmla="*/ 516446 w 826293"/>
                  <a:gd name="connsiteY52" fmla="*/ 47625 h 595121"/>
                  <a:gd name="connsiteX53" fmla="*/ 508445 w 826293"/>
                  <a:gd name="connsiteY53" fmla="*/ 39719 h 595121"/>
                  <a:gd name="connsiteX54" fmla="*/ 476726 w 826293"/>
                  <a:gd name="connsiteY54" fmla="*/ 39719 h 595121"/>
                  <a:gd name="connsiteX55" fmla="*/ 468725 w 826293"/>
                  <a:gd name="connsiteY55" fmla="*/ 47625 h 595121"/>
                  <a:gd name="connsiteX56" fmla="*/ 460820 w 826293"/>
                  <a:gd name="connsiteY56" fmla="*/ 47625 h 595121"/>
                  <a:gd name="connsiteX57" fmla="*/ 452914 w 826293"/>
                  <a:gd name="connsiteY57" fmla="*/ 39719 h 595121"/>
                  <a:gd name="connsiteX58" fmla="*/ 413099 w 826293"/>
                  <a:gd name="connsiteY58" fmla="*/ 39719 h 595121"/>
                  <a:gd name="connsiteX59" fmla="*/ 397288 w 826293"/>
                  <a:gd name="connsiteY59" fmla="*/ 47625 h 595121"/>
                  <a:gd name="connsiteX60" fmla="*/ 373475 w 826293"/>
                  <a:gd name="connsiteY60" fmla="*/ 47625 h 595121"/>
                  <a:gd name="connsiteX61" fmla="*/ 365474 w 826293"/>
                  <a:gd name="connsiteY61" fmla="*/ 39719 h 595121"/>
                  <a:gd name="connsiteX62" fmla="*/ 357568 w 826293"/>
                  <a:gd name="connsiteY62" fmla="*/ 23813 h 595121"/>
                  <a:gd name="connsiteX63" fmla="*/ 349567 w 826293"/>
                  <a:gd name="connsiteY63" fmla="*/ 15907 h 595121"/>
                  <a:gd name="connsiteX64" fmla="*/ 349567 w 826293"/>
                  <a:gd name="connsiteY64" fmla="*/ 8001 h 595121"/>
                  <a:gd name="connsiteX65" fmla="*/ 341662 w 826293"/>
                  <a:gd name="connsiteY65" fmla="*/ 8001 h 595121"/>
                  <a:gd name="connsiteX66" fmla="*/ 333661 w 826293"/>
                  <a:gd name="connsiteY66" fmla="*/ 0 h 595121"/>
                  <a:gd name="connsiteX67" fmla="*/ 278035 w 826293"/>
                  <a:gd name="connsiteY67" fmla="*/ 0 h 595121"/>
                  <a:gd name="connsiteX68" fmla="*/ 254222 w 826293"/>
                  <a:gd name="connsiteY68" fmla="*/ 8001 h 595121"/>
                  <a:gd name="connsiteX69" fmla="*/ 238411 w 826293"/>
                  <a:gd name="connsiteY69" fmla="*/ 15907 h 595121"/>
                  <a:gd name="connsiteX70" fmla="*/ 214503 w 826293"/>
                  <a:gd name="connsiteY70" fmla="*/ 15907 h 595121"/>
                  <a:gd name="connsiteX71" fmla="*/ 198596 w 826293"/>
                  <a:gd name="connsiteY71" fmla="*/ 23813 h 595121"/>
                  <a:gd name="connsiteX72" fmla="*/ 190690 w 826293"/>
                  <a:gd name="connsiteY72" fmla="*/ 31718 h 595121"/>
                  <a:gd name="connsiteX73" fmla="*/ 182785 w 826293"/>
                  <a:gd name="connsiteY73" fmla="*/ 31718 h 595121"/>
                  <a:gd name="connsiteX74" fmla="*/ 158877 w 826293"/>
                  <a:gd name="connsiteY74" fmla="*/ 55626 h 595121"/>
                  <a:gd name="connsiteX75" fmla="*/ 79438 w 826293"/>
                  <a:gd name="connsiteY75" fmla="*/ 63532 h 595121"/>
                  <a:gd name="connsiteX76" fmla="*/ 71533 w 826293"/>
                  <a:gd name="connsiteY76" fmla="*/ 63532 h 595121"/>
                  <a:gd name="connsiteX77" fmla="*/ 63532 w 826293"/>
                  <a:gd name="connsiteY77" fmla="*/ 71438 h 595121"/>
                  <a:gd name="connsiteX78" fmla="*/ 31813 w 826293"/>
                  <a:gd name="connsiteY78" fmla="*/ 87344 h 595121"/>
                  <a:gd name="connsiteX79" fmla="*/ 23813 w 826293"/>
                  <a:gd name="connsiteY79" fmla="*/ 87344 h 595121"/>
                  <a:gd name="connsiteX80" fmla="*/ 15907 w 826293"/>
                  <a:gd name="connsiteY80" fmla="*/ 95250 h 595121"/>
                  <a:gd name="connsiteX81" fmla="*/ 23813 w 826293"/>
                  <a:gd name="connsiteY81" fmla="*/ 103156 h 595121"/>
                  <a:gd name="connsiteX82" fmla="*/ 23813 w 826293"/>
                  <a:gd name="connsiteY82" fmla="*/ 126968 h 595121"/>
                  <a:gd name="connsiteX83" fmla="*/ 8001 w 826293"/>
                  <a:gd name="connsiteY83" fmla="*/ 119063 h 595121"/>
                  <a:gd name="connsiteX84" fmla="*/ 8001 w 826293"/>
                  <a:gd name="connsiteY84" fmla="*/ 142875 h 595121"/>
                  <a:gd name="connsiteX85" fmla="*/ 15907 w 826293"/>
                  <a:gd name="connsiteY85" fmla="*/ 142875 h 595121"/>
                  <a:gd name="connsiteX86" fmla="*/ 23813 w 826293"/>
                  <a:gd name="connsiteY86" fmla="*/ 150781 h 595121"/>
                  <a:gd name="connsiteX87" fmla="*/ 23813 w 826293"/>
                  <a:gd name="connsiteY87" fmla="*/ 174593 h 595121"/>
                  <a:gd name="connsiteX88" fmla="*/ 8001 w 826293"/>
                  <a:gd name="connsiteY88" fmla="*/ 190500 h 595121"/>
                  <a:gd name="connsiteX89" fmla="*/ 0 w 826293"/>
                  <a:gd name="connsiteY89" fmla="*/ 190500 h 595121"/>
                  <a:gd name="connsiteX90" fmla="*/ 0 w 826293"/>
                  <a:gd name="connsiteY90" fmla="*/ 206312 h 595121"/>
                  <a:gd name="connsiteX91" fmla="*/ 8001 w 826293"/>
                  <a:gd name="connsiteY91" fmla="*/ 214313 h 595121"/>
                  <a:gd name="connsiteX92" fmla="*/ 15907 w 826293"/>
                  <a:gd name="connsiteY92" fmla="*/ 214313 h 595121"/>
                  <a:gd name="connsiteX93" fmla="*/ 23813 w 826293"/>
                  <a:gd name="connsiteY93" fmla="*/ 222218 h 595121"/>
                  <a:gd name="connsiteX94" fmla="*/ 39719 w 826293"/>
                  <a:gd name="connsiteY94" fmla="*/ 222218 h 595121"/>
                  <a:gd name="connsiteX95" fmla="*/ 39719 w 826293"/>
                  <a:gd name="connsiteY95" fmla="*/ 246031 h 595121"/>
                  <a:gd name="connsiteX96" fmla="*/ 31813 w 826293"/>
                  <a:gd name="connsiteY96" fmla="*/ 246031 h 595121"/>
                  <a:gd name="connsiteX97" fmla="*/ 31813 w 826293"/>
                  <a:gd name="connsiteY97" fmla="*/ 261842 h 595121"/>
                  <a:gd name="connsiteX98" fmla="*/ 47625 w 826293"/>
                  <a:gd name="connsiteY98" fmla="*/ 261842 h 595121"/>
                  <a:gd name="connsiteX99" fmla="*/ 47625 w 826293"/>
                  <a:gd name="connsiteY99" fmla="*/ 269843 h 595121"/>
                  <a:gd name="connsiteX100" fmla="*/ 39719 w 826293"/>
                  <a:gd name="connsiteY100" fmla="*/ 277749 h 595121"/>
                  <a:gd name="connsiteX101" fmla="*/ 47625 w 826293"/>
                  <a:gd name="connsiteY101" fmla="*/ 277749 h 595121"/>
                  <a:gd name="connsiteX102" fmla="*/ 55626 w 826293"/>
                  <a:gd name="connsiteY102" fmla="*/ 285655 h 595121"/>
                  <a:gd name="connsiteX103" fmla="*/ 47625 w 826293"/>
                  <a:gd name="connsiteY103" fmla="*/ 293656 h 595121"/>
                  <a:gd name="connsiteX104" fmla="*/ 31813 w 826293"/>
                  <a:gd name="connsiteY104" fmla="*/ 301562 h 595121"/>
                  <a:gd name="connsiteX105" fmla="*/ 31813 w 826293"/>
                  <a:gd name="connsiteY105" fmla="*/ 309467 h 595121"/>
                  <a:gd name="connsiteX106" fmla="*/ 39719 w 826293"/>
                  <a:gd name="connsiteY106" fmla="*/ 317468 h 595121"/>
                  <a:gd name="connsiteX107" fmla="*/ 47625 w 826293"/>
                  <a:gd name="connsiteY107" fmla="*/ 317468 h 595121"/>
                  <a:gd name="connsiteX108" fmla="*/ 55626 w 826293"/>
                  <a:gd name="connsiteY108" fmla="*/ 325374 h 595121"/>
                  <a:gd name="connsiteX109" fmla="*/ 55626 w 826293"/>
                  <a:gd name="connsiteY109" fmla="*/ 349187 h 595121"/>
                  <a:gd name="connsiteX110" fmla="*/ 63532 w 826293"/>
                  <a:gd name="connsiteY110" fmla="*/ 341281 h 595121"/>
                  <a:gd name="connsiteX111" fmla="*/ 71533 w 826293"/>
                  <a:gd name="connsiteY111" fmla="*/ 341281 h 595121"/>
                  <a:gd name="connsiteX112" fmla="*/ 71533 w 826293"/>
                  <a:gd name="connsiteY112" fmla="*/ 357092 h 595121"/>
                  <a:gd name="connsiteX113" fmla="*/ 63532 w 826293"/>
                  <a:gd name="connsiteY113" fmla="*/ 364998 h 595121"/>
                  <a:gd name="connsiteX114" fmla="*/ 79438 w 826293"/>
                  <a:gd name="connsiteY114" fmla="*/ 364998 h 595121"/>
                  <a:gd name="connsiteX115" fmla="*/ 79438 w 826293"/>
                  <a:gd name="connsiteY115" fmla="*/ 372999 h 595121"/>
                  <a:gd name="connsiteX116" fmla="*/ 71533 w 826293"/>
                  <a:gd name="connsiteY116" fmla="*/ 372999 h 595121"/>
                  <a:gd name="connsiteX117" fmla="*/ 71533 w 826293"/>
                  <a:gd name="connsiteY117" fmla="*/ 388906 h 595121"/>
                  <a:gd name="connsiteX118" fmla="*/ 95345 w 826293"/>
                  <a:gd name="connsiteY118" fmla="*/ 388906 h 595121"/>
                  <a:gd name="connsiteX119" fmla="*/ 103251 w 826293"/>
                  <a:gd name="connsiteY119" fmla="*/ 412623 h 595121"/>
                  <a:gd name="connsiteX120" fmla="*/ 127159 w 826293"/>
                  <a:gd name="connsiteY120" fmla="*/ 412623 h 595121"/>
                  <a:gd name="connsiteX121" fmla="*/ 143065 w 826293"/>
                  <a:gd name="connsiteY121" fmla="*/ 420624 h 595121"/>
                  <a:gd name="connsiteX122" fmla="*/ 150971 w 826293"/>
                  <a:gd name="connsiteY122" fmla="*/ 420624 h 595121"/>
                  <a:gd name="connsiteX123" fmla="*/ 150971 w 826293"/>
                  <a:gd name="connsiteY123" fmla="*/ 428530 h 595121"/>
                  <a:gd name="connsiteX124" fmla="*/ 182785 w 826293"/>
                  <a:gd name="connsiteY124" fmla="*/ 428530 h 595121"/>
                  <a:gd name="connsiteX125" fmla="*/ 190690 w 826293"/>
                  <a:gd name="connsiteY125" fmla="*/ 436435 h 595121"/>
                  <a:gd name="connsiteX126" fmla="*/ 174784 w 826293"/>
                  <a:gd name="connsiteY126" fmla="*/ 444437 h 595121"/>
                  <a:gd name="connsiteX127" fmla="*/ 190690 w 826293"/>
                  <a:gd name="connsiteY127" fmla="*/ 452342 h 595121"/>
                  <a:gd name="connsiteX128" fmla="*/ 190690 w 826293"/>
                  <a:gd name="connsiteY128" fmla="*/ 468249 h 595121"/>
                  <a:gd name="connsiteX129" fmla="*/ 198596 w 826293"/>
                  <a:gd name="connsiteY129" fmla="*/ 468249 h 595121"/>
                  <a:gd name="connsiteX130" fmla="*/ 206597 w 826293"/>
                  <a:gd name="connsiteY130" fmla="*/ 476155 h 595121"/>
                  <a:gd name="connsiteX131" fmla="*/ 230410 w 826293"/>
                  <a:gd name="connsiteY131" fmla="*/ 476155 h 595121"/>
                  <a:gd name="connsiteX132" fmla="*/ 230410 w 826293"/>
                  <a:gd name="connsiteY132" fmla="*/ 468249 h 595121"/>
                  <a:gd name="connsiteX133" fmla="*/ 238411 w 826293"/>
                  <a:gd name="connsiteY133" fmla="*/ 468249 h 595121"/>
                  <a:gd name="connsiteX134" fmla="*/ 254222 w 826293"/>
                  <a:gd name="connsiteY134" fmla="*/ 460248 h 595121"/>
                  <a:gd name="connsiteX135" fmla="*/ 278035 w 826293"/>
                  <a:gd name="connsiteY135" fmla="*/ 460248 h 595121"/>
                  <a:gd name="connsiteX136" fmla="*/ 270129 w 826293"/>
                  <a:gd name="connsiteY136" fmla="*/ 468249 h 595121"/>
                  <a:gd name="connsiteX137" fmla="*/ 293942 w 826293"/>
                  <a:gd name="connsiteY137" fmla="*/ 468249 h 595121"/>
                  <a:gd name="connsiteX138" fmla="*/ 301942 w 826293"/>
                  <a:gd name="connsiteY138" fmla="*/ 476155 h 595121"/>
                  <a:gd name="connsiteX139" fmla="*/ 309848 w 826293"/>
                  <a:gd name="connsiteY139" fmla="*/ 491966 h 595121"/>
                  <a:gd name="connsiteX140" fmla="*/ 317849 w 826293"/>
                  <a:gd name="connsiteY140" fmla="*/ 499967 h 595121"/>
                  <a:gd name="connsiteX141" fmla="*/ 325755 w 826293"/>
                  <a:gd name="connsiteY141" fmla="*/ 484060 h 595121"/>
                  <a:gd name="connsiteX142" fmla="*/ 333661 w 826293"/>
                  <a:gd name="connsiteY142" fmla="*/ 491966 h 595121"/>
                  <a:gd name="connsiteX143" fmla="*/ 333661 w 826293"/>
                  <a:gd name="connsiteY143" fmla="*/ 499967 h 595121"/>
                  <a:gd name="connsiteX144" fmla="*/ 357568 w 826293"/>
                  <a:gd name="connsiteY144" fmla="*/ 499967 h 595121"/>
                  <a:gd name="connsiteX145" fmla="*/ 373475 w 826293"/>
                  <a:gd name="connsiteY145" fmla="*/ 507873 h 595121"/>
                  <a:gd name="connsiteX146" fmla="*/ 373475 w 826293"/>
                  <a:gd name="connsiteY146" fmla="*/ 515779 h 595121"/>
                  <a:gd name="connsiteX147" fmla="*/ 381381 w 826293"/>
                  <a:gd name="connsiteY147" fmla="*/ 531685 h 595121"/>
                  <a:gd name="connsiteX148" fmla="*/ 405194 w 826293"/>
                  <a:gd name="connsiteY148" fmla="*/ 555498 h 595121"/>
                  <a:gd name="connsiteX149" fmla="*/ 421100 w 826293"/>
                  <a:gd name="connsiteY149" fmla="*/ 555498 h 595121"/>
                  <a:gd name="connsiteX150" fmla="*/ 437007 w 826293"/>
                  <a:gd name="connsiteY150" fmla="*/ 539591 h 595121"/>
                  <a:gd name="connsiteX151" fmla="*/ 452914 w 826293"/>
                  <a:gd name="connsiteY151" fmla="*/ 539591 h 595121"/>
                  <a:gd name="connsiteX152" fmla="*/ 468725 w 826293"/>
                  <a:gd name="connsiteY152" fmla="*/ 555498 h 595121"/>
                  <a:gd name="connsiteX153" fmla="*/ 476726 w 826293"/>
                  <a:gd name="connsiteY153" fmla="*/ 555498 h 595121"/>
                  <a:gd name="connsiteX154" fmla="*/ 476726 w 826293"/>
                  <a:gd name="connsiteY154" fmla="*/ 563404 h 595121"/>
                  <a:gd name="connsiteX155" fmla="*/ 484632 w 826293"/>
                  <a:gd name="connsiteY155" fmla="*/ 571405 h 595121"/>
                  <a:gd name="connsiteX156" fmla="*/ 500539 w 826293"/>
                  <a:gd name="connsiteY156" fmla="*/ 571405 h 595121"/>
                  <a:gd name="connsiteX157" fmla="*/ 508445 w 826293"/>
                  <a:gd name="connsiteY157" fmla="*/ 563404 h 595121"/>
                  <a:gd name="connsiteX158" fmla="*/ 508445 w 826293"/>
                  <a:gd name="connsiteY158" fmla="*/ 555498 h 595121"/>
                  <a:gd name="connsiteX159" fmla="*/ 548164 w 826293"/>
                  <a:gd name="connsiteY159" fmla="*/ 555498 h 595121"/>
                  <a:gd name="connsiteX160" fmla="*/ 556165 w 826293"/>
                  <a:gd name="connsiteY160" fmla="*/ 563404 h 595121"/>
                  <a:gd name="connsiteX161" fmla="*/ 564071 w 826293"/>
                  <a:gd name="connsiteY161" fmla="*/ 563404 h 59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826293" h="595121">
                    <a:moveTo>
                      <a:pt x="564071" y="563404"/>
                    </a:moveTo>
                    <a:lnTo>
                      <a:pt x="572072" y="563404"/>
                    </a:lnTo>
                    <a:lnTo>
                      <a:pt x="587978" y="555498"/>
                    </a:lnTo>
                    <a:lnTo>
                      <a:pt x="595884" y="547592"/>
                    </a:lnTo>
                    <a:lnTo>
                      <a:pt x="627602" y="547592"/>
                    </a:lnTo>
                    <a:lnTo>
                      <a:pt x="659416" y="579310"/>
                    </a:lnTo>
                    <a:lnTo>
                      <a:pt x="699135" y="579310"/>
                    </a:lnTo>
                    <a:lnTo>
                      <a:pt x="699135" y="595122"/>
                    </a:lnTo>
                    <a:lnTo>
                      <a:pt x="730948" y="595122"/>
                    </a:lnTo>
                    <a:lnTo>
                      <a:pt x="715042" y="579310"/>
                    </a:lnTo>
                    <a:lnTo>
                      <a:pt x="715042" y="523780"/>
                    </a:lnTo>
                    <a:lnTo>
                      <a:pt x="786574" y="460248"/>
                    </a:lnTo>
                    <a:lnTo>
                      <a:pt x="802481" y="460248"/>
                    </a:lnTo>
                    <a:lnTo>
                      <a:pt x="810387" y="452342"/>
                    </a:lnTo>
                    <a:lnTo>
                      <a:pt x="818293" y="452342"/>
                    </a:lnTo>
                    <a:lnTo>
                      <a:pt x="826294" y="444437"/>
                    </a:lnTo>
                    <a:lnTo>
                      <a:pt x="818293" y="436435"/>
                    </a:lnTo>
                    <a:lnTo>
                      <a:pt x="818293" y="428530"/>
                    </a:lnTo>
                    <a:lnTo>
                      <a:pt x="810387" y="420624"/>
                    </a:lnTo>
                    <a:lnTo>
                      <a:pt x="818293" y="404717"/>
                    </a:lnTo>
                    <a:lnTo>
                      <a:pt x="810387" y="396812"/>
                    </a:lnTo>
                    <a:lnTo>
                      <a:pt x="794480" y="388906"/>
                    </a:lnTo>
                    <a:lnTo>
                      <a:pt x="794480" y="380905"/>
                    </a:lnTo>
                    <a:lnTo>
                      <a:pt x="770668" y="357092"/>
                    </a:lnTo>
                    <a:lnTo>
                      <a:pt x="762667" y="333280"/>
                    </a:lnTo>
                    <a:lnTo>
                      <a:pt x="770668" y="333280"/>
                    </a:lnTo>
                    <a:lnTo>
                      <a:pt x="762667" y="317468"/>
                    </a:lnTo>
                    <a:lnTo>
                      <a:pt x="762667" y="277749"/>
                    </a:lnTo>
                    <a:lnTo>
                      <a:pt x="746855" y="261842"/>
                    </a:lnTo>
                    <a:lnTo>
                      <a:pt x="738854" y="261842"/>
                    </a:lnTo>
                    <a:lnTo>
                      <a:pt x="730948" y="253937"/>
                    </a:lnTo>
                    <a:lnTo>
                      <a:pt x="730948" y="246031"/>
                    </a:lnTo>
                    <a:lnTo>
                      <a:pt x="746855" y="246031"/>
                    </a:lnTo>
                    <a:lnTo>
                      <a:pt x="746855" y="222218"/>
                    </a:lnTo>
                    <a:lnTo>
                      <a:pt x="778573" y="214313"/>
                    </a:lnTo>
                    <a:lnTo>
                      <a:pt x="778573" y="198406"/>
                    </a:lnTo>
                    <a:lnTo>
                      <a:pt x="786574" y="190500"/>
                    </a:lnTo>
                    <a:lnTo>
                      <a:pt x="786574" y="182499"/>
                    </a:lnTo>
                    <a:lnTo>
                      <a:pt x="778573" y="174593"/>
                    </a:lnTo>
                    <a:lnTo>
                      <a:pt x="762667" y="142875"/>
                    </a:lnTo>
                    <a:lnTo>
                      <a:pt x="754761" y="134969"/>
                    </a:lnTo>
                    <a:lnTo>
                      <a:pt x="754761" y="119063"/>
                    </a:lnTo>
                    <a:lnTo>
                      <a:pt x="746855" y="111157"/>
                    </a:lnTo>
                    <a:lnTo>
                      <a:pt x="738854" y="95250"/>
                    </a:lnTo>
                    <a:lnTo>
                      <a:pt x="738854" y="63532"/>
                    </a:lnTo>
                    <a:lnTo>
                      <a:pt x="723043" y="55626"/>
                    </a:lnTo>
                    <a:lnTo>
                      <a:pt x="715042" y="55626"/>
                    </a:lnTo>
                    <a:lnTo>
                      <a:pt x="691229" y="47625"/>
                    </a:lnTo>
                    <a:lnTo>
                      <a:pt x="659416" y="47625"/>
                    </a:lnTo>
                    <a:lnTo>
                      <a:pt x="659416" y="55626"/>
                    </a:lnTo>
                    <a:lnTo>
                      <a:pt x="540258" y="55626"/>
                    </a:lnTo>
                    <a:lnTo>
                      <a:pt x="532352" y="47625"/>
                    </a:lnTo>
                    <a:lnTo>
                      <a:pt x="516446" y="47625"/>
                    </a:lnTo>
                    <a:lnTo>
                      <a:pt x="508445" y="39719"/>
                    </a:lnTo>
                    <a:lnTo>
                      <a:pt x="476726" y="39719"/>
                    </a:lnTo>
                    <a:lnTo>
                      <a:pt x="468725" y="47625"/>
                    </a:lnTo>
                    <a:lnTo>
                      <a:pt x="460820" y="47625"/>
                    </a:lnTo>
                    <a:lnTo>
                      <a:pt x="452914" y="39719"/>
                    </a:lnTo>
                    <a:lnTo>
                      <a:pt x="413099" y="39719"/>
                    </a:lnTo>
                    <a:lnTo>
                      <a:pt x="397288" y="47625"/>
                    </a:lnTo>
                    <a:lnTo>
                      <a:pt x="373475" y="47625"/>
                    </a:lnTo>
                    <a:lnTo>
                      <a:pt x="365474" y="39719"/>
                    </a:lnTo>
                    <a:lnTo>
                      <a:pt x="357568" y="23813"/>
                    </a:lnTo>
                    <a:lnTo>
                      <a:pt x="349567" y="15907"/>
                    </a:lnTo>
                    <a:lnTo>
                      <a:pt x="349567" y="8001"/>
                    </a:lnTo>
                    <a:lnTo>
                      <a:pt x="341662" y="8001"/>
                    </a:lnTo>
                    <a:lnTo>
                      <a:pt x="333661" y="0"/>
                    </a:lnTo>
                    <a:lnTo>
                      <a:pt x="278035" y="0"/>
                    </a:lnTo>
                    <a:lnTo>
                      <a:pt x="254222" y="8001"/>
                    </a:lnTo>
                    <a:lnTo>
                      <a:pt x="238411" y="15907"/>
                    </a:lnTo>
                    <a:lnTo>
                      <a:pt x="214503" y="15907"/>
                    </a:lnTo>
                    <a:lnTo>
                      <a:pt x="198596" y="23813"/>
                    </a:lnTo>
                    <a:lnTo>
                      <a:pt x="190690" y="31718"/>
                    </a:lnTo>
                    <a:lnTo>
                      <a:pt x="182785" y="31718"/>
                    </a:lnTo>
                    <a:lnTo>
                      <a:pt x="158877" y="55626"/>
                    </a:lnTo>
                    <a:lnTo>
                      <a:pt x="79438" y="63532"/>
                    </a:lnTo>
                    <a:lnTo>
                      <a:pt x="71533" y="63532"/>
                    </a:lnTo>
                    <a:lnTo>
                      <a:pt x="63532" y="71438"/>
                    </a:lnTo>
                    <a:lnTo>
                      <a:pt x="31813" y="87344"/>
                    </a:lnTo>
                    <a:lnTo>
                      <a:pt x="23813" y="87344"/>
                    </a:lnTo>
                    <a:lnTo>
                      <a:pt x="15907" y="95250"/>
                    </a:lnTo>
                    <a:lnTo>
                      <a:pt x="23813" y="103156"/>
                    </a:lnTo>
                    <a:lnTo>
                      <a:pt x="23813" y="126968"/>
                    </a:lnTo>
                    <a:lnTo>
                      <a:pt x="8001" y="119063"/>
                    </a:lnTo>
                    <a:lnTo>
                      <a:pt x="8001" y="142875"/>
                    </a:lnTo>
                    <a:lnTo>
                      <a:pt x="15907" y="142875"/>
                    </a:lnTo>
                    <a:lnTo>
                      <a:pt x="23813" y="150781"/>
                    </a:lnTo>
                    <a:lnTo>
                      <a:pt x="23813" y="174593"/>
                    </a:lnTo>
                    <a:lnTo>
                      <a:pt x="8001" y="190500"/>
                    </a:lnTo>
                    <a:lnTo>
                      <a:pt x="0" y="190500"/>
                    </a:lnTo>
                    <a:lnTo>
                      <a:pt x="0" y="206312"/>
                    </a:lnTo>
                    <a:lnTo>
                      <a:pt x="8001" y="214313"/>
                    </a:lnTo>
                    <a:lnTo>
                      <a:pt x="15907" y="214313"/>
                    </a:lnTo>
                    <a:lnTo>
                      <a:pt x="23813" y="222218"/>
                    </a:lnTo>
                    <a:lnTo>
                      <a:pt x="39719" y="222218"/>
                    </a:lnTo>
                    <a:lnTo>
                      <a:pt x="39719" y="246031"/>
                    </a:lnTo>
                    <a:lnTo>
                      <a:pt x="31813" y="246031"/>
                    </a:lnTo>
                    <a:lnTo>
                      <a:pt x="31813" y="261842"/>
                    </a:lnTo>
                    <a:lnTo>
                      <a:pt x="47625" y="261842"/>
                    </a:lnTo>
                    <a:lnTo>
                      <a:pt x="47625" y="269843"/>
                    </a:lnTo>
                    <a:lnTo>
                      <a:pt x="39719" y="277749"/>
                    </a:lnTo>
                    <a:lnTo>
                      <a:pt x="47625" y="277749"/>
                    </a:lnTo>
                    <a:lnTo>
                      <a:pt x="55626" y="285655"/>
                    </a:lnTo>
                    <a:lnTo>
                      <a:pt x="47625" y="293656"/>
                    </a:lnTo>
                    <a:lnTo>
                      <a:pt x="31813" y="301562"/>
                    </a:lnTo>
                    <a:lnTo>
                      <a:pt x="31813" y="309467"/>
                    </a:lnTo>
                    <a:lnTo>
                      <a:pt x="39719" y="317468"/>
                    </a:lnTo>
                    <a:lnTo>
                      <a:pt x="47625" y="317468"/>
                    </a:lnTo>
                    <a:lnTo>
                      <a:pt x="55626" y="325374"/>
                    </a:lnTo>
                    <a:lnTo>
                      <a:pt x="55626" y="349187"/>
                    </a:lnTo>
                    <a:lnTo>
                      <a:pt x="63532" y="341281"/>
                    </a:lnTo>
                    <a:lnTo>
                      <a:pt x="71533" y="341281"/>
                    </a:lnTo>
                    <a:lnTo>
                      <a:pt x="71533" y="357092"/>
                    </a:lnTo>
                    <a:lnTo>
                      <a:pt x="63532" y="364998"/>
                    </a:lnTo>
                    <a:lnTo>
                      <a:pt x="79438" y="364998"/>
                    </a:lnTo>
                    <a:lnTo>
                      <a:pt x="79438" y="372999"/>
                    </a:lnTo>
                    <a:lnTo>
                      <a:pt x="71533" y="372999"/>
                    </a:lnTo>
                    <a:lnTo>
                      <a:pt x="71533" y="388906"/>
                    </a:lnTo>
                    <a:lnTo>
                      <a:pt x="95345" y="388906"/>
                    </a:lnTo>
                    <a:lnTo>
                      <a:pt x="103251" y="412623"/>
                    </a:lnTo>
                    <a:lnTo>
                      <a:pt x="127159" y="412623"/>
                    </a:lnTo>
                    <a:lnTo>
                      <a:pt x="143065" y="420624"/>
                    </a:lnTo>
                    <a:lnTo>
                      <a:pt x="150971" y="420624"/>
                    </a:lnTo>
                    <a:lnTo>
                      <a:pt x="150971" y="428530"/>
                    </a:lnTo>
                    <a:lnTo>
                      <a:pt x="182785" y="428530"/>
                    </a:lnTo>
                    <a:lnTo>
                      <a:pt x="190690" y="436435"/>
                    </a:lnTo>
                    <a:lnTo>
                      <a:pt x="174784" y="444437"/>
                    </a:lnTo>
                    <a:lnTo>
                      <a:pt x="190690" y="452342"/>
                    </a:lnTo>
                    <a:lnTo>
                      <a:pt x="190690" y="468249"/>
                    </a:lnTo>
                    <a:lnTo>
                      <a:pt x="198596" y="468249"/>
                    </a:lnTo>
                    <a:lnTo>
                      <a:pt x="206597" y="476155"/>
                    </a:lnTo>
                    <a:lnTo>
                      <a:pt x="230410" y="476155"/>
                    </a:lnTo>
                    <a:lnTo>
                      <a:pt x="230410" y="468249"/>
                    </a:lnTo>
                    <a:lnTo>
                      <a:pt x="238411" y="468249"/>
                    </a:lnTo>
                    <a:lnTo>
                      <a:pt x="254222" y="460248"/>
                    </a:lnTo>
                    <a:lnTo>
                      <a:pt x="278035" y="460248"/>
                    </a:lnTo>
                    <a:lnTo>
                      <a:pt x="270129" y="468249"/>
                    </a:lnTo>
                    <a:lnTo>
                      <a:pt x="293942" y="468249"/>
                    </a:lnTo>
                    <a:lnTo>
                      <a:pt x="301942" y="476155"/>
                    </a:lnTo>
                    <a:lnTo>
                      <a:pt x="309848" y="491966"/>
                    </a:lnTo>
                    <a:lnTo>
                      <a:pt x="317849" y="499967"/>
                    </a:lnTo>
                    <a:lnTo>
                      <a:pt x="325755" y="484060"/>
                    </a:lnTo>
                    <a:lnTo>
                      <a:pt x="333661" y="491966"/>
                    </a:lnTo>
                    <a:lnTo>
                      <a:pt x="333661" y="499967"/>
                    </a:lnTo>
                    <a:lnTo>
                      <a:pt x="357568" y="499967"/>
                    </a:lnTo>
                    <a:lnTo>
                      <a:pt x="373475" y="507873"/>
                    </a:lnTo>
                    <a:lnTo>
                      <a:pt x="373475" y="515779"/>
                    </a:lnTo>
                    <a:lnTo>
                      <a:pt x="381381" y="531685"/>
                    </a:lnTo>
                    <a:lnTo>
                      <a:pt x="405194" y="555498"/>
                    </a:lnTo>
                    <a:lnTo>
                      <a:pt x="421100" y="555498"/>
                    </a:lnTo>
                    <a:lnTo>
                      <a:pt x="437007" y="539591"/>
                    </a:lnTo>
                    <a:lnTo>
                      <a:pt x="452914" y="539591"/>
                    </a:lnTo>
                    <a:lnTo>
                      <a:pt x="468725" y="555498"/>
                    </a:lnTo>
                    <a:lnTo>
                      <a:pt x="476726" y="555498"/>
                    </a:lnTo>
                    <a:lnTo>
                      <a:pt x="476726" y="563404"/>
                    </a:lnTo>
                    <a:lnTo>
                      <a:pt x="484632" y="571405"/>
                    </a:lnTo>
                    <a:lnTo>
                      <a:pt x="500539" y="571405"/>
                    </a:lnTo>
                    <a:lnTo>
                      <a:pt x="508445" y="563404"/>
                    </a:lnTo>
                    <a:lnTo>
                      <a:pt x="508445" y="555498"/>
                    </a:lnTo>
                    <a:lnTo>
                      <a:pt x="548164" y="555498"/>
                    </a:lnTo>
                    <a:lnTo>
                      <a:pt x="556165" y="563404"/>
                    </a:lnTo>
                    <a:lnTo>
                      <a:pt x="564071" y="563404"/>
                    </a:lnTo>
                    <a:close/>
                  </a:path>
                </a:pathLst>
              </a:custGeom>
              <a:noFill/>
              <a:ln w="4763"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9B0B85D0-6D26-AA95-869E-D858CDB22EE3}"/>
                  </a:ext>
                </a:extLst>
              </p:cNvPr>
              <p:cNvSpPr/>
              <p:nvPr/>
            </p:nvSpPr>
            <p:spPr>
              <a:xfrm>
                <a:off x="5746813" y="1728787"/>
                <a:ext cx="1796319" cy="1233582"/>
              </a:xfrm>
              <a:custGeom>
                <a:avLst/>
                <a:gdLst>
                  <a:gd name="connsiteX0" fmla="*/ 641033 w 1796319"/>
                  <a:gd name="connsiteY0" fmla="*/ 253270 h 1233582"/>
                  <a:gd name="connsiteX1" fmla="*/ 625221 w 1796319"/>
                  <a:gd name="connsiteY1" fmla="*/ 253270 h 1233582"/>
                  <a:gd name="connsiteX2" fmla="*/ 577691 w 1796319"/>
                  <a:gd name="connsiteY2" fmla="*/ 276987 h 1233582"/>
                  <a:gd name="connsiteX3" fmla="*/ 569786 w 1796319"/>
                  <a:gd name="connsiteY3" fmla="*/ 284893 h 1233582"/>
                  <a:gd name="connsiteX4" fmla="*/ 569786 w 1796319"/>
                  <a:gd name="connsiteY4" fmla="*/ 292799 h 1233582"/>
                  <a:gd name="connsiteX5" fmla="*/ 585597 w 1796319"/>
                  <a:gd name="connsiteY5" fmla="*/ 292799 h 1233582"/>
                  <a:gd name="connsiteX6" fmla="*/ 601409 w 1796319"/>
                  <a:gd name="connsiteY6" fmla="*/ 284893 h 1233582"/>
                  <a:gd name="connsiteX7" fmla="*/ 609314 w 1796319"/>
                  <a:gd name="connsiteY7" fmla="*/ 276987 h 1233582"/>
                  <a:gd name="connsiteX8" fmla="*/ 625126 w 1796319"/>
                  <a:gd name="connsiteY8" fmla="*/ 269081 h 1233582"/>
                  <a:gd name="connsiteX9" fmla="*/ 672656 w 1796319"/>
                  <a:gd name="connsiteY9" fmla="*/ 269081 h 1233582"/>
                  <a:gd name="connsiteX10" fmla="*/ 672656 w 1796319"/>
                  <a:gd name="connsiteY10" fmla="*/ 261175 h 1233582"/>
                  <a:gd name="connsiteX11" fmla="*/ 664750 w 1796319"/>
                  <a:gd name="connsiteY11" fmla="*/ 261175 h 1233582"/>
                  <a:gd name="connsiteX12" fmla="*/ 664750 w 1796319"/>
                  <a:gd name="connsiteY12" fmla="*/ 253270 h 1233582"/>
                  <a:gd name="connsiteX13" fmla="*/ 640937 w 1796319"/>
                  <a:gd name="connsiteY13" fmla="*/ 253270 h 1233582"/>
                  <a:gd name="connsiteX14" fmla="*/ 712280 w 1796319"/>
                  <a:gd name="connsiteY14" fmla="*/ 229552 h 1233582"/>
                  <a:gd name="connsiteX15" fmla="*/ 720185 w 1796319"/>
                  <a:gd name="connsiteY15" fmla="*/ 253270 h 1233582"/>
                  <a:gd name="connsiteX16" fmla="*/ 759809 w 1796319"/>
                  <a:gd name="connsiteY16" fmla="*/ 253270 h 1233582"/>
                  <a:gd name="connsiteX17" fmla="*/ 751904 w 1796319"/>
                  <a:gd name="connsiteY17" fmla="*/ 229552 h 1233582"/>
                  <a:gd name="connsiteX18" fmla="*/ 743998 w 1796319"/>
                  <a:gd name="connsiteY18" fmla="*/ 213741 h 1233582"/>
                  <a:gd name="connsiteX19" fmla="*/ 712280 w 1796319"/>
                  <a:gd name="connsiteY19" fmla="*/ 229552 h 1233582"/>
                  <a:gd name="connsiteX20" fmla="*/ 775621 w 1796319"/>
                  <a:gd name="connsiteY20" fmla="*/ 205835 h 1233582"/>
                  <a:gd name="connsiteX21" fmla="*/ 759809 w 1796319"/>
                  <a:gd name="connsiteY21" fmla="*/ 221647 h 1233582"/>
                  <a:gd name="connsiteX22" fmla="*/ 767715 w 1796319"/>
                  <a:gd name="connsiteY22" fmla="*/ 237458 h 1233582"/>
                  <a:gd name="connsiteX23" fmla="*/ 799338 w 1796319"/>
                  <a:gd name="connsiteY23" fmla="*/ 229552 h 1233582"/>
                  <a:gd name="connsiteX24" fmla="*/ 815150 w 1796319"/>
                  <a:gd name="connsiteY24" fmla="*/ 221647 h 1233582"/>
                  <a:gd name="connsiteX25" fmla="*/ 823055 w 1796319"/>
                  <a:gd name="connsiteY25" fmla="*/ 221647 h 1233582"/>
                  <a:gd name="connsiteX26" fmla="*/ 830961 w 1796319"/>
                  <a:gd name="connsiteY26" fmla="*/ 213741 h 1233582"/>
                  <a:gd name="connsiteX27" fmla="*/ 815150 w 1796319"/>
                  <a:gd name="connsiteY27" fmla="*/ 205835 h 1233582"/>
                  <a:gd name="connsiteX28" fmla="*/ 775526 w 1796319"/>
                  <a:gd name="connsiteY28" fmla="*/ 205835 h 1233582"/>
                  <a:gd name="connsiteX29" fmla="*/ 688562 w 1796319"/>
                  <a:gd name="connsiteY29" fmla="*/ 197929 h 1233582"/>
                  <a:gd name="connsiteX30" fmla="*/ 680657 w 1796319"/>
                  <a:gd name="connsiteY30" fmla="*/ 205835 h 1233582"/>
                  <a:gd name="connsiteX31" fmla="*/ 672751 w 1796319"/>
                  <a:gd name="connsiteY31" fmla="*/ 221647 h 1233582"/>
                  <a:gd name="connsiteX32" fmla="*/ 672751 w 1796319"/>
                  <a:gd name="connsiteY32" fmla="*/ 245364 h 1233582"/>
                  <a:gd name="connsiteX33" fmla="*/ 696468 w 1796319"/>
                  <a:gd name="connsiteY33" fmla="*/ 269081 h 1233582"/>
                  <a:gd name="connsiteX34" fmla="*/ 696468 w 1796319"/>
                  <a:gd name="connsiteY34" fmla="*/ 253270 h 1233582"/>
                  <a:gd name="connsiteX35" fmla="*/ 704374 w 1796319"/>
                  <a:gd name="connsiteY35" fmla="*/ 237458 h 1233582"/>
                  <a:gd name="connsiteX36" fmla="*/ 704374 w 1796319"/>
                  <a:gd name="connsiteY36" fmla="*/ 205835 h 1233582"/>
                  <a:gd name="connsiteX37" fmla="*/ 696468 w 1796319"/>
                  <a:gd name="connsiteY37" fmla="*/ 197929 h 1233582"/>
                  <a:gd name="connsiteX38" fmla="*/ 688562 w 1796319"/>
                  <a:gd name="connsiteY38" fmla="*/ 197929 h 1233582"/>
                  <a:gd name="connsiteX39" fmla="*/ 759809 w 1796319"/>
                  <a:gd name="connsiteY39" fmla="*/ 174212 h 1233582"/>
                  <a:gd name="connsiteX40" fmla="*/ 728186 w 1796319"/>
                  <a:gd name="connsiteY40" fmla="*/ 190024 h 1233582"/>
                  <a:gd name="connsiteX41" fmla="*/ 720281 w 1796319"/>
                  <a:gd name="connsiteY41" fmla="*/ 197929 h 1233582"/>
                  <a:gd name="connsiteX42" fmla="*/ 751999 w 1796319"/>
                  <a:gd name="connsiteY42" fmla="*/ 205835 h 1233582"/>
                  <a:gd name="connsiteX43" fmla="*/ 759905 w 1796319"/>
                  <a:gd name="connsiteY43" fmla="*/ 197929 h 1233582"/>
                  <a:gd name="connsiteX44" fmla="*/ 775716 w 1796319"/>
                  <a:gd name="connsiteY44" fmla="*/ 197929 h 1233582"/>
                  <a:gd name="connsiteX45" fmla="*/ 791528 w 1796319"/>
                  <a:gd name="connsiteY45" fmla="*/ 182118 h 1233582"/>
                  <a:gd name="connsiteX46" fmla="*/ 783622 w 1796319"/>
                  <a:gd name="connsiteY46" fmla="*/ 174212 h 1233582"/>
                  <a:gd name="connsiteX47" fmla="*/ 759905 w 1796319"/>
                  <a:gd name="connsiteY47" fmla="*/ 174212 h 1233582"/>
                  <a:gd name="connsiteX48" fmla="*/ 831056 w 1796319"/>
                  <a:gd name="connsiteY48" fmla="*/ 166306 h 1233582"/>
                  <a:gd name="connsiteX49" fmla="*/ 846868 w 1796319"/>
                  <a:gd name="connsiteY49" fmla="*/ 190024 h 1233582"/>
                  <a:gd name="connsiteX50" fmla="*/ 878491 w 1796319"/>
                  <a:gd name="connsiteY50" fmla="*/ 174212 h 1233582"/>
                  <a:gd name="connsiteX51" fmla="*/ 878491 w 1796319"/>
                  <a:gd name="connsiteY51" fmla="*/ 166306 h 1233582"/>
                  <a:gd name="connsiteX52" fmla="*/ 894302 w 1796319"/>
                  <a:gd name="connsiteY52" fmla="*/ 166306 h 1233582"/>
                  <a:gd name="connsiteX53" fmla="*/ 894302 w 1796319"/>
                  <a:gd name="connsiteY53" fmla="*/ 150495 h 1233582"/>
                  <a:gd name="connsiteX54" fmla="*/ 886397 w 1796319"/>
                  <a:gd name="connsiteY54" fmla="*/ 142589 h 1233582"/>
                  <a:gd name="connsiteX55" fmla="*/ 830961 w 1796319"/>
                  <a:gd name="connsiteY55" fmla="*/ 166306 h 1233582"/>
                  <a:gd name="connsiteX56" fmla="*/ 1021080 w 1796319"/>
                  <a:gd name="connsiteY56" fmla="*/ 79248 h 1233582"/>
                  <a:gd name="connsiteX57" fmla="*/ 1013174 w 1796319"/>
                  <a:gd name="connsiteY57" fmla="*/ 87154 h 1233582"/>
                  <a:gd name="connsiteX58" fmla="*/ 1013174 w 1796319"/>
                  <a:gd name="connsiteY58" fmla="*/ 102965 h 1233582"/>
                  <a:gd name="connsiteX59" fmla="*/ 1021080 w 1796319"/>
                  <a:gd name="connsiteY59" fmla="*/ 110871 h 1233582"/>
                  <a:gd name="connsiteX60" fmla="*/ 1028986 w 1796319"/>
                  <a:gd name="connsiteY60" fmla="*/ 102965 h 1233582"/>
                  <a:gd name="connsiteX61" fmla="*/ 1036892 w 1796319"/>
                  <a:gd name="connsiteY61" fmla="*/ 102965 h 1233582"/>
                  <a:gd name="connsiteX62" fmla="*/ 1044797 w 1796319"/>
                  <a:gd name="connsiteY62" fmla="*/ 95059 h 1233582"/>
                  <a:gd name="connsiteX63" fmla="*/ 1044797 w 1796319"/>
                  <a:gd name="connsiteY63" fmla="*/ 87154 h 1233582"/>
                  <a:gd name="connsiteX64" fmla="*/ 1036892 w 1796319"/>
                  <a:gd name="connsiteY64" fmla="*/ 79248 h 1233582"/>
                  <a:gd name="connsiteX65" fmla="*/ 1021080 w 1796319"/>
                  <a:gd name="connsiteY65" fmla="*/ 79248 h 1233582"/>
                  <a:gd name="connsiteX66" fmla="*/ 1211104 w 1796319"/>
                  <a:gd name="connsiteY66" fmla="*/ 39719 h 1233582"/>
                  <a:gd name="connsiteX67" fmla="*/ 1211104 w 1796319"/>
                  <a:gd name="connsiteY67" fmla="*/ 63437 h 1233582"/>
                  <a:gd name="connsiteX68" fmla="*/ 1234821 w 1796319"/>
                  <a:gd name="connsiteY68" fmla="*/ 71342 h 1233582"/>
                  <a:gd name="connsiteX69" fmla="*/ 1242727 w 1796319"/>
                  <a:gd name="connsiteY69" fmla="*/ 55531 h 1233582"/>
                  <a:gd name="connsiteX70" fmla="*/ 1250633 w 1796319"/>
                  <a:gd name="connsiteY70" fmla="*/ 47625 h 1233582"/>
                  <a:gd name="connsiteX71" fmla="*/ 1250633 w 1796319"/>
                  <a:gd name="connsiteY71" fmla="*/ 39719 h 1233582"/>
                  <a:gd name="connsiteX72" fmla="*/ 1211009 w 1796319"/>
                  <a:gd name="connsiteY72" fmla="*/ 39719 h 1233582"/>
                  <a:gd name="connsiteX73" fmla="*/ 1527810 w 1796319"/>
                  <a:gd name="connsiteY73" fmla="*/ 16002 h 1233582"/>
                  <a:gd name="connsiteX74" fmla="*/ 1519904 w 1796319"/>
                  <a:gd name="connsiteY74" fmla="*/ 39719 h 1233582"/>
                  <a:gd name="connsiteX75" fmla="*/ 1496092 w 1796319"/>
                  <a:gd name="connsiteY75" fmla="*/ 87154 h 1233582"/>
                  <a:gd name="connsiteX76" fmla="*/ 1488186 w 1796319"/>
                  <a:gd name="connsiteY76" fmla="*/ 87154 h 1233582"/>
                  <a:gd name="connsiteX77" fmla="*/ 1480280 w 1796319"/>
                  <a:gd name="connsiteY77" fmla="*/ 79248 h 1233582"/>
                  <a:gd name="connsiteX78" fmla="*/ 1472375 w 1796319"/>
                  <a:gd name="connsiteY78" fmla="*/ 63437 h 1233582"/>
                  <a:gd name="connsiteX79" fmla="*/ 1472375 w 1796319"/>
                  <a:gd name="connsiteY79" fmla="*/ 39719 h 1233582"/>
                  <a:gd name="connsiteX80" fmla="*/ 1480280 w 1796319"/>
                  <a:gd name="connsiteY80" fmla="*/ 23908 h 1233582"/>
                  <a:gd name="connsiteX81" fmla="*/ 1472375 w 1796319"/>
                  <a:gd name="connsiteY81" fmla="*/ 39719 h 1233582"/>
                  <a:gd name="connsiteX82" fmla="*/ 1456563 w 1796319"/>
                  <a:gd name="connsiteY82" fmla="*/ 47625 h 1233582"/>
                  <a:gd name="connsiteX83" fmla="*/ 1424845 w 1796319"/>
                  <a:gd name="connsiteY83" fmla="*/ 79248 h 1233582"/>
                  <a:gd name="connsiteX84" fmla="*/ 1393222 w 1796319"/>
                  <a:gd name="connsiteY84" fmla="*/ 95059 h 1233582"/>
                  <a:gd name="connsiteX85" fmla="*/ 1385316 w 1796319"/>
                  <a:gd name="connsiteY85" fmla="*/ 95059 h 1233582"/>
                  <a:gd name="connsiteX86" fmla="*/ 1385316 w 1796319"/>
                  <a:gd name="connsiteY86" fmla="*/ 87154 h 1233582"/>
                  <a:gd name="connsiteX87" fmla="*/ 1393222 w 1796319"/>
                  <a:gd name="connsiteY87" fmla="*/ 71342 h 1233582"/>
                  <a:gd name="connsiteX88" fmla="*/ 1432751 w 1796319"/>
                  <a:gd name="connsiteY88" fmla="*/ 31814 h 1233582"/>
                  <a:gd name="connsiteX89" fmla="*/ 1440656 w 1796319"/>
                  <a:gd name="connsiteY89" fmla="*/ 16002 h 1233582"/>
                  <a:gd name="connsiteX90" fmla="*/ 1456468 w 1796319"/>
                  <a:gd name="connsiteY90" fmla="*/ 8096 h 1233582"/>
                  <a:gd name="connsiteX91" fmla="*/ 1408938 w 1796319"/>
                  <a:gd name="connsiteY91" fmla="*/ 8096 h 1233582"/>
                  <a:gd name="connsiteX92" fmla="*/ 1385221 w 1796319"/>
                  <a:gd name="connsiteY92" fmla="*/ 23908 h 1233582"/>
                  <a:gd name="connsiteX93" fmla="*/ 1353503 w 1796319"/>
                  <a:gd name="connsiteY93" fmla="*/ 23908 h 1233582"/>
                  <a:gd name="connsiteX94" fmla="*/ 1298067 w 1796319"/>
                  <a:gd name="connsiteY94" fmla="*/ 55531 h 1233582"/>
                  <a:gd name="connsiteX95" fmla="*/ 1266444 w 1796319"/>
                  <a:gd name="connsiteY95" fmla="*/ 55531 h 1233582"/>
                  <a:gd name="connsiteX96" fmla="*/ 1258538 w 1796319"/>
                  <a:gd name="connsiteY96" fmla="*/ 95059 h 1233582"/>
                  <a:gd name="connsiteX97" fmla="*/ 1211009 w 1796319"/>
                  <a:gd name="connsiteY97" fmla="*/ 79248 h 1233582"/>
                  <a:gd name="connsiteX98" fmla="*/ 1163479 w 1796319"/>
                  <a:gd name="connsiteY98" fmla="*/ 87154 h 1233582"/>
                  <a:gd name="connsiteX99" fmla="*/ 1179290 w 1796319"/>
                  <a:gd name="connsiteY99" fmla="*/ 126682 h 1233582"/>
                  <a:gd name="connsiteX100" fmla="*/ 1115949 w 1796319"/>
                  <a:gd name="connsiteY100" fmla="*/ 110871 h 1233582"/>
                  <a:gd name="connsiteX101" fmla="*/ 1092137 w 1796319"/>
                  <a:gd name="connsiteY101" fmla="*/ 118777 h 1233582"/>
                  <a:gd name="connsiteX102" fmla="*/ 1100042 w 1796319"/>
                  <a:gd name="connsiteY102" fmla="*/ 150400 h 1233582"/>
                  <a:gd name="connsiteX103" fmla="*/ 1044607 w 1796319"/>
                  <a:gd name="connsiteY103" fmla="*/ 166211 h 1233582"/>
                  <a:gd name="connsiteX104" fmla="*/ 1044607 w 1796319"/>
                  <a:gd name="connsiteY104" fmla="*/ 118777 h 1233582"/>
                  <a:gd name="connsiteX105" fmla="*/ 1005078 w 1796319"/>
                  <a:gd name="connsiteY105" fmla="*/ 118777 h 1233582"/>
                  <a:gd name="connsiteX106" fmla="*/ 1020890 w 1796319"/>
                  <a:gd name="connsiteY106" fmla="*/ 150400 h 1233582"/>
                  <a:gd name="connsiteX107" fmla="*/ 989267 w 1796319"/>
                  <a:gd name="connsiteY107" fmla="*/ 126682 h 1233582"/>
                  <a:gd name="connsiteX108" fmla="*/ 989267 w 1796319"/>
                  <a:gd name="connsiteY108" fmla="*/ 166211 h 1233582"/>
                  <a:gd name="connsiteX109" fmla="*/ 957548 w 1796319"/>
                  <a:gd name="connsiteY109" fmla="*/ 166211 h 1233582"/>
                  <a:gd name="connsiteX110" fmla="*/ 957548 w 1796319"/>
                  <a:gd name="connsiteY110" fmla="*/ 126682 h 1233582"/>
                  <a:gd name="connsiteX111" fmla="*/ 973360 w 1796319"/>
                  <a:gd name="connsiteY111" fmla="*/ 118777 h 1233582"/>
                  <a:gd name="connsiteX112" fmla="*/ 981266 w 1796319"/>
                  <a:gd name="connsiteY112" fmla="*/ 110871 h 1233582"/>
                  <a:gd name="connsiteX113" fmla="*/ 933736 w 1796319"/>
                  <a:gd name="connsiteY113" fmla="*/ 102965 h 1233582"/>
                  <a:gd name="connsiteX114" fmla="*/ 933736 w 1796319"/>
                  <a:gd name="connsiteY114" fmla="*/ 158401 h 1233582"/>
                  <a:gd name="connsiteX115" fmla="*/ 894112 w 1796319"/>
                  <a:gd name="connsiteY115" fmla="*/ 174212 h 1233582"/>
                  <a:gd name="connsiteX116" fmla="*/ 917924 w 1796319"/>
                  <a:gd name="connsiteY116" fmla="*/ 190024 h 1233582"/>
                  <a:gd name="connsiteX117" fmla="*/ 870395 w 1796319"/>
                  <a:gd name="connsiteY117" fmla="*/ 197929 h 1233582"/>
                  <a:gd name="connsiteX118" fmla="*/ 886206 w 1796319"/>
                  <a:gd name="connsiteY118" fmla="*/ 213741 h 1233582"/>
                  <a:gd name="connsiteX119" fmla="*/ 830771 w 1796319"/>
                  <a:gd name="connsiteY119" fmla="*/ 213741 h 1233582"/>
                  <a:gd name="connsiteX120" fmla="*/ 830771 w 1796319"/>
                  <a:gd name="connsiteY120" fmla="*/ 229552 h 1233582"/>
                  <a:gd name="connsiteX121" fmla="*/ 870395 w 1796319"/>
                  <a:gd name="connsiteY121" fmla="*/ 245364 h 1233582"/>
                  <a:gd name="connsiteX122" fmla="*/ 862489 w 1796319"/>
                  <a:gd name="connsiteY122" fmla="*/ 261175 h 1233582"/>
                  <a:gd name="connsiteX123" fmla="*/ 814959 w 1796319"/>
                  <a:gd name="connsiteY123" fmla="*/ 237458 h 1233582"/>
                  <a:gd name="connsiteX124" fmla="*/ 791147 w 1796319"/>
                  <a:gd name="connsiteY124" fmla="*/ 245364 h 1233582"/>
                  <a:gd name="connsiteX125" fmla="*/ 822770 w 1796319"/>
                  <a:gd name="connsiteY125" fmla="*/ 261175 h 1233582"/>
                  <a:gd name="connsiteX126" fmla="*/ 799052 w 1796319"/>
                  <a:gd name="connsiteY126" fmla="*/ 284893 h 1233582"/>
                  <a:gd name="connsiteX127" fmla="*/ 783241 w 1796319"/>
                  <a:gd name="connsiteY127" fmla="*/ 261175 h 1233582"/>
                  <a:gd name="connsiteX128" fmla="*/ 759524 w 1796319"/>
                  <a:gd name="connsiteY128" fmla="*/ 269081 h 1233582"/>
                  <a:gd name="connsiteX129" fmla="*/ 759524 w 1796319"/>
                  <a:gd name="connsiteY129" fmla="*/ 284893 h 1233582"/>
                  <a:gd name="connsiteX130" fmla="*/ 719900 w 1796319"/>
                  <a:gd name="connsiteY130" fmla="*/ 284893 h 1233582"/>
                  <a:gd name="connsiteX131" fmla="*/ 711994 w 1796319"/>
                  <a:gd name="connsiteY131" fmla="*/ 300704 h 1233582"/>
                  <a:gd name="connsiteX132" fmla="*/ 743712 w 1796319"/>
                  <a:gd name="connsiteY132" fmla="*/ 316516 h 1233582"/>
                  <a:gd name="connsiteX133" fmla="*/ 743712 w 1796319"/>
                  <a:gd name="connsiteY133" fmla="*/ 340233 h 1233582"/>
                  <a:gd name="connsiteX134" fmla="*/ 696182 w 1796319"/>
                  <a:gd name="connsiteY134" fmla="*/ 324422 h 1233582"/>
                  <a:gd name="connsiteX135" fmla="*/ 688277 w 1796319"/>
                  <a:gd name="connsiteY135" fmla="*/ 340233 h 1233582"/>
                  <a:gd name="connsiteX136" fmla="*/ 727901 w 1796319"/>
                  <a:gd name="connsiteY136" fmla="*/ 356045 h 1233582"/>
                  <a:gd name="connsiteX137" fmla="*/ 664559 w 1796319"/>
                  <a:gd name="connsiteY137" fmla="*/ 356045 h 1233582"/>
                  <a:gd name="connsiteX138" fmla="*/ 664559 w 1796319"/>
                  <a:gd name="connsiteY138" fmla="*/ 379762 h 1233582"/>
                  <a:gd name="connsiteX139" fmla="*/ 648748 w 1796319"/>
                  <a:gd name="connsiteY139" fmla="*/ 371856 h 1233582"/>
                  <a:gd name="connsiteX140" fmla="*/ 640842 w 1796319"/>
                  <a:gd name="connsiteY140" fmla="*/ 371856 h 1233582"/>
                  <a:gd name="connsiteX141" fmla="*/ 625031 w 1796319"/>
                  <a:gd name="connsiteY141" fmla="*/ 379762 h 1233582"/>
                  <a:gd name="connsiteX142" fmla="*/ 617125 w 1796319"/>
                  <a:gd name="connsiteY142" fmla="*/ 387667 h 1233582"/>
                  <a:gd name="connsiteX143" fmla="*/ 601313 w 1796319"/>
                  <a:gd name="connsiteY143" fmla="*/ 387667 h 1233582"/>
                  <a:gd name="connsiteX144" fmla="*/ 601313 w 1796319"/>
                  <a:gd name="connsiteY144" fmla="*/ 403479 h 1233582"/>
                  <a:gd name="connsiteX145" fmla="*/ 609219 w 1796319"/>
                  <a:gd name="connsiteY145" fmla="*/ 411385 h 1233582"/>
                  <a:gd name="connsiteX146" fmla="*/ 601313 w 1796319"/>
                  <a:gd name="connsiteY146" fmla="*/ 411385 h 1233582"/>
                  <a:gd name="connsiteX147" fmla="*/ 593408 w 1796319"/>
                  <a:gd name="connsiteY147" fmla="*/ 419290 h 1233582"/>
                  <a:gd name="connsiteX148" fmla="*/ 585502 w 1796319"/>
                  <a:gd name="connsiteY148" fmla="*/ 419290 h 1233582"/>
                  <a:gd name="connsiteX149" fmla="*/ 585502 w 1796319"/>
                  <a:gd name="connsiteY149" fmla="*/ 443008 h 1233582"/>
                  <a:gd name="connsiteX150" fmla="*/ 633032 w 1796319"/>
                  <a:gd name="connsiteY150" fmla="*/ 443008 h 1233582"/>
                  <a:gd name="connsiteX151" fmla="*/ 617220 w 1796319"/>
                  <a:gd name="connsiteY151" fmla="*/ 458819 h 1233582"/>
                  <a:gd name="connsiteX152" fmla="*/ 569690 w 1796319"/>
                  <a:gd name="connsiteY152" fmla="*/ 450913 h 1233582"/>
                  <a:gd name="connsiteX153" fmla="*/ 553879 w 1796319"/>
                  <a:gd name="connsiteY153" fmla="*/ 458819 h 1233582"/>
                  <a:gd name="connsiteX154" fmla="*/ 545973 w 1796319"/>
                  <a:gd name="connsiteY154" fmla="*/ 466725 h 1233582"/>
                  <a:gd name="connsiteX155" fmla="*/ 545973 w 1796319"/>
                  <a:gd name="connsiteY155" fmla="*/ 482537 h 1233582"/>
                  <a:gd name="connsiteX156" fmla="*/ 553879 w 1796319"/>
                  <a:gd name="connsiteY156" fmla="*/ 490442 h 1233582"/>
                  <a:gd name="connsiteX157" fmla="*/ 553879 w 1796319"/>
                  <a:gd name="connsiteY157" fmla="*/ 506254 h 1233582"/>
                  <a:gd name="connsiteX158" fmla="*/ 538067 w 1796319"/>
                  <a:gd name="connsiteY158" fmla="*/ 514160 h 1233582"/>
                  <a:gd name="connsiteX159" fmla="*/ 514255 w 1796319"/>
                  <a:gd name="connsiteY159" fmla="*/ 514160 h 1233582"/>
                  <a:gd name="connsiteX160" fmla="*/ 514255 w 1796319"/>
                  <a:gd name="connsiteY160" fmla="*/ 537877 h 1233582"/>
                  <a:gd name="connsiteX161" fmla="*/ 538067 w 1796319"/>
                  <a:gd name="connsiteY161" fmla="*/ 561594 h 1233582"/>
                  <a:gd name="connsiteX162" fmla="*/ 538067 w 1796319"/>
                  <a:gd name="connsiteY162" fmla="*/ 569500 h 1233582"/>
                  <a:gd name="connsiteX163" fmla="*/ 530162 w 1796319"/>
                  <a:gd name="connsiteY163" fmla="*/ 577406 h 1233582"/>
                  <a:gd name="connsiteX164" fmla="*/ 482632 w 1796319"/>
                  <a:gd name="connsiteY164" fmla="*/ 577406 h 1233582"/>
                  <a:gd name="connsiteX165" fmla="*/ 474726 w 1796319"/>
                  <a:gd name="connsiteY165" fmla="*/ 585311 h 1233582"/>
                  <a:gd name="connsiteX166" fmla="*/ 474726 w 1796319"/>
                  <a:gd name="connsiteY166" fmla="*/ 609029 h 1233582"/>
                  <a:gd name="connsiteX167" fmla="*/ 466820 w 1796319"/>
                  <a:gd name="connsiteY167" fmla="*/ 616934 h 1233582"/>
                  <a:gd name="connsiteX168" fmla="*/ 451009 w 1796319"/>
                  <a:gd name="connsiteY168" fmla="*/ 616934 h 1233582"/>
                  <a:gd name="connsiteX169" fmla="*/ 443103 w 1796319"/>
                  <a:gd name="connsiteY169" fmla="*/ 609029 h 1233582"/>
                  <a:gd name="connsiteX170" fmla="*/ 419386 w 1796319"/>
                  <a:gd name="connsiteY170" fmla="*/ 609029 h 1233582"/>
                  <a:gd name="connsiteX171" fmla="*/ 387763 w 1796319"/>
                  <a:gd name="connsiteY171" fmla="*/ 640652 h 1233582"/>
                  <a:gd name="connsiteX172" fmla="*/ 371951 w 1796319"/>
                  <a:gd name="connsiteY172" fmla="*/ 640652 h 1233582"/>
                  <a:gd name="connsiteX173" fmla="*/ 356140 w 1796319"/>
                  <a:gd name="connsiteY173" fmla="*/ 656463 h 1233582"/>
                  <a:gd name="connsiteX174" fmla="*/ 356140 w 1796319"/>
                  <a:gd name="connsiteY174" fmla="*/ 664369 h 1233582"/>
                  <a:gd name="connsiteX175" fmla="*/ 364046 w 1796319"/>
                  <a:gd name="connsiteY175" fmla="*/ 672275 h 1233582"/>
                  <a:gd name="connsiteX176" fmla="*/ 364046 w 1796319"/>
                  <a:gd name="connsiteY176" fmla="*/ 680180 h 1233582"/>
                  <a:gd name="connsiteX177" fmla="*/ 348234 w 1796319"/>
                  <a:gd name="connsiteY177" fmla="*/ 695992 h 1233582"/>
                  <a:gd name="connsiteX178" fmla="*/ 332423 w 1796319"/>
                  <a:gd name="connsiteY178" fmla="*/ 695992 h 1233582"/>
                  <a:gd name="connsiteX179" fmla="*/ 324517 w 1796319"/>
                  <a:gd name="connsiteY179" fmla="*/ 688086 h 1233582"/>
                  <a:gd name="connsiteX180" fmla="*/ 308705 w 1796319"/>
                  <a:gd name="connsiteY180" fmla="*/ 680180 h 1233582"/>
                  <a:gd name="connsiteX181" fmla="*/ 308705 w 1796319"/>
                  <a:gd name="connsiteY181" fmla="*/ 672275 h 1233582"/>
                  <a:gd name="connsiteX182" fmla="*/ 300800 w 1796319"/>
                  <a:gd name="connsiteY182" fmla="*/ 672275 h 1233582"/>
                  <a:gd name="connsiteX183" fmla="*/ 269081 w 1796319"/>
                  <a:gd name="connsiteY183" fmla="*/ 688086 h 1233582"/>
                  <a:gd name="connsiteX184" fmla="*/ 261175 w 1796319"/>
                  <a:gd name="connsiteY184" fmla="*/ 695992 h 1233582"/>
                  <a:gd name="connsiteX185" fmla="*/ 237363 w 1796319"/>
                  <a:gd name="connsiteY185" fmla="*/ 695992 h 1233582"/>
                  <a:gd name="connsiteX186" fmla="*/ 237363 w 1796319"/>
                  <a:gd name="connsiteY186" fmla="*/ 719709 h 1233582"/>
                  <a:gd name="connsiteX187" fmla="*/ 245269 w 1796319"/>
                  <a:gd name="connsiteY187" fmla="*/ 727615 h 1233582"/>
                  <a:gd name="connsiteX188" fmla="*/ 253175 w 1796319"/>
                  <a:gd name="connsiteY188" fmla="*/ 727615 h 1233582"/>
                  <a:gd name="connsiteX189" fmla="*/ 253175 w 1796319"/>
                  <a:gd name="connsiteY189" fmla="*/ 743426 h 1233582"/>
                  <a:gd name="connsiteX190" fmla="*/ 245269 w 1796319"/>
                  <a:gd name="connsiteY190" fmla="*/ 743426 h 1233582"/>
                  <a:gd name="connsiteX191" fmla="*/ 229457 w 1796319"/>
                  <a:gd name="connsiteY191" fmla="*/ 727615 h 1233582"/>
                  <a:gd name="connsiteX192" fmla="*/ 213646 w 1796319"/>
                  <a:gd name="connsiteY192" fmla="*/ 727615 h 1233582"/>
                  <a:gd name="connsiteX193" fmla="*/ 205740 w 1796319"/>
                  <a:gd name="connsiteY193" fmla="*/ 735521 h 1233582"/>
                  <a:gd name="connsiteX194" fmla="*/ 205740 w 1796319"/>
                  <a:gd name="connsiteY194" fmla="*/ 751332 h 1233582"/>
                  <a:gd name="connsiteX195" fmla="*/ 221552 w 1796319"/>
                  <a:gd name="connsiteY195" fmla="*/ 751332 h 1233582"/>
                  <a:gd name="connsiteX196" fmla="*/ 229457 w 1796319"/>
                  <a:gd name="connsiteY196" fmla="*/ 759238 h 1233582"/>
                  <a:gd name="connsiteX197" fmla="*/ 237363 w 1796319"/>
                  <a:gd name="connsiteY197" fmla="*/ 759238 h 1233582"/>
                  <a:gd name="connsiteX198" fmla="*/ 237363 w 1796319"/>
                  <a:gd name="connsiteY198" fmla="*/ 775049 h 1233582"/>
                  <a:gd name="connsiteX199" fmla="*/ 181928 w 1796319"/>
                  <a:gd name="connsiteY199" fmla="*/ 775049 h 1233582"/>
                  <a:gd name="connsiteX200" fmla="*/ 181928 w 1796319"/>
                  <a:gd name="connsiteY200" fmla="*/ 767144 h 1233582"/>
                  <a:gd name="connsiteX201" fmla="*/ 174022 w 1796319"/>
                  <a:gd name="connsiteY201" fmla="*/ 767144 h 1233582"/>
                  <a:gd name="connsiteX202" fmla="*/ 166116 w 1796319"/>
                  <a:gd name="connsiteY202" fmla="*/ 782955 h 1233582"/>
                  <a:gd name="connsiteX203" fmla="*/ 166116 w 1796319"/>
                  <a:gd name="connsiteY203" fmla="*/ 798767 h 1233582"/>
                  <a:gd name="connsiteX204" fmla="*/ 158210 w 1796319"/>
                  <a:gd name="connsiteY204" fmla="*/ 790861 h 1233582"/>
                  <a:gd name="connsiteX205" fmla="*/ 134493 w 1796319"/>
                  <a:gd name="connsiteY205" fmla="*/ 790861 h 1233582"/>
                  <a:gd name="connsiteX206" fmla="*/ 126587 w 1796319"/>
                  <a:gd name="connsiteY206" fmla="*/ 782955 h 1233582"/>
                  <a:gd name="connsiteX207" fmla="*/ 118682 w 1796319"/>
                  <a:gd name="connsiteY207" fmla="*/ 782955 h 1233582"/>
                  <a:gd name="connsiteX208" fmla="*/ 118682 w 1796319"/>
                  <a:gd name="connsiteY208" fmla="*/ 790861 h 1233582"/>
                  <a:gd name="connsiteX209" fmla="*/ 126587 w 1796319"/>
                  <a:gd name="connsiteY209" fmla="*/ 798767 h 1233582"/>
                  <a:gd name="connsiteX210" fmla="*/ 158210 w 1796319"/>
                  <a:gd name="connsiteY210" fmla="*/ 814578 h 1233582"/>
                  <a:gd name="connsiteX211" fmla="*/ 174022 w 1796319"/>
                  <a:gd name="connsiteY211" fmla="*/ 814578 h 1233582"/>
                  <a:gd name="connsiteX212" fmla="*/ 142399 w 1796319"/>
                  <a:gd name="connsiteY212" fmla="*/ 838295 h 1233582"/>
                  <a:gd name="connsiteX213" fmla="*/ 142399 w 1796319"/>
                  <a:gd name="connsiteY213" fmla="*/ 822484 h 1233582"/>
                  <a:gd name="connsiteX214" fmla="*/ 118682 w 1796319"/>
                  <a:gd name="connsiteY214" fmla="*/ 822484 h 1233582"/>
                  <a:gd name="connsiteX215" fmla="*/ 110776 w 1796319"/>
                  <a:gd name="connsiteY215" fmla="*/ 830390 h 1233582"/>
                  <a:gd name="connsiteX216" fmla="*/ 79153 w 1796319"/>
                  <a:gd name="connsiteY216" fmla="*/ 814578 h 1233582"/>
                  <a:gd name="connsiteX217" fmla="*/ 71247 w 1796319"/>
                  <a:gd name="connsiteY217" fmla="*/ 830390 h 1233582"/>
                  <a:gd name="connsiteX218" fmla="*/ 87058 w 1796319"/>
                  <a:gd name="connsiteY218" fmla="*/ 838295 h 1233582"/>
                  <a:gd name="connsiteX219" fmla="*/ 39529 w 1796319"/>
                  <a:gd name="connsiteY219" fmla="*/ 830390 h 1233582"/>
                  <a:gd name="connsiteX220" fmla="*/ 39529 w 1796319"/>
                  <a:gd name="connsiteY220" fmla="*/ 854107 h 1233582"/>
                  <a:gd name="connsiteX221" fmla="*/ 102870 w 1796319"/>
                  <a:gd name="connsiteY221" fmla="*/ 854107 h 1233582"/>
                  <a:gd name="connsiteX222" fmla="*/ 71152 w 1796319"/>
                  <a:gd name="connsiteY222" fmla="*/ 862013 h 1233582"/>
                  <a:gd name="connsiteX223" fmla="*/ 23622 w 1796319"/>
                  <a:gd name="connsiteY223" fmla="*/ 854107 h 1233582"/>
                  <a:gd name="connsiteX224" fmla="*/ 7811 w 1796319"/>
                  <a:gd name="connsiteY224" fmla="*/ 869918 h 1233582"/>
                  <a:gd name="connsiteX225" fmla="*/ 7811 w 1796319"/>
                  <a:gd name="connsiteY225" fmla="*/ 877824 h 1233582"/>
                  <a:gd name="connsiteX226" fmla="*/ 23622 w 1796319"/>
                  <a:gd name="connsiteY226" fmla="*/ 893636 h 1233582"/>
                  <a:gd name="connsiteX227" fmla="*/ 47339 w 1796319"/>
                  <a:gd name="connsiteY227" fmla="*/ 893636 h 1233582"/>
                  <a:gd name="connsiteX228" fmla="*/ 23622 w 1796319"/>
                  <a:gd name="connsiteY228" fmla="*/ 901541 h 1233582"/>
                  <a:gd name="connsiteX229" fmla="*/ 15716 w 1796319"/>
                  <a:gd name="connsiteY229" fmla="*/ 909447 h 1233582"/>
                  <a:gd name="connsiteX230" fmla="*/ 15716 w 1796319"/>
                  <a:gd name="connsiteY230" fmla="*/ 917353 h 1233582"/>
                  <a:gd name="connsiteX231" fmla="*/ 86963 w 1796319"/>
                  <a:gd name="connsiteY231" fmla="*/ 917353 h 1233582"/>
                  <a:gd name="connsiteX232" fmla="*/ 102775 w 1796319"/>
                  <a:gd name="connsiteY232" fmla="*/ 933164 h 1233582"/>
                  <a:gd name="connsiteX233" fmla="*/ 126492 w 1796319"/>
                  <a:gd name="connsiteY233" fmla="*/ 917353 h 1233582"/>
                  <a:gd name="connsiteX234" fmla="*/ 142304 w 1796319"/>
                  <a:gd name="connsiteY234" fmla="*/ 933164 h 1233582"/>
                  <a:gd name="connsiteX235" fmla="*/ 181928 w 1796319"/>
                  <a:gd name="connsiteY235" fmla="*/ 917353 h 1233582"/>
                  <a:gd name="connsiteX236" fmla="*/ 174022 w 1796319"/>
                  <a:gd name="connsiteY236" fmla="*/ 925259 h 1233582"/>
                  <a:gd name="connsiteX237" fmla="*/ 166116 w 1796319"/>
                  <a:gd name="connsiteY237" fmla="*/ 941070 h 1233582"/>
                  <a:gd name="connsiteX238" fmla="*/ 79058 w 1796319"/>
                  <a:gd name="connsiteY238" fmla="*/ 941070 h 1233582"/>
                  <a:gd name="connsiteX239" fmla="*/ 71152 w 1796319"/>
                  <a:gd name="connsiteY239" fmla="*/ 933164 h 1233582"/>
                  <a:gd name="connsiteX240" fmla="*/ 31623 w 1796319"/>
                  <a:gd name="connsiteY240" fmla="*/ 933164 h 1233582"/>
                  <a:gd name="connsiteX241" fmla="*/ 15812 w 1796319"/>
                  <a:gd name="connsiteY241" fmla="*/ 941070 h 1233582"/>
                  <a:gd name="connsiteX242" fmla="*/ 0 w 1796319"/>
                  <a:gd name="connsiteY242" fmla="*/ 941070 h 1233582"/>
                  <a:gd name="connsiteX243" fmla="*/ 7906 w 1796319"/>
                  <a:gd name="connsiteY243" fmla="*/ 948976 h 1233582"/>
                  <a:gd name="connsiteX244" fmla="*/ 7906 w 1796319"/>
                  <a:gd name="connsiteY244" fmla="*/ 964787 h 1233582"/>
                  <a:gd name="connsiteX245" fmla="*/ 15812 w 1796319"/>
                  <a:gd name="connsiteY245" fmla="*/ 964787 h 1233582"/>
                  <a:gd name="connsiteX246" fmla="*/ 23717 w 1796319"/>
                  <a:gd name="connsiteY246" fmla="*/ 972693 h 1233582"/>
                  <a:gd name="connsiteX247" fmla="*/ 39529 w 1796319"/>
                  <a:gd name="connsiteY247" fmla="*/ 972693 h 1233582"/>
                  <a:gd name="connsiteX248" fmla="*/ 31623 w 1796319"/>
                  <a:gd name="connsiteY248" fmla="*/ 980599 h 1233582"/>
                  <a:gd name="connsiteX249" fmla="*/ 23717 w 1796319"/>
                  <a:gd name="connsiteY249" fmla="*/ 996410 h 1233582"/>
                  <a:gd name="connsiteX250" fmla="*/ 47435 w 1796319"/>
                  <a:gd name="connsiteY250" fmla="*/ 1020128 h 1233582"/>
                  <a:gd name="connsiteX251" fmla="*/ 63246 w 1796319"/>
                  <a:gd name="connsiteY251" fmla="*/ 1020128 h 1233582"/>
                  <a:gd name="connsiteX252" fmla="*/ 94964 w 1796319"/>
                  <a:gd name="connsiteY252" fmla="*/ 996410 h 1233582"/>
                  <a:gd name="connsiteX253" fmla="*/ 134588 w 1796319"/>
                  <a:gd name="connsiteY253" fmla="*/ 988505 h 1233582"/>
                  <a:gd name="connsiteX254" fmla="*/ 118777 w 1796319"/>
                  <a:gd name="connsiteY254" fmla="*/ 1020128 h 1233582"/>
                  <a:gd name="connsiteX255" fmla="*/ 102965 w 1796319"/>
                  <a:gd name="connsiteY255" fmla="*/ 1012222 h 1233582"/>
                  <a:gd name="connsiteX256" fmla="*/ 87154 w 1796319"/>
                  <a:gd name="connsiteY256" fmla="*/ 1035939 h 1233582"/>
                  <a:gd name="connsiteX257" fmla="*/ 39624 w 1796319"/>
                  <a:gd name="connsiteY257" fmla="*/ 1035939 h 1233582"/>
                  <a:gd name="connsiteX258" fmla="*/ 63341 w 1796319"/>
                  <a:gd name="connsiteY258" fmla="*/ 1059656 h 1233582"/>
                  <a:gd name="connsiteX259" fmla="*/ 31718 w 1796319"/>
                  <a:gd name="connsiteY259" fmla="*/ 1075468 h 1233582"/>
                  <a:gd name="connsiteX260" fmla="*/ 7906 w 1796319"/>
                  <a:gd name="connsiteY260" fmla="*/ 1075468 h 1233582"/>
                  <a:gd name="connsiteX261" fmla="*/ 7906 w 1796319"/>
                  <a:gd name="connsiteY261" fmla="*/ 1099185 h 1233582"/>
                  <a:gd name="connsiteX262" fmla="*/ 87058 w 1796319"/>
                  <a:gd name="connsiteY262" fmla="*/ 1099185 h 1233582"/>
                  <a:gd name="connsiteX263" fmla="*/ 71247 w 1796319"/>
                  <a:gd name="connsiteY263" fmla="*/ 1130808 h 1233582"/>
                  <a:gd name="connsiteX264" fmla="*/ 87058 w 1796319"/>
                  <a:gd name="connsiteY264" fmla="*/ 1130808 h 1233582"/>
                  <a:gd name="connsiteX265" fmla="*/ 71247 w 1796319"/>
                  <a:gd name="connsiteY265" fmla="*/ 1154525 h 1233582"/>
                  <a:gd name="connsiteX266" fmla="*/ 55436 w 1796319"/>
                  <a:gd name="connsiteY266" fmla="*/ 1146620 h 1233582"/>
                  <a:gd name="connsiteX267" fmla="*/ 47530 w 1796319"/>
                  <a:gd name="connsiteY267" fmla="*/ 1146620 h 1233582"/>
                  <a:gd name="connsiteX268" fmla="*/ 39624 w 1796319"/>
                  <a:gd name="connsiteY268" fmla="*/ 1138714 h 1233582"/>
                  <a:gd name="connsiteX269" fmla="*/ 23813 w 1796319"/>
                  <a:gd name="connsiteY269" fmla="*/ 1138714 h 1233582"/>
                  <a:gd name="connsiteX270" fmla="*/ 23813 w 1796319"/>
                  <a:gd name="connsiteY270" fmla="*/ 1154525 h 1233582"/>
                  <a:gd name="connsiteX271" fmla="*/ 31718 w 1796319"/>
                  <a:gd name="connsiteY271" fmla="*/ 1170337 h 1233582"/>
                  <a:gd name="connsiteX272" fmla="*/ 47530 w 1796319"/>
                  <a:gd name="connsiteY272" fmla="*/ 1186148 h 1233582"/>
                  <a:gd name="connsiteX273" fmla="*/ 110871 w 1796319"/>
                  <a:gd name="connsiteY273" fmla="*/ 1209866 h 1233582"/>
                  <a:gd name="connsiteX274" fmla="*/ 102965 w 1796319"/>
                  <a:gd name="connsiteY274" fmla="*/ 1217771 h 1233582"/>
                  <a:gd name="connsiteX275" fmla="*/ 110871 w 1796319"/>
                  <a:gd name="connsiteY275" fmla="*/ 1225677 h 1233582"/>
                  <a:gd name="connsiteX276" fmla="*/ 166307 w 1796319"/>
                  <a:gd name="connsiteY276" fmla="*/ 1225677 h 1233582"/>
                  <a:gd name="connsiteX277" fmla="*/ 174212 w 1796319"/>
                  <a:gd name="connsiteY277" fmla="*/ 1233583 h 1233582"/>
                  <a:gd name="connsiteX278" fmla="*/ 190024 w 1796319"/>
                  <a:gd name="connsiteY278" fmla="*/ 1233583 h 1233582"/>
                  <a:gd name="connsiteX279" fmla="*/ 253365 w 1796319"/>
                  <a:gd name="connsiteY279" fmla="*/ 1201960 h 1233582"/>
                  <a:gd name="connsiteX280" fmla="*/ 269177 w 1796319"/>
                  <a:gd name="connsiteY280" fmla="*/ 1186148 h 1233582"/>
                  <a:gd name="connsiteX281" fmla="*/ 284988 w 1796319"/>
                  <a:gd name="connsiteY281" fmla="*/ 1178243 h 1233582"/>
                  <a:gd name="connsiteX282" fmla="*/ 292894 w 1796319"/>
                  <a:gd name="connsiteY282" fmla="*/ 1170337 h 1233582"/>
                  <a:gd name="connsiteX283" fmla="*/ 340424 w 1796319"/>
                  <a:gd name="connsiteY283" fmla="*/ 1130808 h 1233582"/>
                  <a:gd name="connsiteX284" fmla="*/ 372046 w 1796319"/>
                  <a:gd name="connsiteY284" fmla="*/ 1130808 h 1233582"/>
                  <a:gd name="connsiteX285" fmla="*/ 387858 w 1796319"/>
                  <a:gd name="connsiteY285" fmla="*/ 1122902 h 1233582"/>
                  <a:gd name="connsiteX286" fmla="*/ 395764 w 1796319"/>
                  <a:gd name="connsiteY286" fmla="*/ 1114997 h 1233582"/>
                  <a:gd name="connsiteX287" fmla="*/ 395764 w 1796319"/>
                  <a:gd name="connsiteY287" fmla="*/ 1083374 h 1233582"/>
                  <a:gd name="connsiteX288" fmla="*/ 387858 w 1796319"/>
                  <a:gd name="connsiteY288" fmla="*/ 1075468 h 1233582"/>
                  <a:gd name="connsiteX289" fmla="*/ 387858 w 1796319"/>
                  <a:gd name="connsiteY289" fmla="*/ 1067562 h 1233582"/>
                  <a:gd name="connsiteX290" fmla="*/ 411575 w 1796319"/>
                  <a:gd name="connsiteY290" fmla="*/ 1059656 h 1233582"/>
                  <a:gd name="connsiteX291" fmla="*/ 403670 w 1796319"/>
                  <a:gd name="connsiteY291" fmla="*/ 1067562 h 1233582"/>
                  <a:gd name="connsiteX292" fmla="*/ 403670 w 1796319"/>
                  <a:gd name="connsiteY292" fmla="*/ 1075468 h 1233582"/>
                  <a:gd name="connsiteX293" fmla="*/ 395764 w 1796319"/>
                  <a:gd name="connsiteY293" fmla="*/ 1083374 h 1233582"/>
                  <a:gd name="connsiteX294" fmla="*/ 395764 w 1796319"/>
                  <a:gd name="connsiteY294" fmla="*/ 1091279 h 1233582"/>
                  <a:gd name="connsiteX295" fmla="*/ 411575 w 1796319"/>
                  <a:gd name="connsiteY295" fmla="*/ 1107091 h 1233582"/>
                  <a:gd name="connsiteX296" fmla="*/ 435292 w 1796319"/>
                  <a:gd name="connsiteY296" fmla="*/ 1114997 h 1233582"/>
                  <a:gd name="connsiteX297" fmla="*/ 451104 w 1796319"/>
                  <a:gd name="connsiteY297" fmla="*/ 1114997 h 1233582"/>
                  <a:gd name="connsiteX298" fmla="*/ 459010 w 1796319"/>
                  <a:gd name="connsiteY298" fmla="*/ 1122902 h 1233582"/>
                  <a:gd name="connsiteX299" fmla="*/ 466916 w 1796319"/>
                  <a:gd name="connsiteY299" fmla="*/ 1122902 h 1233582"/>
                  <a:gd name="connsiteX300" fmla="*/ 490633 w 1796319"/>
                  <a:gd name="connsiteY300" fmla="*/ 1146620 h 1233582"/>
                  <a:gd name="connsiteX301" fmla="*/ 498538 w 1796319"/>
                  <a:gd name="connsiteY301" fmla="*/ 1130808 h 1233582"/>
                  <a:gd name="connsiteX302" fmla="*/ 506444 w 1796319"/>
                  <a:gd name="connsiteY302" fmla="*/ 1122902 h 1233582"/>
                  <a:gd name="connsiteX303" fmla="*/ 506444 w 1796319"/>
                  <a:gd name="connsiteY303" fmla="*/ 1099185 h 1233582"/>
                  <a:gd name="connsiteX304" fmla="*/ 490633 w 1796319"/>
                  <a:gd name="connsiteY304" fmla="*/ 1083374 h 1233582"/>
                  <a:gd name="connsiteX305" fmla="*/ 490633 w 1796319"/>
                  <a:gd name="connsiteY305" fmla="*/ 1075468 h 1233582"/>
                  <a:gd name="connsiteX306" fmla="*/ 498538 w 1796319"/>
                  <a:gd name="connsiteY306" fmla="*/ 1067562 h 1233582"/>
                  <a:gd name="connsiteX307" fmla="*/ 506444 w 1796319"/>
                  <a:gd name="connsiteY307" fmla="*/ 1067562 h 1233582"/>
                  <a:gd name="connsiteX308" fmla="*/ 506444 w 1796319"/>
                  <a:gd name="connsiteY308" fmla="*/ 1059656 h 1233582"/>
                  <a:gd name="connsiteX309" fmla="*/ 498538 w 1796319"/>
                  <a:gd name="connsiteY309" fmla="*/ 1043845 h 1233582"/>
                  <a:gd name="connsiteX310" fmla="*/ 546068 w 1796319"/>
                  <a:gd name="connsiteY310" fmla="*/ 1043845 h 1233582"/>
                  <a:gd name="connsiteX311" fmla="*/ 553974 w 1796319"/>
                  <a:gd name="connsiteY311" fmla="*/ 1035939 h 1233582"/>
                  <a:gd name="connsiteX312" fmla="*/ 553974 w 1796319"/>
                  <a:gd name="connsiteY312" fmla="*/ 1004316 h 1233582"/>
                  <a:gd name="connsiteX313" fmla="*/ 561880 w 1796319"/>
                  <a:gd name="connsiteY313" fmla="*/ 1004316 h 1233582"/>
                  <a:gd name="connsiteX314" fmla="*/ 553974 w 1796319"/>
                  <a:gd name="connsiteY314" fmla="*/ 988505 h 1233582"/>
                  <a:gd name="connsiteX315" fmla="*/ 553974 w 1796319"/>
                  <a:gd name="connsiteY315" fmla="*/ 980599 h 1233582"/>
                  <a:gd name="connsiteX316" fmla="*/ 546068 w 1796319"/>
                  <a:gd name="connsiteY316" fmla="*/ 972693 h 1233582"/>
                  <a:gd name="connsiteX317" fmla="*/ 546068 w 1796319"/>
                  <a:gd name="connsiteY317" fmla="*/ 964787 h 1233582"/>
                  <a:gd name="connsiteX318" fmla="*/ 538163 w 1796319"/>
                  <a:gd name="connsiteY318" fmla="*/ 948976 h 1233582"/>
                  <a:gd name="connsiteX319" fmla="*/ 530257 w 1796319"/>
                  <a:gd name="connsiteY319" fmla="*/ 941070 h 1233582"/>
                  <a:gd name="connsiteX320" fmla="*/ 561880 w 1796319"/>
                  <a:gd name="connsiteY320" fmla="*/ 933164 h 1233582"/>
                  <a:gd name="connsiteX321" fmla="*/ 577691 w 1796319"/>
                  <a:gd name="connsiteY321" fmla="*/ 917353 h 1233582"/>
                  <a:gd name="connsiteX322" fmla="*/ 577691 w 1796319"/>
                  <a:gd name="connsiteY322" fmla="*/ 901541 h 1233582"/>
                  <a:gd name="connsiteX323" fmla="*/ 553974 w 1796319"/>
                  <a:gd name="connsiteY323" fmla="*/ 877824 h 1233582"/>
                  <a:gd name="connsiteX324" fmla="*/ 546068 w 1796319"/>
                  <a:gd name="connsiteY324" fmla="*/ 877824 h 1233582"/>
                  <a:gd name="connsiteX325" fmla="*/ 530257 w 1796319"/>
                  <a:gd name="connsiteY325" fmla="*/ 862013 h 1233582"/>
                  <a:gd name="connsiteX326" fmla="*/ 530257 w 1796319"/>
                  <a:gd name="connsiteY326" fmla="*/ 838295 h 1233582"/>
                  <a:gd name="connsiteX327" fmla="*/ 538163 w 1796319"/>
                  <a:gd name="connsiteY327" fmla="*/ 822484 h 1233582"/>
                  <a:gd name="connsiteX328" fmla="*/ 538163 w 1796319"/>
                  <a:gd name="connsiteY328" fmla="*/ 806672 h 1233582"/>
                  <a:gd name="connsiteX329" fmla="*/ 506444 w 1796319"/>
                  <a:gd name="connsiteY329" fmla="*/ 775049 h 1233582"/>
                  <a:gd name="connsiteX330" fmla="*/ 506444 w 1796319"/>
                  <a:gd name="connsiteY330" fmla="*/ 759238 h 1233582"/>
                  <a:gd name="connsiteX331" fmla="*/ 514350 w 1796319"/>
                  <a:gd name="connsiteY331" fmla="*/ 751332 h 1233582"/>
                  <a:gd name="connsiteX332" fmla="*/ 522256 w 1796319"/>
                  <a:gd name="connsiteY332" fmla="*/ 751332 h 1233582"/>
                  <a:gd name="connsiteX333" fmla="*/ 530162 w 1796319"/>
                  <a:gd name="connsiteY333" fmla="*/ 743426 h 1233582"/>
                  <a:gd name="connsiteX334" fmla="*/ 530162 w 1796319"/>
                  <a:gd name="connsiteY334" fmla="*/ 735521 h 1233582"/>
                  <a:gd name="connsiteX335" fmla="*/ 522256 w 1796319"/>
                  <a:gd name="connsiteY335" fmla="*/ 727615 h 1233582"/>
                  <a:gd name="connsiteX336" fmla="*/ 514350 w 1796319"/>
                  <a:gd name="connsiteY336" fmla="*/ 727615 h 1233582"/>
                  <a:gd name="connsiteX337" fmla="*/ 506444 w 1796319"/>
                  <a:gd name="connsiteY337" fmla="*/ 719709 h 1233582"/>
                  <a:gd name="connsiteX338" fmla="*/ 561880 w 1796319"/>
                  <a:gd name="connsiteY338" fmla="*/ 664274 h 1233582"/>
                  <a:gd name="connsiteX339" fmla="*/ 577691 w 1796319"/>
                  <a:gd name="connsiteY339" fmla="*/ 656368 h 1233582"/>
                  <a:gd name="connsiteX340" fmla="*/ 585597 w 1796319"/>
                  <a:gd name="connsiteY340" fmla="*/ 648462 h 1233582"/>
                  <a:gd name="connsiteX341" fmla="*/ 601409 w 1796319"/>
                  <a:gd name="connsiteY341" fmla="*/ 640556 h 1233582"/>
                  <a:gd name="connsiteX342" fmla="*/ 656844 w 1796319"/>
                  <a:gd name="connsiteY342" fmla="*/ 640556 h 1233582"/>
                  <a:gd name="connsiteX343" fmla="*/ 664750 w 1796319"/>
                  <a:gd name="connsiteY343" fmla="*/ 632651 h 1233582"/>
                  <a:gd name="connsiteX344" fmla="*/ 664750 w 1796319"/>
                  <a:gd name="connsiteY344" fmla="*/ 624745 h 1233582"/>
                  <a:gd name="connsiteX345" fmla="*/ 640937 w 1796319"/>
                  <a:gd name="connsiteY345" fmla="*/ 601028 h 1233582"/>
                  <a:gd name="connsiteX346" fmla="*/ 625126 w 1796319"/>
                  <a:gd name="connsiteY346" fmla="*/ 593122 h 1233582"/>
                  <a:gd name="connsiteX347" fmla="*/ 640937 w 1796319"/>
                  <a:gd name="connsiteY347" fmla="*/ 585216 h 1233582"/>
                  <a:gd name="connsiteX348" fmla="*/ 648843 w 1796319"/>
                  <a:gd name="connsiteY348" fmla="*/ 585216 h 1233582"/>
                  <a:gd name="connsiteX349" fmla="*/ 688467 w 1796319"/>
                  <a:gd name="connsiteY349" fmla="*/ 545687 h 1233582"/>
                  <a:gd name="connsiteX350" fmla="*/ 696373 w 1796319"/>
                  <a:gd name="connsiteY350" fmla="*/ 490252 h 1233582"/>
                  <a:gd name="connsiteX351" fmla="*/ 696373 w 1796319"/>
                  <a:gd name="connsiteY351" fmla="*/ 442817 h 1233582"/>
                  <a:gd name="connsiteX352" fmla="*/ 720185 w 1796319"/>
                  <a:gd name="connsiteY352" fmla="*/ 458629 h 1233582"/>
                  <a:gd name="connsiteX353" fmla="*/ 735997 w 1796319"/>
                  <a:gd name="connsiteY353" fmla="*/ 450723 h 1233582"/>
                  <a:gd name="connsiteX354" fmla="*/ 743903 w 1796319"/>
                  <a:gd name="connsiteY354" fmla="*/ 450723 h 1233582"/>
                  <a:gd name="connsiteX355" fmla="*/ 751808 w 1796319"/>
                  <a:gd name="connsiteY355" fmla="*/ 442817 h 1233582"/>
                  <a:gd name="connsiteX356" fmla="*/ 759714 w 1796319"/>
                  <a:gd name="connsiteY356" fmla="*/ 442817 h 1233582"/>
                  <a:gd name="connsiteX357" fmla="*/ 759714 w 1796319"/>
                  <a:gd name="connsiteY357" fmla="*/ 434912 h 1233582"/>
                  <a:gd name="connsiteX358" fmla="*/ 751808 w 1796319"/>
                  <a:gd name="connsiteY358" fmla="*/ 427006 h 1233582"/>
                  <a:gd name="connsiteX359" fmla="*/ 751808 w 1796319"/>
                  <a:gd name="connsiteY359" fmla="*/ 419100 h 1233582"/>
                  <a:gd name="connsiteX360" fmla="*/ 743903 w 1796319"/>
                  <a:gd name="connsiteY360" fmla="*/ 411194 h 1233582"/>
                  <a:gd name="connsiteX361" fmla="*/ 767620 w 1796319"/>
                  <a:gd name="connsiteY361" fmla="*/ 411194 h 1233582"/>
                  <a:gd name="connsiteX362" fmla="*/ 775526 w 1796319"/>
                  <a:gd name="connsiteY362" fmla="*/ 403288 h 1233582"/>
                  <a:gd name="connsiteX363" fmla="*/ 775526 w 1796319"/>
                  <a:gd name="connsiteY363" fmla="*/ 395383 h 1233582"/>
                  <a:gd name="connsiteX364" fmla="*/ 783431 w 1796319"/>
                  <a:gd name="connsiteY364" fmla="*/ 387477 h 1233582"/>
                  <a:gd name="connsiteX365" fmla="*/ 799243 w 1796319"/>
                  <a:gd name="connsiteY365" fmla="*/ 379571 h 1233582"/>
                  <a:gd name="connsiteX366" fmla="*/ 807149 w 1796319"/>
                  <a:gd name="connsiteY366" fmla="*/ 379571 h 1233582"/>
                  <a:gd name="connsiteX367" fmla="*/ 815054 w 1796319"/>
                  <a:gd name="connsiteY367" fmla="*/ 355854 h 1233582"/>
                  <a:gd name="connsiteX368" fmla="*/ 807149 w 1796319"/>
                  <a:gd name="connsiteY368" fmla="*/ 347948 h 1233582"/>
                  <a:gd name="connsiteX369" fmla="*/ 791337 w 1796319"/>
                  <a:gd name="connsiteY369" fmla="*/ 340043 h 1233582"/>
                  <a:gd name="connsiteX370" fmla="*/ 791337 w 1796319"/>
                  <a:gd name="connsiteY370" fmla="*/ 324231 h 1233582"/>
                  <a:gd name="connsiteX371" fmla="*/ 799243 w 1796319"/>
                  <a:gd name="connsiteY371" fmla="*/ 324231 h 1233582"/>
                  <a:gd name="connsiteX372" fmla="*/ 815054 w 1796319"/>
                  <a:gd name="connsiteY372" fmla="*/ 316325 h 1233582"/>
                  <a:gd name="connsiteX373" fmla="*/ 838772 w 1796319"/>
                  <a:gd name="connsiteY373" fmla="*/ 292608 h 1233582"/>
                  <a:gd name="connsiteX374" fmla="*/ 894207 w 1796319"/>
                  <a:gd name="connsiteY374" fmla="*/ 284702 h 1233582"/>
                  <a:gd name="connsiteX375" fmla="*/ 918020 w 1796319"/>
                  <a:gd name="connsiteY375" fmla="*/ 284702 h 1233582"/>
                  <a:gd name="connsiteX376" fmla="*/ 925925 w 1796319"/>
                  <a:gd name="connsiteY376" fmla="*/ 276797 h 1233582"/>
                  <a:gd name="connsiteX377" fmla="*/ 925925 w 1796319"/>
                  <a:gd name="connsiteY377" fmla="*/ 237268 h 1233582"/>
                  <a:gd name="connsiteX378" fmla="*/ 941737 w 1796319"/>
                  <a:gd name="connsiteY378" fmla="*/ 221456 h 1233582"/>
                  <a:gd name="connsiteX379" fmla="*/ 949643 w 1796319"/>
                  <a:gd name="connsiteY379" fmla="*/ 229362 h 1233582"/>
                  <a:gd name="connsiteX380" fmla="*/ 949643 w 1796319"/>
                  <a:gd name="connsiteY380" fmla="*/ 245174 h 1233582"/>
                  <a:gd name="connsiteX381" fmla="*/ 981266 w 1796319"/>
                  <a:gd name="connsiteY381" fmla="*/ 237268 h 1233582"/>
                  <a:gd name="connsiteX382" fmla="*/ 1012888 w 1796319"/>
                  <a:gd name="connsiteY382" fmla="*/ 245174 h 1233582"/>
                  <a:gd name="connsiteX383" fmla="*/ 1044512 w 1796319"/>
                  <a:gd name="connsiteY383" fmla="*/ 245174 h 1233582"/>
                  <a:gd name="connsiteX384" fmla="*/ 1052417 w 1796319"/>
                  <a:gd name="connsiteY384" fmla="*/ 253079 h 1233582"/>
                  <a:gd name="connsiteX385" fmla="*/ 1068229 w 1796319"/>
                  <a:gd name="connsiteY385" fmla="*/ 253079 h 1233582"/>
                  <a:gd name="connsiteX386" fmla="*/ 1076135 w 1796319"/>
                  <a:gd name="connsiteY386" fmla="*/ 245174 h 1233582"/>
                  <a:gd name="connsiteX387" fmla="*/ 1068229 w 1796319"/>
                  <a:gd name="connsiteY387" fmla="*/ 245174 h 1233582"/>
                  <a:gd name="connsiteX388" fmla="*/ 1052417 w 1796319"/>
                  <a:gd name="connsiteY388" fmla="*/ 229362 h 1233582"/>
                  <a:gd name="connsiteX389" fmla="*/ 1052417 w 1796319"/>
                  <a:gd name="connsiteY389" fmla="*/ 221456 h 1233582"/>
                  <a:gd name="connsiteX390" fmla="*/ 1068229 w 1796319"/>
                  <a:gd name="connsiteY390" fmla="*/ 221456 h 1233582"/>
                  <a:gd name="connsiteX391" fmla="*/ 1068229 w 1796319"/>
                  <a:gd name="connsiteY391" fmla="*/ 189833 h 1233582"/>
                  <a:gd name="connsiteX392" fmla="*/ 1107853 w 1796319"/>
                  <a:gd name="connsiteY392" fmla="*/ 197739 h 1233582"/>
                  <a:gd name="connsiteX393" fmla="*/ 1099947 w 1796319"/>
                  <a:gd name="connsiteY393" fmla="*/ 189833 h 1233582"/>
                  <a:gd name="connsiteX394" fmla="*/ 1107853 w 1796319"/>
                  <a:gd name="connsiteY394" fmla="*/ 181927 h 1233582"/>
                  <a:gd name="connsiteX395" fmla="*/ 1131570 w 1796319"/>
                  <a:gd name="connsiteY395" fmla="*/ 189833 h 1233582"/>
                  <a:gd name="connsiteX396" fmla="*/ 1131570 w 1796319"/>
                  <a:gd name="connsiteY396" fmla="*/ 174022 h 1233582"/>
                  <a:gd name="connsiteX397" fmla="*/ 1139476 w 1796319"/>
                  <a:gd name="connsiteY397" fmla="*/ 166116 h 1233582"/>
                  <a:gd name="connsiteX398" fmla="*/ 1163193 w 1796319"/>
                  <a:gd name="connsiteY398" fmla="*/ 166116 h 1233582"/>
                  <a:gd name="connsiteX399" fmla="*/ 1171099 w 1796319"/>
                  <a:gd name="connsiteY399" fmla="*/ 174022 h 1233582"/>
                  <a:gd name="connsiteX400" fmla="*/ 1179005 w 1796319"/>
                  <a:gd name="connsiteY400" fmla="*/ 189833 h 1233582"/>
                  <a:gd name="connsiteX401" fmla="*/ 1194816 w 1796319"/>
                  <a:gd name="connsiteY401" fmla="*/ 197739 h 1233582"/>
                  <a:gd name="connsiteX402" fmla="*/ 1210628 w 1796319"/>
                  <a:gd name="connsiteY402" fmla="*/ 213550 h 1233582"/>
                  <a:gd name="connsiteX403" fmla="*/ 1226439 w 1796319"/>
                  <a:gd name="connsiteY403" fmla="*/ 213550 h 1233582"/>
                  <a:gd name="connsiteX404" fmla="*/ 1242251 w 1796319"/>
                  <a:gd name="connsiteY404" fmla="*/ 221456 h 1233582"/>
                  <a:gd name="connsiteX405" fmla="*/ 1266063 w 1796319"/>
                  <a:gd name="connsiteY405" fmla="*/ 221456 h 1233582"/>
                  <a:gd name="connsiteX406" fmla="*/ 1273969 w 1796319"/>
                  <a:gd name="connsiteY406" fmla="*/ 229362 h 1233582"/>
                  <a:gd name="connsiteX407" fmla="*/ 1289780 w 1796319"/>
                  <a:gd name="connsiteY407" fmla="*/ 229362 h 1233582"/>
                  <a:gd name="connsiteX408" fmla="*/ 1305592 w 1796319"/>
                  <a:gd name="connsiteY408" fmla="*/ 221456 h 1233582"/>
                  <a:gd name="connsiteX409" fmla="*/ 1313498 w 1796319"/>
                  <a:gd name="connsiteY409" fmla="*/ 213550 h 1233582"/>
                  <a:gd name="connsiteX410" fmla="*/ 1353122 w 1796319"/>
                  <a:gd name="connsiteY410" fmla="*/ 213550 h 1233582"/>
                  <a:gd name="connsiteX411" fmla="*/ 1368933 w 1796319"/>
                  <a:gd name="connsiteY411" fmla="*/ 221456 h 1233582"/>
                  <a:gd name="connsiteX412" fmla="*/ 1376839 w 1796319"/>
                  <a:gd name="connsiteY412" fmla="*/ 229362 h 1233582"/>
                  <a:gd name="connsiteX413" fmla="*/ 1400556 w 1796319"/>
                  <a:gd name="connsiteY413" fmla="*/ 229362 h 1233582"/>
                  <a:gd name="connsiteX414" fmla="*/ 1400556 w 1796319"/>
                  <a:gd name="connsiteY414" fmla="*/ 213550 h 1233582"/>
                  <a:gd name="connsiteX415" fmla="*/ 1408462 w 1796319"/>
                  <a:gd name="connsiteY415" fmla="*/ 205645 h 1233582"/>
                  <a:gd name="connsiteX416" fmla="*/ 1408462 w 1796319"/>
                  <a:gd name="connsiteY416" fmla="*/ 197739 h 1233582"/>
                  <a:gd name="connsiteX417" fmla="*/ 1440180 w 1796319"/>
                  <a:gd name="connsiteY417" fmla="*/ 197739 h 1233582"/>
                  <a:gd name="connsiteX418" fmla="*/ 1440180 w 1796319"/>
                  <a:gd name="connsiteY418" fmla="*/ 150209 h 1233582"/>
                  <a:gd name="connsiteX419" fmla="*/ 1448086 w 1796319"/>
                  <a:gd name="connsiteY419" fmla="*/ 142303 h 1233582"/>
                  <a:gd name="connsiteX420" fmla="*/ 1448086 w 1796319"/>
                  <a:gd name="connsiteY420" fmla="*/ 126492 h 1233582"/>
                  <a:gd name="connsiteX421" fmla="*/ 1463897 w 1796319"/>
                  <a:gd name="connsiteY421" fmla="*/ 118586 h 1233582"/>
                  <a:gd name="connsiteX422" fmla="*/ 1471803 w 1796319"/>
                  <a:gd name="connsiteY422" fmla="*/ 118586 h 1233582"/>
                  <a:gd name="connsiteX423" fmla="*/ 1487614 w 1796319"/>
                  <a:gd name="connsiteY423" fmla="*/ 110680 h 1233582"/>
                  <a:gd name="connsiteX424" fmla="*/ 1527239 w 1796319"/>
                  <a:gd name="connsiteY424" fmla="*/ 110680 h 1233582"/>
                  <a:gd name="connsiteX425" fmla="*/ 1543050 w 1796319"/>
                  <a:gd name="connsiteY425" fmla="*/ 102775 h 1233582"/>
                  <a:gd name="connsiteX426" fmla="*/ 1590580 w 1796319"/>
                  <a:gd name="connsiteY426" fmla="*/ 102775 h 1233582"/>
                  <a:gd name="connsiteX427" fmla="*/ 1590580 w 1796319"/>
                  <a:gd name="connsiteY427" fmla="*/ 118586 h 1233582"/>
                  <a:gd name="connsiteX428" fmla="*/ 1638110 w 1796319"/>
                  <a:gd name="connsiteY428" fmla="*/ 126492 h 1233582"/>
                  <a:gd name="connsiteX429" fmla="*/ 1646015 w 1796319"/>
                  <a:gd name="connsiteY429" fmla="*/ 126492 h 1233582"/>
                  <a:gd name="connsiteX430" fmla="*/ 1661827 w 1796319"/>
                  <a:gd name="connsiteY430" fmla="*/ 142303 h 1233582"/>
                  <a:gd name="connsiteX431" fmla="*/ 1669733 w 1796319"/>
                  <a:gd name="connsiteY431" fmla="*/ 158115 h 1233582"/>
                  <a:gd name="connsiteX432" fmla="*/ 1669733 w 1796319"/>
                  <a:gd name="connsiteY432" fmla="*/ 181832 h 1233582"/>
                  <a:gd name="connsiteX433" fmla="*/ 1661827 w 1796319"/>
                  <a:gd name="connsiteY433" fmla="*/ 181832 h 1233582"/>
                  <a:gd name="connsiteX434" fmla="*/ 1661827 w 1796319"/>
                  <a:gd name="connsiteY434" fmla="*/ 173926 h 1233582"/>
                  <a:gd name="connsiteX435" fmla="*/ 1653921 w 1796319"/>
                  <a:gd name="connsiteY435" fmla="*/ 173926 h 1233582"/>
                  <a:gd name="connsiteX436" fmla="*/ 1653921 w 1796319"/>
                  <a:gd name="connsiteY436" fmla="*/ 189738 h 1233582"/>
                  <a:gd name="connsiteX437" fmla="*/ 1685544 w 1796319"/>
                  <a:gd name="connsiteY437" fmla="*/ 189738 h 1233582"/>
                  <a:gd name="connsiteX438" fmla="*/ 1693450 w 1796319"/>
                  <a:gd name="connsiteY438" fmla="*/ 173926 h 1233582"/>
                  <a:gd name="connsiteX439" fmla="*/ 1693450 w 1796319"/>
                  <a:gd name="connsiteY439" fmla="*/ 166021 h 1233582"/>
                  <a:gd name="connsiteX440" fmla="*/ 1725073 w 1796319"/>
                  <a:gd name="connsiteY440" fmla="*/ 158115 h 1233582"/>
                  <a:gd name="connsiteX441" fmla="*/ 1732979 w 1796319"/>
                  <a:gd name="connsiteY441" fmla="*/ 142303 h 1233582"/>
                  <a:gd name="connsiteX442" fmla="*/ 1780508 w 1796319"/>
                  <a:gd name="connsiteY442" fmla="*/ 142303 h 1233582"/>
                  <a:gd name="connsiteX443" fmla="*/ 1796320 w 1796319"/>
                  <a:gd name="connsiteY443" fmla="*/ 126492 h 1233582"/>
                  <a:gd name="connsiteX444" fmla="*/ 1788414 w 1796319"/>
                  <a:gd name="connsiteY444" fmla="*/ 126492 h 1233582"/>
                  <a:gd name="connsiteX445" fmla="*/ 1748885 w 1796319"/>
                  <a:gd name="connsiteY445" fmla="*/ 134398 h 1233582"/>
                  <a:gd name="connsiteX446" fmla="*/ 1701356 w 1796319"/>
                  <a:gd name="connsiteY446" fmla="*/ 118586 h 1233582"/>
                  <a:gd name="connsiteX447" fmla="*/ 1661731 w 1796319"/>
                  <a:gd name="connsiteY447" fmla="*/ 102775 h 1233582"/>
                  <a:gd name="connsiteX448" fmla="*/ 1717167 w 1796319"/>
                  <a:gd name="connsiteY448" fmla="*/ 102775 h 1233582"/>
                  <a:gd name="connsiteX449" fmla="*/ 1748790 w 1796319"/>
                  <a:gd name="connsiteY449" fmla="*/ 86963 h 1233582"/>
                  <a:gd name="connsiteX450" fmla="*/ 1772507 w 1796319"/>
                  <a:gd name="connsiteY450" fmla="*/ 86963 h 1233582"/>
                  <a:gd name="connsiteX451" fmla="*/ 1780413 w 1796319"/>
                  <a:gd name="connsiteY451" fmla="*/ 79057 h 1233582"/>
                  <a:gd name="connsiteX452" fmla="*/ 1788319 w 1796319"/>
                  <a:gd name="connsiteY452" fmla="*/ 79057 h 1233582"/>
                  <a:gd name="connsiteX453" fmla="*/ 1772507 w 1796319"/>
                  <a:gd name="connsiteY453" fmla="*/ 71152 h 1233582"/>
                  <a:gd name="connsiteX454" fmla="*/ 1764602 w 1796319"/>
                  <a:gd name="connsiteY454" fmla="*/ 63246 h 1233582"/>
                  <a:gd name="connsiteX455" fmla="*/ 1740884 w 1796319"/>
                  <a:gd name="connsiteY455" fmla="*/ 55340 h 1233582"/>
                  <a:gd name="connsiteX456" fmla="*/ 1725073 w 1796319"/>
                  <a:gd name="connsiteY456" fmla="*/ 47434 h 1233582"/>
                  <a:gd name="connsiteX457" fmla="*/ 1693450 w 1796319"/>
                  <a:gd name="connsiteY457" fmla="*/ 47434 h 1233582"/>
                  <a:gd name="connsiteX458" fmla="*/ 1661827 w 1796319"/>
                  <a:gd name="connsiteY458" fmla="*/ 31623 h 1233582"/>
                  <a:gd name="connsiteX459" fmla="*/ 1653921 w 1796319"/>
                  <a:gd name="connsiteY459" fmla="*/ 31623 h 1233582"/>
                  <a:gd name="connsiteX460" fmla="*/ 1638110 w 1796319"/>
                  <a:gd name="connsiteY460" fmla="*/ 23717 h 1233582"/>
                  <a:gd name="connsiteX461" fmla="*/ 1638110 w 1796319"/>
                  <a:gd name="connsiteY461" fmla="*/ 31623 h 1233582"/>
                  <a:gd name="connsiteX462" fmla="*/ 1630204 w 1796319"/>
                  <a:gd name="connsiteY462" fmla="*/ 39529 h 1233582"/>
                  <a:gd name="connsiteX463" fmla="*/ 1630204 w 1796319"/>
                  <a:gd name="connsiteY463" fmla="*/ 47434 h 1233582"/>
                  <a:gd name="connsiteX464" fmla="*/ 1606391 w 1796319"/>
                  <a:gd name="connsiteY464" fmla="*/ 71152 h 1233582"/>
                  <a:gd name="connsiteX465" fmla="*/ 1590580 w 1796319"/>
                  <a:gd name="connsiteY465" fmla="*/ 71152 h 1233582"/>
                  <a:gd name="connsiteX466" fmla="*/ 1582674 w 1796319"/>
                  <a:gd name="connsiteY466" fmla="*/ 63246 h 1233582"/>
                  <a:gd name="connsiteX467" fmla="*/ 1614297 w 1796319"/>
                  <a:gd name="connsiteY467" fmla="*/ 31623 h 1233582"/>
                  <a:gd name="connsiteX468" fmla="*/ 1527239 w 1796319"/>
                  <a:gd name="connsiteY468" fmla="*/ 0 h 1233582"/>
                  <a:gd name="connsiteX469" fmla="*/ 1527239 w 1796319"/>
                  <a:gd name="connsiteY469" fmla="*/ 15811 h 1233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1796319" h="1233582">
                    <a:moveTo>
                      <a:pt x="641033" y="253270"/>
                    </a:moveTo>
                    <a:lnTo>
                      <a:pt x="625221" y="253270"/>
                    </a:lnTo>
                    <a:lnTo>
                      <a:pt x="577691" y="276987"/>
                    </a:lnTo>
                    <a:lnTo>
                      <a:pt x="569786" y="284893"/>
                    </a:lnTo>
                    <a:lnTo>
                      <a:pt x="569786" y="292799"/>
                    </a:lnTo>
                    <a:lnTo>
                      <a:pt x="585597" y="292799"/>
                    </a:lnTo>
                    <a:lnTo>
                      <a:pt x="601409" y="284893"/>
                    </a:lnTo>
                    <a:lnTo>
                      <a:pt x="609314" y="276987"/>
                    </a:lnTo>
                    <a:lnTo>
                      <a:pt x="625126" y="269081"/>
                    </a:lnTo>
                    <a:lnTo>
                      <a:pt x="672656" y="269081"/>
                    </a:lnTo>
                    <a:lnTo>
                      <a:pt x="672656" y="261175"/>
                    </a:lnTo>
                    <a:lnTo>
                      <a:pt x="664750" y="261175"/>
                    </a:lnTo>
                    <a:lnTo>
                      <a:pt x="664750" y="253270"/>
                    </a:lnTo>
                    <a:lnTo>
                      <a:pt x="640937" y="253270"/>
                    </a:lnTo>
                    <a:close/>
                    <a:moveTo>
                      <a:pt x="712280" y="229552"/>
                    </a:moveTo>
                    <a:lnTo>
                      <a:pt x="720185" y="253270"/>
                    </a:lnTo>
                    <a:lnTo>
                      <a:pt x="759809" y="253270"/>
                    </a:lnTo>
                    <a:lnTo>
                      <a:pt x="751904" y="229552"/>
                    </a:lnTo>
                    <a:lnTo>
                      <a:pt x="743998" y="213741"/>
                    </a:lnTo>
                    <a:lnTo>
                      <a:pt x="712280" y="229552"/>
                    </a:lnTo>
                    <a:close/>
                    <a:moveTo>
                      <a:pt x="775621" y="205835"/>
                    </a:moveTo>
                    <a:lnTo>
                      <a:pt x="759809" y="221647"/>
                    </a:lnTo>
                    <a:lnTo>
                      <a:pt x="767715" y="237458"/>
                    </a:lnTo>
                    <a:lnTo>
                      <a:pt x="799338" y="229552"/>
                    </a:lnTo>
                    <a:lnTo>
                      <a:pt x="815150" y="221647"/>
                    </a:lnTo>
                    <a:lnTo>
                      <a:pt x="823055" y="221647"/>
                    </a:lnTo>
                    <a:lnTo>
                      <a:pt x="830961" y="213741"/>
                    </a:lnTo>
                    <a:lnTo>
                      <a:pt x="815150" y="205835"/>
                    </a:lnTo>
                    <a:lnTo>
                      <a:pt x="775526" y="205835"/>
                    </a:lnTo>
                    <a:close/>
                    <a:moveTo>
                      <a:pt x="688562" y="197929"/>
                    </a:moveTo>
                    <a:lnTo>
                      <a:pt x="680657" y="205835"/>
                    </a:lnTo>
                    <a:lnTo>
                      <a:pt x="672751" y="221647"/>
                    </a:lnTo>
                    <a:lnTo>
                      <a:pt x="672751" y="245364"/>
                    </a:lnTo>
                    <a:lnTo>
                      <a:pt x="696468" y="269081"/>
                    </a:lnTo>
                    <a:lnTo>
                      <a:pt x="696468" y="253270"/>
                    </a:lnTo>
                    <a:lnTo>
                      <a:pt x="704374" y="237458"/>
                    </a:lnTo>
                    <a:lnTo>
                      <a:pt x="704374" y="205835"/>
                    </a:lnTo>
                    <a:lnTo>
                      <a:pt x="696468" y="197929"/>
                    </a:lnTo>
                    <a:lnTo>
                      <a:pt x="688562" y="197929"/>
                    </a:lnTo>
                    <a:close/>
                    <a:moveTo>
                      <a:pt x="759809" y="174212"/>
                    </a:moveTo>
                    <a:lnTo>
                      <a:pt x="728186" y="190024"/>
                    </a:lnTo>
                    <a:lnTo>
                      <a:pt x="720281" y="197929"/>
                    </a:lnTo>
                    <a:lnTo>
                      <a:pt x="751999" y="205835"/>
                    </a:lnTo>
                    <a:lnTo>
                      <a:pt x="759905" y="197929"/>
                    </a:lnTo>
                    <a:lnTo>
                      <a:pt x="775716" y="197929"/>
                    </a:lnTo>
                    <a:lnTo>
                      <a:pt x="791528" y="182118"/>
                    </a:lnTo>
                    <a:lnTo>
                      <a:pt x="783622" y="174212"/>
                    </a:lnTo>
                    <a:lnTo>
                      <a:pt x="759905" y="174212"/>
                    </a:lnTo>
                    <a:close/>
                    <a:moveTo>
                      <a:pt x="831056" y="166306"/>
                    </a:moveTo>
                    <a:lnTo>
                      <a:pt x="846868" y="190024"/>
                    </a:lnTo>
                    <a:lnTo>
                      <a:pt x="878491" y="174212"/>
                    </a:lnTo>
                    <a:lnTo>
                      <a:pt x="878491" y="166306"/>
                    </a:lnTo>
                    <a:lnTo>
                      <a:pt x="894302" y="166306"/>
                    </a:lnTo>
                    <a:lnTo>
                      <a:pt x="894302" y="150495"/>
                    </a:lnTo>
                    <a:lnTo>
                      <a:pt x="886397" y="142589"/>
                    </a:lnTo>
                    <a:lnTo>
                      <a:pt x="830961" y="166306"/>
                    </a:lnTo>
                    <a:close/>
                    <a:moveTo>
                      <a:pt x="1021080" y="79248"/>
                    </a:moveTo>
                    <a:lnTo>
                      <a:pt x="1013174" y="87154"/>
                    </a:lnTo>
                    <a:lnTo>
                      <a:pt x="1013174" y="102965"/>
                    </a:lnTo>
                    <a:lnTo>
                      <a:pt x="1021080" y="110871"/>
                    </a:lnTo>
                    <a:lnTo>
                      <a:pt x="1028986" y="102965"/>
                    </a:lnTo>
                    <a:lnTo>
                      <a:pt x="1036892" y="102965"/>
                    </a:lnTo>
                    <a:lnTo>
                      <a:pt x="1044797" y="95059"/>
                    </a:lnTo>
                    <a:lnTo>
                      <a:pt x="1044797" y="87154"/>
                    </a:lnTo>
                    <a:lnTo>
                      <a:pt x="1036892" y="79248"/>
                    </a:lnTo>
                    <a:lnTo>
                      <a:pt x="1021080" y="79248"/>
                    </a:lnTo>
                    <a:close/>
                    <a:moveTo>
                      <a:pt x="1211104" y="39719"/>
                    </a:moveTo>
                    <a:lnTo>
                      <a:pt x="1211104" y="63437"/>
                    </a:lnTo>
                    <a:lnTo>
                      <a:pt x="1234821" y="71342"/>
                    </a:lnTo>
                    <a:lnTo>
                      <a:pt x="1242727" y="55531"/>
                    </a:lnTo>
                    <a:lnTo>
                      <a:pt x="1250633" y="47625"/>
                    </a:lnTo>
                    <a:lnTo>
                      <a:pt x="1250633" y="39719"/>
                    </a:lnTo>
                    <a:lnTo>
                      <a:pt x="1211009" y="39719"/>
                    </a:lnTo>
                    <a:close/>
                    <a:moveTo>
                      <a:pt x="1527810" y="16002"/>
                    </a:moveTo>
                    <a:lnTo>
                      <a:pt x="1519904" y="39719"/>
                    </a:lnTo>
                    <a:lnTo>
                      <a:pt x="1496092" y="87154"/>
                    </a:lnTo>
                    <a:lnTo>
                      <a:pt x="1488186" y="87154"/>
                    </a:lnTo>
                    <a:lnTo>
                      <a:pt x="1480280" y="79248"/>
                    </a:lnTo>
                    <a:lnTo>
                      <a:pt x="1472375" y="63437"/>
                    </a:lnTo>
                    <a:lnTo>
                      <a:pt x="1472375" y="39719"/>
                    </a:lnTo>
                    <a:lnTo>
                      <a:pt x="1480280" y="23908"/>
                    </a:lnTo>
                    <a:lnTo>
                      <a:pt x="1472375" y="39719"/>
                    </a:lnTo>
                    <a:lnTo>
                      <a:pt x="1456563" y="47625"/>
                    </a:lnTo>
                    <a:lnTo>
                      <a:pt x="1424845" y="79248"/>
                    </a:lnTo>
                    <a:lnTo>
                      <a:pt x="1393222" y="95059"/>
                    </a:lnTo>
                    <a:lnTo>
                      <a:pt x="1385316" y="95059"/>
                    </a:lnTo>
                    <a:lnTo>
                      <a:pt x="1385316" y="87154"/>
                    </a:lnTo>
                    <a:lnTo>
                      <a:pt x="1393222" y="71342"/>
                    </a:lnTo>
                    <a:lnTo>
                      <a:pt x="1432751" y="31814"/>
                    </a:lnTo>
                    <a:lnTo>
                      <a:pt x="1440656" y="16002"/>
                    </a:lnTo>
                    <a:lnTo>
                      <a:pt x="1456468" y="8096"/>
                    </a:lnTo>
                    <a:lnTo>
                      <a:pt x="1408938" y="8096"/>
                    </a:lnTo>
                    <a:lnTo>
                      <a:pt x="1385221" y="23908"/>
                    </a:lnTo>
                    <a:lnTo>
                      <a:pt x="1353503" y="23908"/>
                    </a:lnTo>
                    <a:lnTo>
                      <a:pt x="1298067" y="55531"/>
                    </a:lnTo>
                    <a:lnTo>
                      <a:pt x="1266444" y="55531"/>
                    </a:lnTo>
                    <a:lnTo>
                      <a:pt x="1258538" y="95059"/>
                    </a:lnTo>
                    <a:lnTo>
                      <a:pt x="1211009" y="79248"/>
                    </a:lnTo>
                    <a:lnTo>
                      <a:pt x="1163479" y="87154"/>
                    </a:lnTo>
                    <a:lnTo>
                      <a:pt x="1179290" y="126682"/>
                    </a:lnTo>
                    <a:lnTo>
                      <a:pt x="1115949" y="110871"/>
                    </a:lnTo>
                    <a:lnTo>
                      <a:pt x="1092137" y="118777"/>
                    </a:lnTo>
                    <a:lnTo>
                      <a:pt x="1100042" y="150400"/>
                    </a:lnTo>
                    <a:lnTo>
                      <a:pt x="1044607" y="166211"/>
                    </a:lnTo>
                    <a:lnTo>
                      <a:pt x="1044607" y="118777"/>
                    </a:lnTo>
                    <a:lnTo>
                      <a:pt x="1005078" y="118777"/>
                    </a:lnTo>
                    <a:lnTo>
                      <a:pt x="1020890" y="150400"/>
                    </a:lnTo>
                    <a:lnTo>
                      <a:pt x="989267" y="126682"/>
                    </a:lnTo>
                    <a:lnTo>
                      <a:pt x="989267" y="166211"/>
                    </a:lnTo>
                    <a:lnTo>
                      <a:pt x="957548" y="166211"/>
                    </a:lnTo>
                    <a:lnTo>
                      <a:pt x="957548" y="126682"/>
                    </a:lnTo>
                    <a:lnTo>
                      <a:pt x="973360" y="118777"/>
                    </a:lnTo>
                    <a:lnTo>
                      <a:pt x="981266" y="110871"/>
                    </a:lnTo>
                    <a:lnTo>
                      <a:pt x="933736" y="102965"/>
                    </a:lnTo>
                    <a:lnTo>
                      <a:pt x="933736" y="158401"/>
                    </a:lnTo>
                    <a:lnTo>
                      <a:pt x="894112" y="174212"/>
                    </a:lnTo>
                    <a:lnTo>
                      <a:pt x="917924" y="190024"/>
                    </a:lnTo>
                    <a:lnTo>
                      <a:pt x="870395" y="197929"/>
                    </a:lnTo>
                    <a:lnTo>
                      <a:pt x="886206" y="213741"/>
                    </a:lnTo>
                    <a:lnTo>
                      <a:pt x="830771" y="213741"/>
                    </a:lnTo>
                    <a:lnTo>
                      <a:pt x="830771" y="229552"/>
                    </a:lnTo>
                    <a:lnTo>
                      <a:pt x="870395" y="245364"/>
                    </a:lnTo>
                    <a:lnTo>
                      <a:pt x="862489" y="261175"/>
                    </a:lnTo>
                    <a:lnTo>
                      <a:pt x="814959" y="237458"/>
                    </a:lnTo>
                    <a:lnTo>
                      <a:pt x="791147" y="245364"/>
                    </a:lnTo>
                    <a:lnTo>
                      <a:pt x="822770" y="261175"/>
                    </a:lnTo>
                    <a:lnTo>
                      <a:pt x="799052" y="284893"/>
                    </a:lnTo>
                    <a:lnTo>
                      <a:pt x="783241" y="261175"/>
                    </a:lnTo>
                    <a:lnTo>
                      <a:pt x="759524" y="269081"/>
                    </a:lnTo>
                    <a:lnTo>
                      <a:pt x="759524" y="284893"/>
                    </a:lnTo>
                    <a:lnTo>
                      <a:pt x="719900" y="284893"/>
                    </a:lnTo>
                    <a:lnTo>
                      <a:pt x="711994" y="300704"/>
                    </a:lnTo>
                    <a:lnTo>
                      <a:pt x="743712" y="316516"/>
                    </a:lnTo>
                    <a:lnTo>
                      <a:pt x="743712" y="340233"/>
                    </a:lnTo>
                    <a:lnTo>
                      <a:pt x="696182" y="324422"/>
                    </a:lnTo>
                    <a:lnTo>
                      <a:pt x="688277" y="340233"/>
                    </a:lnTo>
                    <a:lnTo>
                      <a:pt x="727901" y="356045"/>
                    </a:lnTo>
                    <a:lnTo>
                      <a:pt x="664559" y="356045"/>
                    </a:lnTo>
                    <a:lnTo>
                      <a:pt x="664559" y="379762"/>
                    </a:lnTo>
                    <a:lnTo>
                      <a:pt x="648748" y="371856"/>
                    </a:lnTo>
                    <a:lnTo>
                      <a:pt x="640842" y="371856"/>
                    </a:lnTo>
                    <a:lnTo>
                      <a:pt x="625031" y="379762"/>
                    </a:lnTo>
                    <a:lnTo>
                      <a:pt x="617125" y="387667"/>
                    </a:lnTo>
                    <a:lnTo>
                      <a:pt x="601313" y="387667"/>
                    </a:lnTo>
                    <a:lnTo>
                      <a:pt x="601313" y="403479"/>
                    </a:lnTo>
                    <a:lnTo>
                      <a:pt x="609219" y="411385"/>
                    </a:lnTo>
                    <a:lnTo>
                      <a:pt x="601313" y="411385"/>
                    </a:lnTo>
                    <a:lnTo>
                      <a:pt x="593408" y="419290"/>
                    </a:lnTo>
                    <a:lnTo>
                      <a:pt x="585502" y="419290"/>
                    </a:lnTo>
                    <a:lnTo>
                      <a:pt x="585502" y="443008"/>
                    </a:lnTo>
                    <a:lnTo>
                      <a:pt x="633032" y="443008"/>
                    </a:lnTo>
                    <a:lnTo>
                      <a:pt x="617220" y="458819"/>
                    </a:lnTo>
                    <a:lnTo>
                      <a:pt x="569690" y="450913"/>
                    </a:lnTo>
                    <a:lnTo>
                      <a:pt x="553879" y="458819"/>
                    </a:lnTo>
                    <a:lnTo>
                      <a:pt x="545973" y="466725"/>
                    </a:lnTo>
                    <a:lnTo>
                      <a:pt x="545973" y="482537"/>
                    </a:lnTo>
                    <a:lnTo>
                      <a:pt x="553879" y="490442"/>
                    </a:lnTo>
                    <a:lnTo>
                      <a:pt x="553879" y="506254"/>
                    </a:lnTo>
                    <a:lnTo>
                      <a:pt x="538067" y="514160"/>
                    </a:lnTo>
                    <a:lnTo>
                      <a:pt x="514255" y="514160"/>
                    </a:lnTo>
                    <a:lnTo>
                      <a:pt x="514255" y="537877"/>
                    </a:lnTo>
                    <a:lnTo>
                      <a:pt x="538067" y="561594"/>
                    </a:lnTo>
                    <a:lnTo>
                      <a:pt x="538067" y="569500"/>
                    </a:lnTo>
                    <a:lnTo>
                      <a:pt x="530162" y="577406"/>
                    </a:lnTo>
                    <a:lnTo>
                      <a:pt x="482632" y="577406"/>
                    </a:lnTo>
                    <a:lnTo>
                      <a:pt x="474726" y="585311"/>
                    </a:lnTo>
                    <a:lnTo>
                      <a:pt x="474726" y="609029"/>
                    </a:lnTo>
                    <a:lnTo>
                      <a:pt x="466820" y="616934"/>
                    </a:lnTo>
                    <a:lnTo>
                      <a:pt x="451009" y="616934"/>
                    </a:lnTo>
                    <a:lnTo>
                      <a:pt x="443103" y="609029"/>
                    </a:lnTo>
                    <a:lnTo>
                      <a:pt x="419386" y="609029"/>
                    </a:lnTo>
                    <a:lnTo>
                      <a:pt x="387763" y="640652"/>
                    </a:lnTo>
                    <a:lnTo>
                      <a:pt x="371951" y="640652"/>
                    </a:lnTo>
                    <a:lnTo>
                      <a:pt x="356140" y="656463"/>
                    </a:lnTo>
                    <a:lnTo>
                      <a:pt x="356140" y="664369"/>
                    </a:lnTo>
                    <a:lnTo>
                      <a:pt x="364046" y="672275"/>
                    </a:lnTo>
                    <a:lnTo>
                      <a:pt x="364046" y="680180"/>
                    </a:lnTo>
                    <a:lnTo>
                      <a:pt x="348234" y="695992"/>
                    </a:lnTo>
                    <a:lnTo>
                      <a:pt x="332423" y="695992"/>
                    </a:lnTo>
                    <a:lnTo>
                      <a:pt x="324517" y="688086"/>
                    </a:lnTo>
                    <a:lnTo>
                      <a:pt x="308705" y="680180"/>
                    </a:lnTo>
                    <a:lnTo>
                      <a:pt x="308705" y="672275"/>
                    </a:lnTo>
                    <a:lnTo>
                      <a:pt x="300800" y="672275"/>
                    </a:lnTo>
                    <a:lnTo>
                      <a:pt x="269081" y="688086"/>
                    </a:lnTo>
                    <a:lnTo>
                      <a:pt x="261175" y="695992"/>
                    </a:lnTo>
                    <a:lnTo>
                      <a:pt x="237363" y="695992"/>
                    </a:lnTo>
                    <a:lnTo>
                      <a:pt x="237363" y="719709"/>
                    </a:lnTo>
                    <a:lnTo>
                      <a:pt x="245269" y="727615"/>
                    </a:lnTo>
                    <a:lnTo>
                      <a:pt x="253175" y="727615"/>
                    </a:lnTo>
                    <a:lnTo>
                      <a:pt x="253175" y="743426"/>
                    </a:lnTo>
                    <a:lnTo>
                      <a:pt x="245269" y="743426"/>
                    </a:lnTo>
                    <a:lnTo>
                      <a:pt x="229457" y="727615"/>
                    </a:lnTo>
                    <a:lnTo>
                      <a:pt x="213646" y="727615"/>
                    </a:lnTo>
                    <a:lnTo>
                      <a:pt x="205740" y="735521"/>
                    </a:lnTo>
                    <a:lnTo>
                      <a:pt x="205740" y="751332"/>
                    </a:lnTo>
                    <a:lnTo>
                      <a:pt x="221552" y="751332"/>
                    </a:lnTo>
                    <a:lnTo>
                      <a:pt x="229457" y="759238"/>
                    </a:lnTo>
                    <a:lnTo>
                      <a:pt x="237363" y="759238"/>
                    </a:lnTo>
                    <a:lnTo>
                      <a:pt x="237363" y="775049"/>
                    </a:lnTo>
                    <a:lnTo>
                      <a:pt x="181928" y="775049"/>
                    </a:lnTo>
                    <a:lnTo>
                      <a:pt x="181928" y="767144"/>
                    </a:lnTo>
                    <a:lnTo>
                      <a:pt x="174022" y="767144"/>
                    </a:lnTo>
                    <a:lnTo>
                      <a:pt x="166116" y="782955"/>
                    </a:lnTo>
                    <a:lnTo>
                      <a:pt x="166116" y="798767"/>
                    </a:lnTo>
                    <a:lnTo>
                      <a:pt x="158210" y="790861"/>
                    </a:lnTo>
                    <a:lnTo>
                      <a:pt x="134493" y="790861"/>
                    </a:lnTo>
                    <a:lnTo>
                      <a:pt x="126587" y="782955"/>
                    </a:lnTo>
                    <a:lnTo>
                      <a:pt x="118682" y="782955"/>
                    </a:lnTo>
                    <a:lnTo>
                      <a:pt x="118682" y="790861"/>
                    </a:lnTo>
                    <a:lnTo>
                      <a:pt x="126587" y="798767"/>
                    </a:lnTo>
                    <a:lnTo>
                      <a:pt x="158210" y="814578"/>
                    </a:lnTo>
                    <a:lnTo>
                      <a:pt x="174022" y="814578"/>
                    </a:lnTo>
                    <a:lnTo>
                      <a:pt x="142399" y="838295"/>
                    </a:lnTo>
                    <a:lnTo>
                      <a:pt x="142399" y="822484"/>
                    </a:lnTo>
                    <a:lnTo>
                      <a:pt x="118682" y="822484"/>
                    </a:lnTo>
                    <a:lnTo>
                      <a:pt x="110776" y="830390"/>
                    </a:lnTo>
                    <a:lnTo>
                      <a:pt x="79153" y="814578"/>
                    </a:lnTo>
                    <a:lnTo>
                      <a:pt x="71247" y="830390"/>
                    </a:lnTo>
                    <a:lnTo>
                      <a:pt x="87058" y="838295"/>
                    </a:lnTo>
                    <a:lnTo>
                      <a:pt x="39529" y="830390"/>
                    </a:lnTo>
                    <a:lnTo>
                      <a:pt x="39529" y="854107"/>
                    </a:lnTo>
                    <a:lnTo>
                      <a:pt x="102870" y="854107"/>
                    </a:lnTo>
                    <a:lnTo>
                      <a:pt x="71152" y="862013"/>
                    </a:lnTo>
                    <a:lnTo>
                      <a:pt x="23622" y="854107"/>
                    </a:lnTo>
                    <a:lnTo>
                      <a:pt x="7811" y="869918"/>
                    </a:lnTo>
                    <a:lnTo>
                      <a:pt x="7811" y="877824"/>
                    </a:lnTo>
                    <a:lnTo>
                      <a:pt x="23622" y="893636"/>
                    </a:lnTo>
                    <a:lnTo>
                      <a:pt x="47339" y="893636"/>
                    </a:lnTo>
                    <a:lnTo>
                      <a:pt x="23622" y="901541"/>
                    </a:lnTo>
                    <a:lnTo>
                      <a:pt x="15716" y="909447"/>
                    </a:lnTo>
                    <a:lnTo>
                      <a:pt x="15716" y="917353"/>
                    </a:lnTo>
                    <a:lnTo>
                      <a:pt x="86963" y="917353"/>
                    </a:lnTo>
                    <a:lnTo>
                      <a:pt x="102775" y="933164"/>
                    </a:lnTo>
                    <a:lnTo>
                      <a:pt x="126492" y="917353"/>
                    </a:lnTo>
                    <a:lnTo>
                      <a:pt x="142304" y="933164"/>
                    </a:lnTo>
                    <a:lnTo>
                      <a:pt x="181928" y="917353"/>
                    </a:lnTo>
                    <a:lnTo>
                      <a:pt x="174022" y="925259"/>
                    </a:lnTo>
                    <a:lnTo>
                      <a:pt x="166116" y="941070"/>
                    </a:lnTo>
                    <a:lnTo>
                      <a:pt x="79058" y="941070"/>
                    </a:lnTo>
                    <a:lnTo>
                      <a:pt x="71152" y="933164"/>
                    </a:lnTo>
                    <a:lnTo>
                      <a:pt x="31623" y="933164"/>
                    </a:lnTo>
                    <a:lnTo>
                      <a:pt x="15812" y="941070"/>
                    </a:lnTo>
                    <a:lnTo>
                      <a:pt x="0" y="941070"/>
                    </a:lnTo>
                    <a:lnTo>
                      <a:pt x="7906" y="948976"/>
                    </a:lnTo>
                    <a:lnTo>
                      <a:pt x="7906" y="964787"/>
                    </a:lnTo>
                    <a:lnTo>
                      <a:pt x="15812" y="964787"/>
                    </a:lnTo>
                    <a:lnTo>
                      <a:pt x="23717" y="972693"/>
                    </a:lnTo>
                    <a:lnTo>
                      <a:pt x="39529" y="972693"/>
                    </a:lnTo>
                    <a:lnTo>
                      <a:pt x="31623" y="980599"/>
                    </a:lnTo>
                    <a:lnTo>
                      <a:pt x="23717" y="996410"/>
                    </a:lnTo>
                    <a:lnTo>
                      <a:pt x="47435" y="1020128"/>
                    </a:lnTo>
                    <a:lnTo>
                      <a:pt x="63246" y="1020128"/>
                    </a:lnTo>
                    <a:lnTo>
                      <a:pt x="94964" y="996410"/>
                    </a:lnTo>
                    <a:lnTo>
                      <a:pt x="134588" y="988505"/>
                    </a:lnTo>
                    <a:lnTo>
                      <a:pt x="118777" y="1020128"/>
                    </a:lnTo>
                    <a:lnTo>
                      <a:pt x="102965" y="1012222"/>
                    </a:lnTo>
                    <a:lnTo>
                      <a:pt x="87154" y="1035939"/>
                    </a:lnTo>
                    <a:lnTo>
                      <a:pt x="39624" y="1035939"/>
                    </a:lnTo>
                    <a:lnTo>
                      <a:pt x="63341" y="1059656"/>
                    </a:lnTo>
                    <a:lnTo>
                      <a:pt x="31718" y="1075468"/>
                    </a:lnTo>
                    <a:lnTo>
                      <a:pt x="7906" y="1075468"/>
                    </a:lnTo>
                    <a:lnTo>
                      <a:pt x="7906" y="1099185"/>
                    </a:lnTo>
                    <a:lnTo>
                      <a:pt x="87058" y="1099185"/>
                    </a:lnTo>
                    <a:lnTo>
                      <a:pt x="71247" y="1130808"/>
                    </a:lnTo>
                    <a:lnTo>
                      <a:pt x="87058" y="1130808"/>
                    </a:lnTo>
                    <a:lnTo>
                      <a:pt x="71247" y="1154525"/>
                    </a:lnTo>
                    <a:lnTo>
                      <a:pt x="55436" y="1146620"/>
                    </a:lnTo>
                    <a:lnTo>
                      <a:pt x="47530" y="1146620"/>
                    </a:lnTo>
                    <a:lnTo>
                      <a:pt x="39624" y="1138714"/>
                    </a:lnTo>
                    <a:lnTo>
                      <a:pt x="23813" y="1138714"/>
                    </a:lnTo>
                    <a:lnTo>
                      <a:pt x="23813" y="1154525"/>
                    </a:lnTo>
                    <a:lnTo>
                      <a:pt x="31718" y="1170337"/>
                    </a:lnTo>
                    <a:lnTo>
                      <a:pt x="47530" y="1186148"/>
                    </a:lnTo>
                    <a:lnTo>
                      <a:pt x="110871" y="1209866"/>
                    </a:lnTo>
                    <a:lnTo>
                      <a:pt x="102965" y="1217771"/>
                    </a:lnTo>
                    <a:lnTo>
                      <a:pt x="110871" y="1225677"/>
                    </a:lnTo>
                    <a:lnTo>
                      <a:pt x="166307" y="1225677"/>
                    </a:lnTo>
                    <a:lnTo>
                      <a:pt x="174212" y="1233583"/>
                    </a:lnTo>
                    <a:lnTo>
                      <a:pt x="190024" y="1233583"/>
                    </a:lnTo>
                    <a:lnTo>
                      <a:pt x="253365" y="1201960"/>
                    </a:lnTo>
                    <a:lnTo>
                      <a:pt x="269177" y="1186148"/>
                    </a:lnTo>
                    <a:lnTo>
                      <a:pt x="284988" y="1178243"/>
                    </a:lnTo>
                    <a:lnTo>
                      <a:pt x="292894" y="1170337"/>
                    </a:lnTo>
                    <a:lnTo>
                      <a:pt x="340424" y="1130808"/>
                    </a:lnTo>
                    <a:lnTo>
                      <a:pt x="372046" y="1130808"/>
                    </a:lnTo>
                    <a:lnTo>
                      <a:pt x="387858" y="1122902"/>
                    </a:lnTo>
                    <a:lnTo>
                      <a:pt x="395764" y="1114997"/>
                    </a:lnTo>
                    <a:lnTo>
                      <a:pt x="395764" y="1083374"/>
                    </a:lnTo>
                    <a:lnTo>
                      <a:pt x="387858" y="1075468"/>
                    </a:lnTo>
                    <a:lnTo>
                      <a:pt x="387858" y="1067562"/>
                    </a:lnTo>
                    <a:lnTo>
                      <a:pt x="411575" y="1059656"/>
                    </a:lnTo>
                    <a:lnTo>
                      <a:pt x="403670" y="1067562"/>
                    </a:lnTo>
                    <a:lnTo>
                      <a:pt x="403670" y="1075468"/>
                    </a:lnTo>
                    <a:lnTo>
                      <a:pt x="395764" y="1083374"/>
                    </a:lnTo>
                    <a:lnTo>
                      <a:pt x="395764" y="1091279"/>
                    </a:lnTo>
                    <a:lnTo>
                      <a:pt x="411575" y="1107091"/>
                    </a:lnTo>
                    <a:lnTo>
                      <a:pt x="435292" y="1114997"/>
                    </a:lnTo>
                    <a:lnTo>
                      <a:pt x="451104" y="1114997"/>
                    </a:lnTo>
                    <a:lnTo>
                      <a:pt x="459010" y="1122902"/>
                    </a:lnTo>
                    <a:lnTo>
                      <a:pt x="466916" y="1122902"/>
                    </a:lnTo>
                    <a:lnTo>
                      <a:pt x="490633" y="1146620"/>
                    </a:lnTo>
                    <a:lnTo>
                      <a:pt x="498538" y="1130808"/>
                    </a:lnTo>
                    <a:lnTo>
                      <a:pt x="506444" y="1122902"/>
                    </a:lnTo>
                    <a:lnTo>
                      <a:pt x="506444" y="1099185"/>
                    </a:lnTo>
                    <a:lnTo>
                      <a:pt x="490633" y="1083374"/>
                    </a:lnTo>
                    <a:lnTo>
                      <a:pt x="490633" y="1075468"/>
                    </a:lnTo>
                    <a:lnTo>
                      <a:pt x="498538" y="1067562"/>
                    </a:lnTo>
                    <a:lnTo>
                      <a:pt x="506444" y="1067562"/>
                    </a:lnTo>
                    <a:lnTo>
                      <a:pt x="506444" y="1059656"/>
                    </a:lnTo>
                    <a:lnTo>
                      <a:pt x="498538" y="1043845"/>
                    </a:lnTo>
                    <a:lnTo>
                      <a:pt x="546068" y="1043845"/>
                    </a:lnTo>
                    <a:lnTo>
                      <a:pt x="553974" y="1035939"/>
                    </a:lnTo>
                    <a:lnTo>
                      <a:pt x="553974" y="1004316"/>
                    </a:lnTo>
                    <a:lnTo>
                      <a:pt x="561880" y="1004316"/>
                    </a:lnTo>
                    <a:lnTo>
                      <a:pt x="553974" y="988505"/>
                    </a:lnTo>
                    <a:lnTo>
                      <a:pt x="553974" y="980599"/>
                    </a:lnTo>
                    <a:lnTo>
                      <a:pt x="546068" y="972693"/>
                    </a:lnTo>
                    <a:lnTo>
                      <a:pt x="546068" y="964787"/>
                    </a:lnTo>
                    <a:lnTo>
                      <a:pt x="538163" y="948976"/>
                    </a:lnTo>
                    <a:lnTo>
                      <a:pt x="530257" y="941070"/>
                    </a:lnTo>
                    <a:lnTo>
                      <a:pt x="561880" y="933164"/>
                    </a:lnTo>
                    <a:lnTo>
                      <a:pt x="577691" y="917353"/>
                    </a:lnTo>
                    <a:lnTo>
                      <a:pt x="577691" y="901541"/>
                    </a:lnTo>
                    <a:lnTo>
                      <a:pt x="553974" y="877824"/>
                    </a:lnTo>
                    <a:lnTo>
                      <a:pt x="546068" y="877824"/>
                    </a:lnTo>
                    <a:lnTo>
                      <a:pt x="530257" y="862013"/>
                    </a:lnTo>
                    <a:lnTo>
                      <a:pt x="530257" y="838295"/>
                    </a:lnTo>
                    <a:lnTo>
                      <a:pt x="538163" y="822484"/>
                    </a:lnTo>
                    <a:lnTo>
                      <a:pt x="538163" y="806672"/>
                    </a:lnTo>
                    <a:lnTo>
                      <a:pt x="506444" y="775049"/>
                    </a:lnTo>
                    <a:lnTo>
                      <a:pt x="506444" y="759238"/>
                    </a:lnTo>
                    <a:lnTo>
                      <a:pt x="514350" y="751332"/>
                    </a:lnTo>
                    <a:lnTo>
                      <a:pt x="522256" y="751332"/>
                    </a:lnTo>
                    <a:lnTo>
                      <a:pt x="530162" y="743426"/>
                    </a:lnTo>
                    <a:lnTo>
                      <a:pt x="530162" y="735521"/>
                    </a:lnTo>
                    <a:lnTo>
                      <a:pt x="522256" y="727615"/>
                    </a:lnTo>
                    <a:lnTo>
                      <a:pt x="514350" y="727615"/>
                    </a:lnTo>
                    <a:lnTo>
                      <a:pt x="506444" y="719709"/>
                    </a:lnTo>
                    <a:lnTo>
                      <a:pt x="561880" y="664274"/>
                    </a:lnTo>
                    <a:lnTo>
                      <a:pt x="577691" y="656368"/>
                    </a:lnTo>
                    <a:lnTo>
                      <a:pt x="585597" y="648462"/>
                    </a:lnTo>
                    <a:lnTo>
                      <a:pt x="601409" y="640556"/>
                    </a:lnTo>
                    <a:lnTo>
                      <a:pt x="656844" y="640556"/>
                    </a:lnTo>
                    <a:lnTo>
                      <a:pt x="664750" y="632651"/>
                    </a:lnTo>
                    <a:lnTo>
                      <a:pt x="664750" y="624745"/>
                    </a:lnTo>
                    <a:lnTo>
                      <a:pt x="640937" y="601028"/>
                    </a:lnTo>
                    <a:lnTo>
                      <a:pt x="625126" y="593122"/>
                    </a:lnTo>
                    <a:lnTo>
                      <a:pt x="640937" y="585216"/>
                    </a:lnTo>
                    <a:lnTo>
                      <a:pt x="648843" y="585216"/>
                    </a:lnTo>
                    <a:lnTo>
                      <a:pt x="688467" y="545687"/>
                    </a:lnTo>
                    <a:lnTo>
                      <a:pt x="696373" y="490252"/>
                    </a:lnTo>
                    <a:lnTo>
                      <a:pt x="696373" y="442817"/>
                    </a:lnTo>
                    <a:lnTo>
                      <a:pt x="720185" y="458629"/>
                    </a:lnTo>
                    <a:lnTo>
                      <a:pt x="735997" y="450723"/>
                    </a:lnTo>
                    <a:lnTo>
                      <a:pt x="743903" y="450723"/>
                    </a:lnTo>
                    <a:lnTo>
                      <a:pt x="751808" y="442817"/>
                    </a:lnTo>
                    <a:lnTo>
                      <a:pt x="759714" y="442817"/>
                    </a:lnTo>
                    <a:lnTo>
                      <a:pt x="759714" y="434912"/>
                    </a:lnTo>
                    <a:lnTo>
                      <a:pt x="751808" y="427006"/>
                    </a:lnTo>
                    <a:lnTo>
                      <a:pt x="751808" y="419100"/>
                    </a:lnTo>
                    <a:lnTo>
                      <a:pt x="743903" y="411194"/>
                    </a:lnTo>
                    <a:lnTo>
                      <a:pt x="767620" y="411194"/>
                    </a:lnTo>
                    <a:lnTo>
                      <a:pt x="775526" y="403288"/>
                    </a:lnTo>
                    <a:lnTo>
                      <a:pt x="775526" y="395383"/>
                    </a:lnTo>
                    <a:lnTo>
                      <a:pt x="783431" y="387477"/>
                    </a:lnTo>
                    <a:lnTo>
                      <a:pt x="799243" y="379571"/>
                    </a:lnTo>
                    <a:lnTo>
                      <a:pt x="807149" y="379571"/>
                    </a:lnTo>
                    <a:lnTo>
                      <a:pt x="815054" y="355854"/>
                    </a:lnTo>
                    <a:lnTo>
                      <a:pt x="807149" y="347948"/>
                    </a:lnTo>
                    <a:lnTo>
                      <a:pt x="791337" y="340043"/>
                    </a:lnTo>
                    <a:lnTo>
                      <a:pt x="791337" y="324231"/>
                    </a:lnTo>
                    <a:lnTo>
                      <a:pt x="799243" y="324231"/>
                    </a:lnTo>
                    <a:lnTo>
                      <a:pt x="815054" y="316325"/>
                    </a:lnTo>
                    <a:lnTo>
                      <a:pt x="838772" y="292608"/>
                    </a:lnTo>
                    <a:lnTo>
                      <a:pt x="894207" y="284702"/>
                    </a:lnTo>
                    <a:lnTo>
                      <a:pt x="918020" y="284702"/>
                    </a:lnTo>
                    <a:lnTo>
                      <a:pt x="925925" y="276797"/>
                    </a:lnTo>
                    <a:lnTo>
                      <a:pt x="925925" y="237268"/>
                    </a:lnTo>
                    <a:lnTo>
                      <a:pt x="941737" y="221456"/>
                    </a:lnTo>
                    <a:lnTo>
                      <a:pt x="949643" y="229362"/>
                    </a:lnTo>
                    <a:lnTo>
                      <a:pt x="949643" y="245174"/>
                    </a:lnTo>
                    <a:lnTo>
                      <a:pt x="981266" y="237268"/>
                    </a:lnTo>
                    <a:lnTo>
                      <a:pt x="1012888" y="245174"/>
                    </a:lnTo>
                    <a:lnTo>
                      <a:pt x="1044512" y="245174"/>
                    </a:lnTo>
                    <a:lnTo>
                      <a:pt x="1052417" y="253079"/>
                    </a:lnTo>
                    <a:lnTo>
                      <a:pt x="1068229" y="253079"/>
                    </a:lnTo>
                    <a:lnTo>
                      <a:pt x="1076135" y="245174"/>
                    </a:lnTo>
                    <a:lnTo>
                      <a:pt x="1068229" y="245174"/>
                    </a:lnTo>
                    <a:lnTo>
                      <a:pt x="1052417" y="229362"/>
                    </a:lnTo>
                    <a:lnTo>
                      <a:pt x="1052417" y="221456"/>
                    </a:lnTo>
                    <a:lnTo>
                      <a:pt x="1068229" y="221456"/>
                    </a:lnTo>
                    <a:lnTo>
                      <a:pt x="1068229" y="189833"/>
                    </a:lnTo>
                    <a:lnTo>
                      <a:pt x="1107853" y="197739"/>
                    </a:lnTo>
                    <a:lnTo>
                      <a:pt x="1099947" y="189833"/>
                    </a:lnTo>
                    <a:lnTo>
                      <a:pt x="1107853" y="181927"/>
                    </a:lnTo>
                    <a:lnTo>
                      <a:pt x="1131570" y="189833"/>
                    </a:lnTo>
                    <a:lnTo>
                      <a:pt x="1131570" y="174022"/>
                    </a:lnTo>
                    <a:lnTo>
                      <a:pt x="1139476" y="166116"/>
                    </a:lnTo>
                    <a:lnTo>
                      <a:pt x="1163193" y="166116"/>
                    </a:lnTo>
                    <a:lnTo>
                      <a:pt x="1171099" y="174022"/>
                    </a:lnTo>
                    <a:lnTo>
                      <a:pt x="1179005" y="189833"/>
                    </a:lnTo>
                    <a:lnTo>
                      <a:pt x="1194816" y="197739"/>
                    </a:lnTo>
                    <a:lnTo>
                      <a:pt x="1210628" y="213550"/>
                    </a:lnTo>
                    <a:lnTo>
                      <a:pt x="1226439" y="213550"/>
                    </a:lnTo>
                    <a:lnTo>
                      <a:pt x="1242251" y="221456"/>
                    </a:lnTo>
                    <a:lnTo>
                      <a:pt x="1266063" y="221456"/>
                    </a:lnTo>
                    <a:lnTo>
                      <a:pt x="1273969" y="229362"/>
                    </a:lnTo>
                    <a:lnTo>
                      <a:pt x="1289780" y="229362"/>
                    </a:lnTo>
                    <a:lnTo>
                      <a:pt x="1305592" y="221456"/>
                    </a:lnTo>
                    <a:lnTo>
                      <a:pt x="1313498" y="213550"/>
                    </a:lnTo>
                    <a:lnTo>
                      <a:pt x="1353122" y="213550"/>
                    </a:lnTo>
                    <a:lnTo>
                      <a:pt x="1368933" y="221456"/>
                    </a:lnTo>
                    <a:lnTo>
                      <a:pt x="1376839" y="229362"/>
                    </a:lnTo>
                    <a:lnTo>
                      <a:pt x="1400556" y="229362"/>
                    </a:lnTo>
                    <a:lnTo>
                      <a:pt x="1400556" y="213550"/>
                    </a:lnTo>
                    <a:lnTo>
                      <a:pt x="1408462" y="205645"/>
                    </a:lnTo>
                    <a:lnTo>
                      <a:pt x="1408462" y="197739"/>
                    </a:lnTo>
                    <a:lnTo>
                      <a:pt x="1440180" y="197739"/>
                    </a:lnTo>
                    <a:lnTo>
                      <a:pt x="1440180" y="150209"/>
                    </a:lnTo>
                    <a:lnTo>
                      <a:pt x="1448086" y="142303"/>
                    </a:lnTo>
                    <a:lnTo>
                      <a:pt x="1448086" y="126492"/>
                    </a:lnTo>
                    <a:lnTo>
                      <a:pt x="1463897" y="118586"/>
                    </a:lnTo>
                    <a:lnTo>
                      <a:pt x="1471803" y="118586"/>
                    </a:lnTo>
                    <a:lnTo>
                      <a:pt x="1487614" y="110680"/>
                    </a:lnTo>
                    <a:lnTo>
                      <a:pt x="1527239" y="110680"/>
                    </a:lnTo>
                    <a:lnTo>
                      <a:pt x="1543050" y="102775"/>
                    </a:lnTo>
                    <a:lnTo>
                      <a:pt x="1590580" y="102775"/>
                    </a:lnTo>
                    <a:lnTo>
                      <a:pt x="1590580" y="118586"/>
                    </a:lnTo>
                    <a:lnTo>
                      <a:pt x="1638110" y="126492"/>
                    </a:lnTo>
                    <a:lnTo>
                      <a:pt x="1646015" y="126492"/>
                    </a:lnTo>
                    <a:lnTo>
                      <a:pt x="1661827" y="142303"/>
                    </a:lnTo>
                    <a:lnTo>
                      <a:pt x="1669733" y="158115"/>
                    </a:lnTo>
                    <a:lnTo>
                      <a:pt x="1669733" y="181832"/>
                    </a:lnTo>
                    <a:lnTo>
                      <a:pt x="1661827" y="181832"/>
                    </a:lnTo>
                    <a:lnTo>
                      <a:pt x="1661827" y="173926"/>
                    </a:lnTo>
                    <a:lnTo>
                      <a:pt x="1653921" y="173926"/>
                    </a:lnTo>
                    <a:lnTo>
                      <a:pt x="1653921" y="189738"/>
                    </a:lnTo>
                    <a:lnTo>
                      <a:pt x="1685544" y="189738"/>
                    </a:lnTo>
                    <a:lnTo>
                      <a:pt x="1693450" y="173926"/>
                    </a:lnTo>
                    <a:lnTo>
                      <a:pt x="1693450" y="166021"/>
                    </a:lnTo>
                    <a:lnTo>
                      <a:pt x="1725073" y="158115"/>
                    </a:lnTo>
                    <a:lnTo>
                      <a:pt x="1732979" y="142303"/>
                    </a:lnTo>
                    <a:lnTo>
                      <a:pt x="1780508" y="142303"/>
                    </a:lnTo>
                    <a:lnTo>
                      <a:pt x="1796320" y="126492"/>
                    </a:lnTo>
                    <a:lnTo>
                      <a:pt x="1788414" y="126492"/>
                    </a:lnTo>
                    <a:lnTo>
                      <a:pt x="1748885" y="134398"/>
                    </a:lnTo>
                    <a:lnTo>
                      <a:pt x="1701356" y="118586"/>
                    </a:lnTo>
                    <a:lnTo>
                      <a:pt x="1661731" y="102775"/>
                    </a:lnTo>
                    <a:lnTo>
                      <a:pt x="1717167" y="102775"/>
                    </a:lnTo>
                    <a:lnTo>
                      <a:pt x="1748790" y="86963"/>
                    </a:lnTo>
                    <a:lnTo>
                      <a:pt x="1772507" y="86963"/>
                    </a:lnTo>
                    <a:lnTo>
                      <a:pt x="1780413" y="79057"/>
                    </a:lnTo>
                    <a:lnTo>
                      <a:pt x="1788319" y="79057"/>
                    </a:lnTo>
                    <a:lnTo>
                      <a:pt x="1772507" y="71152"/>
                    </a:lnTo>
                    <a:lnTo>
                      <a:pt x="1764602" y="63246"/>
                    </a:lnTo>
                    <a:lnTo>
                      <a:pt x="1740884" y="55340"/>
                    </a:lnTo>
                    <a:lnTo>
                      <a:pt x="1725073" y="47434"/>
                    </a:lnTo>
                    <a:lnTo>
                      <a:pt x="1693450" y="47434"/>
                    </a:lnTo>
                    <a:lnTo>
                      <a:pt x="1661827" y="31623"/>
                    </a:lnTo>
                    <a:lnTo>
                      <a:pt x="1653921" y="31623"/>
                    </a:lnTo>
                    <a:lnTo>
                      <a:pt x="1638110" y="23717"/>
                    </a:lnTo>
                    <a:lnTo>
                      <a:pt x="1638110" y="31623"/>
                    </a:lnTo>
                    <a:lnTo>
                      <a:pt x="1630204" y="39529"/>
                    </a:lnTo>
                    <a:lnTo>
                      <a:pt x="1630204" y="47434"/>
                    </a:lnTo>
                    <a:lnTo>
                      <a:pt x="1606391" y="71152"/>
                    </a:lnTo>
                    <a:lnTo>
                      <a:pt x="1590580" y="71152"/>
                    </a:lnTo>
                    <a:lnTo>
                      <a:pt x="1582674" y="63246"/>
                    </a:lnTo>
                    <a:lnTo>
                      <a:pt x="1614297" y="31623"/>
                    </a:lnTo>
                    <a:lnTo>
                      <a:pt x="1527239" y="0"/>
                    </a:lnTo>
                    <a:lnTo>
                      <a:pt x="1527239" y="15811"/>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ADF5D8F4-A638-054D-FA0E-210091F3C1A8}"/>
                  </a:ext>
                </a:extLst>
              </p:cNvPr>
              <p:cNvSpPr/>
              <p:nvPr/>
            </p:nvSpPr>
            <p:spPr>
              <a:xfrm>
                <a:off x="5541549" y="3421950"/>
                <a:ext cx="356044" cy="278987"/>
              </a:xfrm>
              <a:custGeom>
                <a:avLst/>
                <a:gdLst>
                  <a:gd name="connsiteX0" fmla="*/ 23813 w 356044"/>
                  <a:gd name="connsiteY0" fmla="*/ 207169 h 278987"/>
                  <a:gd name="connsiteX1" fmla="*/ 0 w 356044"/>
                  <a:gd name="connsiteY1" fmla="*/ 231077 h 278987"/>
                  <a:gd name="connsiteX2" fmla="*/ 15811 w 356044"/>
                  <a:gd name="connsiteY2" fmla="*/ 215170 h 278987"/>
                  <a:gd name="connsiteX3" fmla="*/ 31718 w 356044"/>
                  <a:gd name="connsiteY3" fmla="*/ 215170 h 278987"/>
                  <a:gd name="connsiteX4" fmla="*/ 39624 w 356044"/>
                  <a:gd name="connsiteY4" fmla="*/ 223171 h 278987"/>
                  <a:gd name="connsiteX5" fmla="*/ 71247 w 356044"/>
                  <a:gd name="connsiteY5" fmla="*/ 223171 h 278987"/>
                  <a:gd name="connsiteX6" fmla="*/ 79153 w 356044"/>
                  <a:gd name="connsiteY6" fmla="*/ 231077 h 278987"/>
                  <a:gd name="connsiteX7" fmla="*/ 87058 w 356044"/>
                  <a:gd name="connsiteY7" fmla="*/ 215170 h 278987"/>
                  <a:gd name="connsiteX8" fmla="*/ 110776 w 356044"/>
                  <a:gd name="connsiteY8" fmla="*/ 223171 h 278987"/>
                  <a:gd name="connsiteX9" fmla="*/ 110776 w 356044"/>
                  <a:gd name="connsiteY9" fmla="*/ 207169 h 278987"/>
                  <a:gd name="connsiteX10" fmla="*/ 126587 w 356044"/>
                  <a:gd name="connsiteY10" fmla="*/ 215170 h 278987"/>
                  <a:gd name="connsiteX11" fmla="*/ 126587 w 356044"/>
                  <a:gd name="connsiteY11" fmla="*/ 207169 h 278987"/>
                  <a:gd name="connsiteX12" fmla="*/ 174117 w 356044"/>
                  <a:gd name="connsiteY12" fmla="*/ 207169 h 278987"/>
                  <a:gd name="connsiteX13" fmla="*/ 174117 w 356044"/>
                  <a:gd name="connsiteY13" fmla="*/ 223171 h 278987"/>
                  <a:gd name="connsiteX14" fmla="*/ 182023 w 356044"/>
                  <a:gd name="connsiteY14" fmla="*/ 231077 h 278987"/>
                  <a:gd name="connsiteX15" fmla="*/ 197834 w 356044"/>
                  <a:gd name="connsiteY15" fmla="*/ 231077 h 278987"/>
                  <a:gd name="connsiteX16" fmla="*/ 213646 w 356044"/>
                  <a:gd name="connsiteY16" fmla="*/ 223171 h 278987"/>
                  <a:gd name="connsiteX17" fmla="*/ 221552 w 356044"/>
                  <a:gd name="connsiteY17" fmla="*/ 223171 h 278987"/>
                  <a:gd name="connsiteX18" fmla="*/ 229457 w 356044"/>
                  <a:gd name="connsiteY18" fmla="*/ 231077 h 278987"/>
                  <a:gd name="connsiteX19" fmla="*/ 229457 w 356044"/>
                  <a:gd name="connsiteY19" fmla="*/ 254984 h 278987"/>
                  <a:gd name="connsiteX20" fmla="*/ 221552 w 356044"/>
                  <a:gd name="connsiteY20" fmla="*/ 262985 h 278987"/>
                  <a:gd name="connsiteX21" fmla="*/ 221552 w 356044"/>
                  <a:gd name="connsiteY21" fmla="*/ 278987 h 278987"/>
                  <a:gd name="connsiteX22" fmla="*/ 237363 w 356044"/>
                  <a:gd name="connsiteY22" fmla="*/ 278987 h 278987"/>
                  <a:gd name="connsiteX23" fmla="*/ 237363 w 356044"/>
                  <a:gd name="connsiteY23" fmla="*/ 262985 h 278987"/>
                  <a:gd name="connsiteX24" fmla="*/ 245269 w 356044"/>
                  <a:gd name="connsiteY24" fmla="*/ 254984 h 278987"/>
                  <a:gd name="connsiteX25" fmla="*/ 245269 w 356044"/>
                  <a:gd name="connsiteY25" fmla="*/ 239078 h 278987"/>
                  <a:gd name="connsiteX26" fmla="*/ 237363 w 356044"/>
                  <a:gd name="connsiteY26" fmla="*/ 231077 h 278987"/>
                  <a:gd name="connsiteX27" fmla="*/ 245269 w 356044"/>
                  <a:gd name="connsiteY27" fmla="*/ 223171 h 278987"/>
                  <a:gd name="connsiteX28" fmla="*/ 261176 w 356044"/>
                  <a:gd name="connsiteY28" fmla="*/ 215170 h 278987"/>
                  <a:gd name="connsiteX29" fmla="*/ 261176 w 356044"/>
                  <a:gd name="connsiteY29" fmla="*/ 207169 h 278987"/>
                  <a:gd name="connsiteX30" fmla="*/ 253174 w 356044"/>
                  <a:gd name="connsiteY30" fmla="*/ 199263 h 278987"/>
                  <a:gd name="connsiteX31" fmla="*/ 253174 w 356044"/>
                  <a:gd name="connsiteY31" fmla="*/ 191262 h 278987"/>
                  <a:gd name="connsiteX32" fmla="*/ 245269 w 356044"/>
                  <a:gd name="connsiteY32" fmla="*/ 159353 h 278987"/>
                  <a:gd name="connsiteX33" fmla="*/ 253174 w 356044"/>
                  <a:gd name="connsiteY33" fmla="*/ 159353 h 278987"/>
                  <a:gd name="connsiteX34" fmla="*/ 261176 w 356044"/>
                  <a:gd name="connsiteY34" fmla="*/ 167354 h 278987"/>
                  <a:gd name="connsiteX35" fmla="*/ 292798 w 356044"/>
                  <a:gd name="connsiteY35" fmla="*/ 167354 h 278987"/>
                  <a:gd name="connsiteX36" fmla="*/ 292798 w 356044"/>
                  <a:gd name="connsiteY36" fmla="*/ 159353 h 278987"/>
                  <a:gd name="connsiteX37" fmla="*/ 300704 w 356044"/>
                  <a:gd name="connsiteY37" fmla="*/ 151448 h 278987"/>
                  <a:gd name="connsiteX38" fmla="*/ 308610 w 356044"/>
                  <a:gd name="connsiteY38" fmla="*/ 151448 h 278987"/>
                  <a:gd name="connsiteX39" fmla="*/ 316516 w 356044"/>
                  <a:gd name="connsiteY39" fmla="*/ 135446 h 278987"/>
                  <a:gd name="connsiteX40" fmla="*/ 324422 w 356044"/>
                  <a:gd name="connsiteY40" fmla="*/ 127540 h 278987"/>
                  <a:gd name="connsiteX41" fmla="*/ 332327 w 356044"/>
                  <a:gd name="connsiteY41" fmla="*/ 127540 h 278987"/>
                  <a:gd name="connsiteX42" fmla="*/ 332327 w 356044"/>
                  <a:gd name="connsiteY42" fmla="*/ 119539 h 278987"/>
                  <a:gd name="connsiteX43" fmla="*/ 316516 w 356044"/>
                  <a:gd name="connsiteY43" fmla="*/ 103632 h 278987"/>
                  <a:gd name="connsiteX44" fmla="*/ 308610 w 356044"/>
                  <a:gd name="connsiteY44" fmla="*/ 103632 h 278987"/>
                  <a:gd name="connsiteX45" fmla="*/ 300704 w 356044"/>
                  <a:gd name="connsiteY45" fmla="*/ 95631 h 278987"/>
                  <a:gd name="connsiteX46" fmla="*/ 300704 w 356044"/>
                  <a:gd name="connsiteY46" fmla="*/ 87630 h 278987"/>
                  <a:gd name="connsiteX47" fmla="*/ 308610 w 356044"/>
                  <a:gd name="connsiteY47" fmla="*/ 87630 h 278987"/>
                  <a:gd name="connsiteX48" fmla="*/ 324422 w 356044"/>
                  <a:gd name="connsiteY48" fmla="*/ 79724 h 278987"/>
                  <a:gd name="connsiteX49" fmla="*/ 340233 w 356044"/>
                  <a:gd name="connsiteY49" fmla="*/ 79724 h 278987"/>
                  <a:gd name="connsiteX50" fmla="*/ 332327 w 356044"/>
                  <a:gd name="connsiteY50" fmla="*/ 71723 h 278987"/>
                  <a:gd name="connsiteX51" fmla="*/ 332327 w 356044"/>
                  <a:gd name="connsiteY51" fmla="*/ 47816 h 278987"/>
                  <a:gd name="connsiteX52" fmla="*/ 340233 w 356044"/>
                  <a:gd name="connsiteY52" fmla="*/ 47816 h 278987"/>
                  <a:gd name="connsiteX53" fmla="*/ 356044 w 356044"/>
                  <a:gd name="connsiteY53" fmla="*/ 39815 h 278987"/>
                  <a:gd name="connsiteX54" fmla="*/ 348139 w 356044"/>
                  <a:gd name="connsiteY54" fmla="*/ 23908 h 278987"/>
                  <a:gd name="connsiteX55" fmla="*/ 356044 w 356044"/>
                  <a:gd name="connsiteY55" fmla="*/ 15907 h 278987"/>
                  <a:gd name="connsiteX56" fmla="*/ 348139 w 356044"/>
                  <a:gd name="connsiteY56" fmla="*/ 15907 h 278987"/>
                  <a:gd name="connsiteX57" fmla="*/ 332327 w 356044"/>
                  <a:gd name="connsiteY57" fmla="*/ 8001 h 278987"/>
                  <a:gd name="connsiteX58" fmla="*/ 324422 w 356044"/>
                  <a:gd name="connsiteY58" fmla="*/ 8001 h 278987"/>
                  <a:gd name="connsiteX59" fmla="*/ 308610 w 356044"/>
                  <a:gd name="connsiteY59" fmla="*/ 0 h 278987"/>
                  <a:gd name="connsiteX60" fmla="*/ 237363 w 356044"/>
                  <a:gd name="connsiteY60" fmla="*/ 0 h 278987"/>
                  <a:gd name="connsiteX61" fmla="*/ 221552 w 356044"/>
                  <a:gd name="connsiteY61" fmla="*/ 15907 h 278987"/>
                  <a:gd name="connsiteX62" fmla="*/ 205740 w 356044"/>
                  <a:gd name="connsiteY62" fmla="*/ 23908 h 278987"/>
                  <a:gd name="connsiteX63" fmla="*/ 205740 w 356044"/>
                  <a:gd name="connsiteY63" fmla="*/ 39815 h 278987"/>
                  <a:gd name="connsiteX64" fmla="*/ 213646 w 356044"/>
                  <a:gd name="connsiteY64" fmla="*/ 47816 h 278987"/>
                  <a:gd name="connsiteX65" fmla="*/ 213646 w 356044"/>
                  <a:gd name="connsiteY65" fmla="*/ 71723 h 278987"/>
                  <a:gd name="connsiteX66" fmla="*/ 221552 w 356044"/>
                  <a:gd name="connsiteY66" fmla="*/ 79724 h 278987"/>
                  <a:gd name="connsiteX67" fmla="*/ 229457 w 356044"/>
                  <a:gd name="connsiteY67" fmla="*/ 79724 h 278987"/>
                  <a:gd name="connsiteX68" fmla="*/ 237363 w 356044"/>
                  <a:gd name="connsiteY68" fmla="*/ 87630 h 278987"/>
                  <a:gd name="connsiteX69" fmla="*/ 237363 w 356044"/>
                  <a:gd name="connsiteY69" fmla="*/ 103632 h 278987"/>
                  <a:gd name="connsiteX70" fmla="*/ 221552 w 356044"/>
                  <a:gd name="connsiteY70" fmla="*/ 111538 h 278987"/>
                  <a:gd name="connsiteX71" fmla="*/ 213646 w 356044"/>
                  <a:gd name="connsiteY71" fmla="*/ 119539 h 278987"/>
                  <a:gd name="connsiteX72" fmla="*/ 189928 w 356044"/>
                  <a:gd name="connsiteY72" fmla="*/ 119539 h 278987"/>
                  <a:gd name="connsiteX73" fmla="*/ 182023 w 356044"/>
                  <a:gd name="connsiteY73" fmla="*/ 111538 h 278987"/>
                  <a:gd name="connsiteX74" fmla="*/ 182023 w 356044"/>
                  <a:gd name="connsiteY74" fmla="*/ 87630 h 278987"/>
                  <a:gd name="connsiteX75" fmla="*/ 197834 w 356044"/>
                  <a:gd name="connsiteY75" fmla="*/ 71723 h 278987"/>
                  <a:gd name="connsiteX76" fmla="*/ 197834 w 356044"/>
                  <a:gd name="connsiteY76" fmla="*/ 47816 h 278987"/>
                  <a:gd name="connsiteX77" fmla="*/ 189928 w 356044"/>
                  <a:gd name="connsiteY77" fmla="*/ 39815 h 278987"/>
                  <a:gd name="connsiteX78" fmla="*/ 189928 w 356044"/>
                  <a:gd name="connsiteY78" fmla="*/ 31909 h 278987"/>
                  <a:gd name="connsiteX79" fmla="*/ 174117 w 356044"/>
                  <a:gd name="connsiteY79" fmla="*/ 47816 h 278987"/>
                  <a:gd name="connsiteX80" fmla="*/ 158306 w 356044"/>
                  <a:gd name="connsiteY80" fmla="*/ 55817 h 278987"/>
                  <a:gd name="connsiteX81" fmla="*/ 150400 w 356044"/>
                  <a:gd name="connsiteY81" fmla="*/ 63722 h 278987"/>
                  <a:gd name="connsiteX82" fmla="*/ 134493 w 356044"/>
                  <a:gd name="connsiteY82" fmla="*/ 71723 h 278987"/>
                  <a:gd name="connsiteX83" fmla="*/ 126587 w 356044"/>
                  <a:gd name="connsiteY83" fmla="*/ 87630 h 278987"/>
                  <a:gd name="connsiteX84" fmla="*/ 126587 w 356044"/>
                  <a:gd name="connsiteY84" fmla="*/ 111538 h 278987"/>
                  <a:gd name="connsiteX85" fmla="*/ 118681 w 356044"/>
                  <a:gd name="connsiteY85" fmla="*/ 119539 h 278987"/>
                  <a:gd name="connsiteX86" fmla="*/ 118681 w 356044"/>
                  <a:gd name="connsiteY86" fmla="*/ 135446 h 278987"/>
                  <a:gd name="connsiteX87" fmla="*/ 79153 w 356044"/>
                  <a:gd name="connsiteY87" fmla="*/ 175355 h 278987"/>
                  <a:gd name="connsiteX88" fmla="*/ 94964 w 356044"/>
                  <a:gd name="connsiteY88" fmla="*/ 191262 h 278987"/>
                  <a:gd name="connsiteX89" fmla="*/ 55435 w 356044"/>
                  <a:gd name="connsiteY89" fmla="*/ 191262 h 278987"/>
                  <a:gd name="connsiteX90" fmla="*/ 23813 w 356044"/>
                  <a:gd name="connsiteY90" fmla="*/ 207169 h 27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56044" h="278987">
                    <a:moveTo>
                      <a:pt x="23813" y="207169"/>
                    </a:moveTo>
                    <a:lnTo>
                      <a:pt x="0" y="231077"/>
                    </a:lnTo>
                    <a:lnTo>
                      <a:pt x="15811" y="215170"/>
                    </a:lnTo>
                    <a:lnTo>
                      <a:pt x="31718" y="215170"/>
                    </a:lnTo>
                    <a:lnTo>
                      <a:pt x="39624" y="223171"/>
                    </a:lnTo>
                    <a:lnTo>
                      <a:pt x="71247" y="223171"/>
                    </a:lnTo>
                    <a:lnTo>
                      <a:pt x="79153" y="231077"/>
                    </a:lnTo>
                    <a:lnTo>
                      <a:pt x="87058" y="215170"/>
                    </a:lnTo>
                    <a:lnTo>
                      <a:pt x="110776" y="223171"/>
                    </a:lnTo>
                    <a:lnTo>
                      <a:pt x="110776" y="207169"/>
                    </a:lnTo>
                    <a:lnTo>
                      <a:pt x="126587" y="215170"/>
                    </a:lnTo>
                    <a:lnTo>
                      <a:pt x="126587" y="207169"/>
                    </a:lnTo>
                    <a:lnTo>
                      <a:pt x="174117" y="207169"/>
                    </a:lnTo>
                    <a:lnTo>
                      <a:pt x="174117" y="223171"/>
                    </a:lnTo>
                    <a:lnTo>
                      <a:pt x="182023" y="231077"/>
                    </a:lnTo>
                    <a:lnTo>
                      <a:pt x="197834" y="231077"/>
                    </a:lnTo>
                    <a:lnTo>
                      <a:pt x="213646" y="223171"/>
                    </a:lnTo>
                    <a:lnTo>
                      <a:pt x="221552" y="223171"/>
                    </a:lnTo>
                    <a:lnTo>
                      <a:pt x="229457" y="231077"/>
                    </a:lnTo>
                    <a:lnTo>
                      <a:pt x="229457" y="254984"/>
                    </a:lnTo>
                    <a:lnTo>
                      <a:pt x="221552" y="262985"/>
                    </a:lnTo>
                    <a:lnTo>
                      <a:pt x="221552" y="278987"/>
                    </a:lnTo>
                    <a:lnTo>
                      <a:pt x="237363" y="278987"/>
                    </a:lnTo>
                    <a:lnTo>
                      <a:pt x="237363" y="262985"/>
                    </a:lnTo>
                    <a:lnTo>
                      <a:pt x="245269" y="254984"/>
                    </a:lnTo>
                    <a:lnTo>
                      <a:pt x="245269" y="239078"/>
                    </a:lnTo>
                    <a:lnTo>
                      <a:pt x="237363" y="231077"/>
                    </a:lnTo>
                    <a:lnTo>
                      <a:pt x="245269" y="223171"/>
                    </a:lnTo>
                    <a:lnTo>
                      <a:pt x="261176" y="215170"/>
                    </a:lnTo>
                    <a:lnTo>
                      <a:pt x="261176" y="207169"/>
                    </a:lnTo>
                    <a:lnTo>
                      <a:pt x="253174" y="199263"/>
                    </a:lnTo>
                    <a:lnTo>
                      <a:pt x="253174" y="191262"/>
                    </a:lnTo>
                    <a:lnTo>
                      <a:pt x="245269" y="159353"/>
                    </a:lnTo>
                    <a:lnTo>
                      <a:pt x="253174" y="159353"/>
                    </a:lnTo>
                    <a:lnTo>
                      <a:pt x="261176" y="167354"/>
                    </a:lnTo>
                    <a:lnTo>
                      <a:pt x="292798" y="167354"/>
                    </a:lnTo>
                    <a:lnTo>
                      <a:pt x="292798" y="159353"/>
                    </a:lnTo>
                    <a:lnTo>
                      <a:pt x="300704" y="151448"/>
                    </a:lnTo>
                    <a:lnTo>
                      <a:pt x="308610" y="151448"/>
                    </a:lnTo>
                    <a:lnTo>
                      <a:pt x="316516" y="135446"/>
                    </a:lnTo>
                    <a:lnTo>
                      <a:pt x="324422" y="127540"/>
                    </a:lnTo>
                    <a:lnTo>
                      <a:pt x="332327" y="127540"/>
                    </a:lnTo>
                    <a:lnTo>
                      <a:pt x="332327" y="119539"/>
                    </a:lnTo>
                    <a:lnTo>
                      <a:pt x="316516" y="103632"/>
                    </a:lnTo>
                    <a:lnTo>
                      <a:pt x="308610" y="103632"/>
                    </a:lnTo>
                    <a:lnTo>
                      <a:pt x="300704" y="95631"/>
                    </a:lnTo>
                    <a:lnTo>
                      <a:pt x="300704" y="87630"/>
                    </a:lnTo>
                    <a:lnTo>
                      <a:pt x="308610" y="87630"/>
                    </a:lnTo>
                    <a:lnTo>
                      <a:pt x="324422" y="79724"/>
                    </a:lnTo>
                    <a:lnTo>
                      <a:pt x="340233" y="79724"/>
                    </a:lnTo>
                    <a:lnTo>
                      <a:pt x="332327" y="71723"/>
                    </a:lnTo>
                    <a:lnTo>
                      <a:pt x="332327" y="47816"/>
                    </a:lnTo>
                    <a:lnTo>
                      <a:pt x="340233" y="47816"/>
                    </a:lnTo>
                    <a:lnTo>
                      <a:pt x="356044" y="39815"/>
                    </a:lnTo>
                    <a:lnTo>
                      <a:pt x="348139" y="23908"/>
                    </a:lnTo>
                    <a:lnTo>
                      <a:pt x="356044" y="15907"/>
                    </a:lnTo>
                    <a:lnTo>
                      <a:pt x="348139" y="15907"/>
                    </a:lnTo>
                    <a:lnTo>
                      <a:pt x="332327" y="8001"/>
                    </a:lnTo>
                    <a:lnTo>
                      <a:pt x="324422" y="8001"/>
                    </a:lnTo>
                    <a:lnTo>
                      <a:pt x="308610" y="0"/>
                    </a:lnTo>
                    <a:lnTo>
                      <a:pt x="237363" y="0"/>
                    </a:lnTo>
                    <a:lnTo>
                      <a:pt x="221552" y="15907"/>
                    </a:lnTo>
                    <a:lnTo>
                      <a:pt x="205740" y="23908"/>
                    </a:lnTo>
                    <a:lnTo>
                      <a:pt x="205740" y="39815"/>
                    </a:lnTo>
                    <a:lnTo>
                      <a:pt x="213646" y="47816"/>
                    </a:lnTo>
                    <a:lnTo>
                      <a:pt x="213646" y="71723"/>
                    </a:lnTo>
                    <a:lnTo>
                      <a:pt x="221552" y="79724"/>
                    </a:lnTo>
                    <a:lnTo>
                      <a:pt x="229457" y="79724"/>
                    </a:lnTo>
                    <a:lnTo>
                      <a:pt x="237363" y="87630"/>
                    </a:lnTo>
                    <a:lnTo>
                      <a:pt x="237363" y="103632"/>
                    </a:lnTo>
                    <a:lnTo>
                      <a:pt x="221552" y="111538"/>
                    </a:lnTo>
                    <a:lnTo>
                      <a:pt x="213646" y="119539"/>
                    </a:lnTo>
                    <a:lnTo>
                      <a:pt x="189928" y="119539"/>
                    </a:lnTo>
                    <a:lnTo>
                      <a:pt x="182023" y="111538"/>
                    </a:lnTo>
                    <a:lnTo>
                      <a:pt x="182023" y="87630"/>
                    </a:lnTo>
                    <a:lnTo>
                      <a:pt x="197834" y="71723"/>
                    </a:lnTo>
                    <a:lnTo>
                      <a:pt x="197834" y="47816"/>
                    </a:lnTo>
                    <a:lnTo>
                      <a:pt x="189928" y="39815"/>
                    </a:lnTo>
                    <a:lnTo>
                      <a:pt x="189928" y="31909"/>
                    </a:lnTo>
                    <a:lnTo>
                      <a:pt x="174117" y="47816"/>
                    </a:lnTo>
                    <a:lnTo>
                      <a:pt x="158306" y="55817"/>
                    </a:lnTo>
                    <a:lnTo>
                      <a:pt x="150400" y="63722"/>
                    </a:lnTo>
                    <a:lnTo>
                      <a:pt x="134493" y="71723"/>
                    </a:lnTo>
                    <a:lnTo>
                      <a:pt x="126587" y="87630"/>
                    </a:lnTo>
                    <a:lnTo>
                      <a:pt x="126587" y="111538"/>
                    </a:lnTo>
                    <a:lnTo>
                      <a:pt x="118681" y="119539"/>
                    </a:lnTo>
                    <a:lnTo>
                      <a:pt x="118681" y="135446"/>
                    </a:lnTo>
                    <a:lnTo>
                      <a:pt x="79153" y="175355"/>
                    </a:lnTo>
                    <a:lnTo>
                      <a:pt x="94964" y="191262"/>
                    </a:lnTo>
                    <a:lnTo>
                      <a:pt x="55435" y="191262"/>
                    </a:lnTo>
                    <a:lnTo>
                      <a:pt x="23813" y="207169"/>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97178879-6F3E-DDAC-D8D5-677FBB6CA683}"/>
                  </a:ext>
                </a:extLst>
              </p:cNvPr>
              <p:cNvSpPr/>
              <p:nvPr/>
            </p:nvSpPr>
            <p:spPr>
              <a:xfrm>
                <a:off x="5541549" y="3421950"/>
                <a:ext cx="356044" cy="278891"/>
              </a:xfrm>
              <a:custGeom>
                <a:avLst/>
                <a:gdLst>
                  <a:gd name="connsiteX0" fmla="*/ 23813 w 356044"/>
                  <a:gd name="connsiteY0" fmla="*/ 207169 h 278891"/>
                  <a:gd name="connsiteX1" fmla="*/ 0 w 356044"/>
                  <a:gd name="connsiteY1" fmla="*/ 231077 h 278891"/>
                  <a:gd name="connsiteX2" fmla="*/ 15811 w 356044"/>
                  <a:gd name="connsiteY2" fmla="*/ 215170 h 278891"/>
                  <a:gd name="connsiteX3" fmla="*/ 31718 w 356044"/>
                  <a:gd name="connsiteY3" fmla="*/ 215170 h 278891"/>
                  <a:gd name="connsiteX4" fmla="*/ 39624 w 356044"/>
                  <a:gd name="connsiteY4" fmla="*/ 223171 h 278891"/>
                  <a:gd name="connsiteX5" fmla="*/ 71247 w 356044"/>
                  <a:gd name="connsiteY5" fmla="*/ 223171 h 278891"/>
                  <a:gd name="connsiteX6" fmla="*/ 79153 w 356044"/>
                  <a:gd name="connsiteY6" fmla="*/ 231077 h 278891"/>
                  <a:gd name="connsiteX7" fmla="*/ 87058 w 356044"/>
                  <a:gd name="connsiteY7" fmla="*/ 215170 h 278891"/>
                  <a:gd name="connsiteX8" fmla="*/ 110776 w 356044"/>
                  <a:gd name="connsiteY8" fmla="*/ 223171 h 278891"/>
                  <a:gd name="connsiteX9" fmla="*/ 110776 w 356044"/>
                  <a:gd name="connsiteY9" fmla="*/ 207169 h 278891"/>
                  <a:gd name="connsiteX10" fmla="*/ 126587 w 356044"/>
                  <a:gd name="connsiteY10" fmla="*/ 215170 h 278891"/>
                  <a:gd name="connsiteX11" fmla="*/ 126587 w 356044"/>
                  <a:gd name="connsiteY11" fmla="*/ 207169 h 278891"/>
                  <a:gd name="connsiteX12" fmla="*/ 174117 w 356044"/>
                  <a:gd name="connsiteY12" fmla="*/ 207169 h 278891"/>
                  <a:gd name="connsiteX13" fmla="*/ 174117 w 356044"/>
                  <a:gd name="connsiteY13" fmla="*/ 223171 h 278891"/>
                  <a:gd name="connsiteX14" fmla="*/ 182023 w 356044"/>
                  <a:gd name="connsiteY14" fmla="*/ 231077 h 278891"/>
                  <a:gd name="connsiteX15" fmla="*/ 197834 w 356044"/>
                  <a:gd name="connsiteY15" fmla="*/ 231077 h 278891"/>
                  <a:gd name="connsiteX16" fmla="*/ 213646 w 356044"/>
                  <a:gd name="connsiteY16" fmla="*/ 223171 h 278891"/>
                  <a:gd name="connsiteX17" fmla="*/ 221552 w 356044"/>
                  <a:gd name="connsiteY17" fmla="*/ 223171 h 278891"/>
                  <a:gd name="connsiteX18" fmla="*/ 229457 w 356044"/>
                  <a:gd name="connsiteY18" fmla="*/ 231077 h 278891"/>
                  <a:gd name="connsiteX19" fmla="*/ 229457 w 356044"/>
                  <a:gd name="connsiteY19" fmla="*/ 254984 h 278891"/>
                  <a:gd name="connsiteX20" fmla="*/ 221552 w 356044"/>
                  <a:gd name="connsiteY20" fmla="*/ 262985 h 278891"/>
                  <a:gd name="connsiteX21" fmla="*/ 221552 w 356044"/>
                  <a:gd name="connsiteY21" fmla="*/ 278892 h 278891"/>
                  <a:gd name="connsiteX22" fmla="*/ 237363 w 356044"/>
                  <a:gd name="connsiteY22" fmla="*/ 278892 h 278891"/>
                  <a:gd name="connsiteX23" fmla="*/ 237363 w 356044"/>
                  <a:gd name="connsiteY23" fmla="*/ 262985 h 278891"/>
                  <a:gd name="connsiteX24" fmla="*/ 245269 w 356044"/>
                  <a:gd name="connsiteY24" fmla="*/ 254984 h 278891"/>
                  <a:gd name="connsiteX25" fmla="*/ 245269 w 356044"/>
                  <a:gd name="connsiteY25" fmla="*/ 239078 h 278891"/>
                  <a:gd name="connsiteX26" fmla="*/ 237363 w 356044"/>
                  <a:gd name="connsiteY26" fmla="*/ 231077 h 278891"/>
                  <a:gd name="connsiteX27" fmla="*/ 245269 w 356044"/>
                  <a:gd name="connsiteY27" fmla="*/ 223171 h 278891"/>
                  <a:gd name="connsiteX28" fmla="*/ 261176 w 356044"/>
                  <a:gd name="connsiteY28" fmla="*/ 215170 h 278891"/>
                  <a:gd name="connsiteX29" fmla="*/ 261176 w 356044"/>
                  <a:gd name="connsiteY29" fmla="*/ 207169 h 278891"/>
                  <a:gd name="connsiteX30" fmla="*/ 253174 w 356044"/>
                  <a:gd name="connsiteY30" fmla="*/ 199263 h 278891"/>
                  <a:gd name="connsiteX31" fmla="*/ 253174 w 356044"/>
                  <a:gd name="connsiteY31" fmla="*/ 191262 h 278891"/>
                  <a:gd name="connsiteX32" fmla="*/ 245269 w 356044"/>
                  <a:gd name="connsiteY32" fmla="*/ 159353 h 278891"/>
                  <a:gd name="connsiteX33" fmla="*/ 253174 w 356044"/>
                  <a:gd name="connsiteY33" fmla="*/ 159353 h 278891"/>
                  <a:gd name="connsiteX34" fmla="*/ 261176 w 356044"/>
                  <a:gd name="connsiteY34" fmla="*/ 167354 h 278891"/>
                  <a:gd name="connsiteX35" fmla="*/ 292798 w 356044"/>
                  <a:gd name="connsiteY35" fmla="*/ 167354 h 278891"/>
                  <a:gd name="connsiteX36" fmla="*/ 292798 w 356044"/>
                  <a:gd name="connsiteY36" fmla="*/ 159353 h 278891"/>
                  <a:gd name="connsiteX37" fmla="*/ 300704 w 356044"/>
                  <a:gd name="connsiteY37" fmla="*/ 151448 h 278891"/>
                  <a:gd name="connsiteX38" fmla="*/ 308610 w 356044"/>
                  <a:gd name="connsiteY38" fmla="*/ 151448 h 278891"/>
                  <a:gd name="connsiteX39" fmla="*/ 316516 w 356044"/>
                  <a:gd name="connsiteY39" fmla="*/ 135446 h 278891"/>
                  <a:gd name="connsiteX40" fmla="*/ 324422 w 356044"/>
                  <a:gd name="connsiteY40" fmla="*/ 127540 h 278891"/>
                  <a:gd name="connsiteX41" fmla="*/ 332327 w 356044"/>
                  <a:gd name="connsiteY41" fmla="*/ 127540 h 278891"/>
                  <a:gd name="connsiteX42" fmla="*/ 332327 w 356044"/>
                  <a:gd name="connsiteY42" fmla="*/ 119539 h 278891"/>
                  <a:gd name="connsiteX43" fmla="*/ 316516 w 356044"/>
                  <a:gd name="connsiteY43" fmla="*/ 103632 h 278891"/>
                  <a:gd name="connsiteX44" fmla="*/ 308610 w 356044"/>
                  <a:gd name="connsiteY44" fmla="*/ 103632 h 278891"/>
                  <a:gd name="connsiteX45" fmla="*/ 300704 w 356044"/>
                  <a:gd name="connsiteY45" fmla="*/ 95631 h 278891"/>
                  <a:gd name="connsiteX46" fmla="*/ 300704 w 356044"/>
                  <a:gd name="connsiteY46" fmla="*/ 87630 h 278891"/>
                  <a:gd name="connsiteX47" fmla="*/ 308610 w 356044"/>
                  <a:gd name="connsiteY47" fmla="*/ 87630 h 278891"/>
                  <a:gd name="connsiteX48" fmla="*/ 324422 w 356044"/>
                  <a:gd name="connsiteY48" fmla="*/ 79724 h 278891"/>
                  <a:gd name="connsiteX49" fmla="*/ 340233 w 356044"/>
                  <a:gd name="connsiteY49" fmla="*/ 79724 h 278891"/>
                  <a:gd name="connsiteX50" fmla="*/ 332327 w 356044"/>
                  <a:gd name="connsiteY50" fmla="*/ 71723 h 278891"/>
                  <a:gd name="connsiteX51" fmla="*/ 332327 w 356044"/>
                  <a:gd name="connsiteY51" fmla="*/ 47816 h 278891"/>
                  <a:gd name="connsiteX52" fmla="*/ 340233 w 356044"/>
                  <a:gd name="connsiteY52" fmla="*/ 47816 h 278891"/>
                  <a:gd name="connsiteX53" fmla="*/ 356044 w 356044"/>
                  <a:gd name="connsiteY53" fmla="*/ 39815 h 278891"/>
                  <a:gd name="connsiteX54" fmla="*/ 348139 w 356044"/>
                  <a:gd name="connsiteY54" fmla="*/ 23908 h 278891"/>
                  <a:gd name="connsiteX55" fmla="*/ 356044 w 356044"/>
                  <a:gd name="connsiteY55" fmla="*/ 15907 h 278891"/>
                  <a:gd name="connsiteX56" fmla="*/ 348139 w 356044"/>
                  <a:gd name="connsiteY56" fmla="*/ 15907 h 278891"/>
                  <a:gd name="connsiteX57" fmla="*/ 332327 w 356044"/>
                  <a:gd name="connsiteY57" fmla="*/ 7906 h 278891"/>
                  <a:gd name="connsiteX58" fmla="*/ 324422 w 356044"/>
                  <a:gd name="connsiteY58" fmla="*/ 7906 h 278891"/>
                  <a:gd name="connsiteX59" fmla="*/ 308610 w 356044"/>
                  <a:gd name="connsiteY59" fmla="*/ 0 h 278891"/>
                  <a:gd name="connsiteX60" fmla="*/ 237363 w 356044"/>
                  <a:gd name="connsiteY60" fmla="*/ 0 h 278891"/>
                  <a:gd name="connsiteX61" fmla="*/ 221552 w 356044"/>
                  <a:gd name="connsiteY61" fmla="*/ 15907 h 278891"/>
                  <a:gd name="connsiteX62" fmla="*/ 205740 w 356044"/>
                  <a:gd name="connsiteY62" fmla="*/ 23908 h 278891"/>
                  <a:gd name="connsiteX63" fmla="*/ 205740 w 356044"/>
                  <a:gd name="connsiteY63" fmla="*/ 39815 h 278891"/>
                  <a:gd name="connsiteX64" fmla="*/ 213646 w 356044"/>
                  <a:gd name="connsiteY64" fmla="*/ 47816 h 278891"/>
                  <a:gd name="connsiteX65" fmla="*/ 213646 w 356044"/>
                  <a:gd name="connsiteY65" fmla="*/ 71723 h 278891"/>
                  <a:gd name="connsiteX66" fmla="*/ 221552 w 356044"/>
                  <a:gd name="connsiteY66" fmla="*/ 79724 h 278891"/>
                  <a:gd name="connsiteX67" fmla="*/ 229457 w 356044"/>
                  <a:gd name="connsiteY67" fmla="*/ 79724 h 278891"/>
                  <a:gd name="connsiteX68" fmla="*/ 237363 w 356044"/>
                  <a:gd name="connsiteY68" fmla="*/ 87630 h 278891"/>
                  <a:gd name="connsiteX69" fmla="*/ 237363 w 356044"/>
                  <a:gd name="connsiteY69" fmla="*/ 103632 h 278891"/>
                  <a:gd name="connsiteX70" fmla="*/ 221552 w 356044"/>
                  <a:gd name="connsiteY70" fmla="*/ 111538 h 278891"/>
                  <a:gd name="connsiteX71" fmla="*/ 213646 w 356044"/>
                  <a:gd name="connsiteY71" fmla="*/ 119539 h 278891"/>
                  <a:gd name="connsiteX72" fmla="*/ 189928 w 356044"/>
                  <a:gd name="connsiteY72" fmla="*/ 119539 h 278891"/>
                  <a:gd name="connsiteX73" fmla="*/ 182023 w 356044"/>
                  <a:gd name="connsiteY73" fmla="*/ 111538 h 278891"/>
                  <a:gd name="connsiteX74" fmla="*/ 182023 w 356044"/>
                  <a:gd name="connsiteY74" fmla="*/ 87630 h 278891"/>
                  <a:gd name="connsiteX75" fmla="*/ 197834 w 356044"/>
                  <a:gd name="connsiteY75" fmla="*/ 71723 h 278891"/>
                  <a:gd name="connsiteX76" fmla="*/ 197834 w 356044"/>
                  <a:gd name="connsiteY76" fmla="*/ 47816 h 278891"/>
                  <a:gd name="connsiteX77" fmla="*/ 189928 w 356044"/>
                  <a:gd name="connsiteY77" fmla="*/ 39815 h 278891"/>
                  <a:gd name="connsiteX78" fmla="*/ 189928 w 356044"/>
                  <a:gd name="connsiteY78" fmla="*/ 31909 h 278891"/>
                  <a:gd name="connsiteX79" fmla="*/ 174117 w 356044"/>
                  <a:gd name="connsiteY79" fmla="*/ 47816 h 278891"/>
                  <a:gd name="connsiteX80" fmla="*/ 158306 w 356044"/>
                  <a:gd name="connsiteY80" fmla="*/ 55817 h 278891"/>
                  <a:gd name="connsiteX81" fmla="*/ 150400 w 356044"/>
                  <a:gd name="connsiteY81" fmla="*/ 63722 h 278891"/>
                  <a:gd name="connsiteX82" fmla="*/ 134493 w 356044"/>
                  <a:gd name="connsiteY82" fmla="*/ 71723 h 278891"/>
                  <a:gd name="connsiteX83" fmla="*/ 126587 w 356044"/>
                  <a:gd name="connsiteY83" fmla="*/ 87630 h 278891"/>
                  <a:gd name="connsiteX84" fmla="*/ 126587 w 356044"/>
                  <a:gd name="connsiteY84" fmla="*/ 111538 h 278891"/>
                  <a:gd name="connsiteX85" fmla="*/ 118681 w 356044"/>
                  <a:gd name="connsiteY85" fmla="*/ 119539 h 278891"/>
                  <a:gd name="connsiteX86" fmla="*/ 118681 w 356044"/>
                  <a:gd name="connsiteY86" fmla="*/ 135446 h 278891"/>
                  <a:gd name="connsiteX87" fmla="*/ 79153 w 356044"/>
                  <a:gd name="connsiteY87" fmla="*/ 175355 h 278891"/>
                  <a:gd name="connsiteX88" fmla="*/ 94964 w 356044"/>
                  <a:gd name="connsiteY88" fmla="*/ 191262 h 278891"/>
                  <a:gd name="connsiteX89" fmla="*/ 55435 w 356044"/>
                  <a:gd name="connsiteY89" fmla="*/ 191262 h 278891"/>
                  <a:gd name="connsiteX90" fmla="*/ 23813 w 356044"/>
                  <a:gd name="connsiteY90" fmla="*/ 207169 h 27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56044" h="278891">
                    <a:moveTo>
                      <a:pt x="23813" y="207169"/>
                    </a:moveTo>
                    <a:lnTo>
                      <a:pt x="0" y="231077"/>
                    </a:lnTo>
                    <a:lnTo>
                      <a:pt x="15811" y="215170"/>
                    </a:lnTo>
                    <a:lnTo>
                      <a:pt x="31718" y="215170"/>
                    </a:lnTo>
                    <a:lnTo>
                      <a:pt x="39624" y="223171"/>
                    </a:lnTo>
                    <a:lnTo>
                      <a:pt x="71247" y="223171"/>
                    </a:lnTo>
                    <a:lnTo>
                      <a:pt x="79153" y="231077"/>
                    </a:lnTo>
                    <a:lnTo>
                      <a:pt x="87058" y="215170"/>
                    </a:lnTo>
                    <a:lnTo>
                      <a:pt x="110776" y="223171"/>
                    </a:lnTo>
                    <a:lnTo>
                      <a:pt x="110776" y="207169"/>
                    </a:lnTo>
                    <a:lnTo>
                      <a:pt x="126587" y="215170"/>
                    </a:lnTo>
                    <a:lnTo>
                      <a:pt x="126587" y="207169"/>
                    </a:lnTo>
                    <a:lnTo>
                      <a:pt x="174117" y="207169"/>
                    </a:lnTo>
                    <a:lnTo>
                      <a:pt x="174117" y="223171"/>
                    </a:lnTo>
                    <a:lnTo>
                      <a:pt x="182023" y="231077"/>
                    </a:lnTo>
                    <a:lnTo>
                      <a:pt x="197834" y="231077"/>
                    </a:lnTo>
                    <a:lnTo>
                      <a:pt x="213646" y="223171"/>
                    </a:lnTo>
                    <a:lnTo>
                      <a:pt x="221552" y="223171"/>
                    </a:lnTo>
                    <a:lnTo>
                      <a:pt x="229457" y="231077"/>
                    </a:lnTo>
                    <a:lnTo>
                      <a:pt x="229457" y="254984"/>
                    </a:lnTo>
                    <a:lnTo>
                      <a:pt x="221552" y="262985"/>
                    </a:lnTo>
                    <a:lnTo>
                      <a:pt x="221552" y="278892"/>
                    </a:lnTo>
                    <a:lnTo>
                      <a:pt x="237363" y="278892"/>
                    </a:lnTo>
                    <a:lnTo>
                      <a:pt x="237363" y="262985"/>
                    </a:lnTo>
                    <a:lnTo>
                      <a:pt x="245269" y="254984"/>
                    </a:lnTo>
                    <a:lnTo>
                      <a:pt x="245269" y="239078"/>
                    </a:lnTo>
                    <a:lnTo>
                      <a:pt x="237363" y="231077"/>
                    </a:lnTo>
                    <a:lnTo>
                      <a:pt x="245269" y="223171"/>
                    </a:lnTo>
                    <a:lnTo>
                      <a:pt x="261176" y="215170"/>
                    </a:lnTo>
                    <a:lnTo>
                      <a:pt x="261176" y="207169"/>
                    </a:lnTo>
                    <a:lnTo>
                      <a:pt x="253174" y="199263"/>
                    </a:lnTo>
                    <a:lnTo>
                      <a:pt x="253174" y="191262"/>
                    </a:lnTo>
                    <a:lnTo>
                      <a:pt x="245269" y="159353"/>
                    </a:lnTo>
                    <a:lnTo>
                      <a:pt x="253174" y="159353"/>
                    </a:lnTo>
                    <a:lnTo>
                      <a:pt x="261176" y="167354"/>
                    </a:lnTo>
                    <a:lnTo>
                      <a:pt x="292798" y="167354"/>
                    </a:lnTo>
                    <a:lnTo>
                      <a:pt x="292798" y="159353"/>
                    </a:lnTo>
                    <a:lnTo>
                      <a:pt x="300704" y="151448"/>
                    </a:lnTo>
                    <a:lnTo>
                      <a:pt x="308610" y="151448"/>
                    </a:lnTo>
                    <a:lnTo>
                      <a:pt x="316516" y="135446"/>
                    </a:lnTo>
                    <a:lnTo>
                      <a:pt x="324422" y="127540"/>
                    </a:lnTo>
                    <a:lnTo>
                      <a:pt x="332327" y="127540"/>
                    </a:lnTo>
                    <a:lnTo>
                      <a:pt x="332327" y="119539"/>
                    </a:lnTo>
                    <a:lnTo>
                      <a:pt x="316516" y="103632"/>
                    </a:lnTo>
                    <a:lnTo>
                      <a:pt x="308610" y="103632"/>
                    </a:lnTo>
                    <a:lnTo>
                      <a:pt x="300704" y="95631"/>
                    </a:lnTo>
                    <a:lnTo>
                      <a:pt x="300704" y="87630"/>
                    </a:lnTo>
                    <a:lnTo>
                      <a:pt x="308610" y="87630"/>
                    </a:lnTo>
                    <a:lnTo>
                      <a:pt x="324422" y="79724"/>
                    </a:lnTo>
                    <a:lnTo>
                      <a:pt x="340233" y="79724"/>
                    </a:lnTo>
                    <a:lnTo>
                      <a:pt x="332327" y="71723"/>
                    </a:lnTo>
                    <a:lnTo>
                      <a:pt x="332327" y="47816"/>
                    </a:lnTo>
                    <a:lnTo>
                      <a:pt x="340233" y="47816"/>
                    </a:lnTo>
                    <a:lnTo>
                      <a:pt x="356044" y="39815"/>
                    </a:lnTo>
                    <a:lnTo>
                      <a:pt x="348139" y="23908"/>
                    </a:lnTo>
                    <a:lnTo>
                      <a:pt x="356044" y="15907"/>
                    </a:lnTo>
                    <a:lnTo>
                      <a:pt x="348139" y="15907"/>
                    </a:lnTo>
                    <a:lnTo>
                      <a:pt x="332327" y="7906"/>
                    </a:lnTo>
                    <a:lnTo>
                      <a:pt x="324422" y="7906"/>
                    </a:lnTo>
                    <a:lnTo>
                      <a:pt x="308610" y="0"/>
                    </a:lnTo>
                    <a:lnTo>
                      <a:pt x="237363" y="0"/>
                    </a:lnTo>
                    <a:lnTo>
                      <a:pt x="221552" y="15907"/>
                    </a:lnTo>
                    <a:lnTo>
                      <a:pt x="205740" y="23908"/>
                    </a:lnTo>
                    <a:lnTo>
                      <a:pt x="205740" y="39815"/>
                    </a:lnTo>
                    <a:lnTo>
                      <a:pt x="213646" y="47816"/>
                    </a:lnTo>
                    <a:lnTo>
                      <a:pt x="213646" y="71723"/>
                    </a:lnTo>
                    <a:lnTo>
                      <a:pt x="221552" y="79724"/>
                    </a:lnTo>
                    <a:lnTo>
                      <a:pt x="229457" y="79724"/>
                    </a:lnTo>
                    <a:lnTo>
                      <a:pt x="237363" y="87630"/>
                    </a:lnTo>
                    <a:lnTo>
                      <a:pt x="237363" y="103632"/>
                    </a:lnTo>
                    <a:lnTo>
                      <a:pt x="221552" y="111538"/>
                    </a:lnTo>
                    <a:lnTo>
                      <a:pt x="213646" y="119539"/>
                    </a:lnTo>
                    <a:lnTo>
                      <a:pt x="189928" y="119539"/>
                    </a:lnTo>
                    <a:lnTo>
                      <a:pt x="182023" y="111538"/>
                    </a:lnTo>
                    <a:lnTo>
                      <a:pt x="182023" y="87630"/>
                    </a:lnTo>
                    <a:lnTo>
                      <a:pt x="197834" y="71723"/>
                    </a:lnTo>
                    <a:lnTo>
                      <a:pt x="197834" y="47816"/>
                    </a:lnTo>
                    <a:lnTo>
                      <a:pt x="189928" y="39815"/>
                    </a:lnTo>
                    <a:lnTo>
                      <a:pt x="189928" y="31909"/>
                    </a:lnTo>
                    <a:lnTo>
                      <a:pt x="174117" y="47816"/>
                    </a:lnTo>
                    <a:lnTo>
                      <a:pt x="158306" y="55817"/>
                    </a:lnTo>
                    <a:lnTo>
                      <a:pt x="150400" y="63722"/>
                    </a:lnTo>
                    <a:lnTo>
                      <a:pt x="134493" y="71723"/>
                    </a:lnTo>
                    <a:lnTo>
                      <a:pt x="126587" y="87630"/>
                    </a:lnTo>
                    <a:lnTo>
                      <a:pt x="126587" y="111538"/>
                    </a:lnTo>
                    <a:lnTo>
                      <a:pt x="118681" y="119539"/>
                    </a:lnTo>
                    <a:lnTo>
                      <a:pt x="118681" y="135446"/>
                    </a:lnTo>
                    <a:lnTo>
                      <a:pt x="79153" y="175355"/>
                    </a:lnTo>
                    <a:lnTo>
                      <a:pt x="94964" y="191262"/>
                    </a:lnTo>
                    <a:lnTo>
                      <a:pt x="55435" y="191262"/>
                    </a:lnTo>
                    <a:lnTo>
                      <a:pt x="23813" y="207169"/>
                    </a:lnTo>
                    <a:close/>
                  </a:path>
                </a:pathLst>
              </a:custGeom>
              <a:noFill/>
              <a:ln w="4763" cap="flat">
                <a:no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EFA574F4-1632-C5DD-B9C1-3C415EDE328C}"/>
                  </a:ext>
                </a:extLst>
              </p:cNvPr>
              <p:cNvSpPr/>
              <p:nvPr/>
            </p:nvSpPr>
            <p:spPr>
              <a:xfrm>
                <a:off x="6827520" y="4439506"/>
                <a:ext cx="148780" cy="180593"/>
              </a:xfrm>
              <a:custGeom>
                <a:avLst/>
                <a:gdLst>
                  <a:gd name="connsiteX0" fmla="*/ 148781 w 148780"/>
                  <a:gd name="connsiteY0" fmla="*/ 54959 h 180593"/>
                  <a:gd name="connsiteX1" fmla="*/ 140970 w 148780"/>
                  <a:gd name="connsiteY1" fmla="*/ 62770 h 180593"/>
                  <a:gd name="connsiteX2" fmla="*/ 125254 w 148780"/>
                  <a:gd name="connsiteY2" fmla="*/ 39243 h 180593"/>
                  <a:gd name="connsiteX3" fmla="*/ 109633 w 148780"/>
                  <a:gd name="connsiteY3" fmla="*/ 23527 h 180593"/>
                  <a:gd name="connsiteX4" fmla="*/ 86106 w 148780"/>
                  <a:gd name="connsiteY4" fmla="*/ 7811 h 180593"/>
                  <a:gd name="connsiteX5" fmla="*/ 78295 w 148780"/>
                  <a:gd name="connsiteY5" fmla="*/ 7811 h 180593"/>
                  <a:gd name="connsiteX6" fmla="*/ 62579 w 148780"/>
                  <a:gd name="connsiteY6" fmla="*/ 0 h 180593"/>
                  <a:gd name="connsiteX7" fmla="*/ 54769 w 148780"/>
                  <a:gd name="connsiteY7" fmla="*/ 0 h 180593"/>
                  <a:gd name="connsiteX8" fmla="*/ 54769 w 148780"/>
                  <a:gd name="connsiteY8" fmla="*/ 31433 h 180593"/>
                  <a:gd name="connsiteX9" fmla="*/ 31242 w 148780"/>
                  <a:gd name="connsiteY9" fmla="*/ 31433 h 180593"/>
                  <a:gd name="connsiteX10" fmla="*/ 23432 w 148780"/>
                  <a:gd name="connsiteY10" fmla="*/ 39243 h 180593"/>
                  <a:gd name="connsiteX11" fmla="*/ 23432 w 148780"/>
                  <a:gd name="connsiteY11" fmla="*/ 47149 h 180593"/>
                  <a:gd name="connsiteX12" fmla="*/ 15621 w 148780"/>
                  <a:gd name="connsiteY12" fmla="*/ 62770 h 180593"/>
                  <a:gd name="connsiteX13" fmla="*/ 7810 w 148780"/>
                  <a:gd name="connsiteY13" fmla="*/ 62770 h 180593"/>
                  <a:gd name="connsiteX14" fmla="*/ 0 w 148780"/>
                  <a:gd name="connsiteY14" fmla="*/ 70676 h 180593"/>
                  <a:gd name="connsiteX15" fmla="*/ 0 w 148780"/>
                  <a:gd name="connsiteY15" fmla="*/ 78486 h 180593"/>
                  <a:gd name="connsiteX16" fmla="*/ 7810 w 148780"/>
                  <a:gd name="connsiteY16" fmla="*/ 86392 h 180593"/>
                  <a:gd name="connsiteX17" fmla="*/ 15621 w 148780"/>
                  <a:gd name="connsiteY17" fmla="*/ 86392 h 180593"/>
                  <a:gd name="connsiteX18" fmla="*/ 31242 w 148780"/>
                  <a:gd name="connsiteY18" fmla="*/ 94202 h 180593"/>
                  <a:gd name="connsiteX19" fmla="*/ 7810 w 148780"/>
                  <a:gd name="connsiteY19" fmla="*/ 133540 h 180593"/>
                  <a:gd name="connsiteX20" fmla="*/ 23432 w 148780"/>
                  <a:gd name="connsiteY20" fmla="*/ 133540 h 180593"/>
                  <a:gd name="connsiteX21" fmla="*/ 31242 w 148780"/>
                  <a:gd name="connsiteY21" fmla="*/ 125635 h 180593"/>
                  <a:gd name="connsiteX22" fmla="*/ 46958 w 148780"/>
                  <a:gd name="connsiteY22" fmla="*/ 125635 h 180593"/>
                  <a:gd name="connsiteX23" fmla="*/ 46958 w 148780"/>
                  <a:gd name="connsiteY23" fmla="*/ 149257 h 180593"/>
                  <a:gd name="connsiteX24" fmla="*/ 78295 w 148780"/>
                  <a:gd name="connsiteY24" fmla="*/ 180594 h 180593"/>
                  <a:gd name="connsiteX25" fmla="*/ 93917 w 148780"/>
                  <a:gd name="connsiteY25" fmla="*/ 164973 h 180593"/>
                  <a:gd name="connsiteX26" fmla="*/ 86106 w 148780"/>
                  <a:gd name="connsiteY26" fmla="*/ 141351 h 180593"/>
                  <a:gd name="connsiteX27" fmla="*/ 78295 w 148780"/>
                  <a:gd name="connsiteY27" fmla="*/ 149257 h 180593"/>
                  <a:gd name="connsiteX28" fmla="*/ 54769 w 148780"/>
                  <a:gd name="connsiteY28" fmla="*/ 133540 h 180593"/>
                  <a:gd name="connsiteX29" fmla="*/ 86106 w 148780"/>
                  <a:gd name="connsiteY29" fmla="*/ 133540 h 180593"/>
                  <a:gd name="connsiteX30" fmla="*/ 101727 w 148780"/>
                  <a:gd name="connsiteY30" fmla="*/ 125635 h 180593"/>
                  <a:gd name="connsiteX31" fmla="*/ 101727 w 148780"/>
                  <a:gd name="connsiteY31" fmla="*/ 102108 h 180593"/>
                  <a:gd name="connsiteX32" fmla="*/ 140970 w 148780"/>
                  <a:gd name="connsiteY32" fmla="*/ 117824 h 180593"/>
                  <a:gd name="connsiteX33" fmla="*/ 148781 w 148780"/>
                  <a:gd name="connsiteY33" fmla="*/ 109919 h 180593"/>
                  <a:gd name="connsiteX34" fmla="*/ 148781 w 148780"/>
                  <a:gd name="connsiteY34" fmla="*/ 117824 h 180593"/>
                  <a:gd name="connsiteX35" fmla="*/ 148781 w 148780"/>
                  <a:gd name="connsiteY35" fmla="*/ 54959 h 1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8780" h="180593">
                    <a:moveTo>
                      <a:pt x="148781" y="54959"/>
                    </a:moveTo>
                    <a:lnTo>
                      <a:pt x="140970" y="62770"/>
                    </a:lnTo>
                    <a:lnTo>
                      <a:pt x="125254" y="39243"/>
                    </a:lnTo>
                    <a:lnTo>
                      <a:pt x="109633" y="23527"/>
                    </a:lnTo>
                    <a:lnTo>
                      <a:pt x="86106" y="7811"/>
                    </a:lnTo>
                    <a:lnTo>
                      <a:pt x="78295" y="7811"/>
                    </a:lnTo>
                    <a:lnTo>
                      <a:pt x="62579" y="0"/>
                    </a:lnTo>
                    <a:lnTo>
                      <a:pt x="54769" y="0"/>
                    </a:lnTo>
                    <a:lnTo>
                      <a:pt x="54769" y="31433"/>
                    </a:lnTo>
                    <a:lnTo>
                      <a:pt x="31242" y="31433"/>
                    </a:lnTo>
                    <a:lnTo>
                      <a:pt x="23432" y="39243"/>
                    </a:lnTo>
                    <a:lnTo>
                      <a:pt x="23432" y="47149"/>
                    </a:lnTo>
                    <a:lnTo>
                      <a:pt x="15621" y="62770"/>
                    </a:lnTo>
                    <a:lnTo>
                      <a:pt x="7810" y="62770"/>
                    </a:lnTo>
                    <a:lnTo>
                      <a:pt x="0" y="70676"/>
                    </a:lnTo>
                    <a:lnTo>
                      <a:pt x="0" y="78486"/>
                    </a:lnTo>
                    <a:lnTo>
                      <a:pt x="7810" y="86392"/>
                    </a:lnTo>
                    <a:lnTo>
                      <a:pt x="15621" y="86392"/>
                    </a:lnTo>
                    <a:lnTo>
                      <a:pt x="31242" y="94202"/>
                    </a:lnTo>
                    <a:lnTo>
                      <a:pt x="7810" y="133540"/>
                    </a:lnTo>
                    <a:lnTo>
                      <a:pt x="23432" y="133540"/>
                    </a:lnTo>
                    <a:lnTo>
                      <a:pt x="31242" y="125635"/>
                    </a:lnTo>
                    <a:lnTo>
                      <a:pt x="46958" y="125635"/>
                    </a:lnTo>
                    <a:lnTo>
                      <a:pt x="46958" y="149257"/>
                    </a:lnTo>
                    <a:lnTo>
                      <a:pt x="78295" y="180594"/>
                    </a:lnTo>
                    <a:lnTo>
                      <a:pt x="93917" y="164973"/>
                    </a:lnTo>
                    <a:lnTo>
                      <a:pt x="86106" y="141351"/>
                    </a:lnTo>
                    <a:lnTo>
                      <a:pt x="78295" y="149257"/>
                    </a:lnTo>
                    <a:lnTo>
                      <a:pt x="54769" y="133540"/>
                    </a:lnTo>
                    <a:lnTo>
                      <a:pt x="86106" y="133540"/>
                    </a:lnTo>
                    <a:lnTo>
                      <a:pt x="101727" y="125635"/>
                    </a:lnTo>
                    <a:lnTo>
                      <a:pt x="101727" y="102108"/>
                    </a:lnTo>
                    <a:lnTo>
                      <a:pt x="140970" y="117824"/>
                    </a:lnTo>
                    <a:lnTo>
                      <a:pt x="148781" y="109919"/>
                    </a:lnTo>
                    <a:lnTo>
                      <a:pt x="148781" y="117824"/>
                    </a:lnTo>
                    <a:lnTo>
                      <a:pt x="148781" y="54959"/>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dirty="0"/>
              </a:p>
            </p:txBody>
          </p:sp>
          <p:sp>
            <p:nvSpPr>
              <p:cNvPr id="98" name="Freeform: Shape 97">
                <a:extLst>
                  <a:ext uri="{FF2B5EF4-FFF2-40B4-BE49-F238E27FC236}">
                    <a16:creationId xmlns:a16="http://schemas.microsoft.com/office/drawing/2014/main" id="{124F9435-4D9A-D201-8BF3-EB749EA0A293}"/>
                  </a:ext>
                </a:extLst>
              </p:cNvPr>
              <p:cNvSpPr/>
              <p:nvPr/>
            </p:nvSpPr>
            <p:spPr>
              <a:xfrm>
                <a:off x="6827520" y="4439506"/>
                <a:ext cx="148780" cy="180593"/>
              </a:xfrm>
              <a:custGeom>
                <a:avLst/>
                <a:gdLst>
                  <a:gd name="connsiteX0" fmla="*/ 148781 w 148780"/>
                  <a:gd name="connsiteY0" fmla="*/ 54959 h 180593"/>
                  <a:gd name="connsiteX1" fmla="*/ 140970 w 148780"/>
                  <a:gd name="connsiteY1" fmla="*/ 62770 h 180593"/>
                  <a:gd name="connsiteX2" fmla="*/ 125254 w 148780"/>
                  <a:gd name="connsiteY2" fmla="*/ 39243 h 180593"/>
                  <a:gd name="connsiteX3" fmla="*/ 109633 w 148780"/>
                  <a:gd name="connsiteY3" fmla="*/ 23527 h 180593"/>
                  <a:gd name="connsiteX4" fmla="*/ 86106 w 148780"/>
                  <a:gd name="connsiteY4" fmla="*/ 7811 h 180593"/>
                  <a:gd name="connsiteX5" fmla="*/ 78295 w 148780"/>
                  <a:gd name="connsiteY5" fmla="*/ 7811 h 180593"/>
                  <a:gd name="connsiteX6" fmla="*/ 62579 w 148780"/>
                  <a:gd name="connsiteY6" fmla="*/ 0 h 180593"/>
                  <a:gd name="connsiteX7" fmla="*/ 54769 w 148780"/>
                  <a:gd name="connsiteY7" fmla="*/ 0 h 180593"/>
                  <a:gd name="connsiteX8" fmla="*/ 54769 w 148780"/>
                  <a:gd name="connsiteY8" fmla="*/ 31433 h 180593"/>
                  <a:gd name="connsiteX9" fmla="*/ 31242 w 148780"/>
                  <a:gd name="connsiteY9" fmla="*/ 31433 h 180593"/>
                  <a:gd name="connsiteX10" fmla="*/ 23432 w 148780"/>
                  <a:gd name="connsiteY10" fmla="*/ 39243 h 180593"/>
                  <a:gd name="connsiteX11" fmla="*/ 23432 w 148780"/>
                  <a:gd name="connsiteY11" fmla="*/ 47149 h 180593"/>
                  <a:gd name="connsiteX12" fmla="*/ 15621 w 148780"/>
                  <a:gd name="connsiteY12" fmla="*/ 62770 h 180593"/>
                  <a:gd name="connsiteX13" fmla="*/ 7810 w 148780"/>
                  <a:gd name="connsiteY13" fmla="*/ 62770 h 180593"/>
                  <a:gd name="connsiteX14" fmla="*/ 0 w 148780"/>
                  <a:gd name="connsiteY14" fmla="*/ 70676 h 180593"/>
                  <a:gd name="connsiteX15" fmla="*/ 0 w 148780"/>
                  <a:gd name="connsiteY15" fmla="*/ 78486 h 180593"/>
                  <a:gd name="connsiteX16" fmla="*/ 7810 w 148780"/>
                  <a:gd name="connsiteY16" fmla="*/ 86392 h 180593"/>
                  <a:gd name="connsiteX17" fmla="*/ 15621 w 148780"/>
                  <a:gd name="connsiteY17" fmla="*/ 86392 h 180593"/>
                  <a:gd name="connsiteX18" fmla="*/ 31242 w 148780"/>
                  <a:gd name="connsiteY18" fmla="*/ 94202 h 180593"/>
                  <a:gd name="connsiteX19" fmla="*/ 7810 w 148780"/>
                  <a:gd name="connsiteY19" fmla="*/ 133540 h 180593"/>
                  <a:gd name="connsiteX20" fmla="*/ 23432 w 148780"/>
                  <a:gd name="connsiteY20" fmla="*/ 133540 h 180593"/>
                  <a:gd name="connsiteX21" fmla="*/ 31242 w 148780"/>
                  <a:gd name="connsiteY21" fmla="*/ 125635 h 180593"/>
                  <a:gd name="connsiteX22" fmla="*/ 46958 w 148780"/>
                  <a:gd name="connsiteY22" fmla="*/ 125635 h 180593"/>
                  <a:gd name="connsiteX23" fmla="*/ 46958 w 148780"/>
                  <a:gd name="connsiteY23" fmla="*/ 149257 h 180593"/>
                  <a:gd name="connsiteX24" fmla="*/ 78295 w 148780"/>
                  <a:gd name="connsiteY24" fmla="*/ 180594 h 180593"/>
                  <a:gd name="connsiteX25" fmla="*/ 93917 w 148780"/>
                  <a:gd name="connsiteY25" fmla="*/ 164973 h 180593"/>
                  <a:gd name="connsiteX26" fmla="*/ 86106 w 148780"/>
                  <a:gd name="connsiteY26" fmla="*/ 141351 h 180593"/>
                  <a:gd name="connsiteX27" fmla="*/ 78295 w 148780"/>
                  <a:gd name="connsiteY27" fmla="*/ 149257 h 180593"/>
                  <a:gd name="connsiteX28" fmla="*/ 54769 w 148780"/>
                  <a:gd name="connsiteY28" fmla="*/ 133540 h 180593"/>
                  <a:gd name="connsiteX29" fmla="*/ 86106 w 148780"/>
                  <a:gd name="connsiteY29" fmla="*/ 133540 h 180593"/>
                  <a:gd name="connsiteX30" fmla="*/ 101727 w 148780"/>
                  <a:gd name="connsiteY30" fmla="*/ 125635 h 180593"/>
                  <a:gd name="connsiteX31" fmla="*/ 101727 w 148780"/>
                  <a:gd name="connsiteY31" fmla="*/ 102108 h 180593"/>
                  <a:gd name="connsiteX32" fmla="*/ 140970 w 148780"/>
                  <a:gd name="connsiteY32" fmla="*/ 117824 h 180593"/>
                  <a:gd name="connsiteX33" fmla="*/ 148781 w 148780"/>
                  <a:gd name="connsiteY33" fmla="*/ 109919 h 180593"/>
                  <a:gd name="connsiteX34" fmla="*/ 148781 w 148780"/>
                  <a:gd name="connsiteY34" fmla="*/ 117824 h 180593"/>
                  <a:gd name="connsiteX35" fmla="*/ 148781 w 148780"/>
                  <a:gd name="connsiteY35" fmla="*/ 54959 h 1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8780" h="180593">
                    <a:moveTo>
                      <a:pt x="148781" y="54959"/>
                    </a:moveTo>
                    <a:lnTo>
                      <a:pt x="140970" y="62770"/>
                    </a:lnTo>
                    <a:lnTo>
                      <a:pt x="125254" y="39243"/>
                    </a:lnTo>
                    <a:lnTo>
                      <a:pt x="109633" y="23527"/>
                    </a:lnTo>
                    <a:lnTo>
                      <a:pt x="86106" y="7811"/>
                    </a:lnTo>
                    <a:lnTo>
                      <a:pt x="78295" y="7811"/>
                    </a:lnTo>
                    <a:lnTo>
                      <a:pt x="62579" y="0"/>
                    </a:lnTo>
                    <a:lnTo>
                      <a:pt x="54769" y="0"/>
                    </a:lnTo>
                    <a:lnTo>
                      <a:pt x="54769" y="31433"/>
                    </a:lnTo>
                    <a:lnTo>
                      <a:pt x="31242" y="31433"/>
                    </a:lnTo>
                    <a:lnTo>
                      <a:pt x="23432" y="39243"/>
                    </a:lnTo>
                    <a:lnTo>
                      <a:pt x="23432" y="47149"/>
                    </a:lnTo>
                    <a:lnTo>
                      <a:pt x="15621" y="62770"/>
                    </a:lnTo>
                    <a:lnTo>
                      <a:pt x="7810" y="62770"/>
                    </a:lnTo>
                    <a:lnTo>
                      <a:pt x="0" y="70676"/>
                    </a:lnTo>
                    <a:lnTo>
                      <a:pt x="0" y="78486"/>
                    </a:lnTo>
                    <a:lnTo>
                      <a:pt x="7810" y="86392"/>
                    </a:lnTo>
                    <a:lnTo>
                      <a:pt x="15621" y="86392"/>
                    </a:lnTo>
                    <a:lnTo>
                      <a:pt x="31242" y="94202"/>
                    </a:lnTo>
                    <a:lnTo>
                      <a:pt x="7810" y="133540"/>
                    </a:lnTo>
                    <a:lnTo>
                      <a:pt x="23432" y="133540"/>
                    </a:lnTo>
                    <a:lnTo>
                      <a:pt x="31242" y="125635"/>
                    </a:lnTo>
                    <a:lnTo>
                      <a:pt x="46958" y="125635"/>
                    </a:lnTo>
                    <a:lnTo>
                      <a:pt x="46958" y="149257"/>
                    </a:lnTo>
                    <a:lnTo>
                      <a:pt x="78295" y="180594"/>
                    </a:lnTo>
                    <a:lnTo>
                      <a:pt x="93917" y="164973"/>
                    </a:lnTo>
                    <a:lnTo>
                      <a:pt x="86106" y="141351"/>
                    </a:lnTo>
                    <a:lnTo>
                      <a:pt x="78295" y="149257"/>
                    </a:lnTo>
                    <a:lnTo>
                      <a:pt x="54769" y="133540"/>
                    </a:lnTo>
                    <a:lnTo>
                      <a:pt x="86106" y="133540"/>
                    </a:lnTo>
                    <a:lnTo>
                      <a:pt x="101727" y="125635"/>
                    </a:lnTo>
                    <a:lnTo>
                      <a:pt x="101727" y="102108"/>
                    </a:lnTo>
                    <a:lnTo>
                      <a:pt x="140970" y="117824"/>
                    </a:lnTo>
                    <a:lnTo>
                      <a:pt x="148781" y="109919"/>
                    </a:lnTo>
                    <a:lnTo>
                      <a:pt x="148781" y="117824"/>
                    </a:lnTo>
                    <a:lnTo>
                      <a:pt x="148781" y="54959"/>
                    </a:lnTo>
                    <a:close/>
                  </a:path>
                </a:pathLst>
              </a:custGeom>
              <a:noFill/>
              <a:ln w="4763" cap="flat">
                <a:noFill/>
                <a:prstDash val="solid"/>
                <a:miter/>
              </a:ln>
            </p:spPr>
            <p:txBody>
              <a:bodyPr rtlCol="0" anchor="ctr"/>
              <a:lstStyle/>
              <a:p>
                <a:endParaRPr lang="en-GB"/>
              </a:p>
            </p:txBody>
          </p:sp>
          <p:sp>
            <p:nvSpPr>
              <p:cNvPr id="99" name="Freeform: Shape 98">
                <a:extLst>
                  <a:ext uri="{FF2B5EF4-FFF2-40B4-BE49-F238E27FC236}">
                    <a16:creationId xmlns:a16="http://schemas.microsoft.com/office/drawing/2014/main" id="{5EEDBF61-3A4D-DED8-0832-EEAE96B2F569}"/>
                  </a:ext>
                </a:extLst>
              </p:cNvPr>
              <p:cNvSpPr/>
              <p:nvPr/>
            </p:nvSpPr>
            <p:spPr>
              <a:xfrm>
                <a:off x="7013448" y="4564379"/>
                <a:ext cx="216503" cy="170021"/>
              </a:xfrm>
              <a:custGeom>
                <a:avLst/>
                <a:gdLst>
                  <a:gd name="connsiteX0" fmla="*/ 200501 w 216503"/>
                  <a:gd name="connsiteY0" fmla="*/ 56674 h 170021"/>
                  <a:gd name="connsiteX1" fmla="*/ 176498 w 216503"/>
                  <a:gd name="connsiteY1" fmla="*/ 40481 h 170021"/>
                  <a:gd name="connsiteX2" fmla="*/ 176498 w 216503"/>
                  <a:gd name="connsiteY2" fmla="*/ 24289 h 170021"/>
                  <a:gd name="connsiteX3" fmla="*/ 168402 w 216503"/>
                  <a:gd name="connsiteY3" fmla="*/ 24289 h 170021"/>
                  <a:gd name="connsiteX4" fmla="*/ 152400 w 216503"/>
                  <a:gd name="connsiteY4" fmla="*/ 0 h 170021"/>
                  <a:gd name="connsiteX5" fmla="*/ 96298 w 216503"/>
                  <a:gd name="connsiteY5" fmla="*/ 8096 h 170021"/>
                  <a:gd name="connsiteX6" fmla="*/ 88201 w 216503"/>
                  <a:gd name="connsiteY6" fmla="*/ 16192 h 170021"/>
                  <a:gd name="connsiteX7" fmla="*/ 64198 w 216503"/>
                  <a:gd name="connsiteY7" fmla="*/ 16192 h 170021"/>
                  <a:gd name="connsiteX8" fmla="*/ 64198 w 216503"/>
                  <a:gd name="connsiteY8" fmla="*/ 32385 h 170021"/>
                  <a:gd name="connsiteX9" fmla="*/ 32099 w 216503"/>
                  <a:gd name="connsiteY9" fmla="*/ 32385 h 170021"/>
                  <a:gd name="connsiteX10" fmla="*/ 24098 w 216503"/>
                  <a:gd name="connsiteY10" fmla="*/ 48577 h 170021"/>
                  <a:gd name="connsiteX11" fmla="*/ 0 w 216503"/>
                  <a:gd name="connsiteY11" fmla="*/ 56674 h 170021"/>
                  <a:gd name="connsiteX12" fmla="*/ 0 w 216503"/>
                  <a:gd name="connsiteY12" fmla="*/ 89059 h 170021"/>
                  <a:gd name="connsiteX13" fmla="*/ 8001 w 216503"/>
                  <a:gd name="connsiteY13" fmla="*/ 105251 h 170021"/>
                  <a:gd name="connsiteX14" fmla="*/ 8001 w 216503"/>
                  <a:gd name="connsiteY14" fmla="*/ 137636 h 170021"/>
                  <a:gd name="connsiteX15" fmla="*/ 16097 w 216503"/>
                  <a:gd name="connsiteY15" fmla="*/ 145732 h 170021"/>
                  <a:gd name="connsiteX16" fmla="*/ 24098 w 216503"/>
                  <a:gd name="connsiteY16" fmla="*/ 145732 h 170021"/>
                  <a:gd name="connsiteX17" fmla="*/ 24098 w 216503"/>
                  <a:gd name="connsiteY17" fmla="*/ 170021 h 170021"/>
                  <a:gd name="connsiteX18" fmla="*/ 56102 w 216503"/>
                  <a:gd name="connsiteY18" fmla="*/ 161925 h 170021"/>
                  <a:gd name="connsiteX19" fmla="*/ 56102 w 216503"/>
                  <a:gd name="connsiteY19" fmla="*/ 170021 h 170021"/>
                  <a:gd name="connsiteX20" fmla="*/ 72199 w 216503"/>
                  <a:gd name="connsiteY20" fmla="*/ 161925 h 170021"/>
                  <a:gd name="connsiteX21" fmla="*/ 80200 w 216503"/>
                  <a:gd name="connsiteY21" fmla="*/ 161925 h 170021"/>
                  <a:gd name="connsiteX22" fmla="*/ 88201 w 216503"/>
                  <a:gd name="connsiteY22" fmla="*/ 170021 h 170021"/>
                  <a:gd name="connsiteX23" fmla="*/ 120301 w 216503"/>
                  <a:gd name="connsiteY23" fmla="*/ 170021 h 170021"/>
                  <a:gd name="connsiteX24" fmla="*/ 128302 w 216503"/>
                  <a:gd name="connsiteY24" fmla="*/ 153829 h 170021"/>
                  <a:gd name="connsiteX25" fmla="*/ 128302 w 216503"/>
                  <a:gd name="connsiteY25" fmla="*/ 145732 h 170021"/>
                  <a:gd name="connsiteX26" fmla="*/ 160401 w 216503"/>
                  <a:gd name="connsiteY26" fmla="*/ 145732 h 170021"/>
                  <a:gd name="connsiteX27" fmla="*/ 176498 w 216503"/>
                  <a:gd name="connsiteY27" fmla="*/ 137636 h 170021"/>
                  <a:gd name="connsiteX28" fmla="*/ 208502 w 216503"/>
                  <a:gd name="connsiteY28" fmla="*/ 105251 h 170021"/>
                  <a:gd name="connsiteX29" fmla="*/ 216503 w 216503"/>
                  <a:gd name="connsiteY29" fmla="*/ 89059 h 170021"/>
                  <a:gd name="connsiteX30" fmla="*/ 216503 w 216503"/>
                  <a:gd name="connsiteY30" fmla="*/ 80963 h 170021"/>
                  <a:gd name="connsiteX31" fmla="*/ 208502 w 216503"/>
                  <a:gd name="connsiteY31" fmla="*/ 64770 h 170021"/>
                  <a:gd name="connsiteX32" fmla="*/ 200501 w 216503"/>
                  <a:gd name="connsiteY32" fmla="*/ 56674 h 17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6503" h="170021">
                    <a:moveTo>
                      <a:pt x="200501" y="56674"/>
                    </a:moveTo>
                    <a:lnTo>
                      <a:pt x="176498" y="40481"/>
                    </a:lnTo>
                    <a:lnTo>
                      <a:pt x="176498" y="24289"/>
                    </a:lnTo>
                    <a:lnTo>
                      <a:pt x="168402" y="24289"/>
                    </a:lnTo>
                    <a:lnTo>
                      <a:pt x="152400" y="0"/>
                    </a:lnTo>
                    <a:lnTo>
                      <a:pt x="96298" y="8096"/>
                    </a:lnTo>
                    <a:lnTo>
                      <a:pt x="88201" y="16192"/>
                    </a:lnTo>
                    <a:lnTo>
                      <a:pt x="64198" y="16192"/>
                    </a:lnTo>
                    <a:lnTo>
                      <a:pt x="64198" y="32385"/>
                    </a:lnTo>
                    <a:lnTo>
                      <a:pt x="32099" y="32385"/>
                    </a:lnTo>
                    <a:lnTo>
                      <a:pt x="24098" y="48577"/>
                    </a:lnTo>
                    <a:lnTo>
                      <a:pt x="0" y="56674"/>
                    </a:lnTo>
                    <a:lnTo>
                      <a:pt x="0" y="89059"/>
                    </a:lnTo>
                    <a:lnTo>
                      <a:pt x="8001" y="105251"/>
                    </a:lnTo>
                    <a:lnTo>
                      <a:pt x="8001" y="137636"/>
                    </a:lnTo>
                    <a:lnTo>
                      <a:pt x="16097" y="145732"/>
                    </a:lnTo>
                    <a:lnTo>
                      <a:pt x="24098" y="145732"/>
                    </a:lnTo>
                    <a:lnTo>
                      <a:pt x="24098" y="170021"/>
                    </a:lnTo>
                    <a:lnTo>
                      <a:pt x="56102" y="161925"/>
                    </a:lnTo>
                    <a:lnTo>
                      <a:pt x="56102" y="170021"/>
                    </a:lnTo>
                    <a:lnTo>
                      <a:pt x="72199" y="161925"/>
                    </a:lnTo>
                    <a:lnTo>
                      <a:pt x="80200" y="161925"/>
                    </a:lnTo>
                    <a:lnTo>
                      <a:pt x="88201" y="170021"/>
                    </a:lnTo>
                    <a:lnTo>
                      <a:pt x="120301" y="170021"/>
                    </a:lnTo>
                    <a:lnTo>
                      <a:pt x="128302" y="153829"/>
                    </a:lnTo>
                    <a:lnTo>
                      <a:pt x="128302" y="145732"/>
                    </a:lnTo>
                    <a:lnTo>
                      <a:pt x="160401" y="145732"/>
                    </a:lnTo>
                    <a:lnTo>
                      <a:pt x="176498" y="137636"/>
                    </a:lnTo>
                    <a:lnTo>
                      <a:pt x="208502" y="105251"/>
                    </a:lnTo>
                    <a:lnTo>
                      <a:pt x="216503" y="89059"/>
                    </a:lnTo>
                    <a:lnTo>
                      <a:pt x="216503" y="80963"/>
                    </a:lnTo>
                    <a:lnTo>
                      <a:pt x="208502" y="64770"/>
                    </a:lnTo>
                    <a:lnTo>
                      <a:pt x="200501" y="56674"/>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a:p>
            </p:txBody>
          </p:sp>
          <p:sp>
            <p:nvSpPr>
              <p:cNvPr id="100" name="Freeform: Shape 99">
                <a:extLst>
                  <a:ext uri="{FF2B5EF4-FFF2-40B4-BE49-F238E27FC236}">
                    <a16:creationId xmlns:a16="http://schemas.microsoft.com/office/drawing/2014/main" id="{B124FBD6-0BE9-671F-9877-0613A744EFE7}"/>
                  </a:ext>
                </a:extLst>
              </p:cNvPr>
              <p:cNvSpPr/>
              <p:nvPr/>
            </p:nvSpPr>
            <p:spPr>
              <a:xfrm>
                <a:off x="7013448" y="4564379"/>
                <a:ext cx="216503" cy="170021"/>
              </a:xfrm>
              <a:custGeom>
                <a:avLst/>
                <a:gdLst>
                  <a:gd name="connsiteX0" fmla="*/ 200501 w 216503"/>
                  <a:gd name="connsiteY0" fmla="*/ 56674 h 170021"/>
                  <a:gd name="connsiteX1" fmla="*/ 176498 w 216503"/>
                  <a:gd name="connsiteY1" fmla="*/ 40481 h 170021"/>
                  <a:gd name="connsiteX2" fmla="*/ 176498 w 216503"/>
                  <a:gd name="connsiteY2" fmla="*/ 24289 h 170021"/>
                  <a:gd name="connsiteX3" fmla="*/ 168402 w 216503"/>
                  <a:gd name="connsiteY3" fmla="*/ 24289 h 170021"/>
                  <a:gd name="connsiteX4" fmla="*/ 152400 w 216503"/>
                  <a:gd name="connsiteY4" fmla="*/ 0 h 170021"/>
                  <a:gd name="connsiteX5" fmla="*/ 96298 w 216503"/>
                  <a:gd name="connsiteY5" fmla="*/ 8096 h 170021"/>
                  <a:gd name="connsiteX6" fmla="*/ 88201 w 216503"/>
                  <a:gd name="connsiteY6" fmla="*/ 16192 h 170021"/>
                  <a:gd name="connsiteX7" fmla="*/ 64198 w 216503"/>
                  <a:gd name="connsiteY7" fmla="*/ 16192 h 170021"/>
                  <a:gd name="connsiteX8" fmla="*/ 64198 w 216503"/>
                  <a:gd name="connsiteY8" fmla="*/ 32385 h 170021"/>
                  <a:gd name="connsiteX9" fmla="*/ 32099 w 216503"/>
                  <a:gd name="connsiteY9" fmla="*/ 32385 h 170021"/>
                  <a:gd name="connsiteX10" fmla="*/ 24098 w 216503"/>
                  <a:gd name="connsiteY10" fmla="*/ 48577 h 170021"/>
                  <a:gd name="connsiteX11" fmla="*/ 0 w 216503"/>
                  <a:gd name="connsiteY11" fmla="*/ 56674 h 170021"/>
                  <a:gd name="connsiteX12" fmla="*/ 0 w 216503"/>
                  <a:gd name="connsiteY12" fmla="*/ 89059 h 170021"/>
                  <a:gd name="connsiteX13" fmla="*/ 8001 w 216503"/>
                  <a:gd name="connsiteY13" fmla="*/ 105251 h 170021"/>
                  <a:gd name="connsiteX14" fmla="*/ 8001 w 216503"/>
                  <a:gd name="connsiteY14" fmla="*/ 137636 h 170021"/>
                  <a:gd name="connsiteX15" fmla="*/ 16097 w 216503"/>
                  <a:gd name="connsiteY15" fmla="*/ 145732 h 170021"/>
                  <a:gd name="connsiteX16" fmla="*/ 24098 w 216503"/>
                  <a:gd name="connsiteY16" fmla="*/ 145732 h 170021"/>
                  <a:gd name="connsiteX17" fmla="*/ 24098 w 216503"/>
                  <a:gd name="connsiteY17" fmla="*/ 170021 h 170021"/>
                  <a:gd name="connsiteX18" fmla="*/ 56102 w 216503"/>
                  <a:gd name="connsiteY18" fmla="*/ 161925 h 170021"/>
                  <a:gd name="connsiteX19" fmla="*/ 56102 w 216503"/>
                  <a:gd name="connsiteY19" fmla="*/ 170021 h 170021"/>
                  <a:gd name="connsiteX20" fmla="*/ 72199 w 216503"/>
                  <a:gd name="connsiteY20" fmla="*/ 161925 h 170021"/>
                  <a:gd name="connsiteX21" fmla="*/ 80200 w 216503"/>
                  <a:gd name="connsiteY21" fmla="*/ 161925 h 170021"/>
                  <a:gd name="connsiteX22" fmla="*/ 88201 w 216503"/>
                  <a:gd name="connsiteY22" fmla="*/ 170021 h 170021"/>
                  <a:gd name="connsiteX23" fmla="*/ 120301 w 216503"/>
                  <a:gd name="connsiteY23" fmla="*/ 170021 h 170021"/>
                  <a:gd name="connsiteX24" fmla="*/ 128302 w 216503"/>
                  <a:gd name="connsiteY24" fmla="*/ 153829 h 170021"/>
                  <a:gd name="connsiteX25" fmla="*/ 128302 w 216503"/>
                  <a:gd name="connsiteY25" fmla="*/ 145732 h 170021"/>
                  <a:gd name="connsiteX26" fmla="*/ 160401 w 216503"/>
                  <a:gd name="connsiteY26" fmla="*/ 145732 h 170021"/>
                  <a:gd name="connsiteX27" fmla="*/ 176498 w 216503"/>
                  <a:gd name="connsiteY27" fmla="*/ 137636 h 170021"/>
                  <a:gd name="connsiteX28" fmla="*/ 208502 w 216503"/>
                  <a:gd name="connsiteY28" fmla="*/ 105251 h 170021"/>
                  <a:gd name="connsiteX29" fmla="*/ 216503 w 216503"/>
                  <a:gd name="connsiteY29" fmla="*/ 89059 h 170021"/>
                  <a:gd name="connsiteX30" fmla="*/ 216503 w 216503"/>
                  <a:gd name="connsiteY30" fmla="*/ 80963 h 170021"/>
                  <a:gd name="connsiteX31" fmla="*/ 208502 w 216503"/>
                  <a:gd name="connsiteY31" fmla="*/ 64770 h 170021"/>
                  <a:gd name="connsiteX32" fmla="*/ 200501 w 216503"/>
                  <a:gd name="connsiteY32" fmla="*/ 56674 h 17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6503" h="170021">
                    <a:moveTo>
                      <a:pt x="200501" y="56674"/>
                    </a:moveTo>
                    <a:lnTo>
                      <a:pt x="176498" y="40481"/>
                    </a:lnTo>
                    <a:lnTo>
                      <a:pt x="176498" y="24289"/>
                    </a:lnTo>
                    <a:lnTo>
                      <a:pt x="168402" y="24289"/>
                    </a:lnTo>
                    <a:lnTo>
                      <a:pt x="152400" y="0"/>
                    </a:lnTo>
                    <a:lnTo>
                      <a:pt x="96298" y="8096"/>
                    </a:lnTo>
                    <a:lnTo>
                      <a:pt x="88201" y="16192"/>
                    </a:lnTo>
                    <a:lnTo>
                      <a:pt x="64198" y="16192"/>
                    </a:lnTo>
                    <a:lnTo>
                      <a:pt x="64198" y="32385"/>
                    </a:lnTo>
                    <a:lnTo>
                      <a:pt x="32099" y="32385"/>
                    </a:lnTo>
                    <a:lnTo>
                      <a:pt x="24098" y="48577"/>
                    </a:lnTo>
                    <a:lnTo>
                      <a:pt x="0" y="56674"/>
                    </a:lnTo>
                    <a:lnTo>
                      <a:pt x="0" y="89059"/>
                    </a:lnTo>
                    <a:lnTo>
                      <a:pt x="8001" y="105251"/>
                    </a:lnTo>
                    <a:lnTo>
                      <a:pt x="8001" y="137636"/>
                    </a:lnTo>
                    <a:lnTo>
                      <a:pt x="16097" y="145732"/>
                    </a:lnTo>
                    <a:lnTo>
                      <a:pt x="24098" y="145732"/>
                    </a:lnTo>
                    <a:lnTo>
                      <a:pt x="24098" y="170021"/>
                    </a:lnTo>
                    <a:lnTo>
                      <a:pt x="56102" y="161925"/>
                    </a:lnTo>
                    <a:lnTo>
                      <a:pt x="56102" y="170021"/>
                    </a:lnTo>
                    <a:lnTo>
                      <a:pt x="72199" y="161925"/>
                    </a:lnTo>
                    <a:lnTo>
                      <a:pt x="80200" y="161925"/>
                    </a:lnTo>
                    <a:lnTo>
                      <a:pt x="88201" y="170021"/>
                    </a:lnTo>
                    <a:lnTo>
                      <a:pt x="120301" y="170021"/>
                    </a:lnTo>
                    <a:lnTo>
                      <a:pt x="128302" y="153829"/>
                    </a:lnTo>
                    <a:lnTo>
                      <a:pt x="128302" y="145732"/>
                    </a:lnTo>
                    <a:lnTo>
                      <a:pt x="160401" y="145732"/>
                    </a:lnTo>
                    <a:lnTo>
                      <a:pt x="176498" y="137636"/>
                    </a:lnTo>
                    <a:lnTo>
                      <a:pt x="208502" y="105251"/>
                    </a:lnTo>
                    <a:lnTo>
                      <a:pt x="216503" y="89059"/>
                    </a:lnTo>
                    <a:lnTo>
                      <a:pt x="216503" y="80963"/>
                    </a:lnTo>
                    <a:lnTo>
                      <a:pt x="208502" y="64770"/>
                    </a:lnTo>
                    <a:lnTo>
                      <a:pt x="200501" y="56674"/>
                    </a:lnTo>
                    <a:close/>
                  </a:path>
                </a:pathLst>
              </a:custGeom>
              <a:noFill/>
              <a:ln w="4763" cap="flat">
                <a:noFill/>
                <a:prstDash val="solid"/>
                <a:miter/>
              </a:ln>
            </p:spPr>
            <p:txBody>
              <a:bodyPr rtlCol="0" anchor="ctr"/>
              <a:lstStyle/>
              <a:p>
                <a:endParaRPr lang="en-GB"/>
              </a:p>
            </p:txBody>
          </p:sp>
          <p:sp>
            <p:nvSpPr>
              <p:cNvPr id="101" name="Freeform: Shape 100">
                <a:extLst>
                  <a:ext uri="{FF2B5EF4-FFF2-40B4-BE49-F238E27FC236}">
                    <a16:creationId xmlns:a16="http://schemas.microsoft.com/office/drawing/2014/main" id="{5E628F29-A373-F357-D3DD-58398FE61D66}"/>
                  </a:ext>
                </a:extLst>
              </p:cNvPr>
              <p:cNvSpPr/>
              <p:nvPr/>
            </p:nvSpPr>
            <p:spPr>
              <a:xfrm>
                <a:off x="5758148" y="3763327"/>
                <a:ext cx="66389" cy="57150"/>
              </a:xfrm>
              <a:custGeom>
                <a:avLst/>
                <a:gdLst>
                  <a:gd name="connsiteX0" fmla="*/ 22098 w 66389"/>
                  <a:gd name="connsiteY0" fmla="*/ 57150 h 57150"/>
                  <a:gd name="connsiteX1" fmla="*/ 36862 w 66389"/>
                  <a:gd name="connsiteY1" fmla="*/ 48958 h 57150"/>
                  <a:gd name="connsiteX2" fmla="*/ 59055 w 66389"/>
                  <a:gd name="connsiteY2" fmla="*/ 57150 h 57150"/>
                  <a:gd name="connsiteX3" fmla="*/ 66389 w 66389"/>
                  <a:gd name="connsiteY3" fmla="*/ 48958 h 57150"/>
                  <a:gd name="connsiteX4" fmla="*/ 66389 w 66389"/>
                  <a:gd name="connsiteY4" fmla="*/ 32671 h 57150"/>
                  <a:gd name="connsiteX5" fmla="*/ 51625 w 66389"/>
                  <a:gd name="connsiteY5" fmla="*/ 24479 h 57150"/>
                  <a:gd name="connsiteX6" fmla="*/ 44291 w 66389"/>
                  <a:gd name="connsiteY6" fmla="*/ 24479 h 57150"/>
                  <a:gd name="connsiteX7" fmla="*/ 36862 w 66389"/>
                  <a:gd name="connsiteY7" fmla="*/ 16288 h 57150"/>
                  <a:gd name="connsiteX8" fmla="*/ 36862 w 66389"/>
                  <a:gd name="connsiteY8" fmla="*/ 0 h 57150"/>
                  <a:gd name="connsiteX9" fmla="*/ 29528 w 66389"/>
                  <a:gd name="connsiteY9" fmla="*/ 0 h 57150"/>
                  <a:gd name="connsiteX10" fmla="*/ 22098 w 66389"/>
                  <a:gd name="connsiteY10" fmla="*/ 8192 h 57150"/>
                  <a:gd name="connsiteX11" fmla="*/ 7334 w 66389"/>
                  <a:gd name="connsiteY11" fmla="*/ 16288 h 57150"/>
                  <a:gd name="connsiteX12" fmla="*/ 0 w 66389"/>
                  <a:gd name="connsiteY12" fmla="*/ 16288 h 57150"/>
                  <a:gd name="connsiteX13" fmla="*/ 0 w 66389"/>
                  <a:gd name="connsiteY13" fmla="*/ 24479 h 57150"/>
                  <a:gd name="connsiteX14" fmla="*/ 14764 w 66389"/>
                  <a:gd name="connsiteY14" fmla="*/ 40767 h 57150"/>
                  <a:gd name="connsiteX15" fmla="*/ 22098 w 66389"/>
                  <a:gd name="connsiteY15" fmla="*/ 571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389" h="57150">
                    <a:moveTo>
                      <a:pt x="22098" y="57150"/>
                    </a:moveTo>
                    <a:lnTo>
                      <a:pt x="36862" y="48958"/>
                    </a:lnTo>
                    <a:lnTo>
                      <a:pt x="59055" y="57150"/>
                    </a:lnTo>
                    <a:lnTo>
                      <a:pt x="66389" y="48958"/>
                    </a:lnTo>
                    <a:lnTo>
                      <a:pt x="66389" y="32671"/>
                    </a:lnTo>
                    <a:lnTo>
                      <a:pt x="51625" y="24479"/>
                    </a:lnTo>
                    <a:lnTo>
                      <a:pt x="44291" y="24479"/>
                    </a:lnTo>
                    <a:lnTo>
                      <a:pt x="36862" y="16288"/>
                    </a:lnTo>
                    <a:lnTo>
                      <a:pt x="36862" y="0"/>
                    </a:lnTo>
                    <a:lnTo>
                      <a:pt x="29528" y="0"/>
                    </a:lnTo>
                    <a:lnTo>
                      <a:pt x="22098" y="8192"/>
                    </a:lnTo>
                    <a:lnTo>
                      <a:pt x="7334" y="16288"/>
                    </a:lnTo>
                    <a:lnTo>
                      <a:pt x="0" y="16288"/>
                    </a:lnTo>
                    <a:lnTo>
                      <a:pt x="0" y="24479"/>
                    </a:lnTo>
                    <a:lnTo>
                      <a:pt x="14764" y="40767"/>
                    </a:lnTo>
                    <a:lnTo>
                      <a:pt x="22098" y="57150"/>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dirty="0"/>
              </a:p>
            </p:txBody>
          </p:sp>
          <p:sp>
            <p:nvSpPr>
              <p:cNvPr id="102" name="Freeform: Shape 101">
                <a:extLst>
                  <a:ext uri="{FF2B5EF4-FFF2-40B4-BE49-F238E27FC236}">
                    <a16:creationId xmlns:a16="http://schemas.microsoft.com/office/drawing/2014/main" id="{BA4BD352-D5A6-3AA7-D221-FF23DA8B6BC6}"/>
                  </a:ext>
                </a:extLst>
              </p:cNvPr>
              <p:cNvSpPr/>
              <p:nvPr/>
            </p:nvSpPr>
            <p:spPr>
              <a:xfrm>
                <a:off x="5758148" y="3763327"/>
                <a:ext cx="66389" cy="57150"/>
              </a:xfrm>
              <a:custGeom>
                <a:avLst/>
                <a:gdLst>
                  <a:gd name="connsiteX0" fmla="*/ 22098 w 66389"/>
                  <a:gd name="connsiteY0" fmla="*/ 57150 h 57150"/>
                  <a:gd name="connsiteX1" fmla="*/ 36862 w 66389"/>
                  <a:gd name="connsiteY1" fmla="*/ 48958 h 57150"/>
                  <a:gd name="connsiteX2" fmla="*/ 59055 w 66389"/>
                  <a:gd name="connsiteY2" fmla="*/ 57150 h 57150"/>
                  <a:gd name="connsiteX3" fmla="*/ 66389 w 66389"/>
                  <a:gd name="connsiteY3" fmla="*/ 48958 h 57150"/>
                  <a:gd name="connsiteX4" fmla="*/ 66389 w 66389"/>
                  <a:gd name="connsiteY4" fmla="*/ 32671 h 57150"/>
                  <a:gd name="connsiteX5" fmla="*/ 51625 w 66389"/>
                  <a:gd name="connsiteY5" fmla="*/ 24479 h 57150"/>
                  <a:gd name="connsiteX6" fmla="*/ 44291 w 66389"/>
                  <a:gd name="connsiteY6" fmla="*/ 24479 h 57150"/>
                  <a:gd name="connsiteX7" fmla="*/ 36862 w 66389"/>
                  <a:gd name="connsiteY7" fmla="*/ 16288 h 57150"/>
                  <a:gd name="connsiteX8" fmla="*/ 36862 w 66389"/>
                  <a:gd name="connsiteY8" fmla="*/ 0 h 57150"/>
                  <a:gd name="connsiteX9" fmla="*/ 29528 w 66389"/>
                  <a:gd name="connsiteY9" fmla="*/ 0 h 57150"/>
                  <a:gd name="connsiteX10" fmla="*/ 22098 w 66389"/>
                  <a:gd name="connsiteY10" fmla="*/ 8192 h 57150"/>
                  <a:gd name="connsiteX11" fmla="*/ 7334 w 66389"/>
                  <a:gd name="connsiteY11" fmla="*/ 16288 h 57150"/>
                  <a:gd name="connsiteX12" fmla="*/ 0 w 66389"/>
                  <a:gd name="connsiteY12" fmla="*/ 16288 h 57150"/>
                  <a:gd name="connsiteX13" fmla="*/ 0 w 66389"/>
                  <a:gd name="connsiteY13" fmla="*/ 24479 h 57150"/>
                  <a:gd name="connsiteX14" fmla="*/ 14764 w 66389"/>
                  <a:gd name="connsiteY14" fmla="*/ 40767 h 57150"/>
                  <a:gd name="connsiteX15" fmla="*/ 22098 w 66389"/>
                  <a:gd name="connsiteY15" fmla="*/ 571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389" h="57150">
                    <a:moveTo>
                      <a:pt x="22098" y="57150"/>
                    </a:moveTo>
                    <a:lnTo>
                      <a:pt x="36862" y="48958"/>
                    </a:lnTo>
                    <a:lnTo>
                      <a:pt x="59055" y="57150"/>
                    </a:lnTo>
                    <a:lnTo>
                      <a:pt x="66389" y="48958"/>
                    </a:lnTo>
                    <a:lnTo>
                      <a:pt x="66389" y="32671"/>
                    </a:lnTo>
                    <a:lnTo>
                      <a:pt x="51625" y="24479"/>
                    </a:lnTo>
                    <a:lnTo>
                      <a:pt x="44291" y="24479"/>
                    </a:lnTo>
                    <a:lnTo>
                      <a:pt x="36862" y="16288"/>
                    </a:lnTo>
                    <a:lnTo>
                      <a:pt x="36862" y="0"/>
                    </a:lnTo>
                    <a:lnTo>
                      <a:pt x="29528" y="0"/>
                    </a:lnTo>
                    <a:lnTo>
                      <a:pt x="22098" y="8192"/>
                    </a:lnTo>
                    <a:lnTo>
                      <a:pt x="7334" y="16288"/>
                    </a:lnTo>
                    <a:lnTo>
                      <a:pt x="0" y="16288"/>
                    </a:lnTo>
                    <a:lnTo>
                      <a:pt x="0" y="24479"/>
                    </a:lnTo>
                    <a:lnTo>
                      <a:pt x="14764" y="40767"/>
                    </a:lnTo>
                    <a:lnTo>
                      <a:pt x="22098" y="57150"/>
                    </a:lnTo>
                    <a:close/>
                  </a:path>
                </a:pathLst>
              </a:custGeom>
              <a:noFill/>
              <a:ln w="4763" cap="flat">
                <a:noFill/>
                <a:prstDash val="solid"/>
                <a:miter/>
              </a:ln>
            </p:spPr>
            <p:txBody>
              <a:bodyPr rtlCol="0" anchor="ctr"/>
              <a:lstStyle/>
              <a:p>
                <a:endParaRPr lang="en-GB"/>
              </a:p>
            </p:txBody>
          </p:sp>
          <p:sp>
            <p:nvSpPr>
              <p:cNvPr id="103" name="Freeform: Shape 102">
                <a:extLst>
                  <a:ext uri="{FF2B5EF4-FFF2-40B4-BE49-F238E27FC236}">
                    <a16:creationId xmlns:a16="http://schemas.microsoft.com/office/drawing/2014/main" id="{B9724420-46CD-4A33-65E1-DE07C8DE281C}"/>
                  </a:ext>
                </a:extLst>
              </p:cNvPr>
              <p:cNvSpPr/>
              <p:nvPr/>
            </p:nvSpPr>
            <p:spPr>
              <a:xfrm>
                <a:off x="6976300" y="3117722"/>
                <a:ext cx="450340" cy="257746"/>
              </a:xfrm>
              <a:custGeom>
                <a:avLst/>
                <a:gdLst>
                  <a:gd name="connsiteX0" fmla="*/ 434530 w 450341"/>
                  <a:gd name="connsiteY0" fmla="*/ 78105 h 257746"/>
                  <a:gd name="connsiteX1" fmla="*/ 410813 w 450341"/>
                  <a:gd name="connsiteY1" fmla="*/ 70294 h 257746"/>
                  <a:gd name="connsiteX2" fmla="*/ 387096 w 450341"/>
                  <a:gd name="connsiteY2" fmla="*/ 54673 h 257746"/>
                  <a:gd name="connsiteX3" fmla="*/ 371284 w 450341"/>
                  <a:gd name="connsiteY3" fmla="*/ 39052 h 257746"/>
                  <a:gd name="connsiteX4" fmla="*/ 363379 w 450341"/>
                  <a:gd name="connsiteY4" fmla="*/ 39052 h 257746"/>
                  <a:gd name="connsiteX5" fmla="*/ 347567 w 450341"/>
                  <a:gd name="connsiteY5" fmla="*/ 31242 h 257746"/>
                  <a:gd name="connsiteX6" fmla="*/ 308134 w 450341"/>
                  <a:gd name="connsiteY6" fmla="*/ 31242 h 257746"/>
                  <a:gd name="connsiteX7" fmla="*/ 300228 w 450341"/>
                  <a:gd name="connsiteY7" fmla="*/ 15621 h 257746"/>
                  <a:gd name="connsiteX8" fmla="*/ 292322 w 450341"/>
                  <a:gd name="connsiteY8" fmla="*/ 7810 h 257746"/>
                  <a:gd name="connsiteX9" fmla="*/ 276511 w 450341"/>
                  <a:gd name="connsiteY9" fmla="*/ 7810 h 257746"/>
                  <a:gd name="connsiteX10" fmla="*/ 260699 w 450341"/>
                  <a:gd name="connsiteY10" fmla="*/ 23431 h 257746"/>
                  <a:gd name="connsiteX11" fmla="*/ 236982 w 450341"/>
                  <a:gd name="connsiteY11" fmla="*/ 23431 h 257746"/>
                  <a:gd name="connsiteX12" fmla="*/ 229076 w 450341"/>
                  <a:gd name="connsiteY12" fmla="*/ 15621 h 257746"/>
                  <a:gd name="connsiteX13" fmla="*/ 213265 w 450341"/>
                  <a:gd name="connsiteY13" fmla="*/ 15621 h 257746"/>
                  <a:gd name="connsiteX14" fmla="*/ 205359 w 450341"/>
                  <a:gd name="connsiteY14" fmla="*/ 23431 h 257746"/>
                  <a:gd name="connsiteX15" fmla="*/ 197453 w 450341"/>
                  <a:gd name="connsiteY15" fmla="*/ 23431 h 257746"/>
                  <a:gd name="connsiteX16" fmla="*/ 189547 w 450341"/>
                  <a:gd name="connsiteY16" fmla="*/ 15621 h 257746"/>
                  <a:gd name="connsiteX17" fmla="*/ 181642 w 450341"/>
                  <a:gd name="connsiteY17" fmla="*/ 15621 h 257746"/>
                  <a:gd name="connsiteX18" fmla="*/ 165925 w 450341"/>
                  <a:gd name="connsiteY18" fmla="*/ 7810 h 257746"/>
                  <a:gd name="connsiteX19" fmla="*/ 158020 w 450341"/>
                  <a:gd name="connsiteY19" fmla="*/ 7810 h 257746"/>
                  <a:gd name="connsiteX20" fmla="*/ 150114 w 450341"/>
                  <a:gd name="connsiteY20" fmla="*/ 15621 h 257746"/>
                  <a:gd name="connsiteX21" fmla="*/ 142208 w 450341"/>
                  <a:gd name="connsiteY21" fmla="*/ 15621 h 257746"/>
                  <a:gd name="connsiteX22" fmla="*/ 134302 w 450341"/>
                  <a:gd name="connsiteY22" fmla="*/ 7810 h 257746"/>
                  <a:gd name="connsiteX23" fmla="*/ 126397 w 450341"/>
                  <a:gd name="connsiteY23" fmla="*/ 7810 h 257746"/>
                  <a:gd name="connsiteX24" fmla="*/ 118491 w 450341"/>
                  <a:gd name="connsiteY24" fmla="*/ 0 h 257746"/>
                  <a:gd name="connsiteX25" fmla="*/ 94774 w 450341"/>
                  <a:gd name="connsiteY25" fmla="*/ 0 h 257746"/>
                  <a:gd name="connsiteX26" fmla="*/ 78962 w 450341"/>
                  <a:gd name="connsiteY26" fmla="*/ 15621 h 257746"/>
                  <a:gd name="connsiteX27" fmla="*/ 23717 w 450341"/>
                  <a:gd name="connsiteY27" fmla="*/ 15621 h 257746"/>
                  <a:gd name="connsiteX28" fmla="*/ 7906 w 450341"/>
                  <a:gd name="connsiteY28" fmla="*/ 23431 h 257746"/>
                  <a:gd name="connsiteX29" fmla="*/ 0 w 450341"/>
                  <a:gd name="connsiteY29" fmla="*/ 23431 h 257746"/>
                  <a:gd name="connsiteX30" fmla="*/ 0 w 450341"/>
                  <a:gd name="connsiteY30" fmla="*/ 78105 h 257746"/>
                  <a:gd name="connsiteX31" fmla="*/ 15811 w 450341"/>
                  <a:gd name="connsiteY31" fmla="*/ 109347 h 257746"/>
                  <a:gd name="connsiteX32" fmla="*/ 23717 w 450341"/>
                  <a:gd name="connsiteY32" fmla="*/ 117157 h 257746"/>
                  <a:gd name="connsiteX33" fmla="*/ 23717 w 450341"/>
                  <a:gd name="connsiteY33" fmla="*/ 124968 h 257746"/>
                  <a:gd name="connsiteX34" fmla="*/ 39433 w 450341"/>
                  <a:gd name="connsiteY34" fmla="*/ 124968 h 257746"/>
                  <a:gd name="connsiteX35" fmla="*/ 39433 w 450341"/>
                  <a:gd name="connsiteY35" fmla="*/ 132778 h 257746"/>
                  <a:gd name="connsiteX36" fmla="*/ 55245 w 450341"/>
                  <a:gd name="connsiteY36" fmla="*/ 132778 h 257746"/>
                  <a:gd name="connsiteX37" fmla="*/ 63151 w 450341"/>
                  <a:gd name="connsiteY37" fmla="*/ 140589 h 257746"/>
                  <a:gd name="connsiteX38" fmla="*/ 94774 w 450341"/>
                  <a:gd name="connsiteY38" fmla="*/ 140589 h 257746"/>
                  <a:gd name="connsiteX39" fmla="*/ 110585 w 450341"/>
                  <a:gd name="connsiteY39" fmla="*/ 132778 h 257746"/>
                  <a:gd name="connsiteX40" fmla="*/ 134302 w 450341"/>
                  <a:gd name="connsiteY40" fmla="*/ 132778 h 257746"/>
                  <a:gd name="connsiteX41" fmla="*/ 142208 w 450341"/>
                  <a:gd name="connsiteY41" fmla="*/ 148399 h 257746"/>
                  <a:gd name="connsiteX42" fmla="*/ 142208 w 450341"/>
                  <a:gd name="connsiteY42" fmla="*/ 171831 h 257746"/>
                  <a:gd name="connsiteX43" fmla="*/ 126397 w 450341"/>
                  <a:gd name="connsiteY43" fmla="*/ 187452 h 257746"/>
                  <a:gd name="connsiteX44" fmla="*/ 134302 w 450341"/>
                  <a:gd name="connsiteY44" fmla="*/ 210884 h 257746"/>
                  <a:gd name="connsiteX45" fmla="*/ 158020 w 450341"/>
                  <a:gd name="connsiteY45" fmla="*/ 210884 h 257746"/>
                  <a:gd name="connsiteX46" fmla="*/ 181642 w 450341"/>
                  <a:gd name="connsiteY46" fmla="*/ 218694 h 257746"/>
                  <a:gd name="connsiteX47" fmla="*/ 189547 w 450341"/>
                  <a:gd name="connsiteY47" fmla="*/ 218694 h 257746"/>
                  <a:gd name="connsiteX48" fmla="*/ 205359 w 450341"/>
                  <a:gd name="connsiteY48" fmla="*/ 226504 h 257746"/>
                  <a:gd name="connsiteX49" fmla="*/ 205359 w 450341"/>
                  <a:gd name="connsiteY49" fmla="*/ 257746 h 257746"/>
                  <a:gd name="connsiteX50" fmla="*/ 213265 w 450341"/>
                  <a:gd name="connsiteY50" fmla="*/ 257746 h 257746"/>
                  <a:gd name="connsiteX51" fmla="*/ 221171 w 450341"/>
                  <a:gd name="connsiteY51" fmla="*/ 249936 h 257746"/>
                  <a:gd name="connsiteX52" fmla="*/ 236982 w 450341"/>
                  <a:gd name="connsiteY52" fmla="*/ 249936 h 257746"/>
                  <a:gd name="connsiteX53" fmla="*/ 252793 w 450341"/>
                  <a:gd name="connsiteY53" fmla="*/ 242125 h 257746"/>
                  <a:gd name="connsiteX54" fmla="*/ 260699 w 450341"/>
                  <a:gd name="connsiteY54" fmla="*/ 242125 h 257746"/>
                  <a:gd name="connsiteX55" fmla="*/ 268605 w 450341"/>
                  <a:gd name="connsiteY55" fmla="*/ 249936 h 257746"/>
                  <a:gd name="connsiteX56" fmla="*/ 268605 w 450341"/>
                  <a:gd name="connsiteY56" fmla="*/ 257746 h 257746"/>
                  <a:gd name="connsiteX57" fmla="*/ 308134 w 450341"/>
                  <a:gd name="connsiteY57" fmla="*/ 257746 h 257746"/>
                  <a:gd name="connsiteX58" fmla="*/ 308134 w 450341"/>
                  <a:gd name="connsiteY58" fmla="*/ 234315 h 257746"/>
                  <a:gd name="connsiteX59" fmla="*/ 323850 w 450341"/>
                  <a:gd name="connsiteY59" fmla="*/ 249936 h 257746"/>
                  <a:gd name="connsiteX60" fmla="*/ 331756 w 450341"/>
                  <a:gd name="connsiteY60" fmla="*/ 234315 h 257746"/>
                  <a:gd name="connsiteX61" fmla="*/ 339661 w 450341"/>
                  <a:gd name="connsiteY61" fmla="*/ 226504 h 257746"/>
                  <a:gd name="connsiteX62" fmla="*/ 355473 w 450341"/>
                  <a:gd name="connsiteY62" fmla="*/ 218694 h 257746"/>
                  <a:gd name="connsiteX63" fmla="*/ 379190 w 450341"/>
                  <a:gd name="connsiteY63" fmla="*/ 218694 h 257746"/>
                  <a:gd name="connsiteX64" fmla="*/ 379190 w 450341"/>
                  <a:gd name="connsiteY64" fmla="*/ 226504 h 257746"/>
                  <a:gd name="connsiteX65" fmla="*/ 371284 w 450341"/>
                  <a:gd name="connsiteY65" fmla="*/ 234315 h 257746"/>
                  <a:gd name="connsiteX66" fmla="*/ 387096 w 450341"/>
                  <a:gd name="connsiteY66" fmla="*/ 234315 h 257746"/>
                  <a:gd name="connsiteX67" fmla="*/ 387096 w 450341"/>
                  <a:gd name="connsiteY67" fmla="*/ 226504 h 257746"/>
                  <a:gd name="connsiteX68" fmla="*/ 379190 w 450341"/>
                  <a:gd name="connsiteY68" fmla="*/ 218694 h 257746"/>
                  <a:gd name="connsiteX69" fmla="*/ 379190 w 450341"/>
                  <a:gd name="connsiteY69" fmla="*/ 203073 h 257746"/>
                  <a:gd name="connsiteX70" fmla="*/ 371284 w 450341"/>
                  <a:gd name="connsiteY70" fmla="*/ 195263 h 257746"/>
                  <a:gd name="connsiteX71" fmla="*/ 371284 w 450341"/>
                  <a:gd name="connsiteY71" fmla="*/ 187452 h 257746"/>
                  <a:gd name="connsiteX72" fmla="*/ 387096 w 450341"/>
                  <a:gd name="connsiteY72" fmla="*/ 187452 h 257746"/>
                  <a:gd name="connsiteX73" fmla="*/ 387096 w 450341"/>
                  <a:gd name="connsiteY73" fmla="*/ 179641 h 257746"/>
                  <a:gd name="connsiteX74" fmla="*/ 379190 w 450341"/>
                  <a:gd name="connsiteY74" fmla="*/ 164020 h 257746"/>
                  <a:gd name="connsiteX75" fmla="*/ 379190 w 450341"/>
                  <a:gd name="connsiteY75" fmla="*/ 156210 h 257746"/>
                  <a:gd name="connsiteX76" fmla="*/ 387096 w 450341"/>
                  <a:gd name="connsiteY76" fmla="*/ 148399 h 257746"/>
                  <a:gd name="connsiteX77" fmla="*/ 410813 w 450341"/>
                  <a:gd name="connsiteY77" fmla="*/ 148399 h 257746"/>
                  <a:gd name="connsiteX78" fmla="*/ 402907 w 450341"/>
                  <a:gd name="connsiteY78" fmla="*/ 124968 h 257746"/>
                  <a:gd name="connsiteX79" fmla="*/ 410813 w 450341"/>
                  <a:gd name="connsiteY79" fmla="*/ 124968 h 257746"/>
                  <a:gd name="connsiteX80" fmla="*/ 418719 w 450341"/>
                  <a:gd name="connsiteY80" fmla="*/ 132778 h 257746"/>
                  <a:gd name="connsiteX81" fmla="*/ 442436 w 450341"/>
                  <a:gd name="connsiteY81" fmla="*/ 132778 h 257746"/>
                  <a:gd name="connsiteX82" fmla="*/ 450342 w 450341"/>
                  <a:gd name="connsiteY82" fmla="*/ 124968 h 257746"/>
                  <a:gd name="connsiteX83" fmla="*/ 426625 w 450341"/>
                  <a:gd name="connsiteY83" fmla="*/ 101536 h 257746"/>
                  <a:gd name="connsiteX84" fmla="*/ 426625 w 450341"/>
                  <a:gd name="connsiteY84" fmla="*/ 93726 h 257746"/>
                  <a:gd name="connsiteX85" fmla="*/ 434530 w 450341"/>
                  <a:gd name="connsiteY85" fmla="*/ 85915 h 257746"/>
                  <a:gd name="connsiteX86" fmla="*/ 434530 w 450341"/>
                  <a:gd name="connsiteY86" fmla="*/ 78105 h 25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50341" h="257746">
                    <a:moveTo>
                      <a:pt x="434530" y="78105"/>
                    </a:moveTo>
                    <a:lnTo>
                      <a:pt x="410813" y="70294"/>
                    </a:lnTo>
                    <a:lnTo>
                      <a:pt x="387096" y="54673"/>
                    </a:lnTo>
                    <a:lnTo>
                      <a:pt x="371284" y="39052"/>
                    </a:lnTo>
                    <a:lnTo>
                      <a:pt x="363379" y="39052"/>
                    </a:lnTo>
                    <a:lnTo>
                      <a:pt x="347567" y="31242"/>
                    </a:lnTo>
                    <a:lnTo>
                      <a:pt x="308134" y="31242"/>
                    </a:lnTo>
                    <a:lnTo>
                      <a:pt x="300228" y="15621"/>
                    </a:lnTo>
                    <a:lnTo>
                      <a:pt x="292322" y="7810"/>
                    </a:lnTo>
                    <a:lnTo>
                      <a:pt x="276511" y="7810"/>
                    </a:lnTo>
                    <a:lnTo>
                      <a:pt x="260699" y="23431"/>
                    </a:lnTo>
                    <a:lnTo>
                      <a:pt x="236982" y="23431"/>
                    </a:lnTo>
                    <a:lnTo>
                      <a:pt x="229076" y="15621"/>
                    </a:lnTo>
                    <a:lnTo>
                      <a:pt x="213265" y="15621"/>
                    </a:lnTo>
                    <a:lnTo>
                      <a:pt x="205359" y="23431"/>
                    </a:lnTo>
                    <a:lnTo>
                      <a:pt x="197453" y="23431"/>
                    </a:lnTo>
                    <a:lnTo>
                      <a:pt x="189547" y="15621"/>
                    </a:lnTo>
                    <a:lnTo>
                      <a:pt x="181642" y="15621"/>
                    </a:lnTo>
                    <a:lnTo>
                      <a:pt x="165925" y="7810"/>
                    </a:lnTo>
                    <a:lnTo>
                      <a:pt x="158020" y="7810"/>
                    </a:lnTo>
                    <a:lnTo>
                      <a:pt x="150114" y="15621"/>
                    </a:lnTo>
                    <a:lnTo>
                      <a:pt x="142208" y="15621"/>
                    </a:lnTo>
                    <a:lnTo>
                      <a:pt x="134302" y="7810"/>
                    </a:lnTo>
                    <a:lnTo>
                      <a:pt x="126397" y="7810"/>
                    </a:lnTo>
                    <a:lnTo>
                      <a:pt x="118491" y="0"/>
                    </a:lnTo>
                    <a:lnTo>
                      <a:pt x="94774" y="0"/>
                    </a:lnTo>
                    <a:lnTo>
                      <a:pt x="78962" y="15621"/>
                    </a:lnTo>
                    <a:lnTo>
                      <a:pt x="23717" y="15621"/>
                    </a:lnTo>
                    <a:lnTo>
                      <a:pt x="7906" y="23431"/>
                    </a:lnTo>
                    <a:lnTo>
                      <a:pt x="0" y="23431"/>
                    </a:lnTo>
                    <a:lnTo>
                      <a:pt x="0" y="78105"/>
                    </a:lnTo>
                    <a:lnTo>
                      <a:pt x="15811" y="109347"/>
                    </a:lnTo>
                    <a:lnTo>
                      <a:pt x="23717" y="117157"/>
                    </a:lnTo>
                    <a:lnTo>
                      <a:pt x="23717" y="124968"/>
                    </a:lnTo>
                    <a:lnTo>
                      <a:pt x="39433" y="124968"/>
                    </a:lnTo>
                    <a:lnTo>
                      <a:pt x="39433" y="132778"/>
                    </a:lnTo>
                    <a:lnTo>
                      <a:pt x="55245" y="132778"/>
                    </a:lnTo>
                    <a:lnTo>
                      <a:pt x="63151" y="140589"/>
                    </a:lnTo>
                    <a:lnTo>
                      <a:pt x="94774" y="140589"/>
                    </a:lnTo>
                    <a:lnTo>
                      <a:pt x="110585" y="132778"/>
                    </a:lnTo>
                    <a:lnTo>
                      <a:pt x="134302" y="132778"/>
                    </a:lnTo>
                    <a:lnTo>
                      <a:pt x="142208" y="148399"/>
                    </a:lnTo>
                    <a:lnTo>
                      <a:pt x="142208" y="171831"/>
                    </a:lnTo>
                    <a:lnTo>
                      <a:pt x="126397" y="187452"/>
                    </a:lnTo>
                    <a:lnTo>
                      <a:pt x="134302" y="210884"/>
                    </a:lnTo>
                    <a:lnTo>
                      <a:pt x="158020" y="210884"/>
                    </a:lnTo>
                    <a:lnTo>
                      <a:pt x="181642" y="218694"/>
                    </a:lnTo>
                    <a:lnTo>
                      <a:pt x="189547" y="218694"/>
                    </a:lnTo>
                    <a:lnTo>
                      <a:pt x="205359" y="226504"/>
                    </a:lnTo>
                    <a:lnTo>
                      <a:pt x="205359" y="257746"/>
                    </a:lnTo>
                    <a:lnTo>
                      <a:pt x="213265" y="257746"/>
                    </a:lnTo>
                    <a:lnTo>
                      <a:pt x="221171" y="249936"/>
                    </a:lnTo>
                    <a:lnTo>
                      <a:pt x="236982" y="249936"/>
                    </a:lnTo>
                    <a:lnTo>
                      <a:pt x="252793" y="242125"/>
                    </a:lnTo>
                    <a:lnTo>
                      <a:pt x="260699" y="242125"/>
                    </a:lnTo>
                    <a:lnTo>
                      <a:pt x="268605" y="249936"/>
                    </a:lnTo>
                    <a:lnTo>
                      <a:pt x="268605" y="257746"/>
                    </a:lnTo>
                    <a:lnTo>
                      <a:pt x="308134" y="257746"/>
                    </a:lnTo>
                    <a:lnTo>
                      <a:pt x="308134" y="234315"/>
                    </a:lnTo>
                    <a:lnTo>
                      <a:pt x="323850" y="249936"/>
                    </a:lnTo>
                    <a:lnTo>
                      <a:pt x="331756" y="234315"/>
                    </a:lnTo>
                    <a:lnTo>
                      <a:pt x="339661" y="226504"/>
                    </a:lnTo>
                    <a:lnTo>
                      <a:pt x="355473" y="218694"/>
                    </a:lnTo>
                    <a:lnTo>
                      <a:pt x="379190" y="218694"/>
                    </a:lnTo>
                    <a:lnTo>
                      <a:pt x="379190" y="226504"/>
                    </a:lnTo>
                    <a:lnTo>
                      <a:pt x="371284" y="234315"/>
                    </a:lnTo>
                    <a:lnTo>
                      <a:pt x="387096" y="234315"/>
                    </a:lnTo>
                    <a:lnTo>
                      <a:pt x="387096" y="226504"/>
                    </a:lnTo>
                    <a:lnTo>
                      <a:pt x="379190" y="218694"/>
                    </a:lnTo>
                    <a:lnTo>
                      <a:pt x="379190" y="203073"/>
                    </a:lnTo>
                    <a:lnTo>
                      <a:pt x="371284" y="195263"/>
                    </a:lnTo>
                    <a:lnTo>
                      <a:pt x="371284" y="187452"/>
                    </a:lnTo>
                    <a:lnTo>
                      <a:pt x="387096" y="187452"/>
                    </a:lnTo>
                    <a:lnTo>
                      <a:pt x="387096" y="179641"/>
                    </a:lnTo>
                    <a:lnTo>
                      <a:pt x="379190" y="164020"/>
                    </a:lnTo>
                    <a:lnTo>
                      <a:pt x="379190" y="156210"/>
                    </a:lnTo>
                    <a:lnTo>
                      <a:pt x="387096" y="148399"/>
                    </a:lnTo>
                    <a:lnTo>
                      <a:pt x="410813" y="148399"/>
                    </a:lnTo>
                    <a:lnTo>
                      <a:pt x="402907" y="124968"/>
                    </a:lnTo>
                    <a:lnTo>
                      <a:pt x="410813" y="124968"/>
                    </a:lnTo>
                    <a:lnTo>
                      <a:pt x="418719" y="132778"/>
                    </a:lnTo>
                    <a:lnTo>
                      <a:pt x="442436" y="132778"/>
                    </a:lnTo>
                    <a:lnTo>
                      <a:pt x="450342" y="124968"/>
                    </a:lnTo>
                    <a:lnTo>
                      <a:pt x="426625" y="101536"/>
                    </a:lnTo>
                    <a:lnTo>
                      <a:pt x="426625" y="93726"/>
                    </a:lnTo>
                    <a:lnTo>
                      <a:pt x="434530" y="85915"/>
                    </a:lnTo>
                    <a:lnTo>
                      <a:pt x="434530" y="78105"/>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3396721C-8DE4-1ECD-6C9C-E0E8BFC66796}"/>
                  </a:ext>
                </a:extLst>
              </p:cNvPr>
              <p:cNvSpPr/>
              <p:nvPr/>
            </p:nvSpPr>
            <p:spPr>
              <a:xfrm>
                <a:off x="6976300" y="3117722"/>
                <a:ext cx="450341" cy="257746"/>
              </a:xfrm>
              <a:custGeom>
                <a:avLst/>
                <a:gdLst>
                  <a:gd name="connsiteX0" fmla="*/ 434530 w 450341"/>
                  <a:gd name="connsiteY0" fmla="*/ 78105 h 257746"/>
                  <a:gd name="connsiteX1" fmla="*/ 410813 w 450341"/>
                  <a:gd name="connsiteY1" fmla="*/ 70294 h 257746"/>
                  <a:gd name="connsiteX2" fmla="*/ 387096 w 450341"/>
                  <a:gd name="connsiteY2" fmla="*/ 54673 h 257746"/>
                  <a:gd name="connsiteX3" fmla="*/ 371284 w 450341"/>
                  <a:gd name="connsiteY3" fmla="*/ 39052 h 257746"/>
                  <a:gd name="connsiteX4" fmla="*/ 363379 w 450341"/>
                  <a:gd name="connsiteY4" fmla="*/ 39052 h 257746"/>
                  <a:gd name="connsiteX5" fmla="*/ 347567 w 450341"/>
                  <a:gd name="connsiteY5" fmla="*/ 31242 h 257746"/>
                  <a:gd name="connsiteX6" fmla="*/ 308134 w 450341"/>
                  <a:gd name="connsiteY6" fmla="*/ 31242 h 257746"/>
                  <a:gd name="connsiteX7" fmla="*/ 300228 w 450341"/>
                  <a:gd name="connsiteY7" fmla="*/ 15621 h 257746"/>
                  <a:gd name="connsiteX8" fmla="*/ 292322 w 450341"/>
                  <a:gd name="connsiteY8" fmla="*/ 7810 h 257746"/>
                  <a:gd name="connsiteX9" fmla="*/ 276511 w 450341"/>
                  <a:gd name="connsiteY9" fmla="*/ 7810 h 257746"/>
                  <a:gd name="connsiteX10" fmla="*/ 260699 w 450341"/>
                  <a:gd name="connsiteY10" fmla="*/ 23431 h 257746"/>
                  <a:gd name="connsiteX11" fmla="*/ 236982 w 450341"/>
                  <a:gd name="connsiteY11" fmla="*/ 23431 h 257746"/>
                  <a:gd name="connsiteX12" fmla="*/ 229076 w 450341"/>
                  <a:gd name="connsiteY12" fmla="*/ 15621 h 257746"/>
                  <a:gd name="connsiteX13" fmla="*/ 213265 w 450341"/>
                  <a:gd name="connsiteY13" fmla="*/ 15621 h 257746"/>
                  <a:gd name="connsiteX14" fmla="*/ 205359 w 450341"/>
                  <a:gd name="connsiteY14" fmla="*/ 23431 h 257746"/>
                  <a:gd name="connsiteX15" fmla="*/ 197453 w 450341"/>
                  <a:gd name="connsiteY15" fmla="*/ 23431 h 257746"/>
                  <a:gd name="connsiteX16" fmla="*/ 189547 w 450341"/>
                  <a:gd name="connsiteY16" fmla="*/ 15621 h 257746"/>
                  <a:gd name="connsiteX17" fmla="*/ 181642 w 450341"/>
                  <a:gd name="connsiteY17" fmla="*/ 15621 h 257746"/>
                  <a:gd name="connsiteX18" fmla="*/ 165925 w 450341"/>
                  <a:gd name="connsiteY18" fmla="*/ 7810 h 257746"/>
                  <a:gd name="connsiteX19" fmla="*/ 158020 w 450341"/>
                  <a:gd name="connsiteY19" fmla="*/ 7810 h 257746"/>
                  <a:gd name="connsiteX20" fmla="*/ 150114 w 450341"/>
                  <a:gd name="connsiteY20" fmla="*/ 15621 h 257746"/>
                  <a:gd name="connsiteX21" fmla="*/ 142208 w 450341"/>
                  <a:gd name="connsiteY21" fmla="*/ 15621 h 257746"/>
                  <a:gd name="connsiteX22" fmla="*/ 134302 w 450341"/>
                  <a:gd name="connsiteY22" fmla="*/ 7810 h 257746"/>
                  <a:gd name="connsiteX23" fmla="*/ 126397 w 450341"/>
                  <a:gd name="connsiteY23" fmla="*/ 7810 h 257746"/>
                  <a:gd name="connsiteX24" fmla="*/ 118491 w 450341"/>
                  <a:gd name="connsiteY24" fmla="*/ 0 h 257746"/>
                  <a:gd name="connsiteX25" fmla="*/ 94774 w 450341"/>
                  <a:gd name="connsiteY25" fmla="*/ 0 h 257746"/>
                  <a:gd name="connsiteX26" fmla="*/ 78962 w 450341"/>
                  <a:gd name="connsiteY26" fmla="*/ 15621 h 257746"/>
                  <a:gd name="connsiteX27" fmla="*/ 23717 w 450341"/>
                  <a:gd name="connsiteY27" fmla="*/ 15621 h 257746"/>
                  <a:gd name="connsiteX28" fmla="*/ 7906 w 450341"/>
                  <a:gd name="connsiteY28" fmla="*/ 23431 h 257746"/>
                  <a:gd name="connsiteX29" fmla="*/ 0 w 450341"/>
                  <a:gd name="connsiteY29" fmla="*/ 23431 h 257746"/>
                  <a:gd name="connsiteX30" fmla="*/ 0 w 450341"/>
                  <a:gd name="connsiteY30" fmla="*/ 78105 h 257746"/>
                  <a:gd name="connsiteX31" fmla="*/ 15811 w 450341"/>
                  <a:gd name="connsiteY31" fmla="*/ 109347 h 257746"/>
                  <a:gd name="connsiteX32" fmla="*/ 23717 w 450341"/>
                  <a:gd name="connsiteY32" fmla="*/ 117157 h 257746"/>
                  <a:gd name="connsiteX33" fmla="*/ 23717 w 450341"/>
                  <a:gd name="connsiteY33" fmla="*/ 124968 h 257746"/>
                  <a:gd name="connsiteX34" fmla="*/ 39433 w 450341"/>
                  <a:gd name="connsiteY34" fmla="*/ 124968 h 257746"/>
                  <a:gd name="connsiteX35" fmla="*/ 39433 w 450341"/>
                  <a:gd name="connsiteY35" fmla="*/ 132778 h 257746"/>
                  <a:gd name="connsiteX36" fmla="*/ 55245 w 450341"/>
                  <a:gd name="connsiteY36" fmla="*/ 132778 h 257746"/>
                  <a:gd name="connsiteX37" fmla="*/ 63151 w 450341"/>
                  <a:gd name="connsiteY37" fmla="*/ 140589 h 257746"/>
                  <a:gd name="connsiteX38" fmla="*/ 94774 w 450341"/>
                  <a:gd name="connsiteY38" fmla="*/ 140589 h 257746"/>
                  <a:gd name="connsiteX39" fmla="*/ 110585 w 450341"/>
                  <a:gd name="connsiteY39" fmla="*/ 132778 h 257746"/>
                  <a:gd name="connsiteX40" fmla="*/ 134302 w 450341"/>
                  <a:gd name="connsiteY40" fmla="*/ 132778 h 257746"/>
                  <a:gd name="connsiteX41" fmla="*/ 142208 w 450341"/>
                  <a:gd name="connsiteY41" fmla="*/ 148399 h 257746"/>
                  <a:gd name="connsiteX42" fmla="*/ 142208 w 450341"/>
                  <a:gd name="connsiteY42" fmla="*/ 171831 h 257746"/>
                  <a:gd name="connsiteX43" fmla="*/ 126397 w 450341"/>
                  <a:gd name="connsiteY43" fmla="*/ 187452 h 257746"/>
                  <a:gd name="connsiteX44" fmla="*/ 134302 w 450341"/>
                  <a:gd name="connsiteY44" fmla="*/ 210884 h 257746"/>
                  <a:gd name="connsiteX45" fmla="*/ 158020 w 450341"/>
                  <a:gd name="connsiteY45" fmla="*/ 210884 h 257746"/>
                  <a:gd name="connsiteX46" fmla="*/ 181642 w 450341"/>
                  <a:gd name="connsiteY46" fmla="*/ 218694 h 257746"/>
                  <a:gd name="connsiteX47" fmla="*/ 189547 w 450341"/>
                  <a:gd name="connsiteY47" fmla="*/ 218694 h 257746"/>
                  <a:gd name="connsiteX48" fmla="*/ 205359 w 450341"/>
                  <a:gd name="connsiteY48" fmla="*/ 226504 h 257746"/>
                  <a:gd name="connsiteX49" fmla="*/ 205359 w 450341"/>
                  <a:gd name="connsiteY49" fmla="*/ 257746 h 257746"/>
                  <a:gd name="connsiteX50" fmla="*/ 213265 w 450341"/>
                  <a:gd name="connsiteY50" fmla="*/ 257746 h 257746"/>
                  <a:gd name="connsiteX51" fmla="*/ 221171 w 450341"/>
                  <a:gd name="connsiteY51" fmla="*/ 249936 h 257746"/>
                  <a:gd name="connsiteX52" fmla="*/ 236982 w 450341"/>
                  <a:gd name="connsiteY52" fmla="*/ 249936 h 257746"/>
                  <a:gd name="connsiteX53" fmla="*/ 252793 w 450341"/>
                  <a:gd name="connsiteY53" fmla="*/ 242125 h 257746"/>
                  <a:gd name="connsiteX54" fmla="*/ 260699 w 450341"/>
                  <a:gd name="connsiteY54" fmla="*/ 242125 h 257746"/>
                  <a:gd name="connsiteX55" fmla="*/ 268605 w 450341"/>
                  <a:gd name="connsiteY55" fmla="*/ 249936 h 257746"/>
                  <a:gd name="connsiteX56" fmla="*/ 268605 w 450341"/>
                  <a:gd name="connsiteY56" fmla="*/ 257746 h 257746"/>
                  <a:gd name="connsiteX57" fmla="*/ 308134 w 450341"/>
                  <a:gd name="connsiteY57" fmla="*/ 257746 h 257746"/>
                  <a:gd name="connsiteX58" fmla="*/ 308134 w 450341"/>
                  <a:gd name="connsiteY58" fmla="*/ 234315 h 257746"/>
                  <a:gd name="connsiteX59" fmla="*/ 323850 w 450341"/>
                  <a:gd name="connsiteY59" fmla="*/ 249936 h 257746"/>
                  <a:gd name="connsiteX60" fmla="*/ 331756 w 450341"/>
                  <a:gd name="connsiteY60" fmla="*/ 234315 h 257746"/>
                  <a:gd name="connsiteX61" fmla="*/ 339661 w 450341"/>
                  <a:gd name="connsiteY61" fmla="*/ 226504 h 257746"/>
                  <a:gd name="connsiteX62" fmla="*/ 355473 w 450341"/>
                  <a:gd name="connsiteY62" fmla="*/ 218694 h 257746"/>
                  <a:gd name="connsiteX63" fmla="*/ 379190 w 450341"/>
                  <a:gd name="connsiteY63" fmla="*/ 218694 h 257746"/>
                  <a:gd name="connsiteX64" fmla="*/ 379190 w 450341"/>
                  <a:gd name="connsiteY64" fmla="*/ 226504 h 257746"/>
                  <a:gd name="connsiteX65" fmla="*/ 371284 w 450341"/>
                  <a:gd name="connsiteY65" fmla="*/ 234315 h 257746"/>
                  <a:gd name="connsiteX66" fmla="*/ 387096 w 450341"/>
                  <a:gd name="connsiteY66" fmla="*/ 234315 h 257746"/>
                  <a:gd name="connsiteX67" fmla="*/ 387096 w 450341"/>
                  <a:gd name="connsiteY67" fmla="*/ 226504 h 257746"/>
                  <a:gd name="connsiteX68" fmla="*/ 379190 w 450341"/>
                  <a:gd name="connsiteY68" fmla="*/ 218694 h 257746"/>
                  <a:gd name="connsiteX69" fmla="*/ 379190 w 450341"/>
                  <a:gd name="connsiteY69" fmla="*/ 203073 h 257746"/>
                  <a:gd name="connsiteX70" fmla="*/ 371284 w 450341"/>
                  <a:gd name="connsiteY70" fmla="*/ 195263 h 257746"/>
                  <a:gd name="connsiteX71" fmla="*/ 371284 w 450341"/>
                  <a:gd name="connsiteY71" fmla="*/ 187452 h 257746"/>
                  <a:gd name="connsiteX72" fmla="*/ 387096 w 450341"/>
                  <a:gd name="connsiteY72" fmla="*/ 187452 h 257746"/>
                  <a:gd name="connsiteX73" fmla="*/ 387096 w 450341"/>
                  <a:gd name="connsiteY73" fmla="*/ 179641 h 257746"/>
                  <a:gd name="connsiteX74" fmla="*/ 379190 w 450341"/>
                  <a:gd name="connsiteY74" fmla="*/ 164020 h 257746"/>
                  <a:gd name="connsiteX75" fmla="*/ 379190 w 450341"/>
                  <a:gd name="connsiteY75" fmla="*/ 156210 h 257746"/>
                  <a:gd name="connsiteX76" fmla="*/ 387096 w 450341"/>
                  <a:gd name="connsiteY76" fmla="*/ 148399 h 257746"/>
                  <a:gd name="connsiteX77" fmla="*/ 410813 w 450341"/>
                  <a:gd name="connsiteY77" fmla="*/ 148399 h 257746"/>
                  <a:gd name="connsiteX78" fmla="*/ 402907 w 450341"/>
                  <a:gd name="connsiteY78" fmla="*/ 124968 h 257746"/>
                  <a:gd name="connsiteX79" fmla="*/ 410813 w 450341"/>
                  <a:gd name="connsiteY79" fmla="*/ 124968 h 257746"/>
                  <a:gd name="connsiteX80" fmla="*/ 418719 w 450341"/>
                  <a:gd name="connsiteY80" fmla="*/ 132778 h 257746"/>
                  <a:gd name="connsiteX81" fmla="*/ 442436 w 450341"/>
                  <a:gd name="connsiteY81" fmla="*/ 132778 h 257746"/>
                  <a:gd name="connsiteX82" fmla="*/ 450342 w 450341"/>
                  <a:gd name="connsiteY82" fmla="*/ 124968 h 257746"/>
                  <a:gd name="connsiteX83" fmla="*/ 426625 w 450341"/>
                  <a:gd name="connsiteY83" fmla="*/ 101536 h 257746"/>
                  <a:gd name="connsiteX84" fmla="*/ 426625 w 450341"/>
                  <a:gd name="connsiteY84" fmla="*/ 93726 h 257746"/>
                  <a:gd name="connsiteX85" fmla="*/ 434530 w 450341"/>
                  <a:gd name="connsiteY85" fmla="*/ 85915 h 257746"/>
                  <a:gd name="connsiteX86" fmla="*/ 434530 w 450341"/>
                  <a:gd name="connsiteY86" fmla="*/ 78105 h 25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50341" h="257746">
                    <a:moveTo>
                      <a:pt x="434530" y="78105"/>
                    </a:moveTo>
                    <a:lnTo>
                      <a:pt x="410813" y="70294"/>
                    </a:lnTo>
                    <a:lnTo>
                      <a:pt x="387096" y="54673"/>
                    </a:lnTo>
                    <a:lnTo>
                      <a:pt x="371284" y="39052"/>
                    </a:lnTo>
                    <a:lnTo>
                      <a:pt x="363379" y="39052"/>
                    </a:lnTo>
                    <a:lnTo>
                      <a:pt x="347567" y="31242"/>
                    </a:lnTo>
                    <a:lnTo>
                      <a:pt x="308134" y="31242"/>
                    </a:lnTo>
                    <a:lnTo>
                      <a:pt x="300228" y="15621"/>
                    </a:lnTo>
                    <a:lnTo>
                      <a:pt x="292322" y="7810"/>
                    </a:lnTo>
                    <a:lnTo>
                      <a:pt x="276511" y="7810"/>
                    </a:lnTo>
                    <a:lnTo>
                      <a:pt x="260699" y="23431"/>
                    </a:lnTo>
                    <a:lnTo>
                      <a:pt x="236982" y="23431"/>
                    </a:lnTo>
                    <a:lnTo>
                      <a:pt x="229076" y="15621"/>
                    </a:lnTo>
                    <a:lnTo>
                      <a:pt x="213265" y="15621"/>
                    </a:lnTo>
                    <a:lnTo>
                      <a:pt x="205359" y="23431"/>
                    </a:lnTo>
                    <a:lnTo>
                      <a:pt x="197453" y="23431"/>
                    </a:lnTo>
                    <a:lnTo>
                      <a:pt x="189547" y="15621"/>
                    </a:lnTo>
                    <a:lnTo>
                      <a:pt x="181642" y="15621"/>
                    </a:lnTo>
                    <a:lnTo>
                      <a:pt x="165925" y="7810"/>
                    </a:lnTo>
                    <a:lnTo>
                      <a:pt x="158020" y="7810"/>
                    </a:lnTo>
                    <a:lnTo>
                      <a:pt x="150114" y="15621"/>
                    </a:lnTo>
                    <a:lnTo>
                      <a:pt x="142208" y="15621"/>
                    </a:lnTo>
                    <a:lnTo>
                      <a:pt x="134302" y="7810"/>
                    </a:lnTo>
                    <a:lnTo>
                      <a:pt x="126397" y="7810"/>
                    </a:lnTo>
                    <a:lnTo>
                      <a:pt x="118491" y="0"/>
                    </a:lnTo>
                    <a:lnTo>
                      <a:pt x="94774" y="0"/>
                    </a:lnTo>
                    <a:lnTo>
                      <a:pt x="78962" y="15621"/>
                    </a:lnTo>
                    <a:lnTo>
                      <a:pt x="23717" y="15621"/>
                    </a:lnTo>
                    <a:lnTo>
                      <a:pt x="7906" y="23431"/>
                    </a:lnTo>
                    <a:lnTo>
                      <a:pt x="0" y="23431"/>
                    </a:lnTo>
                    <a:lnTo>
                      <a:pt x="0" y="78105"/>
                    </a:lnTo>
                    <a:lnTo>
                      <a:pt x="15811" y="109347"/>
                    </a:lnTo>
                    <a:lnTo>
                      <a:pt x="23717" y="117157"/>
                    </a:lnTo>
                    <a:lnTo>
                      <a:pt x="23717" y="124968"/>
                    </a:lnTo>
                    <a:lnTo>
                      <a:pt x="39433" y="124968"/>
                    </a:lnTo>
                    <a:lnTo>
                      <a:pt x="39433" y="132778"/>
                    </a:lnTo>
                    <a:lnTo>
                      <a:pt x="55245" y="132778"/>
                    </a:lnTo>
                    <a:lnTo>
                      <a:pt x="63151" y="140589"/>
                    </a:lnTo>
                    <a:lnTo>
                      <a:pt x="94774" y="140589"/>
                    </a:lnTo>
                    <a:lnTo>
                      <a:pt x="110585" y="132778"/>
                    </a:lnTo>
                    <a:lnTo>
                      <a:pt x="134302" y="132778"/>
                    </a:lnTo>
                    <a:lnTo>
                      <a:pt x="142208" y="148399"/>
                    </a:lnTo>
                    <a:lnTo>
                      <a:pt x="142208" y="171831"/>
                    </a:lnTo>
                    <a:lnTo>
                      <a:pt x="126397" y="187452"/>
                    </a:lnTo>
                    <a:lnTo>
                      <a:pt x="134302" y="210884"/>
                    </a:lnTo>
                    <a:lnTo>
                      <a:pt x="158020" y="210884"/>
                    </a:lnTo>
                    <a:lnTo>
                      <a:pt x="181642" y="218694"/>
                    </a:lnTo>
                    <a:lnTo>
                      <a:pt x="189547" y="218694"/>
                    </a:lnTo>
                    <a:lnTo>
                      <a:pt x="205359" y="226504"/>
                    </a:lnTo>
                    <a:lnTo>
                      <a:pt x="205359" y="257746"/>
                    </a:lnTo>
                    <a:lnTo>
                      <a:pt x="213265" y="257746"/>
                    </a:lnTo>
                    <a:lnTo>
                      <a:pt x="221171" y="249936"/>
                    </a:lnTo>
                    <a:lnTo>
                      <a:pt x="236982" y="249936"/>
                    </a:lnTo>
                    <a:lnTo>
                      <a:pt x="252793" y="242125"/>
                    </a:lnTo>
                    <a:lnTo>
                      <a:pt x="260699" y="242125"/>
                    </a:lnTo>
                    <a:lnTo>
                      <a:pt x="268605" y="249936"/>
                    </a:lnTo>
                    <a:lnTo>
                      <a:pt x="268605" y="257746"/>
                    </a:lnTo>
                    <a:lnTo>
                      <a:pt x="308134" y="257746"/>
                    </a:lnTo>
                    <a:lnTo>
                      <a:pt x="308134" y="234315"/>
                    </a:lnTo>
                    <a:lnTo>
                      <a:pt x="323850" y="249936"/>
                    </a:lnTo>
                    <a:lnTo>
                      <a:pt x="331756" y="234315"/>
                    </a:lnTo>
                    <a:lnTo>
                      <a:pt x="339661" y="226504"/>
                    </a:lnTo>
                    <a:lnTo>
                      <a:pt x="355473" y="218694"/>
                    </a:lnTo>
                    <a:lnTo>
                      <a:pt x="379190" y="218694"/>
                    </a:lnTo>
                    <a:lnTo>
                      <a:pt x="379190" y="226504"/>
                    </a:lnTo>
                    <a:lnTo>
                      <a:pt x="371284" y="234315"/>
                    </a:lnTo>
                    <a:lnTo>
                      <a:pt x="387096" y="234315"/>
                    </a:lnTo>
                    <a:lnTo>
                      <a:pt x="387096" y="226504"/>
                    </a:lnTo>
                    <a:lnTo>
                      <a:pt x="379190" y="218694"/>
                    </a:lnTo>
                    <a:lnTo>
                      <a:pt x="379190" y="203073"/>
                    </a:lnTo>
                    <a:lnTo>
                      <a:pt x="371284" y="195263"/>
                    </a:lnTo>
                    <a:lnTo>
                      <a:pt x="371284" y="187452"/>
                    </a:lnTo>
                    <a:lnTo>
                      <a:pt x="387096" y="187452"/>
                    </a:lnTo>
                    <a:lnTo>
                      <a:pt x="387096" y="179641"/>
                    </a:lnTo>
                    <a:lnTo>
                      <a:pt x="379190" y="164020"/>
                    </a:lnTo>
                    <a:lnTo>
                      <a:pt x="379190" y="156210"/>
                    </a:lnTo>
                    <a:lnTo>
                      <a:pt x="387096" y="148399"/>
                    </a:lnTo>
                    <a:lnTo>
                      <a:pt x="410813" y="148399"/>
                    </a:lnTo>
                    <a:lnTo>
                      <a:pt x="402907" y="124968"/>
                    </a:lnTo>
                    <a:lnTo>
                      <a:pt x="410813" y="124968"/>
                    </a:lnTo>
                    <a:lnTo>
                      <a:pt x="418719" y="132778"/>
                    </a:lnTo>
                    <a:lnTo>
                      <a:pt x="442436" y="132778"/>
                    </a:lnTo>
                    <a:lnTo>
                      <a:pt x="450342" y="124968"/>
                    </a:lnTo>
                    <a:lnTo>
                      <a:pt x="426625" y="101536"/>
                    </a:lnTo>
                    <a:lnTo>
                      <a:pt x="426625" y="93726"/>
                    </a:lnTo>
                    <a:lnTo>
                      <a:pt x="434530" y="85915"/>
                    </a:lnTo>
                    <a:lnTo>
                      <a:pt x="434530" y="78105"/>
                    </a:lnTo>
                    <a:close/>
                  </a:path>
                </a:pathLst>
              </a:custGeom>
              <a:noFill/>
              <a:ln w="4763" cap="flat">
                <a:noFill/>
                <a:prstDash val="solid"/>
                <a:miter/>
              </a:ln>
            </p:spPr>
            <p:txBody>
              <a:bodyPr rtlCol="0" anchor="ctr"/>
              <a:lstStyle/>
              <a:p>
                <a:endParaRPr lang="en-GB"/>
              </a:p>
            </p:txBody>
          </p:sp>
          <p:sp>
            <p:nvSpPr>
              <p:cNvPr id="105" name="Freeform: Shape 104">
                <a:extLst>
                  <a:ext uri="{FF2B5EF4-FFF2-40B4-BE49-F238E27FC236}">
                    <a16:creationId xmlns:a16="http://schemas.microsoft.com/office/drawing/2014/main" id="{F6FB5E5B-8862-9AC8-4027-6685039F1A10}"/>
                  </a:ext>
                </a:extLst>
              </p:cNvPr>
              <p:cNvSpPr/>
              <p:nvPr/>
            </p:nvSpPr>
            <p:spPr>
              <a:xfrm>
                <a:off x="6057042" y="4052887"/>
                <a:ext cx="21240" cy="30575"/>
              </a:xfrm>
              <a:custGeom>
                <a:avLst/>
                <a:gdLst>
                  <a:gd name="connsiteX0" fmla="*/ 14097 w 21240"/>
                  <a:gd name="connsiteY0" fmla="*/ 0 h 30575"/>
                  <a:gd name="connsiteX1" fmla="*/ 7048 w 21240"/>
                  <a:gd name="connsiteY1" fmla="*/ 7715 h 30575"/>
                  <a:gd name="connsiteX2" fmla="*/ 0 w 21240"/>
                  <a:gd name="connsiteY2" fmla="*/ 22955 h 30575"/>
                  <a:gd name="connsiteX3" fmla="*/ 0 w 21240"/>
                  <a:gd name="connsiteY3" fmla="*/ 30575 h 30575"/>
                  <a:gd name="connsiteX4" fmla="*/ 21241 w 21240"/>
                  <a:gd name="connsiteY4" fmla="*/ 30575 h 30575"/>
                  <a:gd name="connsiteX5" fmla="*/ 21241 w 21240"/>
                  <a:gd name="connsiteY5" fmla="*/ 0 h 30575"/>
                  <a:gd name="connsiteX6" fmla="*/ 14097 w 21240"/>
                  <a:gd name="connsiteY6" fmla="*/ 0 h 3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40" h="30575">
                    <a:moveTo>
                      <a:pt x="14097" y="0"/>
                    </a:moveTo>
                    <a:lnTo>
                      <a:pt x="7048" y="7715"/>
                    </a:lnTo>
                    <a:lnTo>
                      <a:pt x="0" y="22955"/>
                    </a:lnTo>
                    <a:lnTo>
                      <a:pt x="0" y="30575"/>
                    </a:lnTo>
                    <a:lnTo>
                      <a:pt x="21241" y="30575"/>
                    </a:lnTo>
                    <a:lnTo>
                      <a:pt x="21241" y="0"/>
                    </a:lnTo>
                    <a:lnTo>
                      <a:pt x="14097" y="0"/>
                    </a:lnTo>
                    <a:close/>
                  </a:path>
                </a:pathLst>
              </a:custGeom>
              <a:solidFill>
                <a:srgbClr val="E7E7E7"/>
              </a:solidFill>
              <a:ln w="4763" cap="flat">
                <a:noFill/>
                <a:prstDash val="solid"/>
                <a:miter/>
              </a:ln>
            </p:spPr>
            <p:txBody>
              <a:bodyPr rtlCol="0" anchor="ctr"/>
              <a:lstStyle/>
              <a:p>
                <a:endParaRPr lang="en-GB"/>
              </a:p>
            </p:txBody>
          </p:sp>
          <p:sp>
            <p:nvSpPr>
              <p:cNvPr id="106" name="Freeform: Shape 105">
                <a:extLst>
                  <a:ext uri="{FF2B5EF4-FFF2-40B4-BE49-F238E27FC236}">
                    <a16:creationId xmlns:a16="http://schemas.microsoft.com/office/drawing/2014/main" id="{09A8EF21-5360-7F0B-3C31-28B93B0D6F13}"/>
                  </a:ext>
                </a:extLst>
              </p:cNvPr>
              <p:cNvSpPr/>
              <p:nvPr/>
            </p:nvSpPr>
            <p:spPr>
              <a:xfrm>
                <a:off x="6057042" y="4052887"/>
                <a:ext cx="21240" cy="30575"/>
              </a:xfrm>
              <a:custGeom>
                <a:avLst/>
                <a:gdLst>
                  <a:gd name="connsiteX0" fmla="*/ 14097 w 21240"/>
                  <a:gd name="connsiteY0" fmla="*/ 0 h 30575"/>
                  <a:gd name="connsiteX1" fmla="*/ 7048 w 21240"/>
                  <a:gd name="connsiteY1" fmla="*/ 7715 h 30575"/>
                  <a:gd name="connsiteX2" fmla="*/ 0 w 21240"/>
                  <a:gd name="connsiteY2" fmla="*/ 22955 h 30575"/>
                  <a:gd name="connsiteX3" fmla="*/ 0 w 21240"/>
                  <a:gd name="connsiteY3" fmla="*/ 30575 h 30575"/>
                  <a:gd name="connsiteX4" fmla="*/ 21241 w 21240"/>
                  <a:gd name="connsiteY4" fmla="*/ 30575 h 30575"/>
                  <a:gd name="connsiteX5" fmla="*/ 21241 w 21240"/>
                  <a:gd name="connsiteY5" fmla="*/ 0 h 30575"/>
                  <a:gd name="connsiteX6" fmla="*/ 14097 w 21240"/>
                  <a:gd name="connsiteY6" fmla="*/ 0 h 3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40" h="30575">
                    <a:moveTo>
                      <a:pt x="14097" y="0"/>
                    </a:moveTo>
                    <a:lnTo>
                      <a:pt x="7048" y="7715"/>
                    </a:lnTo>
                    <a:lnTo>
                      <a:pt x="0" y="22955"/>
                    </a:lnTo>
                    <a:lnTo>
                      <a:pt x="0" y="30575"/>
                    </a:lnTo>
                    <a:lnTo>
                      <a:pt x="21241" y="30575"/>
                    </a:lnTo>
                    <a:lnTo>
                      <a:pt x="21241" y="0"/>
                    </a:lnTo>
                    <a:lnTo>
                      <a:pt x="14097" y="0"/>
                    </a:lnTo>
                    <a:close/>
                  </a:path>
                </a:pathLst>
              </a:custGeom>
              <a:noFill/>
              <a:ln w="4763" cap="flat">
                <a:noFill/>
                <a:prstDash val="solid"/>
                <a:miter/>
              </a:ln>
            </p:spPr>
            <p:txBody>
              <a:bodyPr rtlCol="0" anchor="ctr"/>
              <a:lstStyle/>
              <a:p>
                <a:endParaRPr lang="en-GB"/>
              </a:p>
            </p:txBody>
          </p:sp>
          <p:sp>
            <p:nvSpPr>
              <p:cNvPr id="107" name="Freeform: Shape 106">
                <a:extLst>
                  <a:ext uri="{FF2B5EF4-FFF2-40B4-BE49-F238E27FC236}">
                    <a16:creationId xmlns:a16="http://schemas.microsoft.com/office/drawing/2014/main" id="{0A846060-A0A0-642D-FE91-9D3FA7CA123F}"/>
                  </a:ext>
                </a:extLst>
              </p:cNvPr>
              <p:cNvSpPr/>
              <p:nvPr/>
            </p:nvSpPr>
            <p:spPr>
              <a:xfrm>
                <a:off x="6966966" y="2957035"/>
                <a:ext cx="561879" cy="237744"/>
              </a:xfrm>
              <a:custGeom>
                <a:avLst/>
                <a:gdLst>
                  <a:gd name="connsiteX0" fmla="*/ 7906 w 561879"/>
                  <a:gd name="connsiteY0" fmla="*/ 190214 h 237744"/>
                  <a:gd name="connsiteX1" fmla="*/ 7906 w 561879"/>
                  <a:gd name="connsiteY1" fmla="*/ 182213 h 237744"/>
                  <a:gd name="connsiteX2" fmla="*/ 15812 w 561879"/>
                  <a:gd name="connsiteY2" fmla="*/ 182213 h 237744"/>
                  <a:gd name="connsiteX3" fmla="*/ 31623 w 561879"/>
                  <a:gd name="connsiteY3" fmla="*/ 174308 h 237744"/>
                  <a:gd name="connsiteX4" fmla="*/ 87058 w 561879"/>
                  <a:gd name="connsiteY4" fmla="*/ 174308 h 237744"/>
                  <a:gd name="connsiteX5" fmla="*/ 102870 w 561879"/>
                  <a:gd name="connsiteY5" fmla="*/ 158496 h 237744"/>
                  <a:gd name="connsiteX6" fmla="*/ 126682 w 561879"/>
                  <a:gd name="connsiteY6" fmla="*/ 158496 h 237744"/>
                  <a:gd name="connsiteX7" fmla="*/ 134588 w 561879"/>
                  <a:gd name="connsiteY7" fmla="*/ 166402 h 237744"/>
                  <a:gd name="connsiteX8" fmla="*/ 142494 w 561879"/>
                  <a:gd name="connsiteY8" fmla="*/ 166402 h 237744"/>
                  <a:gd name="connsiteX9" fmla="*/ 150400 w 561879"/>
                  <a:gd name="connsiteY9" fmla="*/ 174308 h 237744"/>
                  <a:gd name="connsiteX10" fmla="*/ 158305 w 561879"/>
                  <a:gd name="connsiteY10" fmla="*/ 174308 h 237744"/>
                  <a:gd name="connsiteX11" fmla="*/ 166211 w 561879"/>
                  <a:gd name="connsiteY11" fmla="*/ 166402 h 237744"/>
                  <a:gd name="connsiteX12" fmla="*/ 174117 w 561879"/>
                  <a:gd name="connsiteY12" fmla="*/ 166402 h 237744"/>
                  <a:gd name="connsiteX13" fmla="*/ 189929 w 561879"/>
                  <a:gd name="connsiteY13" fmla="*/ 174308 h 237744"/>
                  <a:gd name="connsiteX14" fmla="*/ 197834 w 561879"/>
                  <a:gd name="connsiteY14" fmla="*/ 174308 h 237744"/>
                  <a:gd name="connsiteX15" fmla="*/ 205740 w 561879"/>
                  <a:gd name="connsiteY15" fmla="*/ 182213 h 237744"/>
                  <a:gd name="connsiteX16" fmla="*/ 213741 w 561879"/>
                  <a:gd name="connsiteY16" fmla="*/ 182213 h 237744"/>
                  <a:gd name="connsiteX17" fmla="*/ 221647 w 561879"/>
                  <a:gd name="connsiteY17" fmla="*/ 174308 h 237744"/>
                  <a:gd name="connsiteX18" fmla="*/ 237458 w 561879"/>
                  <a:gd name="connsiteY18" fmla="*/ 174308 h 237744"/>
                  <a:gd name="connsiteX19" fmla="*/ 245364 w 561879"/>
                  <a:gd name="connsiteY19" fmla="*/ 182213 h 237744"/>
                  <a:gd name="connsiteX20" fmla="*/ 269081 w 561879"/>
                  <a:gd name="connsiteY20" fmla="*/ 182213 h 237744"/>
                  <a:gd name="connsiteX21" fmla="*/ 284893 w 561879"/>
                  <a:gd name="connsiteY21" fmla="*/ 166402 h 237744"/>
                  <a:gd name="connsiteX22" fmla="*/ 300799 w 561879"/>
                  <a:gd name="connsiteY22" fmla="*/ 166402 h 237744"/>
                  <a:gd name="connsiteX23" fmla="*/ 308610 w 561879"/>
                  <a:gd name="connsiteY23" fmla="*/ 174308 h 237744"/>
                  <a:gd name="connsiteX24" fmla="*/ 316611 w 561879"/>
                  <a:gd name="connsiteY24" fmla="*/ 190214 h 237744"/>
                  <a:gd name="connsiteX25" fmla="*/ 356140 w 561879"/>
                  <a:gd name="connsiteY25" fmla="*/ 190214 h 237744"/>
                  <a:gd name="connsiteX26" fmla="*/ 371951 w 561879"/>
                  <a:gd name="connsiteY26" fmla="*/ 198120 h 237744"/>
                  <a:gd name="connsiteX27" fmla="*/ 379857 w 561879"/>
                  <a:gd name="connsiteY27" fmla="*/ 198120 h 237744"/>
                  <a:gd name="connsiteX28" fmla="*/ 395764 w 561879"/>
                  <a:gd name="connsiteY28" fmla="*/ 213932 h 237744"/>
                  <a:gd name="connsiteX29" fmla="*/ 419481 w 561879"/>
                  <a:gd name="connsiteY29" fmla="*/ 229838 h 237744"/>
                  <a:gd name="connsiteX30" fmla="*/ 443198 w 561879"/>
                  <a:gd name="connsiteY30" fmla="*/ 237744 h 237744"/>
                  <a:gd name="connsiteX31" fmla="*/ 474821 w 561879"/>
                  <a:gd name="connsiteY31" fmla="*/ 221933 h 237744"/>
                  <a:gd name="connsiteX32" fmla="*/ 498634 w 561879"/>
                  <a:gd name="connsiteY32" fmla="*/ 221933 h 237744"/>
                  <a:gd name="connsiteX33" fmla="*/ 506539 w 561879"/>
                  <a:gd name="connsiteY33" fmla="*/ 229838 h 237744"/>
                  <a:gd name="connsiteX34" fmla="*/ 514445 w 561879"/>
                  <a:gd name="connsiteY34" fmla="*/ 221933 h 237744"/>
                  <a:gd name="connsiteX35" fmla="*/ 522351 w 561879"/>
                  <a:gd name="connsiteY35" fmla="*/ 221933 h 237744"/>
                  <a:gd name="connsiteX36" fmla="*/ 530257 w 561879"/>
                  <a:gd name="connsiteY36" fmla="*/ 213932 h 237744"/>
                  <a:gd name="connsiteX37" fmla="*/ 538163 w 561879"/>
                  <a:gd name="connsiteY37" fmla="*/ 198120 h 237744"/>
                  <a:gd name="connsiteX38" fmla="*/ 546068 w 561879"/>
                  <a:gd name="connsiteY38" fmla="*/ 190214 h 237744"/>
                  <a:gd name="connsiteX39" fmla="*/ 553974 w 561879"/>
                  <a:gd name="connsiteY39" fmla="*/ 198120 h 237744"/>
                  <a:gd name="connsiteX40" fmla="*/ 561880 w 561879"/>
                  <a:gd name="connsiteY40" fmla="*/ 198120 h 237744"/>
                  <a:gd name="connsiteX41" fmla="*/ 561880 w 561879"/>
                  <a:gd name="connsiteY41" fmla="*/ 166402 h 237744"/>
                  <a:gd name="connsiteX42" fmla="*/ 546068 w 561879"/>
                  <a:gd name="connsiteY42" fmla="*/ 150495 h 237744"/>
                  <a:gd name="connsiteX43" fmla="*/ 538163 w 561879"/>
                  <a:gd name="connsiteY43" fmla="*/ 134684 h 237744"/>
                  <a:gd name="connsiteX44" fmla="*/ 530257 w 561879"/>
                  <a:gd name="connsiteY44" fmla="*/ 126778 h 237744"/>
                  <a:gd name="connsiteX45" fmla="*/ 498634 w 561879"/>
                  <a:gd name="connsiteY45" fmla="*/ 118872 h 237744"/>
                  <a:gd name="connsiteX46" fmla="*/ 506539 w 561879"/>
                  <a:gd name="connsiteY46" fmla="*/ 95059 h 237744"/>
                  <a:gd name="connsiteX47" fmla="*/ 530257 w 561879"/>
                  <a:gd name="connsiteY47" fmla="*/ 95059 h 237744"/>
                  <a:gd name="connsiteX48" fmla="*/ 530257 w 561879"/>
                  <a:gd name="connsiteY48" fmla="*/ 87154 h 237744"/>
                  <a:gd name="connsiteX49" fmla="*/ 522351 w 561879"/>
                  <a:gd name="connsiteY49" fmla="*/ 79248 h 237744"/>
                  <a:gd name="connsiteX50" fmla="*/ 506539 w 561879"/>
                  <a:gd name="connsiteY50" fmla="*/ 71247 h 237744"/>
                  <a:gd name="connsiteX51" fmla="*/ 490728 w 561879"/>
                  <a:gd name="connsiteY51" fmla="*/ 55436 h 237744"/>
                  <a:gd name="connsiteX52" fmla="*/ 466915 w 561879"/>
                  <a:gd name="connsiteY52" fmla="*/ 55436 h 237744"/>
                  <a:gd name="connsiteX53" fmla="*/ 459010 w 561879"/>
                  <a:gd name="connsiteY53" fmla="*/ 47530 h 237744"/>
                  <a:gd name="connsiteX54" fmla="*/ 435293 w 561879"/>
                  <a:gd name="connsiteY54" fmla="*/ 47530 h 237744"/>
                  <a:gd name="connsiteX55" fmla="*/ 427387 w 561879"/>
                  <a:gd name="connsiteY55" fmla="*/ 55436 h 237744"/>
                  <a:gd name="connsiteX56" fmla="*/ 403670 w 561879"/>
                  <a:gd name="connsiteY56" fmla="*/ 55436 h 237744"/>
                  <a:gd name="connsiteX57" fmla="*/ 379857 w 561879"/>
                  <a:gd name="connsiteY57" fmla="*/ 31623 h 237744"/>
                  <a:gd name="connsiteX58" fmla="*/ 364046 w 561879"/>
                  <a:gd name="connsiteY58" fmla="*/ 23717 h 237744"/>
                  <a:gd name="connsiteX59" fmla="*/ 356140 w 561879"/>
                  <a:gd name="connsiteY59" fmla="*/ 15812 h 237744"/>
                  <a:gd name="connsiteX60" fmla="*/ 324517 w 561879"/>
                  <a:gd name="connsiteY60" fmla="*/ 0 h 237744"/>
                  <a:gd name="connsiteX61" fmla="*/ 284893 w 561879"/>
                  <a:gd name="connsiteY61" fmla="*/ 0 h 237744"/>
                  <a:gd name="connsiteX62" fmla="*/ 245364 w 561879"/>
                  <a:gd name="connsiteY62" fmla="*/ 15812 h 237744"/>
                  <a:gd name="connsiteX63" fmla="*/ 229553 w 561879"/>
                  <a:gd name="connsiteY63" fmla="*/ 15812 h 237744"/>
                  <a:gd name="connsiteX64" fmla="*/ 237458 w 561879"/>
                  <a:gd name="connsiteY64" fmla="*/ 31623 h 237744"/>
                  <a:gd name="connsiteX65" fmla="*/ 237458 w 561879"/>
                  <a:gd name="connsiteY65" fmla="*/ 39529 h 237744"/>
                  <a:gd name="connsiteX66" fmla="*/ 245364 w 561879"/>
                  <a:gd name="connsiteY66" fmla="*/ 55436 h 237744"/>
                  <a:gd name="connsiteX67" fmla="*/ 245364 w 561879"/>
                  <a:gd name="connsiteY67" fmla="*/ 79248 h 237744"/>
                  <a:gd name="connsiteX68" fmla="*/ 253270 w 561879"/>
                  <a:gd name="connsiteY68" fmla="*/ 87154 h 237744"/>
                  <a:gd name="connsiteX69" fmla="*/ 245364 w 561879"/>
                  <a:gd name="connsiteY69" fmla="*/ 102965 h 237744"/>
                  <a:gd name="connsiteX70" fmla="*/ 205740 w 561879"/>
                  <a:gd name="connsiteY70" fmla="*/ 102965 h 237744"/>
                  <a:gd name="connsiteX71" fmla="*/ 182023 w 561879"/>
                  <a:gd name="connsiteY71" fmla="*/ 95059 h 237744"/>
                  <a:gd name="connsiteX72" fmla="*/ 166211 w 561879"/>
                  <a:gd name="connsiteY72" fmla="*/ 95059 h 237744"/>
                  <a:gd name="connsiteX73" fmla="*/ 150400 w 561879"/>
                  <a:gd name="connsiteY73" fmla="*/ 71247 h 237744"/>
                  <a:gd name="connsiteX74" fmla="*/ 110776 w 561879"/>
                  <a:gd name="connsiteY74" fmla="*/ 31623 h 237744"/>
                  <a:gd name="connsiteX75" fmla="*/ 94964 w 561879"/>
                  <a:gd name="connsiteY75" fmla="*/ 31623 h 237744"/>
                  <a:gd name="connsiteX76" fmla="*/ 79153 w 561879"/>
                  <a:gd name="connsiteY76" fmla="*/ 39529 h 237744"/>
                  <a:gd name="connsiteX77" fmla="*/ 63341 w 561879"/>
                  <a:gd name="connsiteY77" fmla="*/ 39529 h 237744"/>
                  <a:gd name="connsiteX78" fmla="*/ 47530 w 561879"/>
                  <a:gd name="connsiteY78" fmla="*/ 47530 h 237744"/>
                  <a:gd name="connsiteX79" fmla="*/ 39624 w 561879"/>
                  <a:gd name="connsiteY79" fmla="*/ 55436 h 237744"/>
                  <a:gd name="connsiteX80" fmla="*/ 31623 w 561879"/>
                  <a:gd name="connsiteY80" fmla="*/ 71247 h 237744"/>
                  <a:gd name="connsiteX81" fmla="*/ 31623 w 561879"/>
                  <a:gd name="connsiteY81" fmla="*/ 87154 h 237744"/>
                  <a:gd name="connsiteX82" fmla="*/ 23717 w 561879"/>
                  <a:gd name="connsiteY82" fmla="*/ 102965 h 237744"/>
                  <a:gd name="connsiteX83" fmla="*/ 7906 w 561879"/>
                  <a:gd name="connsiteY83" fmla="*/ 110966 h 237744"/>
                  <a:gd name="connsiteX84" fmla="*/ 0 w 561879"/>
                  <a:gd name="connsiteY84" fmla="*/ 126778 h 237744"/>
                  <a:gd name="connsiteX85" fmla="*/ 0 w 561879"/>
                  <a:gd name="connsiteY85" fmla="*/ 158496 h 237744"/>
                  <a:gd name="connsiteX86" fmla="*/ 7906 w 561879"/>
                  <a:gd name="connsiteY86" fmla="*/ 174308 h 237744"/>
                  <a:gd name="connsiteX87" fmla="*/ 7906 w 561879"/>
                  <a:gd name="connsiteY87" fmla="*/ 198120 h 237744"/>
                  <a:gd name="connsiteX88" fmla="*/ 7906 w 561879"/>
                  <a:gd name="connsiteY88" fmla="*/ 190214 h 23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61879" h="237744">
                    <a:moveTo>
                      <a:pt x="7906" y="190214"/>
                    </a:moveTo>
                    <a:lnTo>
                      <a:pt x="7906" y="182213"/>
                    </a:lnTo>
                    <a:lnTo>
                      <a:pt x="15812" y="182213"/>
                    </a:lnTo>
                    <a:lnTo>
                      <a:pt x="31623" y="174308"/>
                    </a:lnTo>
                    <a:lnTo>
                      <a:pt x="87058" y="174308"/>
                    </a:lnTo>
                    <a:lnTo>
                      <a:pt x="102870" y="158496"/>
                    </a:lnTo>
                    <a:lnTo>
                      <a:pt x="126682" y="158496"/>
                    </a:lnTo>
                    <a:lnTo>
                      <a:pt x="134588" y="166402"/>
                    </a:lnTo>
                    <a:lnTo>
                      <a:pt x="142494" y="166402"/>
                    </a:lnTo>
                    <a:lnTo>
                      <a:pt x="150400" y="174308"/>
                    </a:lnTo>
                    <a:lnTo>
                      <a:pt x="158305" y="174308"/>
                    </a:lnTo>
                    <a:lnTo>
                      <a:pt x="166211" y="166402"/>
                    </a:lnTo>
                    <a:lnTo>
                      <a:pt x="174117" y="166402"/>
                    </a:lnTo>
                    <a:lnTo>
                      <a:pt x="189929" y="174308"/>
                    </a:lnTo>
                    <a:lnTo>
                      <a:pt x="197834" y="174308"/>
                    </a:lnTo>
                    <a:lnTo>
                      <a:pt x="205740" y="182213"/>
                    </a:lnTo>
                    <a:lnTo>
                      <a:pt x="213741" y="182213"/>
                    </a:lnTo>
                    <a:lnTo>
                      <a:pt x="221647" y="174308"/>
                    </a:lnTo>
                    <a:lnTo>
                      <a:pt x="237458" y="174308"/>
                    </a:lnTo>
                    <a:lnTo>
                      <a:pt x="245364" y="182213"/>
                    </a:lnTo>
                    <a:lnTo>
                      <a:pt x="269081" y="182213"/>
                    </a:lnTo>
                    <a:lnTo>
                      <a:pt x="284893" y="166402"/>
                    </a:lnTo>
                    <a:lnTo>
                      <a:pt x="300799" y="166402"/>
                    </a:lnTo>
                    <a:lnTo>
                      <a:pt x="308610" y="174308"/>
                    </a:lnTo>
                    <a:lnTo>
                      <a:pt x="316611" y="190214"/>
                    </a:lnTo>
                    <a:lnTo>
                      <a:pt x="356140" y="190214"/>
                    </a:lnTo>
                    <a:lnTo>
                      <a:pt x="371951" y="198120"/>
                    </a:lnTo>
                    <a:lnTo>
                      <a:pt x="379857" y="198120"/>
                    </a:lnTo>
                    <a:lnTo>
                      <a:pt x="395764" y="213932"/>
                    </a:lnTo>
                    <a:lnTo>
                      <a:pt x="419481" y="229838"/>
                    </a:lnTo>
                    <a:lnTo>
                      <a:pt x="443198" y="237744"/>
                    </a:lnTo>
                    <a:lnTo>
                      <a:pt x="474821" y="221933"/>
                    </a:lnTo>
                    <a:lnTo>
                      <a:pt x="498634" y="221933"/>
                    </a:lnTo>
                    <a:lnTo>
                      <a:pt x="506539" y="229838"/>
                    </a:lnTo>
                    <a:lnTo>
                      <a:pt x="514445" y="221933"/>
                    </a:lnTo>
                    <a:lnTo>
                      <a:pt x="522351" y="221933"/>
                    </a:lnTo>
                    <a:lnTo>
                      <a:pt x="530257" y="213932"/>
                    </a:lnTo>
                    <a:lnTo>
                      <a:pt x="538163" y="198120"/>
                    </a:lnTo>
                    <a:lnTo>
                      <a:pt x="546068" y="190214"/>
                    </a:lnTo>
                    <a:lnTo>
                      <a:pt x="553974" y="198120"/>
                    </a:lnTo>
                    <a:lnTo>
                      <a:pt x="561880" y="198120"/>
                    </a:lnTo>
                    <a:lnTo>
                      <a:pt x="561880" y="166402"/>
                    </a:lnTo>
                    <a:lnTo>
                      <a:pt x="546068" y="150495"/>
                    </a:lnTo>
                    <a:lnTo>
                      <a:pt x="538163" y="134684"/>
                    </a:lnTo>
                    <a:lnTo>
                      <a:pt x="530257" y="126778"/>
                    </a:lnTo>
                    <a:lnTo>
                      <a:pt x="498634" y="118872"/>
                    </a:lnTo>
                    <a:lnTo>
                      <a:pt x="506539" y="95059"/>
                    </a:lnTo>
                    <a:lnTo>
                      <a:pt x="530257" y="95059"/>
                    </a:lnTo>
                    <a:lnTo>
                      <a:pt x="530257" y="87154"/>
                    </a:lnTo>
                    <a:lnTo>
                      <a:pt x="522351" y="79248"/>
                    </a:lnTo>
                    <a:lnTo>
                      <a:pt x="506539" y="71247"/>
                    </a:lnTo>
                    <a:lnTo>
                      <a:pt x="490728" y="55436"/>
                    </a:lnTo>
                    <a:lnTo>
                      <a:pt x="466915" y="55436"/>
                    </a:lnTo>
                    <a:lnTo>
                      <a:pt x="459010" y="47530"/>
                    </a:lnTo>
                    <a:lnTo>
                      <a:pt x="435293" y="47530"/>
                    </a:lnTo>
                    <a:lnTo>
                      <a:pt x="427387" y="55436"/>
                    </a:lnTo>
                    <a:lnTo>
                      <a:pt x="403670" y="55436"/>
                    </a:lnTo>
                    <a:lnTo>
                      <a:pt x="379857" y="31623"/>
                    </a:lnTo>
                    <a:lnTo>
                      <a:pt x="364046" y="23717"/>
                    </a:lnTo>
                    <a:lnTo>
                      <a:pt x="356140" y="15812"/>
                    </a:lnTo>
                    <a:lnTo>
                      <a:pt x="324517" y="0"/>
                    </a:lnTo>
                    <a:lnTo>
                      <a:pt x="284893" y="0"/>
                    </a:lnTo>
                    <a:lnTo>
                      <a:pt x="245364" y="15812"/>
                    </a:lnTo>
                    <a:lnTo>
                      <a:pt x="229553" y="15812"/>
                    </a:lnTo>
                    <a:lnTo>
                      <a:pt x="237458" y="31623"/>
                    </a:lnTo>
                    <a:lnTo>
                      <a:pt x="237458" y="39529"/>
                    </a:lnTo>
                    <a:lnTo>
                      <a:pt x="245364" y="55436"/>
                    </a:lnTo>
                    <a:lnTo>
                      <a:pt x="245364" y="79248"/>
                    </a:lnTo>
                    <a:lnTo>
                      <a:pt x="253270" y="87154"/>
                    </a:lnTo>
                    <a:lnTo>
                      <a:pt x="245364" y="102965"/>
                    </a:lnTo>
                    <a:lnTo>
                      <a:pt x="205740" y="102965"/>
                    </a:lnTo>
                    <a:lnTo>
                      <a:pt x="182023" y="95059"/>
                    </a:lnTo>
                    <a:lnTo>
                      <a:pt x="166211" y="95059"/>
                    </a:lnTo>
                    <a:lnTo>
                      <a:pt x="150400" y="71247"/>
                    </a:lnTo>
                    <a:lnTo>
                      <a:pt x="110776" y="31623"/>
                    </a:lnTo>
                    <a:lnTo>
                      <a:pt x="94964" y="31623"/>
                    </a:lnTo>
                    <a:lnTo>
                      <a:pt x="79153" y="39529"/>
                    </a:lnTo>
                    <a:lnTo>
                      <a:pt x="63341" y="39529"/>
                    </a:lnTo>
                    <a:lnTo>
                      <a:pt x="47530" y="47530"/>
                    </a:lnTo>
                    <a:lnTo>
                      <a:pt x="39624" y="55436"/>
                    </a:lnTo>
                    <a:lnTo>
                      <a:pt x="31623" y="71247"/>
                    </a:lnTo>
                    <a:lnTo>
                      <a:pt x="31623" y="87154"/>
                    </a:lnTo>
                    <a:lnTo>
                      <a:pt x="23717" y="102965"/>
                    </a:lnTo>
                    <a:lnTo>
                      <a:pt x="7906" y="110966"/>
                    </a:lnTo>
                    <a:lnTo>
                      <a:pt x="0" y="126778"/>
                    </a:lnTo>
                    <a:lnTo>
                      <a:pt x="0" y="158496"/>
                    </a:lnTo>
                    <a:lnTo>
                      <a:pt x="7906" y="174308"/>
                    </a:lnTo>
                    <a:lnTo>
                      <a:pt x="7906" y="198120"/>
                    </a:lnTo>
                    <a:lnTo>
                      <a:pt x="7906" y="190214"/>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108" name="Freeform: Shape 107">
                <a:extLst>
                  <a:ext uri="{FF2B5EF4-FFF2-40B4-BE49-F238E27FC236}">
                    <a16:creationId xmlns:a16="http://schemas.microsoft.com/office/drawing/2014/main" id="{CDDF4BD4-7B31-5B1B-48F3-243D5A5AEC93}"/>
                  </a:ext>
                </a:extLst>
              </p:cNvPr>
              <p:cNvSpPr/>
              <p:nvPr/>
            </p:nvSpPr>
            <p:spPr>
              <a:xfrm>
                <a:off x="6966966" y="2957035"/>
                <a:ext cx="561879" cy="237744"/>
              </a:xfrm>
              <a:custGeom>
                <a:avLst/>
                <a:gdLst>
                  <a:gd name="connsiteX0" fmla="*/ 7906 w 561879"/>
                  <a:gd name="connsiteY0" fmla="*/ 190214 h 237744"/>
                  <a:gd name="connsiteX1" fmla="*/ 7906 w 561879"/>
                  <a:gd name="connsiteY1" fmla="*/ 182213 h 237744"/>
                  <a:gd name="connsiteX2" fmla="*/ 15812 w 561879"/>
                  <a:gd name="connsiteY2" fmla="*/ 182213 h 237744"/>
                  <a:gd name="connsiteX3" fmla="*/ 31623 w 561879"/>
                  <a:gd name="connsiteY3" fmla="*/ 174308 h 237744"/>
                  <a:gd name="connsiteX4" fmla="*/ 87058 w 561879"/>
                  <a:gd name="connsiteY4" fmla="*/ 174308 h 237744"/>
                  <a:gd name="connsiteX5" fmla="*/ 102870 w 561879"/>
                  <a:gd name="connsiteY5" fmla="*/ 158496 h 237744"/>
                  <a:gd name="connsiteX6" fmla="*/ 126682 w 561879"/>
                  <a:gd name="connsiteY6" fmla="*/ 158496 h 237744"/>
                  <a:gd name="connsiteX7" fmla="*/ 134588 w 561879"/>
                  <a:gd name="connsiteY7" fmla="*/ 166402 h 237744"/>
                  <a:gd name="connsiteX8" fmla="*/ 142494 w 561879"/>
                  <a:gd name="connsiteY8" fmla="*/ 166402 h 237744"/>
                  <a:gd name="connsiteX9" fmla="*/ 150400 w 561879"/>
                  <a:gd name="connsiteY9" fmla="*/ 174308 h 237744"/>
                  <a:gd name="connsiteX10" fmla="*/ 158305 w 561879"/>
                  <a:gd name="connsiteY10" fmla="*/ 174308 h 237744"/>
                  <a:gd name="connsiteX11" fmla="*/ 166211 w 561879"/>
                  <a:gd name="connsiteY11" fmla="*/ 166402 h 237744"/>
                  <a:gd name="connsiteX12" fmla="*/ 174117 w 561879"/>
                  <a:gd name="connsiteY12" fmla="*/ 166402 h 237744"/>
                  <a:gd name="connsiteX13" fmla="*/ 189929 w 561879"/>
                  <a:gd name="connsiteY13" fmla="*/ 174308 h 237744"/>
                  <a:gd name="connsiteX14" fmla="*/ 197834 w 561879"/>
                  <a:gd name="connsiteY14" fmla="*/ 174308 h 237744"/>
                  <a:gd name="connsiteX15" fmla="*/ 205740 w 561879"/>
                  <a:gd name="connsiteY15" fmla="*/ 182213 h 237744"/>
                  <a:gd name="connsiteX16" fmla="*/ 213741 w 561879"/>
                  <a:gd name="connsiteY16" fmla="*/ 182213 h 237744"/>
                  <a:gd name="connsiteX17" fmla="*/ 221647 w 561879"/>
                  <a:gd name="connsiteY17" fmla="*/ 174308 h 237744"/>
                  <a:gd name="connsiteX18" fmla="*/ 237458 w 561879"/>
                  <a:gd name="connsiteY18" fmla="*/ 174308 h 237744"/>
                  <a:gd name="connsiteX19" fmla="*/ 245364 w 561879"/>
                  <a:gd name="connsiteY19" fmla="*/ 182213 h 237744"/>
                  <a:gd name="connsiteX20" fmla="*/ 269081 w 561879"/>
                  <a:gd name="connsiteY20" fmla="*/ 182213 h 237744"/>
                  <a:gd name="connsiteX21" fmla="*/ 284893 w 561879"/>
                  <a:gd name="connsiteY21" fmla="*/ 166402 h 237744"/>
                  <a:gd name="connsiteX22" fmla="*/ 300799 w 561879"/>
                  <a:gd name="connsiteY22" fmla="*/ 166402 h 237744"/>
                  <a:gd name="connsiteX23" fmla="*/ 308610 w 561879"/>
                  <a:gd name="connsiteY23" fmla="*/ 174308 h 237744"/>
                  <a:gd name="connsiteX24" fmla="*/ 316611 w 561879"/>
                  <a:gd name="connsiteY24" fmla="*/ 190214 h 237744"/>
                  <a:gd name="connsiteX25" fmla="*/ 356140 w 561879"/>
                  <a:gd name="connsiteY25" fmla="*/ 190214 h 237744"/>
                  <a:gd name="connsiteX26" fmla="*/ 371951 w 561879"/>
                  <a:gd name="connsiteY26" fmla="*/ 198120 h 237744"/>
                  <a:gd name="connsiteX27" fmla="*/ 379857 w 561879"/>
                  <a:gd name="connsiteY27" fmla="*/ 198120 h 237744"/>
                  <a:gd name="connsiteX28" fmla="*/ 395764 w 561879"/>
                  <a:gd name="connsiteY28" fmla="*/ 213932 h 237744"/>
                  <a:gd name="connsiteX29" fmla="*/ 419481 w 561879"/>
                  <a:gd name="connsiteY29" fmla="*/ 229838 h 237744"/>
                  <a:gd name="connsiteX30" fmla="*/ 443198 w 561879"/>
                  <a:gd name="connsiteY30" fmla="*/ 237744 h 237744"/>
                  <a:gd name="connsiteX31" fmla="*/ 474821 w 561879"/>
                  <a:gd name="connsiteY31" fmla="*/ 221933 h 237744"/>
                  <a:gd name="connsiteX32" fmla="*/ 498634 w 561879"/>
                  <a:gd name="connsiteY32" fmla="*/ 221933 h 237744"/>
                  <a:gd name="connsiteX33" fmla="*/ 506539 w 561879"/>
                  <a:gd name="connsiteY33" fmla="*/ 229838 h 237744"/>
                  <a:gd name="connsiteX34" fmla="*/ 514445 w 561879"/>
                  <a:gd name="connsiteY34" fmla="*/ 221933 h 237744"/>
                  <a:gd name="connsiteX35" fmla="*/ 522351 w 561879"/>
                  <a:gd name="connsiteY35" fmla="*/ 221933 h 237744"/>
                  <a:gd name="connsiteX36" fmla="*/ 530257 w 561879"/>
                  <a:gd name="connsiteY36" fmla="*/ 213932 h 237744"/>
                  <a:gd name="connsiteX37" fmla="*/ 538163 w 561879"/>
                  <a:gd name="connsiteY37" fmla="*/ 198120 h 237744"/>
                  <a:gd name="connsiteX38" fmla="*/ 546068 w 561879"/>
                  <a:gd name="connsiteY38" fmla="*/ 190214 h 237744"/>
                  <a:gd name="connsiteX39" fmla="*/ 553974 w 561879"/>
                  <a:gd name="connsiteY39" fmla="*/ 198120 h 237744"/>
                  <a:gd name="connsiteX40" fmla="*/ 561880 w 561879"/>
                  <a:gd name="connsiteY40" fmla="*/ 198120 h 237744"/>
                  <a:gd name="connsiteX41" fmla="*/ 561880 w 561879"/>
                  <a:gd name="connsiteY41" fmla="*/ 166402 h 237744"/>
                  <a:gd name="connsiteX42" fmla="*/ 546068 w 561879"/>
                  <a:gd name="connsiteY42" fmla="*/ 150495 h 237744"/>
                  <a:gd name="connsiteX43" fmla="*/ 538163 w 561879"/>
                  <a:gd name="connsiteY43" fmla="*/ 134684 h 237744"/>
                  <a:gd name="connsiteX44" fmla="*/ 530257 w 561879"/>
                  <a:gd name="connsiteY44" fmla="*/ 126778 h 237744"/>
                  <a:gd name="connsiteX45" fmla="*/ 498634 w 561879"/>
                  <a:gd name="connsiteY45" fmla="*/ 118872 h 237744"/>
                  <a:gd name="connsiteX46" fmla="*/ 506539 w 561879"/>
                  <a:gd name="connsiteY46" fmla="*/ 95059 h 237744"/>
                  <a:gd name="connsiteX47" fmla="*/ 530257 w 561879"/>
                  <a:gd name="connsiteY47" fmla="*/ 95059 h 237744"/>
                  <a:gd name="connsiteX48" fmla="*/ 530257 w 561879"/>
                  <a:gd name="connsiteY48" fmla="*/ 87154 h 237744"/>
                  <a:gd name="connsiteX49" fmla="*/ 522351 w 561879"/>
                  <a:gd name="connsiteY49" fmla="*/ 79248 h 237744"/>
                  <a:gd name="connsiteX50" fmla="*/ 506539 w 561879"/>
                  <a:gd name="connsiteY50" fmla="*/ 71247 h 237744"/>
                  <a:gd name="connsiteX51" fmla="*/ 490728 w 561879"/>
                  <a:gd name="connsiteY51" fmla="*/ 55436 h 237744"/>
                  <a:gd name="connsiteX52" fmla="*/ 466915 w 561879"/>
                  <a:gd name="connsiteY52" fmla="*/ 55436 h 237744"/>
                  <a:gd name="connsiteX53" fmla="*/ 459010 w 561879"/>
                  <a:gd name="connsiteY53" fmla="*/ 47530 h 237744"/>
                  <a:gd name="connsiteX54" fmla="*/ 435293 w 561879"/>
                  <a:gd name="connsiteY54" fmla="*/ 47530 h 237744"/>
                  <a:gd name="connsiteX55" fmla="*/ 427387 w 561879"/>
                  <a:gd name="connsiteY55" fmla="*/ 55436 h 237744"/>
                  <a:gd name="connsiteX56" fmla="*/ 403670 w 561879"/>
                  <a:gd name="connsiteY56" fmla="*/ 55436 h 237744"/>
                  <a:gd name="connsiteX57" fmla="*/ 379857 w 561879"/>
                  <a:gd name="connsiteY57" fmla="*/ 31623 h 237744"/>
                  <a:gd name="connsiteX58" fmla="*/ 364046 w 561879"/>
                  <a:gd name="connsiteY58" fmla="*/ 23717 h 237744"/>
                  <a:gd name="connsiteX59" fmla="*/ 356140 w 561879"/>
                  <a:gd name="connsiteY59" fmla="*/ 15812 h 237744"/>
                  <a:gd name="connsiteX60" fmla="*/ 324517 w 561879"/>
                  <a:gd name="connsiteY60" fmla="*/ 0 h 237744"/>
                  <a:gd name="connsiteX61" fmla="*/ 284893 w 561879"/>
                  <a:gd name="connsiteY61" fmla="*/ 0 h 237744"/>
                  <a:gd name="connsiteX62" fmla="*/ 245364 w 561879"/>
                  <a:gd name="connsiteY62" fmla="*/ 15812 h 237744"/>
                  <a:gd name="connsiteX63" fmla="*/ 229553 w 561879"/>
                  <a:gd name="connsiteY63" fmla="*/ 15812 h 237744"/>
                  <a:gd name="connsiteX64" fmla="*/ 237458 w 561879"/>
                  <a:gd name="connsiteY64" fmla="*/ 31623 h 237744"/>
                  <a:gd name="connsiteX65" fmla="*/ 237458 w 561879"/>
                  <a:gd name="connsiteY65" fmla="*/ 39529 h 237744"/>
                  <a:gd name="connsiteX66" fmla="*/ 245364 w 561879"/>
                  <a:gd name="connsiteY66" fmla="*/ 55436 h 237744"/>
                  <a:gd name="connsiteX67" fmla="*/ 245364 w 561879"/>
                  <a:gd name="connsiteY67" fmla="*/ 79248 h 237744"/>
                  <a:gd name="connsiteX68" fmla="*/ 253270 w 561879"/>
                  <a:gd name="connsiteY68" fmla="*/ 87154 h 237744"/>
                  <a:gd name="connsiteX69" fmla="*/ 245364 w 561879"/>
                  <a:gd name="connsiteY69" fmla="*/ 102965 h 237744"/>
                  <a:gd name="connsiteX70" fmla="*/ 205740 w 561879"/>
                  <a:gd name="connsiteY70" fmla="*/ 102965 h 237744"/>
                  <a:gd name="connsiteX71" fmla="*/ 182023 w 561879"/>
                  <a:gd name="connsiteY71" fmla="*/ 95059 h 237744"/>
                  <a:gd name="connsiteX72" fmla="*/ 166211 w 561879"/>
                  <a:gd name="connsiteY72" fmla="*/ 95059 h 237744"/>
                  <a:gd name="connsiteX73" fmla="*/ 150400 w 561879"/>
                  <a:gd name="connsiteY73" fmla="*/ 71247 h 237744"/>
                  <a:gd name="connsiteX74" fmla="*/ 110776 w 561879"/>
                  <a:gd name="connsiteY74" fmla="*/ 31623 h 237744"/>
                  <a:gd name="connsiteX75" fmla="*/ 94964 w 561879"/>
                  <a:gd name="connsiteY75" fmla="*/ 31623 h 237744"/>
                  <a:gd name="connsiteX76" fmla="*/ 79153 w 561879"/>
                  <a:gd name="connsiteY76" fmla="*/ 39529 h 237744"/>
                  <a:gd name="connsiteX77" fmla="*/ 63341 w 561879"/>
                  <a:gd name="connsiteY77" fmla="*/ 39529 h 237744"/>
                  <a:gd name="connsiteX78" fmla="*/ 47530 w 561879"/>
                  <a:gd name="connsiteY78" fmla="*/ 47530 h 237744"/>
                  <a:gd name="connsiteX79" fmla="*/ 39624 w 561879"/>
                  <a:gd name="connsiteY79" fmla="*/ 55436 h 237744"/>
                  <a:gd name="connsiteX80" fmla="*/ 31623 w 561879"/>
                  <a:gd name="connsiteY80" fmla="*/ 71247 h 237744"/>
                  <a:gd name="connsiteX81" fmla="*/ 31623 w 561879"/>
                  <a:gd name="connsiteY81" fmla="*/ 87154 h 237744"/>
                  <a:gd name="connsiteX82" fmla="*/ 23717 w 561879"/>
                  <a:gd name="connsiteY82" fmla="*/ 102965 h 237744"/>
                  <a:gd name="connsiteX83" fmla="*/ 7906 w 561879"/>
                  <a:gd name="connsiteY83" fmla="*/ 110966 h 237744"/>
                  <a:gd name="connsiteX84" fmla="*/ 0 w 561879"/>
                  <a:gd name="connsiteY84" fmla="*/ 126778 h 237744"/>
                  <a:gd name="connsiteX85" fmla="*/ 0 w 561879"/>
                  <a:gd name="connsiteY85" fmla="*/ 158496 h 237744"/>
                  <a:gd name="connsiteX86" fmla="*/ 7906 w 561879"/>
                  <a:gd name="connsiteY86" fmla="*/ 174308 h 237744"/>
                  <a:gd name="connsiteX87" fmla="*/ 7906 w 561879"/>
                  <a:gd name="connsiteY87" fmla="*/ 198120 h 237744"/>
                  <a:gd name="connsiteX88" fmla="*/ 7906 w 561879"/>
                  <a:gd name="connsiteY88" fmla="*/ 190214 h 23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61879" h="237744">
                    <a:moveTo>
                      <a:pt x="7906" y="190214"/>
                    </a:moveTo>
                    <a:lnTo>
                      <a:pt x="7906" y="182213"/>
                    </a:lnTo>
                    <a:lnTo>
                      <a:pt x="15812" y="182213"/>
                    </a:lnTo>
                    <a:lnTo>
                      <a:pt x="31623" y="174308"/>
                    </a:lnTo>
                    <a:lnTo>
                      <a:pt x="87058" y="174308"/>
                    </a:lnTo>
                    <a:lnTo>
                      <a:pt x="102870" y="158496"/>
                    </a:lnTo>
                    <a:lnTo>
                      <a:pt x="126682" y="158496"/>
                    </a:lnTo>
                    <a:lnTo>
                      <a:pt x="134588" y="166402"/>
                    </a:lnTo>
                    <a:lnTo>
                      <a:pt x="142494" y="166402"/>
                    </a:lnTo>
                    <a:lnTo>
                      <a:pt x="150400" y="174308"/>
                    </a:lnTo>
                    <a:lnTo>
                      <a:pt x="158305" y="174308"/>
                    </a:lnTo>
                    <a:lnTo>
                      <a:pt x="166211" y="166402"/>
                    </a:lnTo>
                    <a:lnTo>
                      <a:pt x="174117" y="166402"/>
                    </a:lnTo>
                    <a:lnTo>
                      <a:pt x="189929" y="174308"/>
                    </a:lnTo>
                    <a:lnTo>
                      <a:pt x="197834" y="174308"/>
                    </a:lnTo>
                    <a:lnTo>
                      <a:pt x="205740" y="182213"/>
                    </a:lnTo>
                    <a:lnTo>
                      <a:pt x="213741" y="182213"/>
                    </a:lnTo>
                    <a:lnTo>
                      <a:pt x="221647" y="174308"/>
                    </a:lnTo>
                    <a:lnTo>
                      <a:pt x="237458" y="174308"/>
                    </a:lnTo>
                    <a:lnTo>
                      <a:pt x="245364" y="182213"/>
                    </a:lnTo>
                    <a:lnTo>
                      <a:pt x="269081" y="182213"/>
                    </a:lnTo>
                    <a:lnTo>
                      <a:pt x="284893" y="166402"/>
                    </a:lnTo>
                    <a:lnTo>
                      <a:pt x="300799" y="166402"/>
                    </a:lnTo>
                    <a:lnTo>
                      <a:pt x="308610" y="174308"/>
                    </a:lnTo>
                    <a:lnTo>
                      <a:pt x="316611" y="190214"/>
                    </a:lnTo>
                    <a:lnTo>
                      <a:pt x="356140" y="190214"/>
                    </a:lnTo>
                    <a:lnTo>
                      <a:pt x="371951" y="198120"/>
                    </a:lnTo>
                    <a:lnTo>
                      <a:pt x="379857" y="198120"/>
                    </a:lnTo>
                    <a:lnTo>
                      <a:pt x="395764" y="213932"/>
                    </a:lnTo>
                    <a:lnTo>
                      <a:pt x="419481" y="229838"/>
                    </a:lnTo>
                    <a:lnTo>
                      <a:pt x="443198" y="237744"/>
                    </a:lnTo>
                    <a:lnTo>
                      <a:pt x="474821" y="221933"/>
                    </a:lnTo>
                    <a:lnTo>
                      <a:pt x="498634" y="221933"/>
                    </a:lnTo>
                    <a:lnTo>
                      <a:pt x="506539" y="229838"/>
                    </a:lnTo>
                    <a:lnTo>
                      <a:pt x="514445" y="221933"/>
                    </a:lnTo>
                    <a:lnTo>
                      <a:pt x="522351" y="221933"/>
                    </a:lnTo>
                    <a:lnTo>
                      <a:pt x="530257" y="213932"/>
                    </a:lnTo>
                    <a:lnTo>
                      <a:pt x="538163" y="198120"/>
                    </a:lnTo>
                    <a:lnTo>
                      <a:pt x="546068" y="190214"/>
                    </a:lnTo>
                    <a:lnTo>
                      <a:pt x="553974" y="198120"/>
                    </a:lnTo>
                    <a:lnTo>
                      <a:pt x="561880" y="198120"/>
                    </a:lnTo>
                    <a:lnTo>
                      <a:pt x="561880" y="166402"/>
                    </a:lnTo>
                    <a:lnTo>
                      <a:pt x="546068" y="150495"/>
                    </a:lnTo>
                    <a:lnTo>
                      <a:pt x="538163" y="134684"/>
                    </a:lnTo>
                    <a:lnTo>
                      <a:pt x="530257" y="126778"/>
                    </a:lnTo>
                    <a:lnTo>
                      <a:pt x="498634" y="118872"/>
                    </a:lnTo>
                    <a:lnTo>
                      <a:pt x="506539" y="95059"/>
                    </a:lnTo>
                    <a:lnTo>
                      <a:pt x="530257" y="95059"/>
                    </a:lnTo>
                    <a:lnTo>
                      <a:pt x="530257" y="87154"/>
                    </a:lnTo>
                    <a:lnTo>
                      <a:pt x="522351" y="79248"/>
                    </a:lnTo>
                    <a:lnTo>
                      <a:pt x="506539" y="71247"/>
                    </a:lnTo>
                    <a:lnTo>
                      <a:pt x="490728" y="55436"/>
                    </a:lnTo>
                    <a:lnTo>
                      <a:pt x="466915" y="55436"/>
                    </a:lnTo>
                    <a:lnTo>
                      <a:pt x="459010" y="47530"/>
                    </a:lnTo>
                    <a:lnTo>
                      <a:pt x="435293" y="47530"/>
                    </a:lnTo>
                    <a:lnTo>
                      <a:pt x="427387" y="55436"/>
                    </a:lnTo>
                    <a:lnTo>
                      <a:pt x="403670" y="55436"/>
                    </a:lnTo>
                    <a:lnTo>
                      <a:pt x="379857" y="31623"/>
                    </a:lnTo>
                    <a:lnTo>
                      <a:pt x="364046" y="23717"/>
                    </a:lnTo>
                    <a:lnTo>
                      <a:pt x="356140" y="15812"/>
                    </a:lnTo>
                    <a:lnTo>
                      <a:pt x="324517" y="0"/>
                    </a:lnTo>
                    <a:lnTo>
                      <a:pt x="284893" y="0"/>
                    </a:lnTo>
                    <a:lnTo>
                      <a:pt x="245364" y="15812"/>
                    </a:lnTo>
                    <a:lnTo>
                      <a:pt x="229553" y="15812"/>
                    </a:lnTo>
                    <a:lnTo>
                      <a:pt x="237458" y="31623"/>
                    </a:lnTo>
                    <a:lnTo>
                      <a:pt x="237458" y="39529"/>
                    </a:lnTo>
                    <a:lnTo>
                      <a:pt x="245364" y="55436"/>
                    </a:lnTo>
                    <a:lnTo>
                      <a:pt x="245364" y="79248"/>
                    </a:lnTo>
                    <a:lnTo>
                      <a:pt x="253270" y="87154"/>
                    </a:lnTo>
                    <a:lnTo>
                      <a:pt x="245364" y="102965"/>
                    </a:lnTo>
                    <a:lnTo>
                      <a:pt x="205740" y="102965"/>
                    </a:lnTo>
                    <a:lnTo>
                      <a:pt x="182023" y="95059"/>
                    </a:lnTo>
                    <a:lnTo>
                      <a:pt x="166211" y="95059"/>
                    </a:lnTo>
                    <a:lnTo>
                      <a:pt x="150400" y="71247"/>
                    </a:lnTo>
                    <a:lnTo>
                      <a:pt x="110776" y="31623"/>
                    </a:lnTo>
                    <a:lnTo>
                      <a:pt x="94964" y="31623"/>
                    </a:lnTo>
                    <a:lnTo>
                      <a:pt x="79153" y="39529"/>
                    </a:lnTo>
                    <a:lnTo>
                      <a:pt x="63341" y="39529"/>
                    </a:lnTo>
                    <a:lnTo>
                      <a:pt x="47530" y="47530"/>
                    </a:lnTo>
                    <a:lnTo>
                      <a:pt x="39624" y="55436"/>
                    </a:lnTo>
                    <a:lnTo>
                      <a:pt x="31623" y="71247"/>
                    </a:lnTo>
                    <a:lnTo>
                      <a:pt x="31623" y="87154"/>
                    </a:lnTo>
                    <a:lnTo>
                      <a:pt x="23717" y="102965"/>
                    </a:lnTo>
                    <a:lnTo>
                      <a:pt x="7906" y="110966"/>
                    </a:lnTo>
                    <a:lnTo>
                      <a:pt x="0" y="126778"/>
                    </a:lnTo>
                    <a:lnTo>
                      <a:pt x="0" y="158496"/>
                    </a:lnTo>
                    <a:lnTo>
                      <a:pt x="7906" y="174308"/>
                    </a:lnTo>
                    <a:lnTo>
                      <a:pt x="7906" y="198120"/>
                    </a:lnTo>
                    <a:lnTo>
                      <a:pt x="7906" y="190214"/>
                    </a:lnTo>
                    <a:close/>
                  </a:path>
                </a:pathLst>
              </a:custGeom>
              <a:noFill/>
              <a:ln w="4763" cap="flat">
                <a:noFill/>
                <a:prstDash val="solid"/>
                <a:miter/>
              </a:ln>
            </p:spPr>
            <p:txBody>
              <a:bodyPr rtlCol="0" anchor="ctr"/>
              <a:lstStyle/>
              <a:p>
                <a:endParaRPr lang="en-GB"/>
              </a:p>
            </p:txBody>
          </p:sp>
          <p:sp>
            <p:nvSpPr>
              <p:cNvPr id="109" name="Freeform: Shape 108">
                <a:extLst>
                  <a:ext uri="{FF2B5EF4-FFF2-40B4-BE49-F238E27FC236}">
                    <a16:creationId xmlns:a16="http://schemas.microsoft.com/office/drawing/2014/main" id="{A7CC449B-9C2C-5DE4-681E-AA328C0CE3F9}"/>
                  </a:ext>
                </a:extLst>
              </p:cNvPr>
              <p:cNvSpPr/>
              <p:nvPr/>
            </p:nvSpPr>
            <p:spPr>
              <a:xfrm>
                <a:off x="6970966" y="4443221"/>
                <a:ext cx="169640" cy="172592"/>
              </a:xfrm>
              <a:custGeom>
                <a:avLst/>
                <a:gdLst>
                  <a:gd name="connsiteX0" fmla="*/ 169259 w 169640"/>
                  <a:gd name="connsiteY0" fmla="*/ 90583 h 172592"/>
                  <a:gd name="connsiteX1" fmla="*/ 166307 w 169640"/>
                  <a:gd name="connsiteY1" fmla="*/ 89154 h 172592"/>
                  <a:gd name="connsiteX2" fmla="*/ 163354 w 169640"/>
                  <a:gd name="connsiteY2" fmla="*/ 90583 h 172592"/>
                  <a:gd name="connsiteX3" fmla="*/ 159734 w 169640"/>
                  <a:gd name="connsiteY3" fmla="*/ 92773 h 172592"/>
                  <a:gd name="connsiteX4" fmla="*/ 158306 w 169640"/>
                  <a:gd name="connsiteY4" fmla="*/ 90583 h 172592"/>
                  <a:gd name="connsiteX5" fmla="*/ 156877 w 169640"/>
                  <a:gd name="connsiteY5" fmla="*/ 87630 h 172592"/>
                  <a:gd name="connsiteX6" fmla="*/ 153924 w 169640"/>
                  <a:gd name="connsiteY6" fmla="*/ 85439 h 172592"/>
                  <a:gd name="connsiteX7" fmla="*/ 150971 w 169640"/>
                  <a:gd name="connsiteY7" fmla="*/ 82487 h 172592"/>
                  <a:gd name="connsiteX8" fmla="*/ 148019 w 169640"/>
                  <a:gd name="connsiteY8" fmla="*/ 82487 h 172592"/>
                  <a:gd name="connsiteX9" fmla="*/ 144399 w 169640"/>
                  <a:gd name="connsiteY9" fmla="*/ 81058 h 172592"/>
                  <a:gd name="connsiteX10" fmla="*/ 142970 w 169640"/>
                  <a:gd name="connsiteY10" fmla="*/ 82487 h 172592"/>
                  <a:gd name="connsiteX11" fmla="*/ 139351 w 169640"/>
                  <a:gd name="connsiteY11" fmla="*/ 80296 h 172592"/>
                  <a:gd name="connsiteX12" fmla="*/ 136398 w 169640"/>
                  <a:gd name="connsiteY12" fmla="*/ 81058 h 172592"/>
                  <a:gd name="connsiteX13" fmla="*/ 135636 w 169640"/>
                  <a:gd name="connsiteY13" fmla="*/ 80296 h 172592"/>
                  <a:gd name="connsiteX14" fmla="*/ 137065 w 169640"/>
                  <a:gd name="connsiteY14" fmla="*/ 77343 h 172592"/>
                  <a:gd name="connsiteX15" fmla="*/ 135636 w 169640"/>
                  <a:gd name="connsiteY15" fmla="*/ 73723 h 172592"/>
                  <a:gd name="connsiteX16" fmla="*/ 138589 w 169640"/>
                  <a:gd name="connsiteY16" fmla="*/ 72962 h 172592"/>
                  <a:gd name="connsiteX17" fmla="*/ 138589 w 169640"/>
                  <a:gd name="connsiteY17" fmla="*/ 69342 h 172592"/>
                  <a:gd name="connsiteX18" fmla="*/ 140018 w 169640"/>
                  <a:gd name="connsiteY18" fmla="*/ 62008 h 172592"/>
                  <a:gd name="connsiteX19" fmla="*/ 137065 w 169640"/>
                  <a:gd name="connsiteY19" fmla="*/ 61341 h 172592"/>
                  <a:gd name="connsiteX20" fmla="*/ 133350 w 169640"/>
                  <a:gd name="connsiteY20" fmla="*/ 58388 h 172592"/>
                  <a:gd name="connsiteX21" fmla="*/ 129731 w 169640"/>
                  <a:gd name="connsiteY21" fmla="*/ 56959 h 172592"/>
                  <a:gd name="connsiteX22" fmla="*/ 126016 w 169640"/>
                  <a:gd name="connsiteY22" fmla="*/ 56959 h 172592"/>
                  <a:gd name="connsiteX23" fmla="*/ 123825 w 169640"/>
                  <a:gd name="connsiteY23" fmla="*/ 55531 h 172592"/>
                  <a:gd name="connsiteX24" fmla="*/ 123825 w 169640"/>
                  <a:gd name="connsiteY24" fmla="*/ 51911 h 172592"/>
                  <a:gd name="connsiteX25" fmla="*/ 124587 w 169640"/>
                  <a:gd name="connsiteY25" fmla="*/ 44672 h 172592"/>
                  <a:gd name="connsiteX26" fmla="*/ 122396 w 169640"/>
                  <a:gd name="connsiteY26" fmla="*/ 41719 h 172592"/>
                  <a:gd name="connsiteX27" fmla="*/ 120968 w 169640"/>
                  <a:gd name="connsiteY27" fmla="*/ 40957 h 172592"/>
                  <a:gd name="connsiteX28" fmla="*/ 119539 w 169640"/>
                  <a:gd name="connsiteY28" fmla="*/ 43148 h 172592"/>
                  <a:gd name="connsiteX29" fmla="*/ 118110 w 169640"/>
                  <a:gd name="connsiteY29" fmla="*/ 44577 h 172592"/>
                  <a:gd name="connsiteX30" fmla="*/ 115919 w 169640"/>
                  <a:gd name="connsiteY30" fmla="*/ 43815 h 172592"/>
                  <a:gd name="connsiteX31" fmla="*/ 115158 w 169640"/>
                  <a:gd name="connsiteY31" fmla="*/ 38671 h 172592"/>
                  <a:gd name="connsiteX32" fmla="*/ 116586 w 169640"/>
                  <a:gd name="connsiteY32" fmla="*/ 26289 h 172592"/>
                  <a:gd name="connsiteX33" fmla="*/ 115824 w 169640"/>
                  <a:gd name="connsiteY33" fmla="*/ 25527 h 172592"/>
                  <a:gd name="connsiteX34" fmla="*/ 110681 w 169640"/>
                  <a:gd name="connsiteY34" fmla="*/ 26289 h 172592"/>
                  <a:gd name="connsiteX35" fmla="*/ 112871 w 169640"/>
                  <a:gd name="connsiteY35" fmla="*/ 23336 h 172592"/>
                  <a:gd name="connsiteX36" fmla="*/ 111443 w 169640"/>
                  <a:gd name="connsiteY36" fmla="*/ 21146 h 172592"/>
                  <a:gd name="connsiteX37" fmla="*/ 107823 w 169640"/>
                  <a:gd name="connsiteY37" fmla="*/ 23336 h 172592"/>
                  <a:gd name="connsiteX38" fmla="*/ 104108 w 169640"/>
                  <a:gd name="connsiteY38" fmla="*/ 21907 h 172592"/>
                  <a:gd name="connsiteX39" fmla="*/ 100489 w 169640"/>
                  <a:gd name="connsiteY39" fmla="*/ 23336 h 172592"/>
                  <a:gd name="connsiteX40" fmla="*/ 96774 w 169640"/>
                  <a:gd name="connsiteY40" fmla="*/ 20383 h 172592"/>
                  <a:gd name="connsiteX41" fmla="*/ 92393 w 169640"/>
                  <a:gd name="connsiteY41" fmla="*/ 19717 h 172592"/>
                  <a:gd name="connsiteX42" fmla="*/ 91631 w 169640"/>
                  <a:gd name="connsiteY42" fmla="*/ 17526 h 172592"/>
                  <a:gd name="connsiteX43" fmla="*/ 96012 w 169640"/>
                  <a:gd name="connsiteY43" fmla="*/ 14573 h 172592"/>
                  <a:gd name="connsiteX44" fmla="*/ 96012 w 169640"/>
                  <a:gd name="connsiteY44" fmla="*/ 12382 h 172592"/>
                  <a:gd name="connsiteX45" fmla="*/ 95250 w 169640"/>
                  <a:gd name="connsiteY45" fmla="*/ 8763 h 172592"/>
                  <a:gd name="connsiteX46" fmla="*/ 92297 w 169640"/>
                  <a:gd name="connsiteY46" fmla="*/ 3619 h 172592"/>
                  <a:gd name="connsiteX47" fmla="*/ 89345 w 169640"/>
                  <a:gd name="connsiteY47" fmla="*/ 0 h 172592"/>
                  <a:gd name="connsiteX48" fmla="*/ 84963 w 169640"/>
                  <a:gd name="connsiteY48" fmla="*/ 1429 h 172592"/>
                  <a:gd name="connsiteX49" fmla="*/ 84201 w 169640"/>
                  <a:gd name="connsiteY49" fmla="*/ 4381 h 172592"/>
                  <a:gd name="connsiteX50" fmla="*/ 82010 w 169640"/>
                  <a:gd name="connsiteY50" fmla="*/ 5810 h 172592"/>
                  <a:gd name="connsiteX51" fmla="*/ 76105 w 169640"/>
                  <a:gd name="connsiteY51" fmla="*/ 9430 h 172592"/>
                  <a:gd name="connsiteX52" fmla="*/ 73152 w 169640"/>
                  <a:gd name="connsiteY52" fmla="*/ 11621 h 172592"/>
                  <a:gd name="connsiteX53" fmla="*/ 70199 w 169640"/>
                  <a:gd name="connsiteY53" fmla="*/ 10858 h 172592"/>
                  <a:gd name="connsiteX54" fmla="*/ 67247 w 169640"/>
                  <a:gd name="connsiteY54" fmla="*/ 12287 h 172592"/>
                  <a:gd name="connsiteX55" fmla="*/ 65056 w 169640"/>
                  <a:gd name="connsiteY55" fmla="*/ 9430 h 172592"/>
                  <a:gd name="connsiteX56" fmla="*/ 64294 w 169640"/>
                  <a:gd name="connsiteY56" fmla="*/ 11621 h 172592"/>
                  <a:gd name="connsiteX57" fmla="*/ 66485 w 169640"/>
                  <a:gd name="connsiteY57" fmla="*/ 16002 h 172592"/>
                  <a:gd name="connsiteX58" fmla="*/ 72390 w 169640"/>
                  <a:gd name="connsiteY58" fmla="*/ 17431 h 172592"/>
                  <a:gd name="connsiteX59" fmla="*/ 73819 w 169640"/>
                  <a:gd name="connsiteY59" fmla="*/ 19621 h 172592"/>
                  <a:gd name="connsiteX60" fmla="*/ 70866 w 169640"/>
                  <a:gd name="connsiteY60" fmla="*/ 21812 h 172592"/>
                  <a:gd name="connsiteX61" fmla="*/ 70866 w 169640"/>
                  <a:gd name="connsiteY61" fmla="*/ 24003 h 172592"/>
                  <a:gd name="connsiteX62" fmla="*/ 73819 w 169640"/>
                  <a:gd name="connsiteY62" fmla="*/ 25432 h 172592"/>
                  <a:gd name="connsiteX63" fmla="*/ 73057 w 169640"/>
                  <a:gd name="connsiteY63" fmla="*/ 29051 h 172592"/>
                  <a:gd name="connsiteX64" fmla="*/ 70866 w 169640"/>
                  <a:gd name="connsiteY64" fmla="*/ 30480 h 172592"/>
                  <a:gd name="connsiteX65" fmla="*/ 72295 w 169640"/>
                  <a:gd name="connsiteY65" fmla="*/ 33433 h 172592"/>
                  <a:gd name="connsiteX66" fmla="*/ 70104 w 169640"/>
                  <a:gd name="connsiteY66" fmla="*/ 34195 h 172592"/>
                  <a:gd name="connsiteX67" fmla="*/ 67151 w 169640"/>
                  <a:gd name="connsiteY67" fmla="*/ 35623 h 172592"/>
                  <a:gd name="connsiteX68" fmla="*/ 66389 w 169640"/>
                  <a:gd name="connsiteY68" fmla="*/ 32004 h 172592"/>
                  <a:gd name="connsiteX69" fmla="*/ 64199 w 169640"/>
                  <a:gd name="connsiteY69" fmla="*/ 32766 h 172592"/>
                  <a:gd name="connsiteX70" fmla="*/ 56864 w 169640"/>
                  <a:gd name="connsiteY70" fmla="*/ 38576 h 172592"/>
                  <a:gd name="connsiteX71" fmla="*/ 50959 w 169640"/>
                  <a:gd name="connsiteY71" fmla="*/ 42958 h 172592"/>
                  <a:gd name="connsiteX72" fmla="*/ 52388 w 169640"/>
                  <a:gd name="connsiteY72" fmla="*/ 47339 h 172592"/>
                  <a:gd name="connsiteX73" fmla="*/ 53150 w 169640"/>
                  <a:gd name="connsiteY73" fmla="*/ 51721 h 172592"/>
                  <a:gd name="connsiteX74" fmla="*/ 45816 w 169640"/>
                  <a:gd name="connsiteY74" fmla="*/ 53912 h 172592"/>
                  <a:gd name="connsiteX75" fmla="*/ 32576 w 169640"/>
                  <a:gd name="connsiteY75" fmla="*/ 53912 h 172592"/>
                  <a:gd name="connsiteX76" fmla="*/ 23051 w 169640"/>
                  <a:gd name="connsiteY76" fmla="*/ 54673 h 172592"/>
                  <a:gd name="connsiteX77" fmla="*/ 9906 w 169640"/>
                  <a:gd name="connsiteY77" fmla="*/ 52483 h 172592"/>
                  <a:gd name="connsiteX78" fmla="*/ 6191 w 169640"/>
                  <a:gd name="connsiteY78" fmla="*/ 56102 h 172592"/>
                  <a:gd name="connsiteX79" fmla="*/ 4001 w 169640"/>
                  <a:gd name="connsiteY79" fmla="*/ 54673 h 172592"/>
                  <a:gd name="connsiteX80" fmla="*/ 4001 w 169640"/>
                  <a:gd name="connsiteY80" fmla="*/ 102775 h 172592"/>
                  <a:gd name="connsiteX81" fmla="*/ 9906 w 169640"/>
                  <a:gd name="connsiteY81" fmla="*/ 111538 h 172592"/>
                  <a:gd name="connsiteX82" fmla="*/ 9906 w 169640"/>
                  <a:gd name="connsiteY82" fmla="*/ 112966 h 172592"/>
                  <a:gd name="connsiteX83" fmla="*/ 11335 w 169640"/>
                  <a:gd name="connsiteY83" fmla="*/ 113633 h 172592"/>
                  <a:gd name="connsiteX84" fmla="*/ 19431 w 169640"/>
                  <a:gd name="connsiteY84" fmla="*/ 126016 h 172592"/>
                  <a:gd name="connsiteX85" fmla="*/ 34862 w 169640"/>
                  <a:gd name="connsiteY85" fmla="*/ 126016 h 172592"/>
                  <a:gd name="connsiteX86" fmla="*/ 36291 w 169640"/>
                  <a:gd name="connsiteY86" fmla="*/ 127444 h 172592"/>
                  <a:gd name="connsiteX87" fmla="*/ 42863 w 169640"/>
                  <a:gd name="connsiteY87" fmla="*/ 146399 h 172592"/>
                  <a:gd name="connsiteX88" fmla="*/ 43625 w 169640"/>
                  <a:gd name="connsiteY88" fmla="*/ 153638 h 172592"/>
                  <a:gd name="connsiteX89" fmla="*/ 43625 w 169640"/>
                  <a:gd name="connsiteY89" fmla="*/ 172593 h 172592"/>
                  <a:gd name="connsiteX90" fmla="*/ 55341 w 169640"/>
                  <a:gd name="connsiteY90" fmla="*/ 168973 h 172592"/>
                  <a:gd name="connsiteX91" fmla="*/ 67056 w 169640"/>
                  <a:gd name="connsiteY91" fmla="*/ 164592 h 172592"/>
                  <a:gd name="connsiteX92" fmla="*/ 75057 w 169640"/>
                  <a:gd name="connsiteY92" fmla="*/ 149257 h 172592"/>
                  <a:gd name="connsiteX93" fmla="*/ 106585 w 169640"/>
                  <a:gd name="connsiteY93" fmla="*/ 149257 h 172592"/>
                  <a:gd name="connsiteX94" fmla="*/ 106585 w 169640"/>
                  <a:gd name="connsiteY94" fmla="*/ 133921 h 172592"/>
                  <a:gd name="connsiteX95" fmla="*/ 130016 w 169640"/>
                  <a:gd name="connsiteY95" fmla="*/ 133921 h 172592"/>
                  <a:gd name="connsiteX96" fmla="*/ 138113 w 169640"/>
                  <a:gd name="connsiteY96" fmla="*/ 125921 h 172592"/>
                  <a:gd name="connsiteX97" fmla="*/ 153448 w 169640"/>
                  <a:gd name="connsiteY97" fmla="*/ 123730 h 172592"/>
                  <a:gd name="connsiteX98" fmla="*/ 152781 w 169640"/>
                  <a:gd name="connsiteY98" fmla="*/ 118586 h 172592"/>
                  <a:gd name="connsiteX99" fmla="*/ 155734 w 169640"/>
                  <a:gd name="connsiteY99" fmla="*/ 115633 h 172592"/>
                  <a:gd name="connsiteX100" fmla="*/ 158687 w 169640"/>
                  <a:gd name="connsiteY100" fmla="*/ 113443 h 172592"/>
                  <a:gd name="connsiteX101" fmla="*/ 160116 w 169640"/>
                  <a:gd name="connsiteY101" fmla="*/ 106871 h 172592"/>
                  <a:gd name="connsiteX102" fmla="*/ 164497 w 169640"/>
                  <a:gd name="connsiteY102" fmla="*/ 104680 h 172592"/>
                  <a:gd name="connsiteX103" fmla="*/ 164497 w 169640"/>
                  <a:gd name="connsiteY103" fmla="*/ 102489 h 172592"/>
                  <a:gd name="connsiteX104" fmla="*/ 166688 w 169640"/>
                  <a:gd name="connsiteY104" fmla="*/ 99536 h 172592"/>
                  <a:gd name="connsiteX105" fmla="*/ 167450 w 169640"/>
                  <a:gd name="connsiteY105" fmla="*/ 96583 h 172592"/>
                  <a:gd name="connsiteX106" fmla="*/ 169641 w 169640"/>
                  <a:gd name="connsiteY106" fmla="*/ 93631 h 172592"/>
                  <a:gd name="connsiteX107" fmla="*/ 168878 w 169640"/>
                  <a:gd name="connsiteY107" fmla="*/ 90011 h 172592"/>
                  <a:gd name="connsiteX108" fmla="*/ 0 w 169640"/>
                  <a:gd name="connsiteY108" fmla="*/ 52673 h 172592"/>
                  <a:gd name="connsiteX109" fmla="*/ 4382 w 169640"/>
                  <a:gd name="connsiteY109" fmla="*/ 54864 h 172592"/>
                  <a:gd name="connsiteX110" fmla="*/ 4382 w 169640"/>
                  <a:gd name="connsiteY110" fmla="*/ 48292 h 172592"/>
                  <a:gd name="connsiteX111" fmla="*/ 0 w 169640"/>
                  <a:gd name="connsiteY111" fmla="*/ 52673 h 17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69640" h="172592">
                    <a:moveTo>
                      <a:pt x="169259" y="90583"/>
                    </a:moveTo>
                    <a:lnTo>
                      <a:pt x="166307" y="89154"/>
                    </a:lnTo>
                    <a:lnTo>
                      <a:pt x="163354" y="90583"/>
                    </a:lnTo>
                    <a:lnTo>
                      <a:pt x="159734" y="92773"/>
                    </a:lnTo>
                    <a:lnTo>
                      <a:pt x="158306" y="90583"/>
                    </a:lnTo>
                    <a:lnTo>
                      <a:pt x="156877" y="87630"/>
                    </a:lnTo>
                    <a:lnTo>
                      <a:pt x="153924" y="85439"/>
                    </a:lnTo>
                    <a:lnTo>
                      <a:pt x="150971" y="82487"/>
                    </a:lnTo>
                    <a:lnTo>
                      <a:pt x="148019" y="82487"/>
                    </a:lnTo>
                    <a:lnTo>
                      <a:pt x="144399" y="81058"/>
                    </a:lnTo>
                    <a:lnTo>
                      <a:pt x="142970" y="82487"/>
                    </a:lnTo>
                    <a:lnTo>
                      <a:pt x="139351" y="80296"/>
                    </a:lnTo>
                    <a:lnTo>
                      <a:pt x="136398" y="81058"/>
                    </a:lnTo>
                    <a:lnTo>
                      <a:pt x="135636" y="80296"/>
                    </a:lnTo>
                    <a:lnTo>
                      <a:pt x="137065" y="77343"/>
                    </a:lnTo>
                    <a:lnTo>
                      <a:pt x="135636" y="73723"/>
                    </a:lnTo>
                    <a:lnTo>
                      <a:pt x="138589" y="72962"/>
                    </a:lnTo>
                    <a:lnTo>
                      <a:pt x="138589" y="69342"/>
                    </a:lnTo>
                    <a:lnTo>
                      <a:pt x="140018" y="62008"/>
                    </a:lnTo>
                    <a:lnTo>
                      <a:pt x="137065" y="61341"/>
                    </a:lnTo>
                    <a:lnTo>
                      <a:pt x="133350" y="58388"/>
                    </a:lnTo>
                    <a:lnTo>
                      <a:pt x="129731" y="56959"/>
                    </a:lnTo>
                    <a:lnTo>
                      <a:pt x="126016" y="56959"/>
                    </a:lnTo>
                    <a:lnTo>
                      <a:pt x="123825" y="55531"/>
                    </a:lnTo>
                    <a:lnTo>
                      <a:pt x="123825" y="51911"/>
                    </a:lnTo>
                    <a:lnTo>
                      <a:pt x="124587" y="44672"/>
                    </a:lnTo>
                    <a:lnTo>
                      <a:pt x="122396" y="41719"/>
                    </a:lnTo>
                    <a:lnTo>
                      <a:pt x="120968" y="40957"/>
                    </a:lnTo>
                    <a:lnTo>
                      <a:pt x="119539" y="43148"/>
                    </a:lnTo>
                    <a:lnTo>
                      <a:pt x="118110" y="44577"/>
                    </a:lnTo>
                    <a:lnTo>
                      <a:pt x="115919" y="43815"/>
                    </a:lnTo>
                    <a:lnTo>
                      <a:pt x="115158" y="38671"/>
                    </a:lnTo>
                    <a:lnTo>
                      <a:pt x="116586" y="26289"/>
                    </a:lnTo>
                    <a:lnTo>
                      <a:pt x="115824" y="25527"/>
                    </a:lnTo>
                    <a:lnTo>
                      <a:pt x="110681" y="26289"/>
                    </a:lnTo>
                    <a:lnTo>
                      <a:pt x="112871" y="23336"/>
                    </a:lnTo>
                    <a:lnTo>
                      <a:pt x="111443" y="21146"/>
                    </a:lnTo>
                    <a:lnTo>
                      <a:pt x="107823" y="23336"/>
                    </a:lnTo>
                    <a:lnTo>
                      <a:pt x="104108" y="21907"/>
                    </a:lnTo>
                    <a:lnTo>
                      <a:pt x="100489" y="23336"/>
                    </a:lnTo>
                    <a:lnTo>
                      <a:pt x="96774" y="20383"/>
                    </a:lnTo>
                    <a:lnTo>
                      <a:pt x="92393" y="19717"/>
                    </a:lnTo>
                    <a:lnTo>
                      <a:pt x="91631" y="17526"/>
                    </a:lnTo>
                    <a:lnTo>
                      <a:pt x="96012" y="14573"/>
                    </a:lnTo>
                    <a:lnTo>
                      <a:pt x="96012" y="12382"/>
                    </a:lnTo>
                    <a:lnTo>
                      <a:pt x="95250" y="8763"/>
                    </a:lnTo>
                    <a:lnTo>
                      <a:pt x="92297" y="3619"/>
                    </a:lnTo>
                    <a:lnTo>
                      <a:pt x="89345" y="0"/>
                    </a:lnTo>
                    <a:lnTo>
                      <a:pt x="84963" y="1429"/>
                    </a:lnTo>
                    <a:lnTo>
                      <a:pt x="84201" y="4381"/>
                    </a:lnTo>
                    <a:lnTo>
                      <a:pt x="82010" y="5810"/>
                    </a:lnTo>
                    <a:lnTo>
                      <a:pt x="76105" y="9430"/>
                    </a:lnTo>
                    <a:lnTo>
                      <a:pt x="73152" y="11621"/>
                    </a:lnTo>
                    <a:lnTo>
                      <a:pt x="70199" y="10858"/>
                    </a:lnTo>
                    <a:lnTo>
                      <a:pt x="67247" y="12287"/>
                    </a:lnTo>
                    <a:lnTo>
                      <a:pt x="65056" y="9430"/>
                    </a:lnTo>
                    <a:lnTo>
                      <a:pt x="64294" y="11621"/>
                    </a:lnTo>
                    <a:lnTo>
                      <a:pt x="66485" y="16002"/>
                    </a:lnTo>
                    <a:lnTo>
                      <a:pt x="72390" y="17431"/>
                    </a:lnTo>
                    <a:lnTo>
                      <a:pt x="73819" y="19621"/>
                    </a:lnTo>
                    <a:lnTo>
                      <a:pt x="70866" y="21812"/>
                    </a:lnTo>
                    <a:lnTo>
                      <a:pt x="70866" y="24003"/>
                    </a:lnTo>
                    <a:lnTo>
                      <a:pt x="73819" y="25432"/>
                    </a:lnTo>
                    <a:lnTo>
                      <a:pt x="73057" y="29051"/>
                    </a:lnTo>
                    <a:lnTo>
                      <a:pt x="70866" y="30480"/>
                    </a:lnTo>
                    <a:lnTo>
                      <a:pt x="72295" y="33433"/>
                    </a:lnTo>
                    <a:lnTo>
                      <a:pt x="70104" y="34195"/>
                    </a:lnTo>
                    <a:lnTo>
                      <a:pt x="67151" y="35623"/>
                    </a:lnTo>
                    <a:lnTo>
                      <a:pt x="66389" y="32004"/>
                    </a:lnTo>
                    <a:lnTo>
                      <a:pt x="64199" y="32766"/>
                    </a:lnTo>
                    <a:lnTo>
                      <a:pt x="56864" y="38576"/>
                    </a:lnTo>
                    <a:lnTo>
                      <a:pt x="50959" y="42958"/>
                    </a:lnTo>
                    <a:lnTo>
                      <a:pt x="52388" y="47339"/>
                    </a:lnTo>
                    <a:lnTo>
                      <a:pt x="53150" y="51721"/>
                    </a:lnTo>
                    <a:lnTo>
                      <a:pt x="45816" y="53912"/>
                    </a:lnTo>
                    <a:lnTo>
                      <a:pt x="32576" y="53912"/>
                    </a:lnTo>
                    <a:lnTo>
                      <a:pt x="23051" y="54673"/>
                    </a:lnTo>
                    <a:lnTo>
                      <a:pt x="9906" y="52483"/>
                    </a:lnTo>
                    <a:lnTo>
                      <a:pt x="6191" y="56102"/>
                    </a:lnTo>
                    <a:cubicBezTo>
                      <a:pt x="5429" y="55340"/>
                      <a:pt x="4763" y="55340"/>
                      <a:pt x="4001" y="54673"/>
                    </a:cubicBezTo>
                    <a:lnTo>
                      <a:pt x="4001" y="102775"/>
                    </a:lnTo>
                    <a:lnTo>
                      <a:pt x="9906" y="111538"/>
                    </a:lnTo>
                    <a:lnTo>
                      <a:pt x="9906" y="112966"/>
                    </a:lnTo>
                    <a:cubicBezTo>
                      <a:pt x="9906" y="112966"/>
                      <a:pt x="10573" y="112966"/>
                      <a:pt x="11335" y="113633"/>
                    </a:cubicBezTo>
                    <a:lnTo>
                      <a:pt x="19431" y="126016"/>
                    </a:lnTo>
                    <a:lnTo>
                      <a:pt x="34862" y="126016"/>
                    </a:lnTo>
                    <a:cubicBezTo>
                      <a:pt x="34862" y="126016"/>
                      <a:pt x="35624" y="126682"/>
                      <a:pt x="36291" y="127444"/>
                    </a:cubicBezTo>
                    <a:lnTo>
                      <a:pt x="42863" y="146399"/>
                    </a:lnTo>
                    <a:cubicBezTo>
                      <a:pt x="42863" y="149352"/>
                      <a:pt x="43625" y="151543"/>
                      <a:pt x="43625" y="153638"/>
                    </a:cubicBezTo>
                    <a:lnTo>
                      <a:pt x="43625" y="172593"/>
                    </a:lnTo>
                    <a:lnTo>
                      <a:pt x="55341" y="168973"/>
                    </a:lnTo>
                    <a:lnTo>
                      <a:pt x="67056" y="164592"/>
                    </a:lnTo>
                    <a:lnTo>
                      <a:pt x="75057" y="149257"/>
                    </a:lnTo>
                    <a:lnTo>
                      <a:pt x="106585" y="149257"/>
                    </a:lnTo>
                    <a:lnTo>
                      <a:pt x="106585" y="133921"/>
                    </a:lnTo>
                    <a:lnTo>
                      <a:pt x="130016" y="133921"/>
                    </a:lnTo>
                    <a:lnTo>
                      <a:pt x="138113" y="125921"/>
                    </a:lnTo>
                    <a:lnTo>
                      <a:pt x="153448" y="123730"/>
                    </a:lnTo>
                    <a:lnTo>
                      <a:pt x="152781" y="118586"/>
                    </a:lnTo>
                    <a:lnTo>
                      <a:pt x="155734" y="115633"/>
                    </a:lnTo>
                    <a:lnTo>
                      <a:pt x="158687" y="113443"/>
                    </a:lnTo>
                    <a:lnTo>
                      <a:pt x="160116" y="106871"/>
                    </a:lnTo>
                    <a:lnTo>
                      <a:pt x="164497" y="104680"/>
                    </a:lnTo>
                    <a:lnTo>
                      <a:pt x="164497" y="102489"/>
                    </a:lnTo>
                    <a:lnTo>
                      <a:pt x="166688" y="99536"/>
                    </a:lnTo>
                    <a:lnTo>
                      <a:pt x="167450" y="96583"/>
                    </a:lnTo>
                    <a:lnTo>
                      <a:pt x="169641" y="93631"/>
                    </a:lnTo>
                    <a:lnTo>
                      <a:pt x="168878" y="90011"/>
                    </a:lnTo>
                    <a:close/>
                    <a:moveTo>
                      <a:pt x="0" y="52673"/>
                    </a:moveTo>
                    <a:cubicBezTo>
                      <a:pt x="762" y="52673"/>
                      <a:pt x="1429" y="53435"/>
                      <a:pt x="4382" y="54864"/>
                    </a:cubicBezTo>
                    <a:lnTo>
                      <a:pt x="4382" y="48292"/>
                    </a:lnTo>
                    <a:lnTo>
                      <a:pt x="0" y="52673"/>
                    </a:lnTo>
                    <a:close/>
                  </a:path>
                </a:pathLst>
              </a:custGeom>
              <a:solidFill>
                <a:srgbClr val="FFCC00"/>
              </a:solidFill>
              <a:ln w="4763" cap="flat">
                <a:noFill/>
                <a:prstDash val="solid"/>
                <a:miter/>
              </a:ln>
            </p:spPr>
            <p:txBody>
              <a:bodyPr rtlCol="0" anchor="ctr"/>
              <a:lstStyle/>
              <a:p>
                <a:endParaRPr lang="en-GB"/>
              </a:p>
            </p:txBody>
          </p:sp>
          <p:sp>
            <p:nvSpPr>
              <p:cNvPr id="110" name="Freeform: Shape 109">
                <a:extLst>
                  <a:ext uri="{FF2B5EF4-FFF2-40B4-BE49-F238E27FC236}">
                    <a16:creationId xmlns:a16="http://schemas.microsoft.com/office/drawing/2014/main" id="{4A4E4B75-1ED9-BEDD-BB11-50C8B7B5A42E}"/>
                  </a:ext>
                </a:extLst>
              </p:cNvPr>
              <p:cNvSpPr/>
              <p:nvPr/>
            </p:nvSpPr>
            <p:spPr>
              <a:xfrm>
                <a:off x="6970966" y="4443221"/>
                <a:ext cx="169640" cy="172592"/>
              </a:xfrm>
              <a:custGeom>
                <a:avLst/>
                <a:gdLst>
                  <a:gd name="connsiteX0" fmla="*/ 169259 w 169640"/>
                  <a:gd name="connsiteY0" fmla="*/ 90583 h 172592"/>
                  <a:gd name="connsiteX1" fmla="*/ 166307 w 169640"/>
                  <a:gd name="connsiteY1" fmla="*/ 89154 h 172592"/>
                  <a:gd name="connsiteX2" fmla="*/ 163354 w 169640"/>
                  <a:gd name="connsiteY2" fmla="*/ 90583 h 172592"/>
                  <a:gd name="connsiteX3" fmla="*/ 159734 w 169640"/>
                  <a:gd name="connsiteY3" fmla="*/ 92773 h 172592"/>
                  <a:gd name="connsiteX4" fmla="*/ 158306 w 169640"/>
                  <a:gd name="connsiteY4" fmla="*/ 90583 h 172592"/>
                  <a:gd name="connsiteX5" fmla="*/ 156877 w 169640"/>
                  <a:gd name="connsiteY5" fmla="*/ 87630 h 172592"/>
                  <a:gd name="connsiteX6" fmla="*/ 153924 w 169640"/>
                  <a:gd name="connsiteY6" fmla="*/ 85439 h 172592"/>
                  <a:gd name="connsiteX7" fmla="*/ 150971 w 169640"/>
                  <a:gd name="connsiteY7" fmla="*/ 82487 h 172592"/>
                  <a:gd name="connsiteX8" fmla="*/ 148019 w 169640"/>
                  <a:gd name="connsiteY8" fmla="*/ 82487 h 172592"/>
                  <a:gd name="connsiteX9" fmla="*/ 144399 w 169640"/>
                  <a:gd name="connsiteY9" fmla="*/ 81058 h 172592"/>
                  <a:gd name="connsiteX10" fmla="*/ 142970 w 169640"/>
                  <a:gd name="connsiteY10" fmla="*/ 82487 h 172592"/>
                  <a:gd name="connsiteX11" fmla="*/ 139351 w 169640"/>
                  <a:gd name="connsiteY11" fmla="*/ 80296 h 172592"/>
                  <a:gd name="connsiteX12" fmla="*/ 136398 w 169640"/>
                  <a:gd name="connsiteY12" fmla="*/ 81058 h 172592"/>
                  <a:gd name="connsiteX13" fmla="*/ 135636 w 169640"/>
                  <a:gd name="connsiteY13" fmla="*/ 80296 h 172592"/>
                  <a:gd name="connsiteX14" fmla="*/ 137065 w 169640"/>
                  <a:gd name="connsiteY14" fmla="*/ 77343 h 172592"/>
                  <a:gd name="connsiteX15" fmla="*/ 135636 w 169640"/>
                  <a:gd name="connsiteY15" fmla="*/ 73723 h 172592"/>
                  <a:gd name="connsiteX16" fmla="*/ 138589 w 169640"/>
                  <a:gd name="connsiteY16" fmla="*/ 72962 h 172592"/>
                  <a:gd name="connsiteX17" fmla="*/ 138589 w 169640"/>
                  <a:gd name="connsiteY17" fmla="*/ 69342 h 172592"/>
                  <a:gd name="connsiteX18" fmla="*/ 140018 w 169640"/>
                  <a:gd name="connsiteY18" fmla="*/ 62008 h 172592"/>
                  <a:gd name="connsiteX19" fmla="*/ 137065 w 169640"/>
                  <a:gd name="connsiteY19" fmla="*/ 61341 h 172592"/>
                  <a:gd name="connsiteX20" fmla="*/ 133350 w 169640"/>
                  <a:gd name="connsiteY20" fmla="*/ 58388 h 172592"/>
                  <a:gd name="connsiteX21" fmla="*/ 129731 w 169640"/>
                  <a:gd name="connsiteY21" fmla="*/ 56959 h 172592"/>
                  <a:gd name="connsiteX22" fmla="*/ 126016 w 169640"/>
                  <a:gd name="connsiteY22" fmla="*/ 56959 h 172592"/>
                  <a:gd name="connsiteX23" fmla="*/ 123825 w 169640"/>
                  <a:gd name="connsiteY23" fmla="*/ 55531 h 172592"/>
                  <a:gd name="connsiteX24" fmla="*/ 123825 w 169640"/>
                  <a:gd name="connsiteY24" fmla="*/ 51911 h 172592"/>
                  <a:gd name="connsiteX25" fmla="*/ 124587 w 169640"/>
                  <a:gd name="connsiteY25" fmla="*/ 44672 h 172592"/>
                  <a:gd name="connsiteX26" fmla="*/ 122396 w 169640"/>
                  <a:gd name="connsiteY26" fmla="*/ 41719 h 172592"/>
                  <a:gd name="connsiteX27" fmla="*/ 120968 w 169640"/>
                  <a:gd name="connsiteY27" fmla="*/ 40957 h 172592"/>
                  <a:gd name="connsiteX28" fmla="*/ 119539 w 169640"/>
                  <a:gd name="connsiteY28" fmla="*/ 43148 h 172592"/>
                  <a:gd name="connsiteX29" fmla="*/ 118110 w 169640"/>
                  <a:gd name="connsiteY29" fmla="*/ 44577 h 172592"/>
                  <a:gd name="connsiteX30" fmla="*/ 115919 w 169640"/>
                  <a:gd name="connsiteY30" fmla="*/ 43815 h 172592"/>
                  <a:gd name="connsiteX31" fmla="*/ 115158 w 169640"/>
                  <a:gd name="connsiteY31" fmla="*/ 38671 h 172592"/>
                  <a:gd name="connsiteX32" fmla="*/ 116586 w 169640"/>
                  <a:gd name="connsiteY32" fmla="*/ 26289 h 172592"/>
                  <a:gd name="connsiteX33" fmla="*/ 115824 w 169640"/>
                  <a:gd name="connsiteY33" fmla="*/ 25527 h 172592"/>
                  <a:gd name="connsiteX34" fmla="*/ 110681 w 169640"/>
                  <a:gd name="connsiteY34" fmla="*/ 26289 h 172592"/>
                  <a:gd name="connsiteX35" fmla="*/ 112871 w 169640"/>
                  <a:gd name="connsiteY35" fmla="*/ 23336 h 172592"/>
                  <a:gd name="connsiteX36" fmla="*/ 111443 w 169640"/>
                  <a:gd name="connsiteY36" fmla="*/ 21146 h 172592"/>
                  <a:gd name="connsiteX37" fmla="*/ 107823 w 169640"/>
                  <a:gd name="connsiteY37" fmla="*/ 23336 h 172592"/>
                  <a:gd name="connsiteX38" fmla="*/ 104108 w 169640"/>
                  <a:gd name="connsiteY38" fmla="*/ 21907 h 172592"/>
                  <a:gd name="connsiteX39" fmla="*/ 100489 w 169640"/>
                  <a:gd name="connsiteY39" fmla="*/ 23336 h 172592"/>
                  <a:gd name="connsiteX40" fmla="*/ 96774 w 169640"/>
                  <a:gd name="connsiteY40" fmla="*/ 20383 h 172592"/>
                  <a:gd name="connsiteX41" fmla="*/ 92393 w 169640"/>
                  <a:gd name="connsiteY41" fmla="*/ 19717 h 172592"/>
                  <a:gd name="connsiteX42" fmla="*/ 91631 w 169640"/>
                  <a:gd name="connsiteY42" fmla="*/ 17526 h 172592"/>
                  <a:gd name="connsiteX43" fmla="*/ 96012 w 169640"/>
                  <a:gd name="connsiteY43" fmla="*/ 14573 h 172592"/>
                  <a:gd name="connsiteX44" fmla="*/ 96012 w 169640"/>
                  <a:gd name="connsiteY44" fmla="*/ 12382 h 172592"/>
                  <a:gd name="connsiteX45" fmla="*/ 95250 w 169640"/>
                  <a:gd name="connsiteY45" fmla="*/ 8763 h 172592"/>
                  <a:gd name="connsiteX46" fmla="*/ 92297 w 169640"/>
                  <a:gd name="connsiteY46" fmla="*/ 3619 h 172592"/>
                  <a:gd name="connsiteX47" fmla="*/ 89345 w 169640"/>
                  <a:gd name="connsiteY47" fmla="*/ 0 h 172592"/>
                  <a:gd name="connsiteX48" fmla="*/ 84963 w 169640"/>
                  <a:gd name="connsiteY48" fmla="*/ 1429 h 172592"/>
                  <a:gd name="connsiteX49" fmla="*/ 84201 w 169640"/>
                  <a:gd name="connsiteY49" fmla="*/ 4381 h 172592"/>
                  <a:gd name="connsiteX50" fmla="*/ 82010 w 169640"/>
                  <a:gd name="connsiteY50" fmla="*/ 5810 h 172592"/>
                  <a:gd name="connsiteX51" fmla="*/ 76105 w 169640"/>
                  <a:gd name="connsiteY51" fmla="*/ 9430 h 172592"/>
                  <a:gd name="connsiteX52" fmla="*/ 73152 w 169640"/>
                  <a:gd name="connsiteY52" fmla="*/ 11621 h 172592"/>
                  <a:gd name="connsiteX53" fmla="*/ 70199 w 169640"/>
                  <a:gd name="connsiteY53" fmla="*/ 10858 h 172592"/>
                  <a:gd name="connsiteX54" fmla="*/ 67247 w 169640"/>
                  <a:gd name="connsiteY54" fmla="*/ 12287 h 172592"/>
                  <a:gd name="connsiteX55" fmla="*/ 65056 w 169640"/>
                  <a:gd name="connsiteY55" fmla="*/ 9430 h 172592"/>
                  <a:gd name="connsiteX56" fmla="*/ 64294 w 169640"/>
                  <a:gd name="connsiteY56" fmla="*/ 11621 h 172592"/>
                  <a:gd name="connsiteX57" fmla="*/ 66485 w 169640"/>
                  <a:gd name="connsiteY57" fmla="*/ 16002 h 172592"/>
                  <a:gd name="connsiteX58" fmla="*/ 72390 w 169640"/>
                  <a:gd name="connsiteY58" fmla="*/ 17431 h 172592"/>
                  <a:gd name="connsiteX59" fmla="*/ 73819 w 169640"/>
                  <a:gd name="connsiteY59" fmla="*/ 19621 h 172592"/>
                  <a:gd name="connsiteX60" fmla="*/ 70866 w 169640"/>
                  <a:gd name="connsiteY60" fmla="*/ 21812 h 172592"/>
                  <a:gd name="connsiteX61" fmla="*/ 70866 w 169640"/>
                  <a:gd name="connsiteY61" fmla="*/ 24003 h 172592"/>
                  <a:gd name="connsiteX62" fmla="*/ 73819 w 169640"/>
                  <a:gd name="connsiteY62" fmla="*/ 25432 h 172592"/>
                  <a:gd name="connsiteX63" fmla="*/ 73057 w 169640"/>
                  <a:gd name="connsiteY63" fmla="*/ 29051 h 172592"/>
                  <a:gd name="connsiteX64" fmla="*/ 70866 w 169640"/>
                  <a:gd name="connsiteY64" fmla="*/ 30480 h 172592"/>
                  <a:gd name="connsiteX65" fmla="*/ 72295 w 169640"/>
                  <a:gd name="connsiteY65" fmla="*/ 33433 h 172592"/>
                  <a:gd name="connsiteX66" fmla="*/ 70104 w 169640"/>
                  <a:gd name="connsiteY66" fmla="*/ 34195 h 172592"/>
                  <a:gd name="connsiteX67" fmla="*/ 67151 w 169640"/>
                  <a:gd name="connsiteY67" fmla="*/ 35623 h 172592"/>
                  <a:gd name="connsiteX68" fmla="*/ 66389 w 169640"/>
                  <a:gd name="connsiteY68" fmla="*/ 32004 h 172592"/>
                  <a:gd name="connsiteX69" fmla="*/ 64199 w 169640"/>
                  <a:gd name="connsiteY69" fmla="*/ 32766 h 172592"/>
                  <a:gd name="connsiteX70" fmla="*/ 56864 w 169640"/>
                  <a:gd name="connsiteY70" fmla="*/ 38576 h 172592"/>
                  <a:gd name="connsiteX71" fmla="*/ 50959 w 169640"/>
                  <a:gd name="connsiteY71" fmla="*/ 42958 h 172592"/>
                  <a:gd name="connsiteX72" fmla="*/ 52388 w 169640"/>
                  <a:gd name="connsiteY72" fmla="*/ 47339 h 172592"/>
                  <a:gd name="connsiteX73" fmla="*/ 53150 w 169640"/>
                  <a:gd name="connsiteY73" fmla="*/ 51721 h 172592"/>
                  <a:gd name="connsiteX74" fmla="*/ 45816 w 169640"/>
                  <a:gd name="connsiteY74" fmla="*/ 53912 h 172592"/>
                  <a:gd name="connsiteX75" fmla="*/ 32576 w 169640"/>
                  <a:gd name="connsiteY75" fmla="*/ 53912 h 172592"/>
                  <a:gd name="connsiteX76" fmla="*/ 23051 w 169640"/>
                  <a:gd name="connsiteY76" fmla="*/ 54673 h 172592"/>
                  <a:gd name="connsiteX77" fmla="*/ 9906 w 169640"/>
                  <a:gd name="connsiteY77" fmla="*/ 52483 h 172592"/>
                  <a:gd name="connsiteX78" fmla="*/ 6191 w 169640"/>
                  <a:gd name="connsiteY78" fmla="*/ 56102 h 172592"/>
                  <a:gd name="connsiteX79" fmla="*/ 4001 w 169640"/>
                  <a:gd name="connsiteY79" fmla="*/ 54673 h 172592"/>
                  <a:gd name="connsiteX80" fmla="*/ 4001 w 169640"/>
                  <a:gd name="connsiteY80" fmla="*/ 102775 h 172592"/>
                  <a:gd name="connsiteX81" fmla="*/ 9906 w 169640"/>
                  <a:gd name="connsiteY81" fmla="*/ 111538 h 172592"/>
                  <a:gd name="connsiteX82" fmla="*/ 9906 w 169640"/>
                  <a:gd name="connsiteY82" fmla="*/ 112966 h 172592"/>
                  <a:gd name="connsiteX83" fmla="*/ 11335 w 169640"/>
                  <a:gd name="connsiteY83" fmla="*/ 113633 h 172592"/>
                  <a:gd name="connsiteX84" fmla="*/ 19431 w 169640"/>
                  <a:gd name="connsiteY84" fmla="*/ 126016 h 172592"/>
                  <a:gd name="connsiteX85" fmla="*/ 34862 w 169640"/>
                  <a:gd name="connsiteY85" fmla="*/ 126016 h 172592"/>
                  <a:gd name="connsiteX86" fmla="*/ 36291 w 169640"/>
                  <a:gd name="connsiteY86" fmla="*/ 127444 h 172592"/>
                  <a:gd name="connsiteX87" fmla="*/ 42863 w 169640"/>
                  <a:gd name="connsiteY87" fmla="*/ 146399 h 172592"/>
                  <a:gd name="connsiteX88" fmla="*/ 43625 w 169640"/>
                  <a:gd name="connsiteY88" fmla="*/ 153638 h 172592"/>
                  <a:gd name="connsiteX89" fmla="*/ 43625 w 169640"/>
                  <a:gd name="connsiteY89" fmla="*/ 172593 h 172592"/>
                  <a:gd name="connsiteX90" fmla="*/ 55341 w 169640"/>
                  <a:gd name="connsiteY90" fmla="*/ 168973 h 172592"/>
                  <a:gd name="connsiteX91" fmla="*/ 67056 w 169640"/>
                  <a:gd name="connsiteY91" fmla="*/ 164592 h 172592"/>
                  <a:gd name="connsiteX92" fmla="*/ 75057 w 169640"/>
                  <a:gd name="connsiteY92" fmla="*/ 149257 h 172592"/>
                  <a:gd name="connsiteX93" fmla="*/ 106585 w 169640"/>
                  <a:gd name="connsiteY93" fmla="*/ 149257 h 172592"/>
                  <a:gd name="connsiteX94" fmla="*/ 106585 w 169640"/>
                  <a:gd name="connsiteY94" fmla="*/ 133921 h 172592"/>
                  <a:gd name="connsiteX95" fmla="*/ 130016 w 169640"/>
                  <a:gd name="connsiteY95" fmla="*/ 133921 h 172592"/>
                  <a:gd name="connsiteX96" fmla="*/ 138113 w 169640"/>
                  <a:gd name="connsiteY96" fmla="*/ 125921 h 172592"/>
                  <a:gd name="connsiteX97" fmla="*/ 153448 w 169640"/>
                  <a:gd name="connsiteY97" fmla="*/ 123730 h 172592"/>
                  <a:gd name="connsiteX98" fmla="*/ 152781 w 169640"/>
                  <a:gd name="connsiteY98" fmla="*/ 118586 h 172592"/>
                  <a:gd name="connsiteX99" fmla="*/ 155734 w 169640"/>
                  <a:gd name="connsiteY99" fmla="*/ 115633 h 172592"/>
                  <a:gd name="connsiteX100" fmla="*/ 158687 w 169640"/>
                  <a:gd name="connsiteY100" fmla="*/ 113443 h 172592"/>
                  <a:gd name="connsiteX101" fmla="*/ 160116 w 169640"/>
                  <a:gd name="connsiteY101" fmla="*/ 106871 h 172592"/>
                  <a:gd name="connsiteX102" fmla="*/ 164497 w 169640"/>
                  <a:gd name="connsiteY102" fmla="*/ 104680 h 172592"/>
                  <a:gd name="connsiteX103" fmla="*/ 164497 w 169640"/>
                  <a:gd name="connsiteY103" fmla="*/ 102489 h 172592"/>
                  <a:gd name="connsiteX104" fmla="*/ 166688 w 169640"/>
                  <a:gd name="connsiteY104" fmla="*/ 99536 h 172592"/>
                  <a:gd name="connsiteX105" fmla="*/ 167450 w 169640"/>
                  <a:gd name="connsiteY105" fmla="*/ 96583 h 172592"/>
                  <a:gd name="connsiteX106" fmla="*/ 169641 w 169640"/>
                  <a:gd name="connsiteY106" fmla="*/ 93631 h 172592"/>
                  <a:gd name="connsiteX107" fmla="*/ 168878 w 169640"/>
                  <a:gd name="connsiteY107" fmla="*/ 90011 h 172592"/>
                  <a:gd name="connsiteX108" fmla="*/ 0 w 169640"/>
                  <a:gd name="connsiteY108" fmla="*/ 52673 h 172592"/>
                  <a:gd name="connsiteX109" fmla="*/ 4382 w 169640"/>
                  <a:gd name="connsiteY109" fmla="*/ 54864 h 172592"/>
                  <a:gd name="connsiteX110" fmla="*/ 4382 w 169640"/>
                  <a:gd name="connsiteY110" fmla="*/ 48292 h 172592"/>
                  <a:gd name="connsiteX111" fmla="*/ 0 w 169640"/>
                  <a:gd name="connsiteY111" fmla="*/ 52673 h 17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69640" h="172592">
                    <a:moveTo>
                      <a:pt x="169259" y="90583"/>
                    </a:moveTo>
                    <a:lnTo>
                      <a:pt x="166307" y="89154"/>
                    </a:lnTo>
                    <a:lnTo>
                      <a:pt x="163354" y="90583"/>
                    </a:lnTo>
                    <a:lnTo>
                      <a:pt x="159734" y="92773"/>
                    </a:lnTo>
                    <a:lnTo>
                      <a:pt x="158306" y="90583"/>
                    </a:lnTo>
                    <a:lnTo>
                      <a:pt x="156877" y="87630"/>
                    </a:lnTo>
                    <a:lnTo>
                      <a:pt x="153924" y="85439"/>
                    </a:lnTo>
                    <a:lnTo>
                      <a:pt x="150971" y="82487"/>
                    </a:lnTo>
                    <a:lnTo>
                      <a:pt x="148019" y="82487"/>
                    </a:lnTo>
                    <a:lnTo>
                      <a:pt x="144399" y="81058"/>
                    </a:lnTo>
                    <a:lnTo>
                      <a:pt x="142970" y="82487"/>
                    </a:lnTo>
                    <a:lnTo>
                      <a:pt x="139351" y="80296"/>
                    </a:lnTo>
                    <a:lnTo>
                      <a:pt x="136398" y="81058"/>
                    </a:lnTo>
                    <a:lnTo>
                      <a:pt x="135636" y="80296"/>
                    </a:lnTo>
                    <a:lnTo>
                      <a:pt x="137065" y="77343"/>
                    </a:lnTo>
                    <a:lnTo>
                      <a:pt x="135636" y="73723"/>
                    </a:lnTo>
                    <a:lnTo>
                      <a:pt x="138589" y="72962"/>
                    </a:lnTo>
                    <a:lnTo>
                      <a:pt x="138589" y="69342"/>
                    </a:lnTo>
                    <a:lnTo>
                      <a:pt x="140018" y="62008"/>
                    </a:lnTo>
                    <a:lnTo>
                      <a:pt x="137065" y="61341"/>
                    </a:lnTo>
                    <a:lnTo>
                      <a:pt x="133350" y="58388"/>
                    </a:lnTo>
                    <a:lnTo>
                      <a:pt x="129731" y="56959"/>
                    </a:lnTo>
                    <a:lnTo>
                      <a:pt x="126016" y="56959"/>
                    </a:lnTo>
                    <a:lnTo>
                      <a:pt x="123825" y="55531"/>
                    </a:lnTo>
                    <a:lnTo>
                      <a:pt x="123825" y="51911"/>
                    </a:lnTo>
                    <a:lnTo>
                      <a:pt x="124587" y="44672"/>
                    </a:lnTo>
                    <a:lnTo>
                      <a:pt x="122396" y="41719"/>
                    </a:lnTo>
                    <a:lnTo>
                      <a:pt x="120968" y="40957"/>
                    </a:lnTo>
                    <a:lnTo>
                      <a:pt x="119539" y="43148"/>
                    </a:lnTo>
                    <a:lnTo>
                      <a:pt x="118110" y="44577"/>
                    </a:lnTo>
                    <a:lnTo>
                      <a:pt x="115919" y="43815"/>
                    </a:lnTo>
                    <a:lnTo>
                      <a:pt x="115158" y="38671"/>
                    </a:lnTo>
                    <a:lnTo>
                      <a:pt x="116586" y="26289"/>
                    </a:lnTo>
                    <a:lnTo>
                      <a:pt x="115824" y="25527"/>
                    </a:lnTo>
                    <a:lnTo>
                      <a:pt x="110681" y="26289"/>
                    </a:lnTo>
                    <a:lnTo>
                      <a:pt x="112871" y="23336"/>
                    </a:lnTo>
                    <a:lnTo>
                      <a:pt x="111443" y="21146"/>
                    </a:lnTo>
                    <a:lnTo>
                      <a:pt x="107823" y="23336"/>
                    </a:lnTo>
                    <a:lnTo>
                      <a:pt x="104108" y="21907"/>
                    </a:lnTo>
                    <a:lnTo>
                      <a:pt x="100489" y="23336"/>
                    </a:lnTo>
                    <a:lnTo>
                      <a:pt x="96774" y="20383"/>
                    </a:lnTo>
                    <a:lnTo>
                      <a:pt x="92393" y="19717"/>
                    </a:lnTo>
                    <a:lnTo>
                      <a:pt x="91631" y="17526"/>
                    </a:lnTo>
                    <a:lnTo>
                      <a:pt x="96012" y="14573"/>
                    </a:lnTo>
                    <a:lnTo>
                      <a:pt x="96012" y="12382"/>
                    </a:lnTo>
                    <a:lnTo>
                      <a:pt x="95250" y="8763"/>
                    </a:lnTo>
                    <a:lnTo>
                      <a:pt x="92297" y="3619"/>
                    </a:lnTo>
                    <a:lnTo>
                      <a:pt x="89345" y="0"/>
                    </a:lnTo>
                    <a:lnTo>
                      <a:pt x="84963" y="1429"/>
                    </a:lnTo>
                    <a:lnTo>
                      <a:pt x="84201" y="4381"/>
                    </a:lnTo>
                    <a:lnTo>
                      <a:pt x="82010" y="5810"/>
                    </a:lnTo>
                    <a:lnTo>
                      <a:pt x="76105" y="9430"/>
                    </a:lnTo>
                    <a:lnTo>
                      <a:pt x="73152" y="11621"/>
                    </a:lnTo>
                    <a:lnTo>
                      <a:pt x="70199" y="10858"/>
                    </a:lnTo>
                    <a:lnTo>
                      <a:pt x="67247" y="12287"/>
                    </a:lnTo>
                    <a:lnTo>
                      <a:pt x="65056" y="9430"/>
                    </a:lnTo>
                    <a:lnTo>
                      <a:pt x="64294" y="11621"/>
                    </a:lnTo>
                    <a:lnTo>
                      <a:pt x="66485" y="16002"/>
                    </a:lnTo>
                    <a:lnTo>
                      <a:pt x="72390" y="17431"/>
                    </a:lnTo>
                    <a:lnTo>
                      <a:pt x="73819" y="19621"/>
                    </a:lnTo>
                    <a:lnTo>
                      <a:pt x="70866" y="21812"/>
                    </a:lnTo>
                    <a:lnTo>
                      <a:pt x="70866" y="24003"/>
                    </a:lnTo>
                    <a:lnTo>
                      <a:pt x="73819" y="25432"/>
                    </a:lnTo>
                    <a:lnTo>
                      <a:pt x="73057" y="29051"/>
                    </a:lnTo>
                    <a:lnTo>
                      <a:pt x="70866" y="30480"/>
                    </a:lnTo>
                    <a:lnTo>
                      <a:pt x="72295" y="33433"/>
                    </a:lnTo>
                    <a:lnTo>
                      <a:pt x="70104" y="34195"/>
                    </a:lnTo>
                    <a:lnTo>
                      <a:pt x="67151" y="35623"/>
                    </a:lnTo>
                    <a:lnTo>
                      <a:pt x="66389" y="32004"/>
                    </a:lnTo>
                    <a:lnTo>
                      <a:pt x="64199" y="32766"/>
                    </a:lnTo>
                    <a:lnTo>
                      <a:pt x="56864" y="38576"/>
                    </a:lnTo>
                    <a:lnTo>
                      <a:pt x="50959" y="42958"/>
                    </a:lnTo>
                    <a:lnTo>
                      <a:pt x="52388" y="47339"/>
                    </a:lnTo>
                    <a:lnTo>
                      <a:pt x="53150" y="51721"/>
                    </a:lnTo>
                    <a:lnTo>
                      <a:pt x="45816" y="53912"/>
                    </a:lnTo>
                    <a:lnTo>
                      <a:pt x="32576" y="53912"/>
                    </a:lnTo>
                    <a:lnTo>
                      <a:pt x="23051" y="54673"/>
                    </a:lnTo>
                    <a:lnTo>
                      <a:pt x="9906" y="52483"/>
                    </a:lnTo>
                    <a:lnTo>
                      <a:pt x="6191" y="56102"/>
                    </a:lnTo>
                    <a:cubicBezTo>
                      <a:pt x="5429" y="55340"/>
                      <a:pt x="4763" y="55340"/>
                      <a:pt x="4001" y="54673"/>
                    </a:cubicBezTo>
                    <a:lnTo>
                      <a:pt x="4001" y="102775"/>
                    </a:lnTo>
                    <a:lnTo>
                      <a:pt x="9906" y="111538"/>
                    </a:lnTo>
                    <a:lnTo>
                      <a:pt x="9906" y="112966"/>
                    </a:lnTo>
                    <a:cubicBezTo>
                      <a:pt x="9906" y="112966"/>
                      <a:pt x="10573" y="112966"/>
                      <a:pt x="11335" y="113633"/>
                    </a:cubicBezTo>
                    <a:lnTo>
                      <a:pt x="19431" y="126016"/>
                    </a:lnTo>
                    <a:lnTo>
                      <a:pt x="34862" y="126016"/>
                    </a:lnTo>
                    <a:cubicBezTo>
                      <a:pt x="34862" y="126016"/>
                      <a:pt x="35624" y="126682"/>
                      <a:pt x="36291" y="127444"/>
                    </a:cubicBezTo>
                    <a:lnTo>
                      <a:pt x="42863" y="146399"/>
                    </a:lnTo>
                    <a:cubicBezTo>
                      <a:pt x="42863" y="149352"/>
                      <a:pt x="43625" y="151543"/>
                      <a:pt x="43625" y="153638"/>
                    </a:cubicBezTo>
                    <a:lnTo>
                      <a:pt x="43625" y="172593"/>
                    </a:lnTo>
                    <a:lnTo>
                      <a:pt x="55341" y="168973"/>
                    </a:lnTo>
                    <a:lnTo>
                      <a:pt x="67056" y="164592"/>
                    </a:lnTo>
                    <a:lnTo>
                      <a:pt x="75057" y="149257"/>
                    </a:lnTo>
                    <a:lnTo>
                      <a:pt x="106585" y="149257"/>
                    </a:lnTo>
                    <a:lnTo>
                      <a:pt x="106585" y="133921"/>
                    </a:lnTo>
                    <a:lnTo>
                      <a:pt x="130016" y="133921"/>
                    </a:lnTo>
                    <a:lnTo>
                      <a:pt x="138113" y="125921"/>
                    </a:lnTo>
                    <a:lnTo>
                      <a:pt x="153448" y="123730"/>
                    </a:lnTo>
                    <a:lnTo>
                      <a:pt x="152781" y="118586"/>
                    </a:lnTo>
                    <a:lnTo>
                      <a:pt x="155734" y="115633"/>
                    </a:lnTo>
                    <a:lnTo>
                      <a:pt x="158687" y="113443"/>
                    </a:lnTo>
                    <a:lnTo>
                      <a:pt x="160116" y="106871"/>
                    </a:lnTo>
                    <a:lnTo>
                      <a:pt x="164497" y="104680"/>
                    </a:lnTo>
                    <a:lnTo>
                      <a:pt x="164497" y="102489"/>
                    </a:lnTo>
                    <a:lnTo>
                      <a:pt x="166688" y="99536"/>
                    </a:lnTo>
                    <a:lnTo>
                      <a:pt x="167450" y="96583"/>
                    </a:lnTo>
                    <a:lnTo>
                      <a:pt x="169641" y="93631"/>
                    </a:lnTo>
                    <a:lnTo>
                      <a:pt x="168878" y="90011"/>
                    </a:lnTo>
                    <a:close/>
                    <a:moveTo>
                      <a:pt x="0" y="52673"/>
                    </a:moveTo>
                    <a:cubicBezTo>
                      <a:pt x="762" y="52673"/>
                      <a:pt x="1429" y="53435"/>
                      <a:pt x="4382" y="54864"/>
                    </a:cubicBezTo>
                    <a:lnTo>
                      <a:pt x="4382" y="48292"/>
                    </a:lnTo>
                    <a:lnTo>
                      <a:pt x="0" y="52673"/>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B2A99BDB-5813-370B-90C1-3239FA7CF821}"/>
                  </a:ext>
                </a:extLst>
              </p:cNvPr>
              <p:cNvSpPr/>
              <p:nvPr/>
            </p:nvSpPr>
            <p:spPr>
              <a:xfrm>
                <a:off x="5819870" y="4073365"/>
                <a:ext cx="1027747" cy="1095375"/>
              </a:xfrm>
              <a:custGeom>
                <a:avLst/>
                <a:gdLst>
                  <a:gd name="connsiteX0" fmla="*/ 1019651 w 1027747"/>
                  <a:gd name="connsiteY0" fmla="*/ 722186 h 1095375"/>
                  <a:gd name="connsiteX1" fmla="*/ 1011746 w 1027747"/>
                  <a:gd name="connsiteY1" fmla="*/ 706279 h 1095375"/>
                  <a:gd name="connsiteX2" fmla="*/ 995934 w 1027747"/>
                  <a:gd name="connsiteY2" fmla="*/ 698373 h 1095375"/>
                  <a:gd name="connsiteX3" fmla="*/ 972217 w 1027747"/>
                  <a:gd name="connsiteY3" fmla="*/ 674561 h 1095375"/>
                  <a:gd name="connsiteX4" fmla="*/ 893255 w 1027747"/>
                  <a:gd name="connsiteY4" fmla="*/ 634841 h 1095375"/>
                  <a:gd name="connsiteX5" fmla="*/ 885349 w 1027747"/>
                  <a:gd name="connsiteY5" fmla="*/ 634841 h 1095375"/>
                  <a:gd name="connsiteX6" fmla="*/ 869537 w 1027747"/>
                  <a:gd name="connsiteY6" fmla="*/ 626936 h 1095375"/>
                  <a:gd name="connsiteX7" fmla="*/ 853726 w 1027747"/>
                  <a:gd name="connsiteY7" fmla="*/ 626936 h 1095375"/>
                  <a:gd name="connsiteX8" fmla="*/ 830009 w 1027747"/>
                  <a:gd name="connsiteY8" fmla="*/ 619030 h 1095375"/>
                  <a:gd name="connsiteX9" fmla="*/ 798386 w 1027747"/>
                  <a:gd name="connsiteY9" fmla="*/ 603123 h 1095375"/>
                  <a:gd name="connsiteX10" fmla="*/ 798386 w 1027747"/>
                  <a:gd name="connsiteY10" fmla="*/ 595217 h 1095375"/>
                  <a:gd name="connsiteX11" fmla="*/ 806291 w 1027747"/>
                  <a:gd name="connsiteY11" fmla="*/ 579311 h 1095375"/>
                  <a:gd name="connsiteX12" fmla="*/ 822103 w 1027747"/>
                  <a:gd name="connsiteY12" fmla="*/ 563404 h 1095375"/>
                  <a:gd name="connsiteX13" fmla="*/ 822103 w 1027747"/>
                  <a:gd name="connsiteY13" fmla="*/ 555498 h 1095375"/>
                  <a:gd name="connsiteX14" fmla="*/ 814197 w 1027747"/>
                  <a:gd name="connsiteY14" fmla="*/ 547592 h 1095375"/>
                  <a:gd name="connsiteX15" fmla="*/ 806291 w 1027747"/>
                  <a:gd name="connsiteY15" fmla="*/ 547592 h 1095375"/>
                  <a:gd name="connsiteX16" fmla="*/ 782574 w 1027747"/>
                  <a:gd name="connsiteY16" fmla="*/ 539687 h 1095375"/>
                  <a:gd name="connsiteX17" fmla="*/ 727234 w 1027747"/>
                  <a:gd name="connsiteY17" fmla="*/ 539687 h 1095375"/>
                  <a:gd name="connsiteX18" fmla="*/ 711422 w 1027747"/>
                  <a:gd name="connsiteY18" fmla="*/ 531781 h 1095375"/>
                  <a:gd name="connsiteX19" fmla="*/ 703517 w 1027747"/>
                  <a:gd name="connsiteY19" fmla="*/ 523875 h 1095375"/>
                  <a:gd name="connsiteX20" fmla="*/ 679799 w 1027747"/>
                  <a:gd name="connsiteY20" fmla="*/ 507968 h 1095375"/>
                  <a:gd name="connsiteX21" fmla="*/ 648176 w 1027747"/>
                  <a:gd name="connsiteY21" fmla="*/ 476155 h 1095375"/>
                  <a:gd name="connsiteX22" fmla="*/ 632365 w 1027747"/>
                  <a:gd name="connsiteY22" fmla="*/ 452342 h 1095375"/>
                  <a:gd name="connsiteX23" fmla="*/ 624459 w 1027747"/>
                  <a:gd name="connsiteY23" fmla="*/ 444437 h 1095375"/>
                  <a:gd name="connsiteX24" fmla="*/ 616553 w 1027747"/>
                  <a:gd name="connsiteY24" fmla="*/ 428530 h 1095375"/>
                  <a:gd name="connsiteX25" fmla="*/ 616553 w 1027747"/>
                  <a:gd name="connsiteY25" fmla="*/ 412623 h 1095375"/>
                  <a:gd name="connsiteX26" fmla="*/ 592836 w 1027747"/>
                  <a:gd name="connsiteY26" fmla="*/ 364998 h 1095375"/>
                  <a:gd name="connsiteX27" fmla="*/ 577025 w 1027747"/>
                  <a:gd name="connsiteY27" fmla="*/ 357092 h 1095375"/>
                  <a:gd name="connsiteX28" fmla="*/ 569119 w 1027747"/>
                  <a:gd name="connsiteY28" fmla="*/ 349187 h 1095375"/>
                  <a:gd name="connsiteX29" fmla="*/ 553307 w 1027747"/>
                  <a:gd name="connsiteY29" fmla="*/ 341281 h 1095375"/>
                  <a:gd name="connsiteX30" fmla="*/ 545402 w 1027747"/>
                  <a:gd name="connsiteY30" fmla="*/ 333375 h 1095375"/>
                  <a:gd name="connsiteX31" fmla="*/ 497967 w 1027747"/>
                  <a:gd name="connsiteY31" fmla="*/ 293656 h 1095375"/>
                  <a:gd name="connsiteX32" fmla="*/ 490061 w 1027747"/>
                  <a:gd name="connsiteY32" fmla="*/ 277749 h 1095375"/>
                  <a:gd name="connsiteX33" fmla="*/ 474250 w 1027747"/>
                  <a:gd name="connsiteY33" fmla="*/ 261842 h 1095375"/>
                  <a:gd name="connsiteX34" fmla="*/ 474250 w 1027747"/>
                  <a:gd name="connsiteY34" fmla="*/ 245936 h 1095375"/>
                  <a:gd name="connsiteX35" fmla="*/ 482156 w 1027747"/>
                  <a:gd name="connsiteY35" fmla="*/ 238030 h 1095375"/>
                  <a:gd name="connsiteX36" fmla="*/ 505873 w 1027747"/>
                  <a:gd name="connsiteY36" fmla="*/ 238030 h 1095375"/>
                  <a:gd name="connsiteX37" fmla="*/ 505873 w 1027747"/>
                  <a:gd name="connsiteY37" fmla="*/ 230124 h 1095375"/>
                  <a:gd name="connsiteX38" fmla="*/ 490061 w 1027747"/>
                  <a:gd name="connsiteY38" fmla="*/ 214217 h 1095375"/>
                  <a:gd name="connsiteX39" fmla="*/ 482156 w 1027747"/>
                  <a:gd name="connsiteY39" fmla="*/ 198311 h 1095375"/>
                  <a:gd name="connsiteX40" fmla="*/ 482156 w 1027747"/>
                  <a:gd name="connsiteY40" fmla="*/ 182404 h 1095375"/>
                  <a:gd name="connsiteX41" fmla="*/ 529590 w 1027747"/>
                  <a:gd name="connsiteY41" fmla="*/ 158591 h 1095375"/>
                  <a:gd name="connsiteX42" fmla="*/ 537496 w 1027747"/>
                  <a:gd name="connsiteY42" fmla="*/ 150686 h 1095375"/>
                  <a:gd name="connsiteX43" fmla="*/ 545402 w 1027747"/>
                  <a:gd name="connsiteY43" fmla="*/ 150686 h 1095375"/>
                  <a:gd name="connsiteX44" fmla="*/ 577025 w 1027747"/>
                  <a:gd name="connsiteY44" fmla="*/ 142780 h 1095375"/>
                  <a:gd name="connsiteX45" fmla="*/ 584930 w 1027747"/>
                  <a:gd name="connsiteY45" fmla="*/ 95155 h 1095375"/>
                  <a:gd name="connsiteX46" fmla="*/ 569119 w 1027747"/>
                  <a:gd name="connsiteY46" fmla="*/ 87249 h 1095375"/>
                  <a:gd name="connsiteX47" fmla="*/ 577025 w 1027747"/>
                  <a:gd name="connsiteY47" fmla="*/ 79343 h 1095375"/>
                  <a:gd name="connsiteX48" fmla="*/ 577025 w 1027747"/>
                  <a:gd name="connsiteY48" fmla="*/ 55531 h 1095375"/>
                  <a:gd name="connsiteX49" fmla="*/ 505968 w 1027747"/>
                  <a:gd name="connsiteY49" fmla="*/ 55531 h 1095375"/>
                  <a:gd name="connsiteX50" fmla="*/ 498062 w 1027747"/>
                  <a:gd name="connsiteY50" fmla="*/ 31718 h 1095375"/>
                  <a:gd name="connsiteX51" fmla="*/ 482251 w 1027747"/>
                  <a:gd name="connsiteY51" fmla="*/ 31718 h 1095375"/>
                  <a:gd name="connsiteX52" fmla="*/ 482251 w 1027747"/>
                  <a:gd name="connsiteY52" fmla="*/ 7906 h 1095375"/>
                  <a:gd name="connsiteX53" fmla="*/ 474345 w 1027747"/>
                  <a:gd name="connsiteY53" fmla="*/ 0 h 1095375"/>
                  <a:gd name="connsiteX54" fmla="*/ 450628 w 1027747"/>
                  <a:gd name="connsiteY54" fmla="*/ 0 h 1095375"/>
                  <a:gd name="connsiteX55" fmla="*/ 442722 w 1027747"/>
                  <a:gd name="connsiteY55" fmla="*/ 7906 h 1095375"/>
                  <a:gd name="connsiteX56" fmla="*/ 442722 w 1027747"/>
                  <a:gd name="connsiteY56" fmla="*/ 15812 h 1095375"/>
                  <a:gd name="connsiteX57" fmla="*/ 387382 w 1027747"/>
                  <a:gd name="connsiteY57" fmla="*/ 15812 h 1095375"/>
                  <a:gd name="connsiteX58" fmla="*/ 371570 w 1027747"/>
                  <a:gd name="connsiteY58" fmla="*/ 39624 h 1095375"/>
                  <a:gd name="connsiteX59" fmla="*/ 355759 w 1027747"/>
                  <a:gd name="connsiteY59" fmla="*/ 31718 h 1095375"/>
                  <a:gd name="connsiteX60" fmla="*/ 332042 w 1027747"/>
                  <a:gd name="connsiteY60" fmla="*/ 31718 h 1095375"/>
                  <a:gd name="connsiteX61" fmla="*/ 324136 w 1027747"/>
                  <a:gd name="connsiteY61" fmla="*/ 55531 h 1095375"/>
                  <a:gd name="connsiteX62" fmla="*/ 292513 w 1027747"/>
                  <a:gd name="connsiteY62" fmla="*/ 55531 h 1095375"/>
                  <a:gd name="connsiteX63" fmla="*/ 292513 w 1027747"/>
                  <a:gd name="connsiteY63" fmla="*/ 63437 h 1095375"/>
                  <a:gd name="connsiteX64" fmla="*/ 308324 w 1027747"/>
                  <a:gd name="connsiteY64" fmla="*/ 79343 h 1095375"/>
                  <a:gd name="connsiteX65" fmla="*/ 300419 w 1027747"/>
                  <a:gd name="connsiteY65" fmla="*/ 95250 h 1095375"/>
                  <a:gd name="connsiteX66" fmla="*/ 276701 w 1027747"/>
                  <a:gd name="connsiteY66" fmla="*/ 79343 h 1095375"/>
                  <a:gd name="connsiteX67" fmla="*/ 252984 w 1027747"/>
                  <a:gd name="connsiteY67" fmla="*/ 87249 h 1095375"/>
                  <a:gd name="connsiteX68" fmla="*/ 237173 w 1027747"/>
                  <a:gd name="connsiteY68" fmla="*/ 63437 h 1095375"/>
                  <a:gd name="connsiteX69" fmla="*/ 229267 w 1027747"/>
                  <a:gd name="connsiteY69" fmla="*/ 95155 h 1095375"/>
                  <a:gd name="connsiteX70" fmla="*/ 213455 w 1027747"/>
                  <a:gd name="connsiteY70" fmla="*/ 111062 h 1095375"/>
                  <a:gd name="connsiteX71" fmla="*/ 213455 w 1027747"/>
                  <a:gd name="connsiteY71" fmla="*/ 134874 h 1095375"/>
                  <a:gd name="connsiteX72" fmla="*/ 181832 w 1027747"/>
                  <a:gd name="connsiteY72" fmla="*/ 103156 h 1095375"/>
                  <a:gd name="connsiteX73" fmla="*/ 173927 w 1027747"/>
                  <a:gd name="connsiteY73" fmla="*/ 103156 h 1095375"/>
                  <a:gd name="connsiteX74" fmla="*/ 173927 w 1027747"/>
                  <a:gd name="connsiteY74" fmla="*/ 95250 h 1095375"/>
                  <a:gd name="connsiteX75" fmla="*/ 166021 w 1027747"/>
                  <a:gd name="connsiteY75" fmla="*/ 87344 h 1095375"/>
                  <a:gd name="connsiteX76" fmla="*/ 166021 w 1027747"/>
                  <a:gd name="connsiteY76" fmla="*/ 79438 h 1095375"/>
                  <a:gd name="connsiteX77" fmla="*/ 158115 w 1027747"/>
                  <a:gd name="connsiteY77" fmla="*/ 71533 h 1095375"/>
                  <a:gd name="connsiteX78" fmla="*/ 142304 w 1027747"/>
                  <a:gd name="connsiteY78" fmla="*/ 71533 h 1095375"/>
                  <a:gd name="connsiteX79" fmla="*/ 134398 w 1027747"/>
                  <a:gd name="connsiteY79" fmla="*/ 79438 h 1095375"/>
                  <a:gd name="connsiteX80" fmla="*/ 134398 w 1027747"/>
                  <a:gd name="connsiteY80" fmla="*/ 103251 h 1095375"/>
                  <a:gd name="connsiteX81" fmla="*/ 110681 w 1027747"/>
                  <a:gd name="connsiteY81" fmla="*/ 127063 h 1095375"/>
                  <a:gd name="connsiteX82" fmla="*/ 102775 w 1027747"/>
                  <a:gd name="connsiteY82" fmla="*/ 127063 h 1095375"/>
                  <a:gd name="connsiteX83" fmla="*/ 86963 w 1027747"/>
                  <a:gd name="connsiteY83" fmla="*/ 111157 h 1095375"/>
                  <a:gd name="connsiteX84" fmla="*/ 71152 w 1027747"/>
                  <a:gd name="connsiteY84" fmla="*/ 111157 h 1095375"/>
                  <a:gd name="connsiteX85" fmla="*/ 55340 w 1027747"/>
                  <a:gd name="connsiteY85" fmla="*/ 127063 h 1095375"/>
                  <a:gd name="connsiteX86" fmla="*/ 39529 w 1027747"/>
                  <a:gd name="connsiteY86" fmla="*/ 127063 h 1095375"/>
                  <a:gd name="connsiteX87" fmla="*/ 39529 w 1027747"/>
                  <a:gd name="connsiteY87" fmla="*/ 134969 h 1095375"/>
                  <a:gd name="connsiteX88" fmla="*/ 31623 w 1027747"/>
                  <a:gd name="connsiteY88" fmla="*/ 134969 h 1095375"/>
                  <a:gd name="connsiteX89" fmla="*/ 23717 w 1027747"/>
                  <a:gd name="connsiteY89" fmla="*/ 142875 h 1095375"/>
                  <a:gd name="connsiteX90" fmla="*/ 55245 w 1027747"/>
                  <a:gd name="connsiteY90" fmla="*/ 174593 h 1095375"/>
                  <a:gd name="connsiteX91" fmla="*/ 55245 w 1027747"/>
                  <a:gd name="connsiteY91" fmla="*/ 182499 h 1095375"/>
                  <a:gd name="connsiteX92" fmla="*/ 31528 w 1027747"/>
                  <a:gd name="connsiteY92" fmla="*/ 206312 h 1095375"/>
                  <a:gd name="connsiteX93" fmla="*/ 0 w 1027747"/>
                  <a:gd name="connsiteY93" fmla="*/ 206312 h 1095375"/>
                  <a:gd name="connsiteX94" fmla="*/ 15812 w 1027747"/>
                  <a:gd name="connsiteY94" fmla="*/ 230124 h 1095375"/>
                  <a:gd name="connsiteX95" fmla="*/ 31623 w 1027747"/>
                  <a:gd name="connsiteY95" fmla="*/ 230124 h 1095375"/>
                  <a:gd name="connsiteX96" fmla="*/ 39529 w 1027747"/>
                  <a:gd name="connsiteY96" fmla="*/ 238030 h 1095375"/>
                  <a:gd name="connsiteX97" fmla="*/ 39529 w 1027747"/>
                  <a:gd name="connsiteY97" fmla="*/ 253937 h 1095375"/>
                  <a:gd name="connsiteX98" fmla="*/ 31623 w 1027747"/>
                  <a:gd name="connsiteY98" fmla="*/ 261842 h 1095375"/>
                  <a:gd name="connsiteX99" fmla="*/ 31623 w 1027747"/>
                  <a:gd name="connsiteY99" fmla="*/ 269748 h 1095375"/>
                  <a:gd name="connsiteX100" fmla="*/ 23717 w 1027747"/>
                  <a:gd name="connsiteY100" fmla="*/ 277654 h 1095375"/>
                  <a:gd name="connsiteX101" fmla="*/ 23717 w 1027747"/>
                  <a:gd name="connsiteY101" fmla="*/ 285560 h 1095375"/>
                  <a:gd name="connsiteX102" fmla="*/ 31623 w 1027747"/>
                  <a:gd name="connsiteY102" fmla="*/ 293465 h 1095375"/>
                  <a:gd name="connsiteX103" fmla="*/ 47435 w 1027747"/>
                  <a:gd name="connsiteY103" fmla="*/ 301371 h 1095375"/>
                  <a:gd name="connsiteX104" fmla="*/ 55340 w 1027747"/>
                  <a:gd name="connsiteY104" fmla="*/ 301371 h 1095375"/>
                  <a:gd name="connsiteX105" fmla="*/ 55340 w 1027747"/>
                  <a:gd name="connsiteY105" fmla="*/ 309277 h 1095375"/>
                  <a:gd name="connsiteX106" fmla="*/ 86963 w 1027747"/>
                  <a:gd name="connsiteY106" fmla="*/ 309277 h 1095375"/>
                  <a:gd name="connsiteX107" fmla="*/ 94869 w 1027747"/>
                  <a:gd name="connsiteY107" fmla="*/ 317183 h 1095375"/>
                  <a:gd name="connsiteX108" fmla="*/ 94869 w 1027747"/>
                  <a:gd name="connsiteY108" fmla="*/ 325088 h 1095375"/>
                  <a:gd name="connsiteX109" fmla="*/ 71152 w 1027747"/>
                  <a:gd name="connsiteY109" fmla="*/ 348901 h 1095375"/>
                  <a:gd name="connsiteX110" fmla="*/ 71152 w 1027747"/>
                  <a:gd name="connsiteY110" fmla="*/ 356806 h 1095375"/>
                  <a:gd name="connsiteX111" fmla="*/ 86963 w 1027747"/>
                  <a:gd name="connsiteY111" fmla="*/ 356806 h 1095375"/>
                  <a:gd name="connsiteX112" fmla="*/ 118586 w 1027747"/>
                  <a:gd name="connsiteY112" fmla="*/ 340900 h 1095375"/>
                  <a:gd name="connsiteX113" fmla="*/ 158115 w 1027747"/>
                  <a:gd name="connsiteY113" fmla="*/ 301180 h 1095375"/>
                  <a:gd name="connsiteX114" fmla="*/ 189738 w 1027747"/>
                  <a:gd name="connsiteY114" fmla="*/ 285274 h 1095375"/>
                  <a:gd name="connsiteX115" fmla="*/ 205550 w 1027747"/>
                  <a:gd name="connsiteY115" fmla="*/ 285274 h 1095375"/>
                  <a:gd name="connsiteX116" fmla="*/ 221361 w 1027747"/>
                  <a:gd name="connsiteY116" fmla="*/ 293180 h 1095375"/>
                  <a:gd name="connsiteX117" fmla="*/ 268796 w 1027747"/>
                  <a:gd name="connsiteY117" fmla="*/ 309086 h 1095375"/>
                  <a:gd name="connsiteX118" fmla="*/ 284607 w 1027747"/>
                  <a:gd name="connsiteY118" fmla="*/ 316992 h 1095375"/>
                  <a:gd name="connsiteX119" fmla="*/ 300419 w 1027747"/>
                  <a:gd name="connsiteY119" fmla="*/ 332899 h 1095375"/>
                  <a:gd name="connsiteX120" fmla="*/ 308324 w 1027747"/>
                  <a:gd name="connsiteY120" fmla="*/ 348805 h 1095375"/>
                  <a:gd name="connsiteX121" fmla="*/ 308324 w 1027747"/>
                  <a:gd name="connsiteY121" fmla="*/ 364712 h 1095375"/>
                  <a:gd name="connsiteX122" fmla="*/ 316230 w 1027747"/>
                  <a:gd name="connsiteY122" fmla="*/ 372618 h 1095375"/>
                  <a:gd name="connsiteX123" fmla="*/ 316230 w 1027747"/>
                  <a:gd name="connsiteY123" fmla="*/ 380524 h 1095375"/>
                  <a:gd name="connsiteX124" fmla="*/ 332042 w 1027747"/>
                  <a:gd name="connsiteY124" fmla="*/ 396430 h 1095375"/>
                  <a:gd name="connsiteX125" fmla="*/ 332042 w 1027747"/>
                  <a:gd name="connsiteY125" fmla="*/ 404336 h 1095375"/>
                  <a:gd name="connsiteX126" fmla="*/ 324136 w 1027747"/>
                  <a:gd name="connsiteY126" fmla="*/ 420243 h 1095375"/>
                  <a:gd name="connsiteX127" fmla="*/ 324136 w 1027747"/>
                  <a:gd name="connsiteY127" fmla="*/ 428149 h 1095375"/>
                  <a:gd name="connsiteX128" fmla="*/ 339947 w 1027747"/>
                  <a:gd name="connsiteY128" fmla="*/ 444055 h 1095375"/>
                  <a:gd name="connsiteX129" fmla="*/ 371570 w 1027747"/>
                  <a:gd name="connsiteY129" fmla="*/ 459962 h 1095375"/>
                  <a:gd name="connsiteX130" fmla="*/ 379476 w 1027747"/>
                  <a:gd name="connsiteY130" fmla="*/ 467868 h 1095375"/>
                  <a:gd name="connsiteX131" fmla="*/ 387382 w 1027747"/>
                  <a:gd name="connsiteY131" fmla="*/ 467868 h 1095375"/>
                  <a:gd name="connsiteX132" fmla="*/ 395288 w 1027747"/>
                  <a:gd name="connsiteY132" fmla="*/ 491680 h 1095375"/>
                  <a:gd name="connsiteX133" fmla="*/ 434816 w 1027747"/>
                  <a:gd name="connsiteY133" fmla="*/ 491680 h 1095375"/>
                  <a:gd name="connsiteX134" fmla="*/ 458534 w 1027747"/>
                  <a:gd name="connsiteY134" fmla="*/ 515493 h 1095375"/>
                  <a:gd name="connsiteX135" fmla="*/ 466439 w 1027747"/>
                  <a:gd name="connsiteY135" fmla="*/ 531400 h 1095375"/>
                  <a:gd name="connsiteX136" fmla="*/ 482251 w 1027747"/>
                  <a:gd name="connsiteY136" fmla="*/ 547306 h 1095375"/>
                  <a:gd name="connsiteX137" fmla="*/ 498062 w 1027747"/>
                  <a:gd name="connsiteY137" fmla="*/ 555212 h 1095375"/>
                  <a:gd name="connsiteX138" fmla="*/ 505968 w 1027747"/>
                  <a:gd name="connsiteY138" fmla="*/ 571119 h 1095375"/>
                  <a:gd name="connsiteX139" fmla="*/ 553403 w 1027747"/>
                  <a:gd name="connsiteY139" fmla="*/ 618744 h 1095375"/>
                  <a:gd name="connsiteX140" fmla="*/ 600837 w 1027747"/>
                  <a:gd name="connsiteY140" fmla="*/ 618744 h 1095375"/>
                  <a:gd name="connsiteX141" fmla="*/ 608743 w 1027747"/>
                  <a:gd name="connsiteY141" fmla="*/ 626650 h 1095375"/>
                  <a:gd name="connsiteX142" fmla="*/ 616649 w 1027747"/>
                  <a:gd name="connsiteY142" fmla="*/ 642556 h 1095375"/>
                  <a:gd name="connsiteX143" fmla="*/ 648272 w 1027747"/>
                  <a:gd name="connsiteY143" fmla="*/ 658463 h 1095375"/>
                  <a:gd name="connsiteX144" fmla="*/ 671989 w 1027747"/>
                  <a:gd name="connsiteY144" fmla="*/ 666369 h 1095375"/>
                  <a:gd name="connsiteX145" fmla="*/ 695706 w 1027747"/>
                  <a:gd name="connsiteY145" fmla="*/ 666369 h 1095375"/>
                  <a:gd name="connsiteX146" fmla="*/ 711518 w 1027747"/>
                  <a:gd name="connsiteY146" fmla="*/ 674275 h 1095375"/>
                  <a:gd name="connsiteX147" fmla="*/ 719423 w 1027747"/>
                  <a:gd name="connsiteY147" fmla="*/ 674275 h 1095375"/>
                  <a:gd name="connsiteX148" fmla="*/ 727329 w 1027747"/>
                  <a:gd name="connsiteY148" fmla="*/ 690181 h 1095375"/>
                  <a:gd name="connsiteX149" fmla="*/ 727329 w 1027747"/>
                  <a:gd name="connsiteY149" fmla="*/ 706088 h 1095375"/>
                  <a:gd name="connsiteX150" fmla="*/ 743141 w 1027747"/>
                  <a:gd name="connsiteY150" fmla="*/ 737902 h 1095375"/>
                  <a:gd name="connsiteX151" fmla="*/ 751046 w 1027747"/>
                  <a:gd name="connsiteY151" fmla="*/ 745808 h 1095375"/>
                  <a:gd name="connsiteX152" fmla="*/ 766858 w 1027747"/>
                  <a:gd name="connsiteY152" fmla="*/ 745808 h 1095375"/>
                  <a:gd name="connsiteX153" fmla="*/ 782669 w 1027747"/>
                  <a:gd name="connsiteY153" fmla="*/ 737902 h 1095375"/>
                  <a:gd name="connsiteX154" fmla="*/ 790575 w 1027747"/>
                  <a:gd name="connsiteY154" fmla="*/ 737902 h 1095375"/>
                  <a:gd name="connsiteX155" fmla="*/ 790575 w 1027747"/>
                  <a:gd name="connsiteY155" fmla="*/ 753809 h 1095375"/>
                  <a:gd name="connsiteX156" fmla="*/ 798481 w 1027747"/>
                  <a:gd name="connsiteY156" fmla="*/ 769715 h 1095375"/>
                  <a:gd name="connsiteX157" fmla="*/ 798481 w 1027747"/>
                  <a:gd name="connsiteY157" fmla="*/ 801434 h 1095375"/>
                  <a:gd name="connsiteX158" fmla="*/ 806387 w 1027747"/>
                  <a:gd name="connsiteY158" fmla="*/ 817340 h 1095375"/>
                  <a:gd name="connsiteX159" fmla="*/ 830104 w 1027747"/>
                  <a:gd name="connsiteY159" fmla="*/ 841153 h 1095375"/>
                  <a:gd name="connsiteX160" fmla="*/ 830104 w 1027747"/>
                  <a:gd name="connsiteY160" fmla="*/ 880872 h 1095375"/>
                  <a:gd name="connsiteX161" fmla="*/ 806387 w 1027747"/>
                  <a:gd name="connsiteY161" fmla="*/ 880872 h 1095375"/>
                  <a:gd name="connsiteX162" fmla="*/ 806387 w 1027747"/>
                  <a:gd name="connsiteY162" fmla="*/ 912590 h 1095375"/>
                  <a:gd name="connsiteX163" fmla="*/ 798481 w 1027747"/>
                  <a:gd name="connsiteY163" fmla="*/ 920496 h 1095375"/>
                  <a:gd name="connsiteX164" fmla="*/ 790575 w 1027747"/>
                  <a:gd name="connsiteY164" fmla="*/ 936403 h 1095375"/>
                  <a:gd name="connsiteX165" fmla="*/ 782669 w 1027747"/>
                  <a:gd name="connsiteY165" fmla="*/ 944309 h 1095375"/>
                  <a:gd name="connsiteX166" fmla="*/ 782669 w 1027747"/>
                  <a:gd name="connsiteY166" fmla="*/ 968121 h 1095375"/>
                  <a:gd name="connsiteX167" fmla="*/ 798481 w 1027747"/>
                  <a:gd name="connsiteY167" fmla="*/ 968121 h 1095375"/>
                  <a:gd name="connsiteX168" fmla="*/ 814292 w 1027747"/>
                  <a:gd name="connsiteY168" fmla="*/ 960215 h 1095375"/>
                  <a:gd name="connsiteX169" fmla="*/ 822198 w 1027747"/>
                  <a:gd name="connsiteY169" fmla="*/ 960215 h 1095375"/>
                  <a:gd name="connsiteX170" fmla="*/ 838010 w 1027747"/>
                  <a:gd name="connsiteY170" fmla="*/ 928497 h 1095375"/>
                  <a:gd name="connsiteX171" fmla="*/ 861727 w 1027747"/>
                  <a:gd name="connsiteY171" fmla="*/ 920591 h 1095375"/>
                  <a:gd name="connsiteX172" fmla="*/ 861727 w 1027747"/>
                  <a:gd name="connsiteY172" fmla="*/ 880872 h 1095375"/>
                  <a:gd name="connsiteX173" fmla="*/ 877538 w 1027747"/>
                  <a:gd name="connsiteY173" fmla="*/ 864965 h 1095375"/>
                  <a:gd name="connsiteX174" fmla="*/ 893350 w 1027747"/>
                  <a:gd name="connsiteY174" fmla="*/ 864965 h 1095375"/>
                  <a:gd name="connsiteX175" fmla="*/ 901256 w 1027747"/>
                  <a:gd name="connsiteY175" fmla="*/ 857060 h 1095375"/>
                  <a:gd name="connsiteX176" fmla="*/ 917067 w 1027747"/>
                  <a:gd name="connsiteY176" fmla="*/ 857060 h 1095375"/>
                  <a:gd name="connsiteX177" fmla="*/ 917067 w 1027747"/>
                  <a:gd name="connsiteY177" fmla="*/ 841153 h 1095375"/>
                  <a:gd name="connsiteX178" fmla="*/ 909161 w 1027747"/>
                  <a:gd name="connsiteY178" fmla="*/ 833247 h 1095375"/>
                  <a:gd name="connsiteX179" fmla="*/ 909161 w 1027747"/>
                  <a:gd name="connsiteY179" fmla="*/ 817340 h 1095375"/>
                  <a:gd name="connsiteX180" fmla="*/ 893350 w 1027747"/>
                  <a:gd name="connsiteY180" fmla="*/ 801434 h 1095375"/>
                  <a:gd name="connsiteX181" fmla="*/ 877538 w 1027747"/>
                  <a:gd name="connsiteY181" fmla="*/ 801434 h 1095375"/>
                  <a:gd name="connsiteX182" fmla="*/ 853821 w 1027747"/>
                  <a:gd name="connsiteY182" fmla="*/ 777621 h 1095375"/>
                  <a:gd name="connsiteX183" fmla="*/ 861727 w 1027747"/>
                  <a:gd name="connsiteY183" fmla="*/ 769715 h 1095375"/>
                  <a:gd name="connsiteX184" fmla="*/ 869633 w 1027747"/>
                  <a:gd name="connsiteY184" fmla="*/ 753809 h 1095375"/>
                  <a:gd name="connsiteX185" fmla="*/ 877538 w 1027747"/>
                  <a:gd name="connsiteY185" fmla="*/ 729996 h 1095375"/>
                  <a:gd name="connsiteX186" fmla="*/ 885444 w 1027747"/>
                  <a:gd name="connsiteY186" fmla="*/ 714089 h 1095375"/>
                  <a:gd name="connsiteX187" fmla="*/ 901256 w 1027747"/>
                  <a:gd name="connsiteY187" fmla="*/ 698183 h 1095375"/>
                  <a:gd name="connsiteX188" fmla="*/ 909161 w 1027747"/>
                  <a:gd name="connsiteY188" fmla="*/ 706088 h 1095375"/>
                  <a:gd name="connsiteX189" fmla="*/ 924973 w 1027747"/>
                  <a:gd name="connsiteY189" fmla="*/ 706088 h 1095375"/>
                  <a:gd name="connsiteX190" fmla="*/ 932879 w 1027747"/>
                  <a:gd name="connsiteY190" fmla="*/ 713994 h 1095375"/>
                  <a:gd name="connsiteX191" fmla="*/ 972407 w 1027747"/>
                  <a:gd name="connsiteY191" fmla="*/ 713994 h 1095375"/>
                  <a:gd name="connsiteX192" fmla="*/ 972407 w 1027747"/>
                  <a:gd name="connsiteY192" fmla="*/ 729901 h 1095375"/>
                  <a:gd name="connsiteX193" fmla="*/ 980313 w 1027747"/>
                  <a:gd name="connsiteY193" fmla="*/ 737806 h 1095375"/>
                  <a:gd name="connsiteX194" fmla="*/ 980313 w 1027747"/>
                  <a:gd name="connsiteY194" fmla="*/ 745712 h 1095375"/>
                  <a:gd name="connsiteX195" fmla="*/ 988219 w 1027747"/>
                  <a:gd name="connsiteY195" fmla="*/ 761619 h 1095375"/>
                  <a:gd name="connsiteX196" fmla="*/ 1004030 w 1027747"/>
                  <a:gd name="connsiteY196" fmla="*/ 761619 h 1095375"/>
                  <a:gd name="connsiteX197" fmla="*/ 1019842 w 1027747"/>
                  <a:gd name="connsiteY197" fmla="*/ 753713 h 1095375"/>
                  <a:gd name="connsiteX198" fmla="*/ 1027748 w 1027747"/>
                  <a:gd name="connsiteY198" fmla="*/ 745808 h 1095375"/>
                  <a:gd name="connsiteX199" fmla="*/ 1027748 w 1027747"/>
                  <a:gd name="connsiteY199" fmla="*/ 737902 h 1095375"/>
                  <a:gd name="connsiteX200" fmla="*/ 1019842 w 1027747"/>
                  <a:gd name="connsiteY200" fmla="*/ 721995 h 1095375"/>
                  <a:gd name="connsiteX201" fmla="*/ 237649 w 1027747"/>
                  <a:gd name="connsiteY201" fmla="*/ 618935 h 1095375"/>
                  <a:gd name="connsiteX202" fmla="*/ 206026 w 1027747"/>
                  <a:gd name="connsiteY202" fmla="*/ 634841 h 1095375"/>
                  <a:gd name="connsiteX203" fmla="*/ 198120 w 1027747"/>
                  <a:gd name="connsiteY203" fmla="*/ 642747 h 1095375"/>
                  <a:gd name="connsiteX204" fmla="*/ 182309 w 1027747"/>
                  <a:gd name="connsiteY204" fmla="*/ 650653 h 1095375"/>
                  <a:gd name="connsiteX205" fmla="*/ 174403 w 1027747"/>
                  <a:gd name="connsiteY205" fmla="*/ 658559 h 1095375"/>
                  <a:gd name="connsiteX206" fmla="*/ 166497 w 1027747"/>
                  <a:gd name="connsiteY206" fmla="*/ 658559 h 1095375"/>
                  <a:gd name="connsiteX207" fmla="*/ 150686 w 1027747"/>
                  <a:gd name="connsiteY207" fmla="*/ 650653 h 1095375"/>
                  <a:gd name="connsiteX208" fmla="*/ 134874 w 1027747"/>
                  <a:gd name="connsiteY208" fmla="*/ 634746 h 1095375"/>
                  <a:gd name="connsiteX209" fmla="*/ 126968 w 1027747"/>
                  <a:gd name="connsiteY209" fmla="*/ 658559 h 1095375"/>
                  <a:gd name="connsiteX210" fmla="*/ 134874 w 1027747"/>
                  <a:gd name="connsiteY210" fmla="*/ 666464 h 1095375"/>
                  <a:gd name="connsiteX211" fmla="*/ 150686 w 1027747"/>
                  <a:gd name="connsiteY211" fmla="*/ 674370 h 1095375"/>
                  <a:gd name="connsiteX212" fmla="*/ 158591 w 1027747"/>
                  <a:gd name="connsiteY212" fmla="*/ 690277 h 1095375"/>
                  <a:gd name="connsiteX213" fmla="*/ 158591 w 1027747"/>
                  <a:gd name="connsiteY213" fmla="*/ 714089 h 1095375"/>
                  <a:gd name="connsiteX214" fmla="*/ 150686 w 1027747"/>
                  <a:gd name="connsiteY214" fmla="*/ 737902 h 1095375"/>
                  <a:gd name="connsiteX215" fmla="*/ 150686 w 1027747"/>
                  <a:gd name="connsiteY215" fmla="*/ 753809 h 1095375"/>
                  <a:gd name="connsiteX216" fmla="*/ 166497 w 1027747"/>
                  <a:gd name="connsiteY216" fmla="*/ 769715 h 1095375"/>
                  <a:gd name="connsiteX217" fmla="*/ 150686 w 1027747"/>
                  <a:gd name="connsiteY217" fmla="*/ 777621 h 1095375"/>
                  <a:gd name="connsiteX218" fmla="*/ 158591 w 1027747"/>
                  <a:gd name="connsiteY218" fmla="*/ 841153 h 1095375"/>
                  <a:gd name="connsiteX219" fmla="*/ 142780 w 1027747"/>
                  <a:gd name="connsiteY219" fmla="*/ 841153 h 1095375"/>
                  <a:gd name="connsiteX220" fmla="*/ 166497 w 1027747"/>
                  <a:gd name="connsiteY220" fmla="*/ 864965 h 1095375"/>
                  <a:gd name="connsiteX221" fmla="*/ 182309 w 1027747"/>
                  <a:gd name="connsiteY221" fmla="*/ 864965 h 1095375"/>
                  <a:gd name="connsiteX222" fmla="*/ 190214 w 1027747"/>
                  <a:gd name="connsiteY222" fmla="*/ 849059 h 1095375"/>
                  <a:gd name="connsiteX223" fmla="*/ 206026 w 1027747"/>
                  <a:gd name="connsiteY223" fmla="*/ 833152 h 1095375"/>
                  <a:gd name="connsiteX224" fmla="*/ 206026 w 1027747"/>
                  <a:gd name="connsiteY224" fmla="*/ 817245 h 1095375"/>
                  <a:gd name="connsiteX225" fmla="*/ 221837 w 1027747"/>
                  <a:gd name="connsiteY225" fmla="*/ 833152 h 1095375"/>
                  <a:gd name="connsiteX226" fmla="*/ 237649 w 1027747"/>
                  <a:gd name="connsiteY226" fmla="*/ 841058 h 1095375"/>
                  <a:gd name="connsiteX227" fmla="*/ 245554 w 1027747"/>
                  <a:gd name="connsiteY227" fmla="*/ 841058 h 1095375"/>
                  <a:gd name="connsiteX228" fmla="*/ 253460 w 1027747"/>
                  <a:gd name="connsiteY228" fmla="*/ 833152 h 1095375"/>
                  <a:gd name="connsiteX229" fmla="*/ 261366 w 1027747"/>
                  <a:gd name="connsiteY229" fmla="*/ 817245 h 1095375"/>
                  <a:gd name="connsiteX230" fmla="*/ 261366 w 1027747"/>
                  <a:gd name="connsiteY230" fmla="*/ 785431 h 1095375"/>
                  <a:gd name="connsiteX231" fmla="*/ 269272 w 1027747"/>
                  <a:gd name="connsiteY231" fmla="*/ 769525 h 1095375"/>
                  <a:gd name="connsiteX232" fmla="*/ 269272 w 1027747"/>
                  <a:gd name="connsiteY232" fmla="*/ 737806 h 1095375"/>
                  <a:gd name="connsiteX233" fmla="*/ 261366 w 1027747"/>
                  <a:gd name="connsiteY233" fmla="*/ 729901 h 1095375"/>
                  <a:gd name="connsiteX234" fmla="*/ 253460 w 1027747"/>
                  <a:gd name="connsiteY234" fmla="*/ 729901 h 1095375"/>
                  <a:gd name="connsiteX235" fmla="*/ 253460 w 1027747"/>
                  <a:gd name="connsiteY235" fmla="*/ 721995 h 1095375"/>
                  <a:gd name="connsiteX236" fmla="*/ 261366 w 1027747"/>
                  <a:gd name="connsiteY236" fmla="*/ 714089 h 1095375"/>
                  <a:gd name="connsiteX237" fmla="*/ 269272 w 1027747"/>
                  <a:gd name="connsiteY237" fmla="*/ 714089 h 1095375"/>
                  <a:gd name="connsiteX238" fmla="*/ 277178 w 1027747"/>
                  <a:gd name="connsiteY238" fmla="*/ 706184 h 1095375"/>
                  <a:gd name="connsiteX239" fmla="*/ 277178 w 1027747"/>
                  <a:gd name="connsiteY239" fmla="*/ 690277 h 1095375"/>
                  <a:gd name="connsiteX240" fmla="*/ 269272 w 1027747"/>
                  <a:gd name="connsiteY240" fmla="*/ 674370 h 1095375"/>
                  <a:gd name="connsiteX241" fmla="*/ 269272 w 1027747"/>
                  <a:gd name="connsiteY241" fmla="*/ 650558 h 1095375"/>
                  <a:gd name="connsiteX242" fmla="*/ 261366 w 1027747"/>
                  <a:gd name="connsiteY242" fmla="*/ 634651 h 1095375"/>
                  <a:gd name="connsiteX243" fmla="*/ 245554 w 1027747"/>
                  <a:gd name="connsiteY243" fmla="*/ 626745 h 1095375"/>
                  <a:gd name="connsiteX244" fmla="*/ 237649 w 1027747"/>
                  <a:gd name="connsiteY244" fmla="*/ 618839 h 1095375"/>
                  <a:gd name="connsiteX245" fmla="*/ 751046 w 1027747"/>
                  <a:gd name="connsiteY245" fmla="*/ 952500 h 1095375"/>
                  <a:gd name="connsiteX246" fmla="*/ 735235 w 1027747"/>
                  <a:gd name="connsiteY246" fmla="*/ 944594 h 1095375"/>
                  <a:gd name="connsiteX247" fmla="*/ 727329 w 1027747"/>
                  <a:gd name="connsiteY247" fmla="*/ 936688 h 1095375"/>
                  <a:gd name="connsiteX248" fmla="*/ 711518 w 1027747"/>
                  <a:gd name="connsiteY248" fmla="*/ 936688 h 1095375"/>
                  <a:gd name="connsiteX249" fmla="*/ 703612 w 1027747"/>
                  <a:gd name="connsiteY249" fmla="*/ 944594 h 1095375"/>
                  <a:gd name="connsiteX250" fmla="*/ 687800 w 1027747"/>
                  <a:gd name="connsiteY250" fmla="*/ 952500 h 1095375"/>
                  <a:gd name="connsiteX251" fmla="*/ 679895 w 1027747"/>
                  <a:gd name="connsiteY251" fmla="*/ 960406 h 1095375"/>
                  <a:gd name="connsiteX252" fmla="*/ 616744 w 1027747"/>
                  <a:gd name="connsiteY252" fmla="*/ 960406 h 1095375"/>
                  <a:gd name="connsiteX253" fmla="*/ 600932 w 1027747"/>
                  <a:gd name="connsiteY253" fmla="*/ 952500 h 1095375"/>
                  <a:gd name="connsiteX254" fmla="*/ 585121 w 1027747"/>
                  <a:gd name="connsiteY254" fmla="*/ 936593 h 1095375"/>
                  <a:gd name="connsiteX255" fmla="*/ 577215 w 1027747"/>
                  <a:gd name="connsiteY255" fmla="*/ 936593 h 1095375"/>
                  <a:gd name="connsiteX256" fmla="*/ 553498 w 1027747"/>
                  <a:gd name="connsiteY256" fmla="*/ 960406 h 1095375"/>
                  <a:gd name="connsiteX257" fmla="*/ 529781 w 1027747"/>
                  <a:gd name="connsiteY257" fmla="*/ 944499 h 1095375"/>
                  <a:gd name="connsiteX258" fmla="*/ 521875 w 1027747"/>
                  <a:gd name="connsiteY258" fmla="*/ 944499 h 1095375"/>
                  <a:gd name="connsiteX259" fmla="*/ 506063 w 1027747"/>
                  <a:gd name="connsiteY259" fmla="*/ 960406 h 1095375"/>
                  <a:gd name="connsiteX260" fmla="*/ 506063 w 1027747"/>
                  <a:gd name="connsiteY260" fmla="*/ 976313 h 1095375"/>
                  <a:gd name="connsiteX261" fmla="*/ 521875 w 1027747"/>
                  <a:gd name="connsiteY261" fmla="*/ 992219 h 1095375"/>
                  <a:gd name="connsiteX262" fmla="*/ 553498 w 1027747"/>
                  <a:gd name="connsiteY262" fmla="*/ 1008126 h 1095375"/>
                  <a:gd name="connsiteX263" fmla="*/ 561404 w 1027747"/>
                  <a:gd name="connsiteY263" fmla="*/ 1008126 h 1095375"/>
                  <a:gd name="connsiteX264" fmla="*/ 585121 w 1027747"/>
                  <a:gd name="connsiteY264" fmla="*/ 1031938 h 1095375"/>
                  <a:gd name="connsiteX265" fmla="*/ 585121 w 1027747"/>
                  <a:gd name="connsiteY265" fmla="*/ 1039844 h 1095375"/>
                  <a:gd name="connsiteX266" fmla="*/ 600932 w 1027747"/>
                  <a:gd name="connsiteY266" fmla="*/ 1039844 h 1095375"/>
                  <a:gd name="connsiteX267" fmla="*/ 616744 w 1027747"/>
                  <a:gd name="connsiteY267" fmla="*/ 1055751 h 1095375"/>
                  <a:gd name="connsiteX268" fmla="*/ 632555 w 1027747"/>
                  <a:gd name="connsiteY268" fmla="*/ 1063657 h 1095375"/>
                  <a:gd name="connsiteX269" fmla="*/ 656273 w 1027747"/>
                  <a:gd name="connsiteY269" fmla="*/ 1055751 h 1095375"/>
                  <a:gd name="connsiteX270" fmla="*/ 664178 w 1027747"/>
                  <a:gd name="connsiteY270" fmla="*/ 1063657 h 1095375"/>
                  <a:gd name="connsiteX271" fmla="*/ 679990 w 1027747"/>
                  <a:gd name="connsiteY271" fmla="*/ 1071563 h 1095375"/>
                  <a:gd name="connsiteX272" fmla="*/ 687896 w 1027747"/>
                  <a:gd name="connsiteY272" fmla="*/ 1087469 h 1095375"/>
                  <a:gd name="connsiteX273" fmla="*/ 703707 w 1027747"/>
                  <a:gd name="connsiteY273" fmla="*/ 1095375 h 1095375"/>
                  <a:gd name="connsiteX274" fmla="*/ 735330 w 1027747"/>
                  <a:gd name="connsiteY274" fmla="*/ 1095375 h 1095375"/>
                  <a:gd name="connsiteX275" fmla="*/ 751142 w 1027747"/>
                  <a:gd name="connsiteY275" fmla="*/ 1079468 h 1095375"/>
                  <a:gd name="connsiteX276" fmla="*/ 751142 w 1027747"/>
                  <a:gd name="connsiteY276" fmla="*/ 1047750 h 1095375"/>
                  <a:gd name="connsiteX277" fmla="*/ 743236 w 1027747"/>
                  <a:gd name="connsiteY277" fmla="*/ 1031843 h 1095375"/>
                  <a:gd name="connsiteX278" fmla="*/ 743236 w 1027747"/>
                  <a:gd name="connsiteY278" fmla="*/ 1015937 h 1095375"/>
                  <a:gd name="connsiteX279" fmla="*/ 751142 w 1027747"/>
                  <a:gd name="connsiteY279" fmla="*/ 992124 h 1095375"/>
                  <a:gd name="connsiteX280" fmla="*/ 759047 w 1027747"/>
                  <a:gd name="connsiteY280" fmla="*/ 976217 h 1095375"/>
                  <a:gd name="connsiteX281" fmla="*/ 766953 w 1027747"/>
                  <a:gd name="connsiteY281" fmla="*/ 968312 h 1095375"/>
                  <a:gd name="connsiteX282" fmla="*/ 766953 w 1027747"/>
                  <a:gd name="connsiteY282" fmla="*/ 944499 h 1095375"/>
                  <a:gd name="connsiteX283" fmla="*/ 759047 w 1027747"/>
                  <a:gd name="connsiteY283" fmla="*/ 928592 h 1095375"/>
                  <a:gd name="connsiteX284" fmla="*/ 751142 w 1027747"/>
                  <a:gd name="connsiteY284" fmla="*/ 952405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1027747" h="1095375">
                    <a:moveTo>
                      <a:pt x="1019651" y="722186"/>
                    </a:moveTo>
                    <a:lnTo>
                      <a:pt x="1011746" y="706279"/>
                    </a:lnTo>
                    <a:lnTo>
                      <a:pt x="995934" y="698373"/>
                    </a:lnTo>
                    <a:lnTo>
                      <a:pt x="972217" y="674561"/>
                    </a:lnTo>
                    <a:lnTo>
                      <a:pt x="893255" y="634841"/>
                    </a:lnTo>
                    <a:lnTo>
                      <a:pt x="885349" y="634841"/>
                    </a:lnTo>
                    <a:lnTo>
                      <a:pt x="869537" y="626936"/>
                    </a:lnTo>
                    <a:lnTo>
                      <a:pt x="853726" y="626936"/>
                    </a:lnTo>
                    <a:lnTo>
                      <a:pt x="830009" y="619030"/>
                    </a:lnTo>
                    <a:lnTo>
                      <a:pt x="798386" y="603123"/>
                    </a:lnTo>
                    <a:lnTo>
                      <a:pt x="798386" y="595217"/>
                    </a:lnTo>
                    <a:lnTo>
                      <a:pt x="806291" y="579311"/>
                    </a:lnTo>
                    <a:lnTo>
                      <a:pt x="822103" y="563404"/>
                    </a:lnTo>
                    <a:lnTo>
                      <a:pt x="822103" y="555498"/>
                    </a:lnTo>
                    <a:lnTo>
                      <a:pt x="814197" y="547592"/>
                    </a:lnTo>
                    <a:lnTo>
                      <a:pt x="806291" y="547592"/>
                    </a:lnTo>
                    <a:lnTo>
                      <a:pt x="782574" y="539687"/>
                    </a:lnTo>
                    <a:lnTo>
                      <a:pt x="727234" y="539687"/>
                    </a:lnTo>
                    <a:lnTo>
                      <a:pt x="711422" y="531781"/>
                    </a:lnTo>
                    <a:lnTo>
                      <a:pt x="703517" y="523875"/>
                    </a:lnTo>
                    <a:lnTo>
                      <a:pt x="679799" y="507968"/>
                    </a:lnTo>
                    <a:lnTo>
                      <a:pt x="648176" y="476155"/>
                    </a:lnTo>
                    <a:lnTo>
                      <a:pt x="632365" y="452342"/>
                    </a:lnTo>
                    <a:lnTo>
                      <a:pt x="624459" y="444437"/>
                    </a:lnTo>
                    <a:lnTo>
                      <a:pt x="616553" y="428530"/>
                    </a:lnTo>
                    <a:lnTo>
                      <a:pt x="616553" y="412623"/>
                    </a:lnTo>
                    <a:lnTo>
                      <a:pt x="592836" y="364998"/>
                    </a:lnTo>
                    <a:lnTo>
                      <a:pt x="577025" y="357092"/>
                    </a:lnTo>
                    <a:lnTo>
                      <a:pt x="569119" y="349187"/>
                    </a:lnTo>
                    <a:lnTo>
                      <a:pt x="553307" y="341281"/>
                    </a:lnTo>
                    <a:lnTo>
                      <a:pt x="545402" y="333375"/>
                    </a:lnTo>
                    <a:lnTo>
                      <a:pt x="497967" y="293656"/>
                    </a:lnTo>
                    <a:lnTo>
                      <a:pt x="490061" y="277749"/>
                    </a:lnTo>
                    <a:lnTo>
                      <a:pt x="474250" y="261842"/>
                    </a:lnTo>
                    <a:lnTo>
                      <a:pt x="474250" y="245936"/>
                    </a:lnTo>
                    <a:lnTo>
                      <a:pt x="482156" y="238030"/>
                    </a:lnTo>
                    <a:lnTo>
                      <a:pt x="505873" y="238030"/>
                    </a:lnTo>
                    <a:lnTo>
                      <a:pt x="505873" y="230124"/>
                    </a:lnTo>
                    <a:lnTo>
                      <a:pt x="490061" y="214217"/>
                    </a:lnTo>
                    <a:lnTo>
                      <a:pt x="482156" y="198311"/>
                    </a:lnTo>
                    <a:lnTo>
                      <a:pt x="482156" y="182404"/>
                    </a:lnTo>
                    <a:lnTo>
                      <a:pt x="529590" y="158591"/>
                    </a:lnTo>
                    <a:lnTo>
                      <a:pt x="537496" y="150686"/>
                    </a:lnTo>
                    <a:lnTo>
                      <a:pt x="545402" y="150686"/>
                    </a:lnTo>
                    <a:lnTo>
                      <a:pt x="577025" y="142780"/>
                    </a:lnTo>
                    <a:lnTo>
                      <a:pt x="584930" y="95155"/>
                    </a:lnTo>
                    <a:lnTo>
                      <a:pt x="569119" y="87249"/>
                    </a:lnTo>
                    <a:lnTo>
                      <a:pt x="577025" y="79343"/>
                    </a:lnTo>
                    <a:lnTo>
                      <a:pt x="577025" y="55531"/>
                    </a:lnTo>
                    <a:lnTo>
                      <a:pt x="505968" y="55531"/>
                    </a:lnTo>
                    <a:lnTo>
                      <a:pt x="498062" y="31718"/>
                    </a:lnTo>
                    <a:lnTo>
                      <a:pt x="482251" y="31718"/>
                    </a:lnTo>
                    <a:lnTo>
                      <a:pt x="482251" y="7906"/>
                    </a:lnTo>
                    <a:lnTo>
                      <a:pt x="474345" y="0"/>
                    </a:lnTo>
                    <a:lnTo>
                      <a:pt x="450628" y="0"/>
                    </a:lnTo>
                    <a:lnTo>
                      <a:pt x="442722" y="7906"/>
                    </a:lnTo>
                    <a:lnTo>
                      <a:pt x="442722" y="15812"/>
                    </a:lnTo>
                    <a:lnTo>
                      <a:pt x="387382" y="15812"/>
                    </a:lnTo>
                    <a:lnTo>
                      <a:pt x="371570" y="39624"/>
                    </a:lnTo>
                    <a:lnTo>
                      <a:pt x="355759" y="31718"/>
                    </a:lnTo>
                    <a:lnTo>
                      <a:pt x="332042" y="31718"/>
                    </a:lnTo>
                    <a:lnTo>
                      <a:pt x="324136" y="55531"/>
                    </a:lnTo>
                    <a:lnTo>
                      <a:pt x="292513" y="55531"/>
                    </a:lnTo>
                    <a:lnTo>
                      <a:pt x="292513" y="63437"/>
                    </a:lnTo>
                    <a:lnTo>
                      <a:pt x="308324" y="79343"/>
                    </a:lnTo>
                    <a:lnTo>
                      <a:pt x="300419" y="95250"/>
                    </a:lnTo>
                    <a:lnTo>
                      <a:pt x="276701" y="79343"/>
                    </a:lnTo>
                    <a:lnTo>
                      <a:pt x="252984" y="87249"/>
                    </a:lnTo>
                    <a:lnTo>
                      <a:pt x="237173" y="63437"/>
                    </a:lnTo>
                    <a:lnTo>
                      <a:pt x="229267" y="95155"/>
                    </a:lnTo>
                    <a:lnTo>
                      <a:pt x="213455" y="111062"/>
                    </a:lnTo>
                    <a:lnTo>
                      <a:pt x="213455" y="134874"/>
                    </a:lnTo>
                    <a:lnTo>
                      <a:pt x="181832" y="103156"/>
                    </a:lnTo>
                    <a:lnTo>
                      <a:pt x="173927" y="103156"/>
                    </a:lnTo>
                    <a:lnTo>
                      <a:pt x="173927" y="95250"/>
                    </a:lnTo>
                    <a:lnTo>
                      <a:pt x="166021" y="87344"/>
                    </a:lnTo>
                    <a:lnTo>
                      <a:pt x="166021" y="79438"/>
                    </a:lnTo>
                    <a:lnTo>
                      <a:pt x="158115" y="71533"/>
                    </a:lnTo>
                    <a:lnTo>
                      <a:pt x="142304" y="71533"/>
                    </a:lnTo>
                    <a:lnTo>
                      <a:pt x="134398" y="79438"/>
                    </a:lnTo>
                    <a:lnTo>
                      <a:pt x="134398" y="103251"/>
                    </a:lnTo>
                    <a:lnTo>
                      <a:pt x="110681" y="127063"/>
                    </a:lnTo>
                    <a:lnTo>
                      <a:pt x="102775" y="127063"/>
                    </a:lnTo>
                    <a:lnTo>
                      <a:pt x="86963" y="111157"/>
                    </a:lnTo>
                    <a:lnTo>
                      <a:pt x="71152" y="111157"/>
                    </a:lnTo>
                    <a:lnTo>
                      <a:pt x="55340" y="127063"/>
                    </a:lnTo>
                    <a:lnTo>
                      <a:pt x="39529" y="127063"/>
                    </a:lnTo>
                    <a:lnTo>
                      <a:pt x="39529" y="134969"/>
                    </a:lnTo>
                    <a:lnTo>
                      <a:pt x="31623" y="134969"/>
                    </a:lnTo>
                    <a:lnTo>
                      <a:pt x="23717" y="142875"/>
                    </a:lnTo>
                    <a:lnTo>
                      <a:pt x="55245" y="174593"/>
                    </a:lnTo>
                    <a:lnTo>
                      <a:pt x="55245" y="182499"/>
                    </a:lnTo>
                    <a:lnTo>
                      <a:pt x="31528" y="206312"/>
                    </a:lnTo>
                    <a:lnTo>
                      <a:pt x="0" y="206312"/>
                    </a:lnTo>
                    <a:lnTo>
                      <a:pt x="15812" y="230124"/>
                    </a:lnTo>
                    <a:lnTo>
                      <a:pt x="31623" y="230124"/>
                    </a:lnTo>
                    <a:lnTo>
                      <a:pt x="39529" y="238030"/>
                    </a:lnTo>
                    <a:lnTo>
                      <a:pt x="39529" y="253937"/>
                    </a:lnTo>
                    <a:lnTo>
                      <a:pt x="31623" y="261842"/>
                    </a:lnTo>
                    <a:lnTo>
                      <a:pt x="31623" y="269748"/>
                    </a:lnTo>
                    <a:lnTo>
                      <a:pt x="23717" y="277654"/>
                    </a:lnTo>
                    <a:lnTo>
                      <a:pt x="23717" y="285560"/>
                    </a:lnTo>
                    <a:lnTo>
                      <a:pt x="31623" y="293465"/>
                    </a:lnTo>
                    <a:lnTo>
                      <a:pt x="47435" y="301371"/>
                    </a:lnTo>
                    <a:lnTo>
                      <a:pt x="55340" y="301371"/>
                    </a:lnTo>
                    <a:lnTo>
                      <a:pt x="55340" y="309277"/>
                    </a:lnTo>
                    <a:lnTo>
                      <a:pt x="86963" y="309277"/>
                    </a:lnTo>
                    <a:lnTo>
                      <a:pt x="94869" y="317183"/>
                    </a:lnTo>
                    <a:lnTo>
                      <a:pt x="94869" y="325088"/>
                    </a:lnTo>
                    <a:lnTo>
                      <a:pt x="71152" y="348901"/>
                    </a:lnTo>
                    <a:lnTo>
                      <a:pt x="71152" y="356806"/>
                    </a:lnTo>
                    <a:lnTo>
                      <a:pt x="86963" y="356806"/>
                    </a:lnTo>
                    <a:lnTo>
                      <a:pt x="118586" y="340900"/>
                    </a:lnTo>
                    <a:lnTo>
                      <a:pt x="158115" y="301180"/>
                    </a:lnTo>
                    <a:lnTo>
                      <a:pt x="189738" y="285274"/>
                    </a:lnTo>
                    <a:lnTo>
                      <a:pt x="205550" y="285274"/>
                    </a:lnTo>
                    <a:lnTo>
                      <a:pt x="221361" y="293180"/>
                    </a:lnTo>
                    <a:lnTo>
                      <a:pt x="268796" y="309086"/>
                    </a:lnTo>
                    <a:lnTo>
                      <a:pt x="284607" y="316992"/>
                    </a:lnTo>
                    <a:lnTo>
                      <a:pt x="300419" y="332899"/>
                    </a:lnTo>
                    <a:lnTo>
                      <a:pt x="308324" y="348805"/>
                    </a:lnTo>
                    <a:lnTo>
                      <a:pt x="308324" y="364712"/>
                    </a:lnTo>
                    <a:lnTo>
                      <a:pt x="316230" y="372618"/>
                    </a:lnTo>
                    <a:lnTo>
                      <a:pt x="316230" y="380524"/>
                    </a:lnTo>
                    <a:lnTo>
                      <a:pt x="332042" y="396430"/>
                    </a:lnTo>
                    <a:lnTo>
                      <a:pt x="332042" y="404336"/>
                    </a:lnTo>
                    <a:lnTo>
                      <a:pt x="324136" y="420243"/>
                    </a:lnTo>
                    <a:lnTo>
                      <a:pt x="324136" y="428149"/>
                    </a:lnTo>
                    <a:lnTo>
                      <a:pt x="339947" y="444055"/>
                    </a:lnTo>
                    <a:lnTo>
                      <a:pt x="371570" y="459962"/>
                    </a:lnTo>
                    <a:lnTo>
                      <a:pt x="379476" y="467868"/>
                    </a:lnTo>
                    <a:lnTo>
                      <a:pt x="387382" y="467868"/>
                    </a:lnTo>
                    <a:lnTo>
                      <a:pt x="395288" y="491680"/>
                    </a:lnTo>
                    <a:lnTo>
                      <a:pt x="434816" y="491680"/>
                    </a:lnTo>
                    <a:lnTo>
                      <a:pt x="458534" y="515493"/>
                    </a:lnTo>
                    <a:lnTo>
                      <a:pt x="466439" y="531400"/>
                    </a:lnTo>
                    <a:lnTo>
                      <a:pt x="482251" y="547306"/>
                    </a:lnTo>
                    <a:lnTo>
                      <a:pt x="498062" y="555212"/>
                    </a:lnTo>
                    <a:lnTo>
                      <a:pt x="505968" y="571119"/>
                    </a:lnTo>
                    <a:lnTo>
                      <a:pt x="553403" y="618744"/>
                    </a:lnTo>
                    <a:lnTo>
                      <a:pt x="600837" y="618744"/>
                    </a:lnTo>
                    <a:lnTo>
                      <a:pt x="608743" y="626650"/>
                    </a:lnTo>
                    <a:lnTo>
                      <a:pt x="616649" y="642556"/>
                    </a:lnTo>
                    <a:lnTo>
                      <a:pt x="648272" y="658463"/>
                    </a:lnTo>
                    <a:lnTo>
                      <a:pt x="671989" y="666369"/>
                    </a:lnTo>
                    <a:lnTo>
                      <a:pt x="695706" y="666369"/>
                    </a:lnTo>
                    <a:lnTo>
                      <a:pt x="711518" y="674275"/>
                    </a:lnTo>
                    <a:lnTo>
                      <a:pt x="719423" y="674275"/>
                    </a:lnTo>
                    <a:lnTo>
                      <a:pt x="727329" y="690181"/>
                    </a:lnTo>
                    <a:lnTo>
                      <a:pt x="727329" y="706088"/>
                    </a:lnTo>
                    <a:lnTo>
                      <a:pt x="743141" y="737902"/>
                    </a:lnTo>
                    <a:lnTo>
                      <a:pt x="751046" y="745808"/>
                    </a:lnTo>
                    <a:lnTo>
                      <a:pt x="766858" y="745808"/>
                    </a:lnTo>
                    <a:lnTo>
                      <a:pt x="782669" y="737902"/>
                    </a:lnTo>
                    <a:lnTo>
                      <a:pt x="790575" y="737902"/>
                    </a:lnTo>
                    <a:lnTo>
                      <a:pt x="790575" y="753809"/>
                    </a:lnTo>
                    <a:lnTo>
                      <a:pt x="798481" y="769715"/>
                    </a:lnTo>
                    <a:lnTo>
                      <a:pt x="798481" y="801434"/>
                    </a:lnTo>
                    <a:lnTo>
                      <a:pt x="806387" y="817340"/>
                    </a:lnTo>
                    <a:lnTo>
                      <a:pt x="830104" y="841153"/>
                    </a:lnTo>
                    <a:lnTo>
                      <a:pt x="830104" y="880872"/>
                    </a:lnTo>
                    <a:lnTo>
                      <a:pt x="806387" y="880872"/>
                    </a:lnTo>
                    <a:lnTo>
                      <a:pt x="806387" y="912590"/>
                    </a:lnTo>
                    <a:lnTo>
                      <a:pt x="798481" y="920496"/>
                    </a:lnTo>
                    <a:lnTo>
                      <a:pt x="790575" y="936403"/>
                    </a:lnTo>
                    <a:lnTo>
                      <a:pt x="782669" y="944309"/>
                    </a:lnTo>
                    <a:lnTo>
                      <a:pt x="782669" y="968121"/>
                    </a:lnTo>
                    <a:lnTo>
                      <a:pt x="798481" y="968121"/>
                    </a:lnTo>
                    <a:lnTo>
                      <a:pt x="814292" y="960215"/>
                    </a:lnTo>
                    <a:lnTo>
                      <a:pt x="822198" y="960215"/>
                    </a:lnTo>
                    <a:lnTo>
                      <a:pt x="838010" y="928497"/>
                    </a:lnTo>
                    <a:lnTo>
                      <a:pt x="861727" y="920591"/>
                    </a:lnTo>
                    <a:lnTo>
                      <a:pt x="861727" y="880872"/>
                    </a:lnTo>
                    <a:lnTo>
                      <a:pt x="877538" y="864965"/>
                    </a:lnTo>
                    <a:lnTo>
                      <a:pt x="893350" y="864965"/>
                    </a:lnTo>
                    <a:lnTo>
                      <a:pt x="901256" y="857060"/>
                    </a:lnTo>
                    <a:lnTo>
                      <a:pt x="917067" y="857060"/>
                    </a:lnTo>
                    <a:lnTo>
                      <a:pt x="917067" y="841153"/>
                    </a:lnTo>
                    <a:lnTo>
                      <a:pt x="909161" y="833247"/>
                    </a:lnTo>
                    <a:lnTo>
                      <a:pt x="909161" y="817340"/>
                    </a:lnTo>
                    <a:lnTo>
                      <a:pt x="893350" y="801434"/>
                    </a:lnTo>
                    <a:lnTo>
                      <a:pt x="877538" y="801434"/>
                    </a:lnTo>
                    <a:lnTo>
                      <a:pt x="853821" y="777621"/>
                    </a:lnTo>
                    <a:lnTo>
                      <a:pt x="861727" y="769715"/>
                    </a:lnTo>
                    <a:lnTo>
                      <a:pt x="869633" y="753809"/>
                    </a:lnTo>
                    <a:lnTo>
                      <a:pt x="877538" y="729996"/>
                    </a:lnTo>
                    <a:lnTo>
                      <a:pt x="885444" y="714089"/>
                    </a:lnTo>
                    <a:lnTo>
                      <a:pt x="901256" y="698183"/>
                    </a:lnTo>
                    <a:lnTo>
                      <a:pt x="909161" y="706088"/>
                    </a:lnTo>
                    <a:lnTo>
                      <a:pt x="924973" y="706088"/>
                    </a:lnTo>
                    <a:lnTo>
                      <a:pt x="932879" y="713994"/>
                    </a:lnTo>
                    <a:lnTo>
                      <a:pt x="972407" y="713994"/>
                    </a:lnTo>
                    <a:lnTo>
                      <a:pt x="972407" y="729901"/>
                    </a:lnTo>
                    <a:lnTo>
                      <a:pt x="980313" y="737806"/>
                    </a:lnTo>
                    <a:lnTo>
                      <a:pt x="980313" y="745712"/>
                    </a:lnTo>
                    <a:lnTo>
                      <a:pt x="988219" y="761619"/>
                    </a:lnTo>
                    <a:lnTo>
                      <a:pt x="1004030" y="761619"/>
                    </a:lnTo>
                    <a:lnTo>
                      <a:pt x="1019842" y="753713"/>
                    </a:lnTo>
                    <a:lnTo>
                      <a:pt x="1027748" y="745808"/>
                    </a:lnTo>
                    <a:lnTo>
                      <a:pt x="1027748" y="737902"/>
                    </a:lnTo>
                    <a:lnTo>
                      <a:pt x="1019842" y="721995"/>
                    </a:lnTo>
                    <a:close/>
                    <a:moveTo>
                      <a:pt x="237649" y="618935"/>
                    </a:moveTo>
                    <a:lnTo>
                      <a:pt x="206026" y="634841"/>
                    </a:lnTo>
                    <a:lnTo>
                      <a:pt x="198120" y="642747"/>
                    </a:lnTo>
                    <a:lnTo>
                      <a:pt x="182309" y="650653"/>
                    </a:lnTo>
                    <a:lnTo>
                      <a:pt x="174403" y="658559"/>
                    </a:lnTo>
                    <a:lnTo>
                      <a:pt x="166497" y="658559"/>
                    </a:lnTo>
                    <a:lnTo>
                      <a:pt x="150686" y="650653"/>
                    </a:lnTo>
                    <a:lnTo>
                      <a:pt x="134874" y="634746"/>
                    </a:lnTo>
                    <a:lnTo>
                      <a:pt x="126968" y="658559"/>
                    </a:lnTo>
                    <a:lnTo>
                      <a:pt x="134874" y="666464"/>
                    </a:lnTo>
                    <a:lnTo>
                      <a:pt x="150686" y="674370"/>
                    </a:lnTo>
                    <a:lnTo>
                      <a:pt x="158591" y="690277"/>
                    </a:lnTo>
                    <a:lnTo>
                      <a:pt x="158591" y="714089"/>
                    </a:lnTo>
                    <a:lnTo>
                      <a:pt x="150686" y="737902"/>
                    </a:lnTo>
                    <a:lnTo>
                      <a:pt x="150686" y="753809"/>
                    </a:lnTo>
                    <a:lnTo>
                      <a:pt x="166497" y="769715"/>
                    </a:lnTo>
                    <a:lnTo>
                      <a:pt x="150686" y="777621"/>
                    </a:lnTo>
                    <a:lnTo>
                      <a:pt x="158591" y="841153"/>
                    </a:lnTo>
                    <a:lnTo>
                      <a:pt x="142780" y="841153"/>
                    </a:lnTo>
                    <a:lnTo>
                      <a:pt x="166497" y="864965"/>
                    </a:lnTo>
                    <a:lnTo>
                      <a:pt x="182309" y="864965"/>
                    </a:lnTo>
                    <a:lnTo>
                      <a:pt x="190214" y="849059"/>
                    </a:lnTo>
                    <a:lnTo>
                      <a:pt x="206026" y="833152"/>
                    </a:lnTo>
                    <a:lnTo>
                      <a:pt x="206026" y="817245"/>
                    </a:lnTo>
                    <a:lnTo>
                      <a:pt x="221837" y="833152"/>
                    </a:lnTo>
                    <a:lnTo>
                      <a:pt x="237649" y="841058"/>
                    </a:lnTo>
                    <a:lnTo>
                      <a:pt x="245554" y="841058"/>
                    </a:lnTo>
                    <a:lnTo>
                      <a:pt x="253460" y="833152"/>
                    </a:lnTo>
                    <a:lnTo>
                      <a:pt x="261366" y="817245"/>
                    </a:lnTo>
                    <a:lnTo>
                      <a:pt x="261366" y="785431"/>
                    </a:lnTo>
                    <a:lnTo>
                      <a:pt x="269272" y="769525"/>
                    </a:lnTo>
                    <a:lnTo>
                      <a:pt x="269272" y="737806"/>
                    </a:lnTo>
                    <a:lnTo>
                      <a:pt x="261366" y="729901"/>
                    </a:lnTo>
                    <a:lnTo>
                      <a:pt x="253460" y="729901"/>
                    </a:lnTo>
                    <a:lnTo>
                      <a:pt x="253460" y="721995"/>
                    </a:lnTo>
                    <a:lnTo>
                      <a:pt x="261366" y="714089"/>
                    </a:lnTo>
                    <a:lnTo>
                      <a:pt x="269272" y="714089"/>
                    </a:lnTo>
                    <a:lnTo>
                      <a:pt x="277178" y="706184"/>
                    </a:lnTo>
                    <a:lnTo>
                      <a:pt x="277178" y="690277"/>
                    </a:lnTo>
                    <a:lnTo>
                      <a:pt x="269272" y="674370"/>
                    </a:lnTo>
                    <a:lnTo>
                      <a:pt x="269272" y="650558"/>
                    </a:lnTo>
                    <a:lnTo>
                      <a:pt x="261366" y="634651"/>
                    </a:lnTo>
                    <a:lnTo>
                      <a:pt x="245554" y="626745"/>
                    </a:lnTo>
                    <a:lnTo>
                      <a:pt x="237649" y="618839"/>
                    </a:lnTo>
                    <a:close/>
                    <a:moveTo>
                      <a:pt x="751046" y="952500"/>
                    </a:moveTo>
                    <a:lnTo>
                      <a:pt x="735235" y="944594"/>
                    </a:lnTo>
                    <a:lnTo>
                      <a:pt x="727329" y="936688"/>
                    </a:lnTo>
                    <a:lnTo>
                      <a:pt x="711518" y="936688"/>
                    </a:lnTo>
                    <a:lnTo>
                      <a:pt x="703612" y="944594"/>
                    </a:lnTo>
                    <a:lnTo>
                      <a:pt x="687800" y="952500"/>
                    </a:lnTo>
                    <a:lnTo>
                      <a:pt x="679895" y="960406"/>
                    </a:lnTo>
                    <a:lnTo>
                      <a:pt x="616744" y="960406"/>
                    </a:lnTo>
                    <a:lnTo>
                      <a:pt x="600932" y="952500"/>
                    </a:lnTo>
                    <a:lnTo>
                      <a:pt x="585121" y="936593"/>
                    </a:lnTo>
                    <a:lnTo>
                      <a:pt x="577215" y="936593"/>
                    </a:lnTo>
                    <a:lnTo>
                      <a:pt x="553498" y="960406"/>
                    </a:lnTo>
                    <a:lnTo>
                      <a:pt x="529781" y="944499"/>
                    </a:lnTo>
                    <a:lnTo>
                      <a:pt x="521875" y="944499"/>
                    </a:lnTo>
                    <a:lnTo>
                      <a:pt x="506063" y="960406"/>
                    </a:lnTo>
                    <a:lnTo>
                      <a:pt x="506063" y="976313"/>
                    </a:lnTo>
                    <a:lnTo>
                      <a:pt x="521875" y="992219"/>
                    </a:lnTo>
                    <a:lnTo>
                      <a:pt x="553498" y="1008126"/>
                    </a:lnTo>
                    <a:lnTo>
                      <a:pt x="561404" y="1008126"/>
                    </a:lnTo>
                    <a:lnTo>
                      <a:pt x="585121" y="1031938"/>
                    </a:lnTo>
                    <a:lnTo>
                      <a:pt x="585121" y="1039844"/>
                    </a:lnTo>
                    <a:lnTo>
                      <a:pt x="600932" y="1039844"/>
                    </a:lnTo>
                    <a:lnTo>
                      <a:pt x="616744" y="1055751"/>
                    </a:lnTo>
                    <a:lnTo>
                      <a:pt x="632555" y="1063657"/>
                    </a:lnTo>
                    <a:lnTo>
                      <a:pt x="656273" y="1055751"/>
                    </a:lnTo>
                    <a:lnTo>
                      <a:pt x="664178" y="1063657"/>
                    </a:lnTo>
                    <a:lnTo>
                      <a:pt x="679990" y="1071563"/>
                    </a:lnTo>
                    <a:lnTo>
                      <a:pt x="687896" y="1087469"/>
                    </a:lnTo>
                    <a:lnTo>
                      <a:pt x="703707" y="1095375"/>
                    </a:lnTo>
                    <a:lnTo>
                      <a:pt x="735330" y="1095375"/>
                    </a:lnTo>
                    <a:lnTo>
                      <a:pt x="751142" y="1079468"/>
                    </a:lnTo>
                    <a:lnTo>
                      <a:pt x="751142" y="1047750"/>
                    </a:lnTo>
                    <a:lnTo>
                      <a:pt x="743236" y="1031843"/>
                    </a:lnTo>
                    <a:lnTo>
                      <a:pt x="743236" y="1015937"/>
                    </a:lnTo>
                    <a:lnTo>
                      <a:pt x="751142" y="992124"/>
                    </a:lnTo>
                    <a:lnTo>
                      <a:pt x="759047" y="976217"/>
                    </a:lnTo>
                    <a:lnTo>
                      <a:pt x="766953" y="968312"/>
                    </a:lnTo>
                    <a:lnTo>
                      <a:pt x="766953" y="944499"/>
                    </a:lnTo>
                    <a:lnTo>
                      <a:pt x="759047" y="928592"/>
                    </a:lnTo>
                    <a:lnTo>
                      <a:pt x="751142" y="952405"/>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B39735EB-6390-9FDD-BE75-EC038DE77376}"/>
                  </a:ext>
                </a:extLst>
              </p:cNvPr>
              <p:cNvSpPr/>
              <p:nvPr/>
            </p:nvSpPr>
            <p:spPr>
              <a:xfrm>
                <a:off x="5819870" y="4073365"/>
                <a:ext cx="1027747" cy="1095375"/>
              </a:xfrm>
              <a:custGeom>
                <a:avLst/>
                <a:gdLst>
                  <a:gd name="connsiteX0" fmla="*/ 1019651 w 1027747"/>
                  <a:gd name="connsiteY0" fmla="*/ 722186 h 1095375"/>
                  <a:gd name="connsiteX1" fmla="*/ 1011746 w 1027747"/>
                  <a:gd name="connsiteY1" fmla="*/ 706279 h 1095375"/>
                  <a:gd name="connsiteX2" fmla="*/ 995934 w 1027747"/>
                  <a:gd name="connsiteY2" fmla="*/ 698373 h 1095375"/>
                  <a:gd name="connsiteX3" fmla="*/ 972217 w 1027747"/>
                  <a:gd name="connsiteY3" fmla="*/ 674561 h 1095375"/>
                  <a:gd name="connsiteX4" fmla="*/ 893255 w 1027747"/>
                  <a:gd name="connsiteY4" fmla="*/ 634841 h 1095375"/>
                  <a:gd name="connsiteX5" fmla="*/ 885349 w 1027747"/>
                  <a:gd name="connsiteY5" fmla="*/ 634841 h 1095375"/>
                  <a:gd name="connsiteX6" fmla="*/ 869537 w 1027747"/>
                  <a:gd name="connsiteY6" fmla="*/ 626936 h 1095375"/>
                  <a:gd name="connsiteX7" fmla="*/ 853726 w 1027747"/>
                  <a:gd name="connsiteY7" fmla="*/ 626936 h 1095375"/>
                  <a:gd name="connsiteX8" fmla="*/ 830009 w 1027747"/>
                  <a:gd name="connsiteY8" fmla="*/ 619030 h 1095375"/>
                  <a:gd name="connsiteX9" fmla="*/ 798386 w 1027747"/>
                  <a:gd name="connsiteY9" fmla="*/ 603123 h 1095375"/>
                  <a:gd name="connsiteX10" fmla="*/ 798386 w 1027747"/>
                  <a:gd name="connsiteY10" fmla="*/ 595217 h 1095375"/>
                  <a:gd name="connsiteX11" fmla="*/ 806291 w 1027747"/>
                  <a:gd name="connsiteY11" fmla="*/ 579311 h 1095375"/>
                  <a:gd name="connsiteX12" fmla="*/ 822103 w 1027747"/>
                  <a:gd name="connsiteY12" fmla="*/ 563404 h 1095375"/>
                  <a:gd name="connsiteX13" fmla="*/ 822103 w 1027747"/>
                  <a:gd name="connsiteY13" fmla="*/ 555498 h 1095375"/>
                  <a:gd name="connsiteX14" fmla="*/ 814197 w 1027747"/>
                  <a:gd name="connsiteY14" fmla="*/ 547592 h 1095375"/>
                  <a:gd name="connsiteX15" fmla="*/ 806291 w 1027747"/>
                  <a:gd name="connsiteY15" fmla="*/ 547592 h 1095375"/>
                  <a:gd name="connsiteX16" fmla="*/ 782574 w 1027747"/>
                  <a:gd name="connsiteY16" fmla="*/ 539687 h 1095375"/>
                  <a:gd name="connsiteX17" fmla="*/ 727234 w 1027747"/>
                  <a:gd name="connsiteY17" fmla="*/ 539687 h 1095375"/>
                  <a:gd name="connsiteX18" fmla="*/ 711422 w 1027747"/>
                  <a:gd name="connsiteY18" fmla="*/ 531781 h 1095375"/>
                  <a:gd name="connsiteX19" fmla="*/ 703517 w 1027747"/>
                  <a:gd name="connsiteY19" fmla="*/ 523875 h 1095375"/>
                  <a:gd name="connsiteX20" fmla="*/ 679799 w 1027747"/>
                  <a:gd name="connsiteY20" fmla="*/ 507968 h 1095375"/>
                  <a:gd name="connsiteX21" fmla="*/ 648176 w 1027747"/>
                  <a:gd name="connsiteY21" fmla="*/ 476155 h 1095375"/>
                  <a:gd name="connsiteX22" fmla="*/ 632365 w 1027747"/>
                  <a:gd name="connsiteY22" fmla="*/ 452342 h 1095375"/>
                  <a:gd name="connsiteX23" fmla="*/ 624459 w 1027747"/>
                  <a:gd name="connsiteY23" fmla="*/ 444437 h 1095375"/>
                  <a:gd name="connsiteX24" fmla="*/ 616553 w 1027747"/>
                  <a:gd name="connsiteY24" fmla="*/ 428530 h 1095375"/>
                  <a:gd name="connsiteX25" fmla="*/ 616553 w 1027747"/>
                  <a:gd name="connsiteY25" fmla="*/ 412623 h 1095375"/>
                  <a:gd name="connsiteX26" fmla="*/ 592836 w 1027747"/>
                  <a:gd name="connsiteY26" fmla="*/ 364998 h 1095375"/>
                  <a:gd name="connsiteX27" fmla="*/ 577025 w 1027747"/>
                  <a:gd name="connsiteY27" fmla="*/ 357092 h 1095375"/>
                  <a:gd name="connsiteX28" fmla="*/ 569119 w 1027747"/>
                  <a:gd name="connsiteY28" fmla="*/ 349187 h 1095375"/>
                  <a:gd name="connsiteX29" fmla="*/ 553307 w 1027747"/>
                  <a:gd name="connsiteY29" fmla="*/ 341281 h 1095375"/>
                  <a:gd name="connsiteX30" fmla="*/ 545402 w 1027747"/>
                  <a:gd name="connsiteY30" fmla="*/ 333375 h 1095375"/>
                  <a:gd name="connsiteX31" fmla="*/ 497967 w 1027747"/>
                  <a:gd name="connsiteY31" fmla="*/ 293656 h 1095375"/>
                  <a:gd name="connsiteX32" fmla="*/ 490061 w 1027747"/>
                  <a:gd name="connsiteY32" fmla="*/ 277749 h 1095375"/>
                  <a:gd name="connsiteX33" fmla="*/ 474250 w 1027747"/>
                  <a:gd name="connsiteY33" fmla="*/ 261842 h 1095375"/>
                  <a:gd name="connsiteX34" fmla="*/ 474250 w 1027747"/>
                  <a:gd name="connsiteY34" fmla="*/ 245936 h 1095375"/>
                  <a:gd name="connsiteX35" fmla="*/ 482156 w 1027747"/>
                  <a:gd name="connsiteY35" fmla="*/ 238030 h 1095375"/>
                  <a:gd name="connsiteX36" fmla="*/ 505873 w 1027747"/>
                  <a:gd name="connsiteY36" fmla="*/ 238030 h 1095375"/>
                  <a:gd name="connsiteX37" fmla="*/ 505873 w 1027747"/>
                  <a:gd name="connsiteY37" fmla="*/ 230124 h 1095375"/>
                  <a:gd name="connsiteX38" fmla="*/ 490061 w 1027747"/>
                  <a:gd name="connsiteY38" fmla="*/ 214217 h 1095375"/>
                  <a:gd name="connsiteX39" fmla="*/ 482156 w 1027747"/>
                  <a:gd name="connsiteY39" fmla="*/ 198311 h 1095375"/>
                  <a:gd name="connsiteX40" fmla="*/ 482156 w 1027747"/>
                  <a:gd name="connsiteY40" fmla="*/ 182404 h 1095375"/>
                  <a:gd name="connsiteX41" fmla="*/ 529590 w 1027747"/>
                  <a:gd name="connsiteY41" fmla="*/ 158591 h 1095375"/>
                  <a:gd name="connsiteX42" fmla="*/ 537496 w 1027747"/>
                  <a:gd name="connsiteY42" fmla="*/ 150686 h 1095375"/>
                  <a:gd name="connsiteX43" fmla="*/ 545402 w 1027747"/>
                  <a:gd name="connsiteY43" fmla="*/ 150686 h 1095375"/>
                  <a:gd name="connsiteX44" fmla="*/ 577025 w 1027747"/>
                  <a:gd name="connsiteY44" fmla="*/ 142780 h 1095375"/>
                  <a:gd name="connsiteX45" fmla="*/ 584930 w 1027747"/>
                  <a:gd name="connsiteY45" fmla="*/ 95155 h 1095375"/>
                  <a:gd name="connsiteX46" fmla="*/ 569119 w 1027747"/>
                  <a:gd name="connsiteY46" fmla="*/ 87249 h 1095375"/>
                  <a:gd name="connsiteX47" fmla="*/ 577025 w 1027747"/>
                  <a:gd name="connsiteY47" fmla="*/ 79343 h 1095375"/>
                  <a:gd name="connsiteX48" fmla="*/ 577025 w 1027747"/>
                  <a:gd name="connsiteY48" fmla="*/ 55531 h 1095375"/>
                  <a:gd name="connsiteX49" fmla="*/ 505968 w 1027747"/>
                  <a:gd name="connsiteY49" fmla="*/ 55531 h 1095375"/>
                  <a:gd name="connsiteX50" fmla="*/ 498062 w 1027747"/>
                  <a:gd name="connsiteY50" fmla="*/ 31718 h 1095375"/>
                  <a:gd name="connsiteX51" fmla="*/ 482251 w 1027747"/>
                  <a:gd name="connsiteY51" fmla="*/ 31718 h 1095375"/>
                  <a:gd name="connsiteX52" fmla="*/ 482251 w 1027747"/>
                  <a:gd name="connsiteY52" fmla="*/ 7906 h 1095375"/>
                  <a:gd name="connsiteX53" fmla="*/ 474345 w 1027747"/>
                  <a:gd name="connsiteY53" fmla="*/ 0 h 1095375"/>
                  <a:gd name="connsiteX54" fmla="*/ 450628 w 1027747"/>
                  <a:gd name="connsiteY54" fmla="*/ 0 h 1095375"/>
                  <a:gd name="connsiteX55" fmla="*/ 442722 w 1027747"/>
                  <a:gd name="connsiteY55" fmla="*/ 7906 h 1095375"/>
                  <a:gd name="connsiteX56" fmla="*/ 442722 w 1027747"/>
                  <a:gd name="connsiteY56" fmla="*/ 15812 h 1095375"/>
                  <a:gd name="connsiteX57" fmla="*/ 387382 w 1027747"/>
                  <a:gd name="connsiteY57" fmla="*/ 15812 h 1095375"/>
                  <a:gd name="connsiteX58" fmla="*/ 371570 w 1027747"/>
                  <a:gd name="connsiteY58" fmla="*/ 39624 h 1095375"/>
                  <a:gd name="connsiteX59" fmla="*/ 355759 w 1027747"/>
                  <a:gd name="connsiteY59" fmla="*/ 31718 h 1095375"/>
                  <a:gd name="connsiteX60" fmla="*/ 332042 w 1027747"/>
                  <a:gd name="connsiteY60" fmla="*/ 31718 h 1095375"/>
                  <a:gd name="connsiteX61" fmla="*/ 324136 w 1027747"/>
                  <a:gd name="connsiteY61" fmla="*/ 55531 h 1095375"/>
                  <a:gd name="connsiteX62" fmla="*/ 292513 w 1027747"/>
                  <a:gd name="connsiteY62" fmla="*/ 55531 h 1095375"/>
                  <a:gd name="connsiteX63" fmla="*/ 292513 w 1027747"/>
                  <a:gd name="connsiteY63" fmla="*/ 63437 h 1095375"/>
                  <a:gd name="connsiteX64" fmla="*/ 308324 w 1027747"/>
                  <a:gd name="connsiteY64" fmla="*/ 79343 h 1095375"/>
                  <a:gd name="connsiteX65" fmla="*/ 300419 w 1027747"/>
                  <a:gd name="connsiteY65" fmla="*/ 95250 h 1095375"/>
                  <a:gd name="connsiteX66" fmla="*/ 276701 w 1027747"/>
                  <a:gd name="connsiteY66" fmla="*/ 79343 h 1095375"/>
                  <a:gd name="connsiteX67" fmla="*/ 252984 w 1027747"/>
                  <a:gd name="connsiteY67" fmla="*/ 87249 h 1095375"/>
                  <a:gd name="connsiteX68" fmla="*/ 237173 w 1027747"/>
                  <a:gd name="connsiteY68" fmla="*/ 63437 h 1095375"/>
                  <a:gd name="connsiteX69" fmla="*/ 229267 w 1027747"/>
                  <a:gd name="connsiteY69" fmla="*/ 95155 h 1095375"/>
                  <a:gd name="connsiteX70" fmla="*/ 213455 w 1027747"/>
                  <a:gd name="connsiteY70" fmla="*/ 111062 h 1095375"/>
                  <a:gd name="connsiteX71" fmla="*/ 213455 w 1027747"/>
                  <a:gd name="connsiteY71" fmla="*/ 134874 h 1095375"/>
                  <a:gd name="connsiteX72" fmla="*/ 181832 w 1027747"/>
                  <a:gd name="connsiteY72" fmla="*/ 103156 h 1095375"/>
                  <a:gd name="connsiteX73" fmla="*/ 173927 w 1027747"/>
                  <a:gd name="connsiteY73" fmla="*/ 103156 h 1095375"/>
                  <a:gd name="connsiteX74" fmla="*/ 173927 w 1027747"/>
                  <a:gd name="connsiteY74" fmla="*/ 95250 h 1095375"/>
                  <a:gd name="connsiteX75" fmla="*/ 166021 w 1027747"/>
                  <a:gd name="connsiteY75" fmla="*/ 87344 h 1095375"/>
                  <a:gd name="connsiteX76" fmla="*/ 166021 w 1027747"/>
                  <a:gd name="connsiteY76" fmla="*/ 79438 h 1095375"/>
                  <a:gd name="connsiteX77" fmla="*/ 158115 w 1027747"/>
                  <a:gd name="connsiteY77" fmla="*/ 71533 h 1095375"/>
                  <a:gd name="connsiteX78" fmla="*/ 142304 w 1027747"/>
                  <a:gd name="connsiteY78" fmla="*/ 71533 h 1095375"/>
                  <a:gd name="connsiteX79" fmla="*/ 134398 w 1027747"/>
                  <a:gd name="connsiteY79" fmla="*/ 79438 h 1095375"/>
                  <a:gd name="connsiteX80" fmla="*/ 134398 w 1027747"/>
                  <a:gd name="connsiteY80" fmla="*/ 103251 h 1095375"/>
                  <a:gd name="connsiteX81" fmla="*/ 110681 w 1027747"/>
                  <a:gd name="connsiteY81" fmla="*/ 127063 h 1095375"/>
                  <a:gd name="connsiteX82" fmla="*/ 102775 w 1027747"/>
                  <a:gd name="connsiteY82" fmla="*/ 127063 h 1095375"/>
                  <a:gd name="connsiteX83" fmla="*/ 86963 w 1027747"/>
                  <a:gd name="connsiteY83" fmla="*/ 111157 h 1095375"/>
                  <a:gd name="connsiteX84" fmla="*/ 71152 w 1027747"/>
                  <a:gd name="connsiteY84" fmla="*/ 111157 h 1095375"/>
                  <a:gd name="connsiteX85" fmla="*/ 55340 w 1027747"/>
                  <a:gd name="connsiteY85" fmla="*/ 127063 h 1095375"/>
                  <a:gd name="connsiteX86" fmla="*/ 39529 w 1027747"/>
                  <a:gd name="connsiteY86" fmla="*/ 127063 h 1095375"/>
                  <a:gd name="connsiteX87" fmla="*/ 39529 w 1027747"/>
                  <a:gd name="connsiteY87" fmla="*/ 134969 h 1095375"/>
                  <a:gd name="connsiteX88" fmla="*/ 31623 w 1027747"/>
                  <a:gd name="connsiteY88" fmla="*/ 134969 h 1095375"/>
                  <a:gd name="connsiteX89" fmla="*/ 23717 w 1027747"/>
                  <a:gd name="connsiteY89" fmla="*/ 142875 h 1095375"/>
                  <a:gd name="connsiteX90" fmla="*/ 55245 w 1027747"/>
                  <a:gd name="connsiteY90" fmla="*/ 174593 h 1095375"/>
                  <a:gd name="connsiteX91" fmla="*/ 55245 w 1027747"/>
                  <a:gd name="connsiteY91" fmla="*/ 182499 h 1095375"/>
                  <a:gd name="connsiteX92" fmla="*/ 31528 w 1027747"/>
                  <a:gd name="connsiteY92" fmla="*/ 206312 h 1095375"/>
                  <a:gd name="connsiteX93" fmla="*/ 0 w 1027747"/>
                  <a:gd name="connsiteY93" fmla="*/ 206312 h 1095375"/>
                  <a:gd name="connsiteX94" fmla="*/ 15812 w 1027747"/>
                  <a:gd name="connsiteY94" fmla="*/ 230124 h 1095375"/>
                  <a:gd name="connsiteX95" fmla="*/ 31623 w 1027747"/>
                  <a:gd name="connsiteY95" fmla="*/ 230124 h 1095375"/>
                  <a:gd name="connsiteX96" fmla="*/ 39529 w 1027747"/>
                  <a:gd name="connsiteY96" fmla="*/ 238030 h 1095375"/>
                  <a:gd name="connsiteX97" fmla="*/ 39529 w 1027747"/>
                  <a:gd name="connsiteY97" fmla="*/ 253937 h 1095375"/>
                  <a:gd name="connsiteX98" fmla="*/ 31623 w 1027747"/>
                  <a:gd name="connsiteY98" fmla="*/ 261842 h 1095375"/>
                  <a:gd name="connsiteX99" fmla="*/ 31623 w 1027747"/>
                  <a:gd name="connsiteY99" fmla="*/ 269748 h 1095375"/>
                  <a:gd name="connsiteX100" fmla="*/ 23717 w 1027747"/>
                  <a:gd name="connsiteY100" fmla="*/ 277654 h 1095375"/>
                  <a:gd name="connsiteX101" fmla="*/ 23717 w 1027747"/>
                  <a:gd name="connsiteY101" fmla="*/ 285560 h 1095375"/>
                  <a:gd name="connsiteX102" fmla="*/ 31623 w 1027747"/>
                  <a:gd name="connsiteY102" fmla="*/ 293465 h 1095375"/>
                  <a:gd name="connsiteX103" fmla="*/ 47435 w 1027747"/>
                  <a:gd name="connsiteY103" fmla="*/ 301371 h 1095375"/>
                  <a:gd name="connsiteX104" fmla="*/ 55340 w 1027747"/>
                  <a:gd name="connsiteY104" fmla="*/ 301371 h 1095375"/>
                  <a:gd name="connsiteX105" fmla="*/ 55340 w 1027747"/>
                  <a:gd name="connsiteY105" fmla="*/ 309277 h 1095375"/>
                  <a:gd name="connsiteX106" fmla="*/ 86963 w 1027747"/>
                  <a:gd name="connsiteY106" fmla="*/ 309277 h 1095375"/>
                  <a:gd name="connsiteX107" fmla="*/ 94869 w 1027747"/>
                  <a:gd name="connsiteY107" fmla="*/ 317183 h 1095375"/>
                  <a:gd name="connsiteX108" fmla="*/ 94869 w 1027747"/>
                  <a:gd name="connsiteY108" fmla="*/ 325088 h 1095375"/>
                  <a:gd name="connsiteX109" fmla="*/ 71152 w 1027747"/>
                  <a:gd name="connsiteY109" fmla="*/ 348901 h 1095375"/>
                  <a:gd name="connsiteX110" fmla="*/ 71152 w 1027747"/>
                  <a:gd name="connsiteY110" fmla="*/ 356806 h 1095375"/>
                  <a:gd name="connsiteX111" fmla="*/ 86963 w 1027747"/>
                  <a:gd name="connsiteY111" fmla="*/ 356806 h 1095375"/>
                  <a:gd name="connsiteX112" fmla="*/ 118586 w 1027747"/>
                  <a:gd name="connsiteY112" fmla="*/ 340900 h 1095375"/>
                  <a:gd name="connsiteX113" fmla="*/ 158115 w 1027747"/>
                  <a:gd name="connsiteY113" fmla="*/ 301180 h 1095375"/>
                  <a:gd name="connsiteX114" fmla="*/ 189738 w 1027747"/>
                  <a:gd name="connsiteY114" fmla="*/ 285274 h 1095375"/>
                  <a:gd name="connsiteX115" fmla="*/ 205550 w 1027747"/>
                  <a:gd name="connsiteY115" fmla="*/ 285274 h 1095375"/>
                  <a:gd name="connsiteX116" fmla="*/ 221361 w 1027747"/>
                  <a:gd name="connsiteY116" fmla="*/ 293180 h 1095375"/>
                  <a:gd name="connsiteX117" fmla="*/ 268796 w 1027747"/>
                  <a:gd name="connsiteY117" fmla="*/ 309086 h 1095375"/>
                  <a:gd name="connsiteX118" fmla="*/ 284607 w 1027747"/>
                  <a:gd name="connsiteY118" fmla="*/ 316992 h 1095375"/>
                  <a:gd name="connsiteX119" fmla="*/ 300419 w 1027747"/>
                  <a:gd name="connsiteY119" fmla="*/ 332899 h 1095375"/>
                  <a:gd name="connsiteX120" fmla="*/ 308324 w 1027747"/>
                  <a:gd name="connsiteY120" fmla="*/ 348805 h 1095375"/>
                  <a:gd name="connsiteX121" fmla="*/ 308324 w 1027747"/>
                  <a:gd name="connsiteY121" fmla="*/ 364712 h 1095375"/>
                  <a:gd name="connsiteX122" fmla="*/ 316230 w 1027747"/>
                  <a:gd name="connsiteY122" fmla="*/ 372618 h 1095375"/>
                  <a:gd name="connsiteX123" fmla="*/ 316230 w 1027747"/>
                  <a:gd name="connsiteY123" fmla="*/ 380524 h 1095375"/>
                  <a:gd name="connsiteX124" fmla="*/ 332042 w 1027747"/>
                  <a:gd name="connsiteY124" fmla="*/ 396430 h 1095375"/>
                  <a:gd name="connsiteX125" fmla="*/ 332042 w 1027747"/>
                  <a:gd name="connsiteY125" fmla="*/ 404336 h 1095375"/>
                  <a:gd name="connsiteX126" fmla="*/ 324136 w 1027747"/>
                  <a:gd name="connsiteY126" fmla="*/ 420243 h 1095375"/>
                  <a:gd name="connsiteX127" fmla="*/ 324136 w 1027747"/>
                  <a:gd name="connsiteY127" fmla="*/ 428149 h 1095375"/>
                  <a:gd name="connsiteX128" fmla="*/ 339947 w 1027747"/>
                  <a:gd name="connsiteY128" fmla="*/ 444055 h 1095375"/>
                  <a:gd name="connsiteX129" fmla="*/ 371570 w 1027747"/>
                  <a:gd name="connsiteY129" fmla="*/ 459962 h 1095375"/>
                  <a:gd name="connsiteX130" fmla="*/ 379476 w 1027747"/>
                  <a:gd name="connsiteY130" fmla="*/ 467868 h 1095375"/>
                  <a:gd name="connsiteX131" fmla="*/ 387382 w 1027747"/>
                  <a:gd name="connsiteY131" fmla="*/ 467868 h 1095375"/>
                  <a:gd name="connsiteX132" fmla="*/ 395288 w 1027747"/>
                  <a:gd name="connsiteY132" fmla="*/ 491680 h 1095375"/>
                  <a:gd name="connsiteX133" fmla="*/ 434816 w 1027747"/>
                  <a:gd name="connsiteY133" fmla="*/ 491680 h 1095375"/>
                  <a:gd name="connsiteX134" fmla="*/ 458534 w 1027747"/>
                  <a:gd name="connsiteY134" fmla="*/ 515493 h 1095375"/>
                  <a:gd name="connsiteX135" fmla="*/ 466439 w 1027747"/>
                  <a:gd name="connsiteY135" fmla="*/ 531400 h 1095375"/>
                  <a:gd name="connsiteX136" fmla="*/ 482251 w 1027747"/>
                  <a:gd name="connsiteY136" fmla="*/ 547306 h 1095375"/>
                  <a:gd name="connsiteX137" fmla="*/ 498062 w 1027747"/>
                  <a:gd name="connsiteY137" fmla="*/ 555212 h 1095375"/>
                  <a:gd name="connsiteX138" fmla="*/ 505968 w 1027747"/>
                  <a:gd name="connsiteY138" fmla="*/ 571119 h 1095375"/>
                  <a:gd name="connsiteX139" fmla="*/ 553403 w 1027747"/>
                  <a:gd name="connsiteY139" fmla="*/ 618744 h 1095375"/>
                  <a:gd name="connsiteX140" fmla="*/ 600837 w 1027747"/>
                  <a:gd name="connsiteY140" fmla="*/ 618744 h 1095375"/>
                  <a:gd name="connsiteX141" fmla="*/ 608743 w 1027747"/>
                  <a:gd name="connsiteY141" fmla="*/ 626650 h 1095375"/>
                  <a:gd name="connsiteX142" fmla="*/ 616649 w 1027747"/>
                  <a:gd name="connsiteY142" fmla="*/ 642556 h 1095375"/>
                  <a:gd name="connsiteX143" fmla="*/ 648272 w 1027747"/>
                  <a:gd name="connsiteY143" fmla="*/ 658463 h 1095375"/>
                  <a:gd name="connsiteX144" fmla="*/ 671989 w 1027747"/>
                  <a:gd name="connsiteY144" fmla="*/ 666369 h 1095375"/>
                  <a:gd name="connsiteX145" fmla="*/ 695706 w 1027747"/>
                  <a:gd name="connsiteY145" fmla="*/ 666369 h 1095375"/>
                  <a:gd name="connsiteX146" fmla="*/ 711518 w 1027747"/>
                  <a:gd name="connsiteY146" fmla="*/ 674275 h 1095375"/>
                  <a:gd name="connsiteX147" fmla="*/ 719423 w 1027747"/>
                  <a:gd name="connsiteY147" fmla="*/ 674275 h 1095375"/>
                  <a:gd name="connsiteX148" fmla="*/ 727329 w 1027747"/>
                  <a:gd name="connsiteY148" fmla="*/ 690181 h 1095375"/>
                  <a:gd name="connsiteX149" fmla="*/ 727329 w 1027747"/>
                  <a:gd name="connsiteY149" fmla="*/ 706088 h 1095375"/>
                  <a:gd name="connsiteX150" fmla="*/ 743141 w 1027747"/>
                  <a:gd name="connsiteY150" fmla="*/ 737902 h 1095375"/>
                  <a:gd name="connsiteX151" fmla="*/ 751046 w 1027747"/>
                  <a:gd name="connsiteY151" fmla="*/ 745808 h 1095375"/>
                  <a:gd name="connsiteX152" fmla="*/ 766858 w 1027747"/>
                  <a:gd name="connsiteY152" fmla="*/ 745808 h 1095375"/>
                  <a:gd name="connsiteX153" fmla="*/ 782669 w 1027747"/>
                  <a:gd name="connsiteY153" fmla="*/ 737902 h 1095375"/>
                  <a:gd name="connsiteX154" fmla="*/ 790575 w 1027747"/>
                  <a:gd name="connsiteY154" fmla="*/ 737902 h 1095375"/>
                  <a:gd name="connsiteX155" fmla="*/ 790575 w 1027747"/>
                  <a:gd name="connsiteY155" fmla="*/ 753809 h 1095375"/>
                  <a:gd name="connsiteX156" fmla="*/ 798481 w 1027747"/>
                  <a:gd name="connsiteY156" fmla="*/ 769715 h 1095375"/>
                  <a:gd name="connsiteX157" fmla="*/ 798481 w 1027747"/>
                  <a:gd name="connsiteY157" fmla="*/ 801434 h 1095375"/>
                  <a:gd name="connsiteX158" fmla="*/ 806387 w 1027747"/>
                  <a:gd name="connsiteY158" fmla="*/ 817340 h 1095375"/>
                  <a:gd name="connsiteX159" fmla="*/ 830104 w 1027747"/>
                  <a:gd name="connsiteY159" fmla="*/ 841153 h 1095375"/>
                  <a:gd name="connsiteX160" fmla="*/ 830104 w 1027747"/>
                  <a:gd name="connsiteY160" fmla="*/ 880872 h 1095375"/>
                  <a:gd name="connsiteX161" fmla="*/ 806387 w 1027747"/>
                  <a:gd name="connsiteY161" fmla="*/ 880872 h 1095375"/>
                  <a:gd name="connsiteX162" fmla="*/ 806387 w 1027747"/>
                  <a:gd name="connsiteY162" fmla="*/ 912590 h 1095375"/>
                  <a:gd name="connsiteX163" fmla="*/ 798481 w 1027747"/>
                  <a:gd name="connsiteY163" fmla="*/ 920496 h 1095375"/>
                  <a:gd name="connsiteX164" fmla="*/ 790575 w 1027747"/>
                  <a:gd name="connsiteY164" fmla="*/ 936403 h 1095375"/>
                  <a:gd name="connsiteX165" fmla="*/ 782669 w 1027747"/>
                  <a:gd name="connsiteY165" fmla="*/ 944309 h 1095375"/>
                  <a:gd name="connsiteX166" fmla="*/ 782669 w 1027747"/>
                  <a:gd name="connsiteY166" fmla="*/ 968121 h 1095375"/>
                  <a:gd name="connsiteX167" fmla="*/ 798481 w 1027747"/>
                  <a:gd name="connsiteY167" fmla="*/ 968121 h 1095375"/>
                  <a:gd name="connsiteX168" fmla="*/ 814292 w 1027747"/>
                  <a:gd name="connsiteY168" fmla="*/ 960215 h 1095375"/>
                  <a:gd name="connsiteX169" fmla="*/ 822198 w 1027747"/>
                  <a:gd name="connsiteY169" fmla="*/ 960215 h 1095375"/>
                  <a:gd name="connsiteX170" fmla="*/ 838010 w 1027747"/>
                  <a:gd name="connsiteY170" fmla="*/ 928497 h 1095375"/>
                  <a:gd name="connsiteX171" fmla="*/ 861727 w 1027747"/>
                  <a:gd name="connsiteY171" fmla="*/ 920591 h 1095375"/>
                  <a:gd name="connsiteX172" fmla="*/ 861727 w 1027747"/>
                  <a:gd name="connsiteY172" fmla="*/ 880872 h 1095375"/>
                  <a:gd name="connsiteX173" fmla="*/ 877538 w 1027747"/>
                  <a:gd name="connsiteY173" fmla="*/ 864965 h 1095375"/>
                  <a:gd name="connsiteX174" fmla="*/ 893350 w 1027747"/>
                  <a:gd name="connsiteY174" fmla="*/ 864965 h 1095375"/>
                  <a:gd name="connsiteX175" fmla="*/ 901256 w 1027747"/>
                  <a:gd name="connsiteY175" fmla="*/ 857060 h 1095375"/>
                  <a:gd name="connsiteX176" fmla="*/ 917067 w 1027747"/>
                  <a:gd name="connsiteY176" fmla="*/ 857060 h 1095375"/>
                  <a:gd name="connsiteX177" fmla="*/ 917067 w 1027747"/>
                  <a:gd name="connsiteY177" fmla="*/ 841153 h 1095375"/>
                  <a:gd name="connsiteX178" fmla="*/ 909161 w 1027747"/>
                  <a:gd name="connsiteY178" fmla="*/ 833247 h 1095375"/>
                  <a:gd name="connsiteX179" fmla="*/ 909161 w 1027747"/>
                  <a:gd name="connsiteY179" fmla="*/ 817340 h 1095375"/>
                  <a:gd name="connsiteX180" fmla="*/ 893350 w 1027747"/>
                  <a:gd name="connsiteY180" fmla="*/ 801434 h 1095375"/>
                  <a:gd name="connsiteX181" fmla="*/ 877538 w 1027747"/>
                  <a:gd name="connsiteY181" fmla="*/ 801434 h 1095375"/>
                  <a:gd name="connsiteX182" fmla="*/ 853821 w 1027747"/>
                  <a:gd name="connsiteY182" fmla="*/ 777621 h 1095375"/>
                  <a:gd name="connsiteX183" fmla="*/ 861727 w 1027747"/>
                  <a:gd name="connsiteY183" fmla="*/ 769715 h 1095375"/>
                  <a:gd name="connsiteX184" fmla="*/ 869633 w 1027747"/>
                  <a:gd name="connsiteY184" fmla="*/ 753809 h 1095375"/>
                  <a:gd name="connsiteX185" fmla="*/ 877538 w 1027747"/>
                  <a:gd name="connsiteY185" fmla="*/ 729996 h 1095375"/>
                  <a:gd name="connsiteX186" fmla="*/ 885444 w 1027747"/>
                  <a:gd name="connsiteY186" fmla="*/ 714089 h 1095375"/>
                  <a:gd name="connsiteX187" fmla="*/ 901256 w 1027747"/>
                  <a:gd name="connsiteY187" fmla="*/ 698183 h 1095375"/>
                  <a:gd name="connsiteX188" fmla="*/ 909161 w 1027747"/>
                  <a:gd name="connsiteY188" fmla="*/ 706088 h 1095375"/>
                  <a:gd name="connsiteX189" fmla="*/ 924973 w 1027747"/>
                  <a:gd name="connsiteY189" fmla="*/ 706088 h 1095375"/>
                  <a:gd name="connsiteX190" fmla="*/ 932879 w 1027747"/>
                  <a:gd name="connsiteY190" fmla="*/ 713994 h 1095375"/>
                  <a:gd name="connsiteX191" fmla="*/ 972407 w 1027747"/>
                  <a:gd name="connsiteY191" fmla="*/ 713994 h 1095375"/>
                  <a:gd name="connsiteX192" fmla="*/ 972407 w 1027747"/>
                  <a:gd name="connsiteY192" fmla="*/ 729901 h 1095375"/>
                  <a:gd name="connsiteX193" fmla="*/ 980313 w 1027747"/>
                  <a:gd name="connsiteY193" fmla="*/ 737806 h 1095375"/>
                  <a:gd name="connsiteX194" fmla="*/ 980313 w 1027747"/>
                  <a:gd name="connsiteY194" fmla="*/ 745712 h 1095375"/>
                  <a:gd name="connsiteX195" fmla="*/ 988219 w 1027747"/>
                  <a:gd name="connsiteY195" fmla="*/ 761619 h 1095375"/>
                  <a:gd name="connsiteX196" fmla="*/ 1004030 w 1027747"/>
                  <a:gd name="connsiteY196" fmla="*/ 761619 h 1095375"/>
                  <a:gd name="connsiteX197" fmla="*/ 1019842 w 1027747"/>
                  <a:gd name="connsiteY197" fmla="*/ 753713 h 1095375"/>
                  <a:gd name="connsiteX198" fmla="*/ 1027748 w 1027747"/>
                  <a:gd name="connsiteY198" fmla="*/ 745808 h 1095375"/>
                  <a:gd name="connsiteX199" fmla="*/ 1027748 w 1027747"/>
                  <a:gd name="connsiteY199" fmla="*/ 737902 h 1095375"/>
                  <a:gd name="connsiteX200" fmla="*/ 1019842 w 1027747"/>
                  <a:gd name="connsiteY200" fmla="*/ 721995 h 1095375"/>
                  <a:gd name="connsiteX201" fmla="*/ 237649 w 1027747"/>
                  <a:gd name="connsiteY201" fmla="*/ 618935 h 1095375"/>
                  <a:gd name="connsiteX202" fmla="*/ 206026 w 1027747"/>
                  <a:gd name="connsiteY202" fmla="*/ 634841 h 1095375"/>
                  <a:gd name="connsiteX203" fmla="*/ 198120 w 1027747"/>
                  <a:gd name="connsiteY203" fmla="*/ 642747 h 1095375"/>
                  <a:gd name="connsiteX204" fmla="*/ 182309 w 1027747"/>
                  <a:gd name="connsiteY204" fmla="*/ 650653 h 1095375"/>
                  <a:gd name="connsiteX205" fmla="*/ 174403 w 1027747"/>
                  <a:gd name="connsiteY205" fmla="*/ 658559 h 1095375"/>
                  <a:gd name="connsiteX206" fmla="*/ 166497 w 1027747"/>
                  <a:gd name="connsiteY206" fmla="*/ 658559 h 1095375"/>
                  <a:gd name="connsiteX207" fmla="*/ 150686 w 1027747"/>
                  <a:gd name="connsiteY207" fmla="*/ 650653 h 1095375"/>
                  <a:gd name="connsiteX208" fmla="*/ 134874 w 1027747"/>
                  <a:gd name="connsiteY208" fmla="*/ 634746 h 1095375"/>
                  <a:gd name="connsiteX209" fmla="*/ 126968 w 1027747"/>
                  <a:gd name="connsiteY209" fmla="*/ 658559 h 1095375"/>
                  <a:gd name="connsiteX210" fmla="*/ 134874 w 1027747"/>
                  <a:gd name="connsiteY210" fmla="*/ 666464 h 1095375"/>
                  <a:gd name="connsiteX211" fmla="*/ 150686 w 1027747"/>
                  <a:gd name="connsiteY211" fmla="*/ 674370 h 1095375"/>
                  <a:gd name="connsiteX212" fmla="*/ 158591 w 1027747"/>
                  <a:gd name="connsiteY212" fmla="*/ 690277 h 1095375"/>
                  <a:gd name="connsiteX213" fmla="*/ 158591 w 1027747"/>
                  <a:gd name="connsiteY213" fmla="*/ 714089 h 1095375"/>
                  <a:gd name="connsiteX214" fmla="*/ 150686 w 1027747"/>
                  <a:gd name="connsiteY214" fmla="*/ 737902 h 1095375"/>
                  <a:gd name="connsiteX215" fmla="*/ 150686 w 1027747"/>
                  <a:gd name="connsiteY215" fmla="*/ 753809 h 1095375"/>
                  <a:gd name="connsiteX216" fmla="*/ 166497 w 1027747"/>
                  <a:gd name="connsiteY216" fmla="*/ 769715 h 1095375"/>
                  <a:gd name="connsiteX217" fmla="*/ 150686 w 1027747"/>
                  <a:gd name="connsiteY217" fmla="*/ 777621 h 1095375"/>
                  <a:gd name="connsiteX218" fmla="*/ 158591 w 1027747"/>
                  <a:gd name="connsiteY218" fmla="*/ 841153 h 1095375"/>
                  <a:gd name="connsiteX219" fmla="*/ 142780 w 1027747"/>
                  <a:gd name="connsiteY219" fmla="*/ 841153 h 1095375"/>
                  <a:gd name="connsiteX220" fmla="*/ 166497 w 1027747"/>
                  <a:gd name="connsiteY220" fmla="*/ 864965 h 1095375"/>
                  <a:gd name="connsiteX221" fmla="*/ 182309 w 1027747"/>
                  <a:gd name="connsiteY221" fmla="*/ 864965 h 1095375"/>
                  <a:gd name="connsiteX222" fmla="*/ 190214 w 1027747"/>
                  <a:gd name="connsiteY222" fmla="*/ 849059 h 1095375"/>
                  <a:gd name="connsiteX223" fmla="*/ 206026 w 1027747"/>
                  <a:gd name="connsiteY223" fmla="*/ 833152 h 1095375"/>
                  <a:gd name="connsiteX224" fmla="*/ 206026 w 1027747"/>
                  <a:gd name="connsiteY224" fmla="*/ 817245 h 1095375"/>
                  <a:gd name="connsiteX225" fmla="*/ 221837 w 1027747"/>
                  <a:gd name="connsiteY225" fmla="*/ 833152 h 1095375"/>
                  <a:gd name="connsiteX226" fmla="*/ 237649 w 1027747"/>
                  <a:gd name="connsiteY226" fmla="*/ 841058 h 1095375"/>
                  <a:gd name="connsiteX227" fmla="*/ 245554 w 1027747"/>
                  <a:gd name="connsiteY227" fmla="*/ 841058 h 1095375"/>
                  <a:gd name="connsiteX228" fmla="*/ 253460 w 1027747"/>
                  <a:gd name="connsiteY228" fmla="*/ 833152 h 1095375"/>
                  <a:gd name="connsiteX229" fmla="*/ 261366 w 1027747"/>
                  <a:gd name="connsiteY229" fmla="*/ 817245 h 1095375"/>
                  <a:gd name="connsiteX230" fmla="*/ 261366 w 1027747"/>
                  <a:gd name="connsiteY230" fmla="*/ 785431 h 1095375"/>
                  <a:gd name="connsiteX231" fmla="*/ 269272 w 1027747"/>
                  <a:gd name="connsiteY231" fmla="*/ 769525 h 1095375"/>
                  <a:gd name="connsiteX232" fmla="*/ 269272 w 1027747"/>
                  <a:gd name="connsiteY232" fmla="*/ 737806 h 1095375"/>
                  <a:gd name="connsiteX233" fmla="*/ 261366 w 1027747"/>
                  <a:gd name="connsiteY233" fmla="*/ 729901 h 1095375"/>
                  <a:gd name="connsiteX234" fmla="*/ 253460 w 1027747"/>
                  <a:gd name="connsiteY234" fmla="*/ 729901 h 1095375"/>
                  <a:gd name="connsiteX235" fmla="*/ 253460 w 1027747"/>
                  <a:gd name="connsiteY235" fmla="*/ 721995 h 1095375"/>
                  <a:gd name="connsiteX236" fmla="*/ 261366 w 1027747"/>
                  <a:gd name="connsiteY236" fmla="*/ 714089 h 1095375"/>
                  <a:gd name="connsiteX237" fmla="*/ 269272 w 1027747"/>
                  <a:gd name="connsiteY237" fmla="*/ 714089 h 1095375"/>
                  <a:gd name="connsiteX238" fmla="*/ 277178 w 1027747"/>
                  <a:gd name="connsiteY238" fmla="*/ 706184 h 1095375"/>
                  <a:gd name="connsiteX239" fmla="*/ 277178 w 1027747"/>
                  <a:gd name="connsiteY239" fmla="*/ 690277 h 1095375"/>
                  <a:gd name="connsiteX240" fmla="*/ 269272 w 1027747"/>
                  <a:gd name="connsiteY240" fmla="*/ 674370 h 1095375"/>
                  <a:gd name="connsiteX241" fmla="*/ 269272 w 1027747"/>
                  <a:gd name="connsiteY241" fmla="*/ 650558 h 1095375"/>
                  <a:gd name="connsiteX242" fmla="*/ 261366 w 1027747"/>
                  <a:gd name="connsiteY242" fmla="*/ 634651 h 1095375"/>
                  <a:gd name="connsiteX243" fmla="*/ 245554 w 1027747"/>
                  <a:gd name="connsiteY243" fmla="*/ 626745 h 1095375"/>
                  <a:gd name="connsiteX244" fmla="*/ 237649 w 1027747"/>
                  <a:gd name="connsiteY244" fmla="*/ 618839 h 1095375"/>
                  <a:gd name="connsiteX245" fmla="*/ 751046 w 1027747"/>
                  <a:gd name="connsiteY245" fmla="*/ 952500 h 1095375"/>
                  <a:gd name="connsiteX246" fmla="*/ 735235 w 1027747"/>
                  <a:gd name="connsiteY246" fmla="*/ 944594 h 1095375"/>
                  <a:gd name="connsiteX247" fmla="*/ 727329 w 1027747"/>
                  <a:gd name="connsiteY247" fmla="*/ 936688 h 1095375"/>
                  <a:gd name="connsiteX248" fmla="*/ 711518 w 1027747"/>
                  <a:gd name="connsiteY248" fmla="*/ 936688 h 1095375"/>
                  <a:gd name="connsiteX249" fmla="*/ 703612 w 1027747"/>
                  <a:gd name="connsiteY249" fmla="*/ 944594 h 1095375"/>
                  <a:gd name="connsiteX250" fmla="*/ 687800 w 1027747"/>
                  <a:gd name="connsiteY250" fmla="*/ 952500 h 1095375"/>
                  <a:gd name="connsiteX251" fmla="*/ 679895 w 1027747"/>
                  <a:gd name="connsiteY251" fmla="*/ 960406 h 1095375"/>
                  <a:gd name="connsiteX252" fmla="*/ 616744 w 1027747"/>
                  <a:gd name="connsiteY252" fmla="*/ 960406 h 1095375"/>
                  <a:gd name="connsiteX253" fmla="*/ 600932 w 1027747"/>
                  <a:gd name="connsiteY253" fmla="*/ 952500 h 1095375"/>
                  <a:gd name="connsiteX254" fmla="*/ 585121 w 1027747"/>
                  <a:gd name="connsiteY254" fmla="*/ 936593 h 1095375"/>
                  <a:gd name="connsiteX255" fmla="*/ 577215 w 1027747"/>
                  <a:gd name="connsiteY255" fmla="*/ 936593 h 1095375"/>
                  <a:gd name="connsiteX256" fmla="*/ 553498 w 1027747"/>
                  <a:gd name="connsiteY256" fmla="*/ 960406 h 1095375"/>
                  <a:gd name="connsiteX257" fmla="*/ 529781 w 1027747"/>
                  <a:gd name="connsiteY257" fmla="*/ 944499 h 1095375"/>
                  <a:gd name="connsiteX258" fmla="*/ 521875 w 1027747"/>
                  <a:gd name="connsiteY258" fmla="*/ 944499 h 1095375"/>
                  <a:gd name="connsiteX259" fmla="*/ 506063 w 1027747"/>
                  <a:gd name="connsiteY259" fmla="*/ 960406 h 1095375"/>
                  <a:gd name="connsiteX260" fmla="*/ 506063 w 1027747"/>
                  <a:gd name="connsiteY260" fmla="*/ 976313 h 1095375"/>
                  <a:gd name="connsiteX261" fmla="*/ 521875 w 1027747"/>
                  <a:gd name="connsiteY261" fmla="*/ 992219 h 1095375"/>
                  <a:gd name="connsiteX262" fmla="*/ 553498 w 1027747"/>
                  <a:gd name="connsiteY262" fmla="*/ 1008126 h 1095375"/>
                  <a:gd name="connsiteX263" fmla="*/ 561404 w 1027747"/>
                  <a:gd name="connsiteY263" fmla="*/ 1008126 h 1095375"/>
                  <a:gd name="connsiteX264" fmla="*/ 585121 w 1027747"/>
                  <a:gd name="connsiteY264" fmla="*/ 1031938 h 1095375"/>
                  <a:gd name="connsiteX265" fmla="*/ 585121 w 1027747"/>
                  <a:gd name="connsiteY265" fmla="*/ 1039844 h 1095375"/>
                  <a:gd name="connsiteX266" fmla="*/ 600932 w 1027747"/>
                  <a:gd name="connsiteY266" fmla="*/ 1039844 h 1095375"/>
                  <a:gd name="connsiteX267" fmla="*/ 616744 w 1027747"/>
                  <a:gd name="connsiteY267" fmla="*/ 1055751 h 1095375"/>
                  <a:gd name="connsiteX268" fmla="*/ 632555 w 1027747"/>
                  <a:gd name="connsiteY268" fmla="*/ 1063657 h 1095375"/>
                  <a:gd name="connsiteX269" fmla="*/ 656273 w 1027747"/>
                  <a:gd name="connsiteY269" fmla="*/ 1055751 h 1095375"/>
                  <a:gd name="connsiteX270" fmla="*/ 664178 w 1027747"/>
                  <a:gd name="connsiteY270" fmla="*/ 1063657 h 1095375"/>
                  <a:gd name="connsiteX271" fmla="*/ 679990 w 1027747"/>
                  <a:gd name="connsiteY271" fmla="*/ 1071563 h 1095375"/>
                  <a:gd name="connsiteX272" fmla="*/ 687896 w 1027747"/>
                  <a:gd name="connsiteY272" fmla="*/ 1087469 h 1095375"/>
                  <a:gd name="connsiteX273" fmla="*/ 703707 w 1027747"/>
                  <a:gd name="connsiteY273" fmla="*/ 1095375 h 1095375"/>
                  <a:gd name="connsiteX274" fmla="*/ 735330 w 1027747"/>
                  <a:gd name="connsiteY274" fmla="*/ 1095375 h 1095375"/>
                  <a:gd name="connsiteX275" fmla="*/ 751142 w 1027747"/>
                  <a:gd name="connsiteY275" fmla="*/ 1079468 h 1095375"/>
                  <a:gd name="connsiteX276" fmla="*/ 751142 w 1027747"/>
                  <a:gd name="connsiteY276" fmla="*/ 1047750 h 1095375"/>
                  <a:gd name="connsiteX277" fmla="*/ 743236 w 1027747"/>
                  <a:gd name="connsiteY277" fmla="*/ 1031843 h 1095375"/>
                  <a:gd name="connsiteX278" fmla="*/ 743236 w 1027747"/>
                  <a:gd name="connsiteY278" fmla="*/ 1015937 h 1095375"/>
                  <a:gd name="connsiteX279" fmla="*/ 751142 w 1027747"/>
                  <a:gd name="connsiteY279" fmla="*/ 992124 h 1095375"/>
                  <a:gd name="connsiteX280" fmla="*/ 759047 w 1027747"/>
                  <a:gd name="connsiteY280" fmla="*/ 976217 h 1095375"/>
                  <a:gd name="connsiteX281" fmla="*/ 766953 w 1027747"/>
                  <a:gd name="connsiteY281" fmla="*/ 968312 h 1095375"/>
                  <a:gd name="connsiteX282" fmla="*/ 766953 w 1027747"/>
                  <a:gd name="connsiteY282" fmla="*/ 944499 h 1095375"/>
                  <a:gd name="connsiteX283" fmla="*/ 759047 w 1027747"/>
                  <a:gd name="connsiteY283" fmla="*/ 928592 h 1095375"/>
                  <a:gd name="connsiteX284" fmla="*/ 751142 w 1027747"/>
                  <a:gd name="connsiteY284" fmla="*/ 952405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1027747" h="1095375">
                    <a:moveTo>
                      <a:pt x="1019651" y="722186"/>
                    </a:moveTo>
                    <a:lnTo>
                      <a:pt x="1011746" y="706279"/>
                    </a:lnTo>
                    <a:lnTo>
                      <a:pt x="995934" y="698373"/>
                    </a:lnTo>
                    <a:lnTo>
                      <a:pt x="972217" y="674561"/>
                    </a:lnTo>
                    <a:lnTo>
                      <a:pt x="893255" y="634841"/>
                    </a:lnTo>
                    <a:lnTo>
                      <a:pt x="885349" y="634841"/>
                    </a:lnTo>
                    <a:lnTo>
                      <a:pt x="869537" y="626936"/>
                    </a:lnTo>
                    <a:lnTo>
                      <a:pt x="853726" y="626936"/>
                    </a:lnTo>
                    <a:lnTo>
                      <a:pt x="830009" y="619030"/>
                    </a:lnTo>
                    <a:lnTo>
                      <a:pt x="798386" y="603123"/>
                    </a:lnTo>
                    <a:lnTo>
                      <a:pt x="798386" y="595217"/>
                    </a:lnTo>
                    <a:lnTo>
                      <a:pt x="806291" y="579311"/>
                    </a:lnTo>
                    <a:lnTo>
                      <a:pt x="822103" y="563404"/>
                    </a:lnTo>
                    <a:lnTo>
                      <a:pt x="822103" y="555498"/>
                    </a:lnTo>
                    <a:lnTo>
                      <a:pt x="814197" y="547592"/>
                    </a:lnTo>
                    <a:lnTo>
                      <a:pt x="806291" y="547592"/>
                    </a:lnTo>
                    <a:lnTo>
                      <a:pt x="782574" y="539687"/>
                    </a:lnTo>
                    <a:lnTo>
                      <a:pt x="727234" y="539687"/>
                    </a:lnTo>
                    <a:lnTo>
                      <a:pt x="711422" y="531781"/>
                    </a:lnTo>
                    <a:lnTo>
                      <a:pt x="703517" y="523875"/>
                    </a:lnTo>
                    <a:lnTo>
                      <a:pt x="679799" y="507968"/>
                    </a:lnTo>
                    <a:lnTo>
                      <a:pt x="648176" y="476155"/>
                    </a:lnTo>
                    <a:lnTo>
                      <a:pt x="632365" y="452342"/>
                    </a:lnTo>
                    <a:lnTo>
                      <a:pt x="624459" y="444437"/>
                    </a:lnTo>
                    <a:lnTo>
                      <a:pt x="616553" y="428530"/>
                    </a:lnTo>
                    <a:lnTo>
                      <a:pt x="616553" y="412623"/>
                    </a:lnTo>
                    <a:lnTo>
                      <a:pt x="592836" y="364998"/>
                    </a:lnTo>
                    <a:lnTo>
                      <a:pt x="577025" y="357092"/>
                    </a:lnTo>
                    <a:lnTo>
                      <a:pt x="569119" y="349187"/>
                    </a:lnTo>
                    <a:lnTo>
                      <a:pt x="553307" y="341281"/>
                    </a:lnTo>
                    <a:lnTo>
                      <a:pt x="545402" y="333375"/>
                    </a:lnTo>
                    <a:lnTo>
                      <a:pt x="497967" y="293656"/>
                    </a:lnTo>
                    <a:lnTo>
                      <a:pt x="490061" y="277749"/>
                    </a:lnTo>
                    <a:lnTo>
                      <a:pt x="474250" y="261842"/>
                    </a:lnTo>
                    <a:lnTo>
                      <a:pt x="474250" y="245936"/>
                    </a:lnTo>
                    <a:lnTo>
                      <a:pt x="482156" y="238030"/>
                    </a:lnTo>
                    <a:lnTo>
                      <a:pt x="505873" y="238030"/>
                    </a:lnTo>
                    <a:lnTo>
                      <a:pt x="505873" y="230124"/>
                    </a:lnTo>
                    <a:lnTo>
                      <a:pt x="490061" y="214217"/>
                    </a:lnTo>
                    <a:lnTo>
                      <a:pt x="482156" y="198311"/>
                    </a:lnTo>
                    <a:lnTo>
                      <a:pt x="482156" y="182404"/>
                    </a:lnTo>
                    <a:lnTo>
                      <a:pt x="529590" y="158591"/>
                    </a:lnTo>
                    <a:lnTo>
                      <a:pt x="537496" y="150686"/>
                    </a:lnTo>
                    <a:lnTo>
                      <a:pt x="545402" y="150686"/>
                    </a:lnTo>
                    <a:lnTo>
                      <a:pt x="577025" y="142780"/>
                    </a:lnTo>
                    <a:lnTo>
                      <a:pt x="584930" y="95155"/>
                    </a:lnTo>
                    <a:lnTo>
                      <a:pt x="569119" y="87249"/>
                    </a:lnTo>
                    <a:lnTo>
                      <a:pt x="577025" y="79343"/>
                    </a:lnTo>
                    <a:lnTo>
                      <a:pt x="577025" y="55531"/>
                    </a:lnTo>
                    <a:lnTo>
                      <a:pt x="505968" y="55531"/>
                    </a:lnTo>
                    <a:lnTo>
                      <a:pt x="498062" y="31718"/>
                    </a:lnTo>
                    <a:lnTo>
                      <a:pt x="482251" y="31718"/>
                    </a:lnTo>
                    <a:lnTo>
                      <a:pt x="482251" y="7906"/>
                    </a:lnTo>
                    <a:lnTo>
                      <a:pt x="474345" y="0"/>
                    </a:lnTo>
                    <a:lnTo>
                      <a:pt x="450628" y="0"/>
                    </a:lnTo>
                    <a:lnTo>
                      <a:pt x="442722" y="7906"/>
                    </a:lnTo>
                    <a:lnTo>
                      <a:pt x="442722" y="15812"/>
                    </a:lnTo>
                    <a:lnTo>
                      <a:pt x="387382" y="15812"/>
                    </a:lnTo>
                    <a:lnTo>
                      <a:pt x="371570" y="39624"/>
                    </a:lnTo>
                    <a:lnTo>
                      <a:pt x="355759" y="31718"/>
                    </a:lnTo>
                    <a:lnTo>
                      <a:pt x="332042" y="31718"/>
                    </a:lnTo>
                    <a:lnTo>
                      <a:pt x="324136" y="55531"/>
                    </a:lnTo>
                    <a:lnTo>
                      <a:pt x="292513" y="55531"/>
                    </a:lnTo>
                    <a:lnTo>
                      <a:pt x="292513" y="63437"/>
                    </a:lnTo>
                    <a:lnTo>
                      <a:pt x="308324" y="79343"/>
                    </a:lnTo>
                    <a:lnTo>
                      <a:pt x="300419" y="95250"/>
                    </a:lnTo>
                    <a:lnTo>
                      <a:pt x="276701" y="79343"/>
                    </a:lnTo>
                    <a:lnTo>
                      <a:pt x="252984" y="87249"/>
                    </a:lnTo>
                    <a:lnTo>
                      <a:pt x="237173" y="63437"/>
                    </a:lnTo>
                    <a:lnTo>
                      <a:pt x="229267" y="95155"/>
                    </a:lnTo>
                    <a:lnTo>
                      <a:pt x="213455" y="111062"/>
                    </a:lnTo>
                    <a:lnTo>
                      <a:pt x="213455" y="134874"/>
                    </a:lnTo>
                    <a:lnTo>
                      <a:pt x="181832" y="103156"/>
                    </a:lnTo>
                    <a:lnTo>
                      <a:pt x="173927" y="103156"/>
                    </a:lnTo>
                    <a:lnTo>
                      <a:pt x="173927" y="95250"/>
                    </a:lnTo>
                    <a:lnTo>
                      <a:pt x="166021" y="87344"/>
                    </a:lnTo>
                    <a:lnTo>
                      <a:pt x="166021" y="79438"/>
                    </a:lnTo>
                    <a:lnTo>
                      <a:pt x="158115" y="71533"/>
                    </a:lnTo>
                    <a:lnTo>
                      <a:pt x="142304" y="71533"/>
                    </a:lnTo>
                    <a:lnTo>
                      <a:pt x="134398" y="79438"/>
                    </a:lnTo>
                    <a:lnTo>
                      <a:pt x="134398" y="103251"/>
                    </a:lnTo>
                    <a:lnTo>
                      <a:pt x="110681" y="127063"/>
                    </a:lnTo>
                    <a:lnTo>
                      <a:pt x="102775" y="127063"/>
                    </a:lnTo>
                    <a:lnTo>
                      <a:pt x="86963" y="111157"/>
                    </a:lnTo>
                    <a:lnTo>
                      <a:pt x="71152" y="111157"/>
                    </a:lnTo>
                    <a:lnTo>
                      <a:pt x="55340" y="127063"/>
                    </a:lnTo>
                    <a:lnTo>
                      <a:pt x="39529" y="127063"/>
                    </a:lnTo>
                    <a:lnTo>
                      <a:pt x="39529" y="134969"/>
                    </a:lnTo>
                    <a:lnTo>
                      <a:pt x="31623" y="134969"/>
                    </a:lnTo>
                    <a:lnTo>
                      <a:pt x="23717" y="142875"/>
                    </a:lnTo>
                    <a:lnTo>
                      <a:pt x="55245" y="174593"/>
                    </a:lnTo>
                    <a:lnTo>
                      <a:pt x="55245" y="182499"/>
                    </a:lnTo>
                    <a:lnTo>
                      <a:pt x="31528" y="206312"/>
                    </a:lnTo>
                    <a:lnTo>
                      <a:pt x="0" y="206312"/>
                    </a:lnTo>
                    <a:lnTo>
                      <a:pt x="15812" y="230124"/>
                    </a:lnTo>
                    <a:lnTo>
                      <a:pt x="31623" y="230124"/>
                    </a:lnTo>
                    <a:lnTo>
                      <a:pt x="39529" y="238030"/>
                    </a:lnTo>
                    <a:lnTo>
                      <a:pt x="39529" y="253937"/>
                    </a:lnTo>
                    <a:lnTo>
                      <a:pt x="31623" y="261842"/>
                    </a:lnTo>
                    <a:lnTo>
                      <a:pt x="31623" y="269748"/>
                    </a:lnTo>
                    <a:lnTo>
                      <a:pt x="23717" y="277654"/>
                    </a:lnTo>
                    <a:lnTo>
                      <a:pt x="23717" y="285560"/>
                    </a:lnTo>
                    <a:lnTo>
                      <a:pt x="31623" y="293465"/>
                    </a:lnTo>
                    <a:lnTo>
                      <a:pt x="47435" y="301371"/>
                    </a:lnTo>
                    <a:lnTo>
                      <a:pt x="55340" y="301371"/>
                    </a:lnTo>
                    <a:lnTo>
                      <a:pt x="55340" y="309277"/>
                    </a:lnTo>
                    <a:lnTo>
                      <a:pt x="86963" y="309277"/>
                    </a:lnTo>
                    <a:lnTo>
                      <a:pt x="94869" y="317183"/>
                    </a:lnTo>
                    <a:lnTo>
                      <a:pt x="94869" y="325088"/>
                    </a:lnTo>
                    <a:lnTo>
                      <a:pt x="71152" y="348901"/>
                    </a:lnTo>
                    <a:lnTo>
                      <a:pt x="71152" y="356806"/>
                    </a:lnTo>
                    <a:lnTo>
                      <a:pt x="86963" y="356806"/>
                    </a:lnTo>
                    <a:lnTo>
                      <a:pt x="118586" y="340900"/>
                    </a:lnTo>
                    <a:lnTo>
                      <a:pt x="158115" y="301180"/>
                    </a:lnTo>
                    <a:lnTo>
                      <a:pt x="189738" y="285274"/>
                    </a:lnTo>
                    <a:lnTo>
                      <a:pt x="205550" y="285274"/>
                    </a:lnTo>
                    <a:lnTo>
                      <a:pt x="221361" y="293180"/>
                    </a:lnTo>
                    <a:lnTo>
                      <a:pt x="268796" y="309086"/>
                    </a:lnTo>
                    <a:lnTo>
                      <a:pt x="284607" y="316992"/>
                    </a:lnTo>
                    <a:lnTo>
                      <a:pt x="300419" y="332899"/>
                    </a:lnTo>
                    <a:lnTo>
                      <a:pt x="308324" y="348805"/>
                    </a:lnTo>
                    <a:lnTo>
                      <a:pt x="308324" y="364712"/>
                    </a:lnTo>
                    <a:lnTo>
                      <a:pt x="316230" y="372618"/>
                    </a:lnTo>
                    <a:lnTo>
                      <a:pt x="316230" y="380524"/>
                    </a:lnTo>
                    <a:lnTo>
                      <a:pt x="332042" y="396430"/>
                    </a:lnTo>
                    <a:lnTo>
                      <a:pt x="332042" y="404336"/>
                    </a:lnTo>
                    <a:lnTo>
                      <a:pt x="324136" y="420243"/>
                    </a:lnTo>
                    <a:lnTo>
                      <a:pt x="324136" y="428149"/>
                    </a:lnTo>
                    <a:lnTo>
                      <a:pt x="339947" y="444055"/>
                    </a:lnTo>
                    <a:lnTo>
                      <a:pt x="371570" y="459962"/>
                    </a:lnTo>
                    <a:lnTo>
                      <a:pt x="379476" y="467868"/>
                    </a:lnTo>
                    <a:lnTo>
                      <a:pt x="387382" y="467868"/>
                    </a:lnTo>
                    <a:lnTo>
                      <a:pt x="395288" y="491680"/>
                    </a:lnTo>
                    <a:lnTo>
                      <a:pt x="434816" y="491680"/>
                    </a:lnTo>
                    <a:lnTo>
                      <a:pt x="458534" y="515493"/>
                    </a:lnTo>
                    <a:lnTo>
                      <a:pt x="466439" y="531400"/>
                    </a:lnTo>
                    <a:lnTo>
                      <a:pt x="482251" y="547306"/>
                    </a:lnTo>
                    <a:lnTo>
                      <a:pt x="498062" y="555212"/>
                    </a:lnTo>
                    <a:lnTo>
                      <a:pt x="505968" y="571119"/>
                    </a:lnTo>
                    <a:lnTo>
                      <a:pt x="553403" y="618744"/>
                    </a:lnTo>
                    <a:lnTo>
                      <a:pt x="600837" y="618744"/>
                    </a:lnTo>
                    <a:lnTo>
                      <a:pt x="608743" y="626650"/>
                    </a:lnTo>
                    <a:lnTo>
                      <a:pt x="616649" y="642556"/>
                    </a:lnTo>
                    <a:lnTo>
                      <a:pt x="648272" y="658463"/>
                    </a:lnTo>
                    <a:lnTo>
                      <a:pt x="671989" y="666369"/>
                    </a:lnTo>
                    <a:lnTo>
                      <a:pt x="695706" y="666369"/>
                    </a:lnTo>
                    <a:lnTo>
                      <a:pt x="711518" y="674275"/>
                    </a:lnTo>
                    <a:lnTo>
                      <a:pt x="719423" y="674275"/>
                    </a:lnTo>
                    <a:lnTo>
                      <a:pt x="727329" y="690181"/>
                    </a:lnTo>
                    <a:lnTo>
                      <a:pt x="727329" y="706088"/>
                    </a:lnTo>
                    <a:lnTo>
                      <a:pt x="743141" y="737902"/>
                    </a:lnTo>
                    <a:lnTo>
                      <a:pt x="751046" y="745808"/>
                    </a:lnTo>
                    <a:lnTo>
                      <a:pt x="766858" y="745808"/>
                    </a:lnTo>
                    <a:lnTo>
                      <a:pt x="782669" y="737902"/>
                    </a:lnTo>
                    <a:lnTo>
                      <a:pt x="790575" y="737902"/>
                    </a:lnTo>
                    <a:lnTo>
                      <a:pt x="790575" y="753809"/>
                    </a:lnTo>
                    <a:lnTo>
                      <a:pt x="798481" y="769715"/>
                    </a:lnTo>
                    <a:lnTo>
                      <a:pt x="798481" y="801434"/>
                    </a:lnTo>
                    <a:lnTo>
                      <a:pt x="806387" y="817340"/>
                    </a:lnTo>
                    <a:lnTo>
                      <a:pt x="830104" y="841153"/>
                    </a:lnTo>
                    <a:lnTo>
                      <a:pt x="830104" y="880872"/>
                    </a:lnTo>
                    <a:lnTo>
                      <a:pt x="806387" y="880872"/>
                    </a:lnTo>
                    <a:lnTo>
                      <a:pt x="806387" y="912590"/>
                    </a:lnTo>
                    <a:lnTo>
                      <a:pt x="798481" y="920496"/>
                    </a:lnTo>
                    <a:lnTo>
                      <a:pt x="790575" y="936403"/>
                    </a:lnTo>
                    <a:lnTo>
                      <a:pt x="782669" y="944309"/>
                    </a:lnTo>
                    <a:lnTo>
                      <a:pt x="782669" y="968121"/>
                    </a:lnTo>
                    <a:lnTo>
                      <a:pt x="798481" y="968121"/>
                    </a:lnTo>
                    <a:lnTo>
                      <a:pt x="814292" y="960215"/>
                    </a:lnTo>
                    <a:lnTo>
                      <a:pt x="822198" y="960215"/>
                    </a:lnTo>
                    <a:lnTo>
                      <a:pt x="838010" y="928497"/>
                    </a:lnTo>
                    <a:lnTo>
                      <a:pt x="861727" y="920591"/>
                    </a:lnTo>
                    <a:lnTo>
                      <a:pt x="861727" y="880872"/>
                    </a:lnTo>
                    <a:lnTo>
                      <a:pt x="877538" y="864965"/>
                    </a:lnTo>
                    <a:lnTo>
                      <a:pt x="893350" y="864965"/>
                    </a:lnTo>
                    <a:lnTo>
                      <a:pt x="901256" y="857060"/>
                    </a:lnTo>
                    <a:lnTo>
                      <a:pt x="917067" y="857060"/>
                    </a:lnTo>
                    <a:lnTo>
                      <a:pt x="917067" y="841153"/>
                    </a:lnTo>
                    <a:lnTo>
                      <a:pt x="909161" y="833247"/>
                    </a:lnTo>
                    <a:lnTo>
                      <a:pt x="909161" y="817340"/>
                    </a:lnTo>
                    <a:lnTo>
                      <a:pt x="893350" y="801434"/>
                    </a:lnTo>
                    <a:lnTo>
                      <a:pt x="877538" y="801434"/>
                    </a:lnTo>
                    <a:lnTo>
                      <a:pt x="853821" y="777621"/>
                    </a:lnTo>
                    <a:lnTo>
                      <a:pt x="861727" y="769715"/>
                    </a:lnTo>
                    <a:lnTo>
                      <a:pt x="869633" y="753809"/>
                    </a:lnTo>
                    <a:lnTo>
                      <a:pt x="877538" y="729996"/>
                    </a:lnTo>
                    <a:lnTo>
                      <a:pt x="885444" y="714089"/>
                    </a:lnTo>
                    <a:lnTo>
                      <a:pt x="901256" y="698183"/>
                    </a:lnTo>
                    <a:lnTo>
                      <a:pt x="909161" y="706088"/>
                    </a:lnTo>
                    <a:lnTo>
                      <a:pt x="924973" y="706088"/>
                    </a:lnTo>
                    <a:lnTo>
                      <a:pt x="932879" y="713994"/>
                    </a:lnTo>
                    <a:lnTo>
                      <a:pt x="972407" y="713994"/>
                    </a:lnTo>
                    <a:lnTo>
                      <a:pt x="972407" y="729901"/>
                    </a:lnTo>
                    <a:lnTo>
                      <a:pt x="980313" y="737806"/>
                    </a:lnTo>
                    <a:lnTo>
                      <a:pt x="980313" y="745712"/>
                    </a:lnTo>
                    <a:lnTo>
                      <a:pt x="988219" y="761619"/>
                    </a:lnTo>
                    <a:lnTo>
                      <a:pt x="1004030" y="761619"/>
                    </a:lnTo>
                    <a:lnTo>
                      <a:pt x="1019842" y="753713"/>
                    </a:lnTo>
                    <a:lnTo>
                      <a:pt x="1027748" y="745808"/>
                    </a:lnTo>
                    <a:lnTo>
                      <a:pt x="1027748" y="737902"/>
                    </a:lnTo>
                    <a:lnTo>
                      <a:pt x="1019842" y="721995"/>
                    </a:lnTo>
                    <a:close/>
                    <a:moveTo>
                      <a:pt x="237649" y="618935"/>
                    </a:moveTo>
                    <a:lnTo>
                      <a:pt x="206026" y="634841"/>
                    </a:lnTo>
                    <a:lnTo>
                      <a:pt x="198120" y="642747"/>
                    </a:lnTo>
                    <a:lnTo>
                      <a:pt x="182309" y="650653"/>
                    </a:lnTo>
                    <a:lnTo>
                      <a:pt x="174403" y="658559"/>
                    </a:lnTo>
                    <a:lnTo>
                      <a:pt x="166497" y="658559"/>
                    </a:lnTo>
                    <a:lnTo>
                      <a:pt x="150686" y="650653"/>
                    </a:lnTo>
                    <a:lnTo>
                      <a:pt x="134874" y="634746"/>
                    </a:lnTo>
                    <a:lnTo>
                      <a:pt x="126968" y="658559"/>
                    </a:lnTo>
                    <a:lnTo>
                      <a:pt x="134874" y="666464"/>
                    </a:lnTo>
                    <a:lnTo>
                      <a:pt x="150686" y="674370"/>
                    </a:lnTo>
                    <a:lnTo>
                      <a:pt x="158591" y="690277"/>
                    </a:lnTo>
                    <a:lnTo>
                      <a:pt x="158591" y="714089"/>
                    </a:lnTo>
                    <a:lnTo>
                      <a:pt x="150686" y="737902"/>
                    </a:lnTo>
                    <a:lnTo>
                      <a:pt x="150686" y="753809"/>
                    </a:lnTo>
                    <a:lnTo>
                      <a:pt x="166497" y="769715"/>
                    </a:lnTo>
                    <a:lnTo>
                      <a:pt x="150686" y="777621"/>
                    </a:lnTo>
                    <a:lnTo>
                      <a:pt x="158591" y="841153"/>
                    </a:lnTo>
                    <a:lnTo>
                      <a:pt x="142780" y="841153"/>
                    </a:lnTo>
                    <a:lnTo>
                      <a:pt x="166497" y="864965"/>
                    </a:lnTo>
                    <a:lnTo>
                      <a:pt x="182309" y="864965"/>
                    </a:lnTo>
                    <a:lnTo>
                      <a:pt x="190214" y="849059"/>
                    </a:lnTo>
                    <a:lnTo>
                      <a:pt x="206026" y="833152"/>
                    </a:lnTo>
                    <a:lnTo>
                      <a:pt x="206026" y="817245"/>
                    </a:lnTo>
                    <a:lnTo>
                      <a:pt x="221837" y="833152"/>
                    </a:lnTo>
                    <a:lnTo>
                      <a:pt x="237649" y="841058"/>
                    </a:lnTo>
                    <a:lnTo>
                      <a:pt x="245554" y="841058"/>
                    </a:lnTo>
                    <a:lnTo>
                      <a:pt x="253460" y="833152"/>
                    </a:lnTo>
                    <a:lnTo>
                      <a:pt x="261366" y="817245"/>
                    </a:lnTo>
                    <a:lnTo>
                      <a:pt x="261366" y="785431"/>
                    </a:lnTo>
                    <a:lnTo>
                      <a:pt x="269272" y="769525"/>
                    </a:lnTo>
                    <a:lnTo>
                      <a:pt x="269272" y="737806"/>
                    </a:lnTo>
                    <a:lnTo>
                      <a:pt x="261366" y="729901"/>
                    </a:lnTo>
                    <a:lnTo>
                      <a:pt x="253460" y="729901"/>
                    </a:lnTo>
                    <a:lnTo>
                      <a:pt x="253460" y="721995"/>
                    </a:lnTo>
                    <a:lnTo>
                      <a:pt x="261366" y="714089"/>
                    </a:lnTo>
                    <a:lnTo>
                      <a:pt x="269272" y="714089"/>
                    </a:lnTo>
                    <a:lnTo>
                      <a:pt x="277178" y="706184"/>
                    </a:lnTo>
                    <a:lnTo>
                      <a:pt x="277178" y="690277"/>
                    </a:lnTo>
                    <a:lnTo>
                      <a:pt x="269272" y="674370"/>
                    </a:lnTo>
                    <a:lnTo>
                      <a:pt x="269272" y="650558"/>
                    </a:lnTo>
                    <a:lnTo>
                      <a:pt x="261366" y="634651"/>
                    </a:lnTo>
                    <a:lnTo>
                      <a:pt x="245554" y="626745"/>
                    </a:lnTo>
                    <a:lnTo>
                      <a:pt x="237649" y="618839"/>
                    </a:lnTo>
                    <a:close/>
                    <a:moveTo>
                      <a:pt x="751046" y="952500"/>
                    </a:moveTo>
                    <a:lnTo>
                      <a:pt x="735235" y="944594"/>
                    </a:lnTo>
                    <a:lnTo>
                      <a:pt x="727329" y="936688"/>
                    </a:lnTo>
                    <a:lnTo>
                      <a:pt x="711518" y="936688"/>
                    </a:lnTo>
                    <a:lnTo>
                      <a:pt x="703612" y="944594"/>
                    </a:lnTo>
                    <a:lnTo>
                      <a:pt x="687800" y="952500"/>
                    </a:lnTo>
                    <a:lnTo>
                      <a:pt x="679895" y="960406"/>
                    </a:lnTo>
                    <a:lnTo>
                      <a:pt x="616744" y="960406"/>
                    </a:lnTo>
                    <a:lnTo>
                      <a:pt x="600932" y="952500"/>
                    </a:lnTo>
                    <a:lnTo>
                      <a:pt x="585121" y="936593"/>
                    </a:lnTo>
                    <a:lnTo>
                      <a:pt x="577215" y="936593"/>
                    </a:lnTo>
                    <a:lnTo>
                      <a:pt x="553498" y="960406"/>
                    </a:lnTo>
                    <a:lnTo>
                      <a:pt x="529781" y="944499"/>
                    </a:lnTo>
                    <a:lnTo>
                      <a:pt x="521875" y="944499"/>
                    </a:lnTo>
                    <a:lnTo>
                      <a:pt x="506063" y="960406"/>
                    </a:lnTo>
                    <a:lnTo>
                      <a:pt x="506063" y="976313"/>
                    </a:lnTo>
                    <a:lnTo>
                      <a:pt x="521875" y="992219"/>
                    </a:lnTo>
                    <a:lnTo>
                      <a:pt x="553498" y="1008126"/>
                    </a:lnTo>
                    <a:lnTo>
                      <a:pt x="561404" y="1008126"/>
                    </a:lnTo>
                    <a:lnTo>
                      <a:pt x="585121" y="1031938"/>
                    </a:lnTo>
                    <a:lnTo>
                      <a:pt x="585121" y="1039844"/>
                    </a:lnTo>
                    <a:lnTo>
                      <a:pt x="600932" y="1039844"/>
                    </a:lnTo>
                    <a:lnTo>
                      <a:pt x="616744" y="1055751"/>
                    </a:lnTo>
                    <a:lnTo>
                      <a:pt x="632555" y="1063657"/>
                    </a:lnTo>
                    <a:lnTo>
                      <a:pt x="656273" y="1055751"/>
                    </a:lnTo>
                    <a:lnTo>
                      <a:pt x="664178" y="1063657"/>
                    </a:lnTo>
                    <a:lnTo>
                      <a:pt x="679990" y="1071563"/>
                    </a:lnTo>
                    <a:lnTo>
                      <a:pt x="687896" y="1087469"/>
                    </a:lnTo>
                    <a:lnTo>
                      <a:pt x="703707" y="1095375"/>
                    </a:lnTo>
                    <a:lnTo>
                      <a:pt x="735330" y="1095375"/>
                    </a:lnTo>
                    <a:lnTo>
                      <a:pt x="751142" y="1079468"/>
                    </a:lnTo>
                    <a:lnTo>
                      <a:pt x="751142" y="1047750"/>
                    </a:lnTo>
                    <a:lnTo>
                      <a:pt x="743236" y="1031843"/>
                    </a:lnTo>
                    <a:lnTo>
                      <a:pt x="743236" y="1015937"/>
                    </a:lnTo>
                    <a:lnTo>
                      <a:pt x="751142" y="992124"/>
                    </a:lnTo>
                    <a:lnTo>
                      <a:pt x="759047" y="976217"/>
                    </a:lnTo>
                    <a:lnTo>
                      <a:pt x="766953" y="968312"/>
                    </a:lnTo>
                    <a:lnTo>
                      <a:pt x="766953" y="944499"/>
                    </a:lnTo>
                    <a:lnTo>
                      <a:pt x="759047" y="928592"/>
                    </a:lnTo>
                    <a:lnTo>
                      <a:pt x="751142" y="952405"/>
                    </a:lnTo>
                    <a:close/>
                  </a:path>
                </a:pathLst>
              </a:custGeom>
              <a:noFill/>
              <a:ln w="4763"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7F03E097-59B1-CEEA-FA64-3ECCE0173107}"/>
                  </a:ext>
                </a:extLst>
              </p:cNvPr>
              <p:cNvSpPr/>
              <p:nvPr/>
            </p:nvSpPr>
            <p:spPr>
              <a:xfrm>
                <a:off x="4472177" y="3235927"/>
                <a:ext cx="372046" cy="393191"/>
              </a:xfrm>
              <a:custGeom>
                <a:avLst/>
                <a:gdLst>
                  <a:gd name="connsiteX0" fmla="*/ 364046 w 372046"/>
                  <a:gd name="connsiteY0" fmla="*/ 204502 h 393191"/>
                  <a:gd name="connsiteX1" fmla="*/ 364046 w 372046"/>
                  <a:gd name="connsiteY1" fmla="*/ 188786 h 393191"/>
                  <a:gd name="connsiteX2" fmla="*/ 356140 w 372046"/>
                  <a:gd name="connsiteY2" fmla="*/ 173069 h 393191"/>
                  <a:gd name="connsiteX3" fmla="*/ 348234 w 372046"/>
                  <a:gd name="connsiteY3" fmla="*/ 165164 h 393191"/>
                  <a:gd name="connsiteX4" fmla="*/ 348234 w 372046"/>
                  <a:gd name="connsiteY4" fmla="*/ 149447 h 393191"/>
                  <a:gd name="connsiteX5" fmla="*/ 340328 w 372046"/>
                  <a:gd name="connsiteY5" fmla="*/ 141542 h 393191"/>
                  <a:gd name="connsiteX6" fmla="*/ 340328 w 372046"/>
                  <a:gd name="connsiteY6" fmla="*/ 133731 h 393191"/>
                  <a:gd name="connsiteX7" fmla="*/ 364046 w 372046"/>
                  <a:gd name="connsiteY7" fmla="*/ 133731 h 393191"/>
                  <a:gd name="connsiteX8" fmla="*/ 372047 w 372046"/>
                  <a:gd name="connsiteY8" fmla="*/ 125825 h 393191"/>
                  <a:gd name="connsiteX9" fmla="*/ 324517 w 372046"/>
                  <a:gd name="connsiteY9" fmla="*/ 118015 h 393191"/>
                  <a:gd name="connsiteX10" fmla="*/ 300800 w 372046"/>
                  <a:gd name="connsiteY10" fmla="*/ 86487 h 393191"/>
                  <a:gd name="connsiteX11" fmla="*/ 269081 w 372046"/>
                  <a:gd name="connsiteY11" fmla="*/ 118015 h 393191"/>
                  <a:gd name="connsiteX12" fmla="*/ 253270 w 372046"/>
                  <a:gd name="connsiteY12" fmla="*/ 118015 h 393191"/>
                  <a:gd name="connsiteX13" fmla="*/ 221647 w 372046"/>
                  <a:gd name="connsiteY13" fmla="*/ 102299 h 393191"/>
                  <a:gd name="connsiteX14" fmla="*/ 213741 w 372046"/>
                  <a:gd name="connsiteY14" fmla="*/ 94393 h 393191"/>
                  <a:gd name="connsiteX15" fmla="*/ 229553 w 372046"/>
                  <a:gd name="connsiteY15" fmla="*/ 78677 h 393191"/>
                  <a:gd name="connsiteX16" fmla="*/ 237458 w 372046"/>
                  <a:gd name="connsiteY16" fmla="*/ 78677 h 393191"/>
                  <a:gd name="connsiteX17" fmla="*/ 245364 w 372046"/>
                  <a:gd name="connsiteY17" fmla="*/ 70771 h 393191"/>
                  <a:gd name="connsiteX18" fmla="*/ 253270 w 372046"/>
                  <a:gd name="connsiteY18" fmla="*/ 70771 h 393191"/>
                  <a:gd name="connsiteX19" fmla="*/ 253270 w 372046"/>
                  <a:gd name="connsiteY19" fmla="*/ 55054 h 393191"/>
                  <a:gd name="connsiteX20" fmla="*/ 308705 w 372046"/>
                  <a:gd name="connsiteY20" fmla="*/ 23622 h 393191"/>
                  <a:gd name="connsiteX21" fmla="*/ 316611 w 372046"/>
                  <a:gd name="connsiteY21" fmla="*/ 15716 h 393191"/>
                  <a:gd name="connsiteX22" fmla="*/ 316611 w 372046"/>
                  <a:gd name="connsiteY22" fmla="*/ 7906 h 393191"/>
                  <a:gd name="connsiteX23" fmla="*/ 308705 w 372046"/>
                  <a:gd name="connsiteY23" fmla="*/ 7906 h 393191"/>
                  <a:gd name="connsiteX24" fmla="*/ 300800 w 372046"/>
                  <a:gd name="connsiteY24" fmla="*/ 0 h 393191"/>
                  <a:gd name="connsiteX25" fmla="*/ 292894 w 372046"/>
                  <a:gd name="connsiteY25" fmla="*/ 0 h 393191"/>
                  <a:gd name="connsiteX26" fmla="*/ 276987 w 372046"/>
                  <a:gd name="connsiteY26" fmla="*/ 7906 h 393191"/>
                  <a:gd name="connsiteX27" fmla="*/ 269081 w 372046"/>
                  <a:gd name="connsiteY27" fmla="*/ 23622 h 393191"/>
                  <a:gd name="connsiteX28" fmla="*/ 261175 w 372046"/>
                  <a:gd name="connsiteY28" fmla="*/ 7906 h 393191"/>
                  <a:gd name="connsiteX29" fmla="*/ 229553 w 372046"/>
                  <a:gd name="connsiteY29" fmla="*/ 7906 h 393191"/>
                  <a:gd name="connsiteX30" fmla="*/ 213741 w 372046"/>
                  <a:gd name="connsiteY30" fmla="*/ 15716 h 393191"/>
                  <a:gd name="connsiteX31" fmla="*/ 205835 w 372046"/>
                  <a:gd name="connsiteY31" fmla="*/ 15716 h 393191"/>
                  <a:gd name="connsiteX32" fmla="*/ 197930 w 372046"/>
                  <a:gd name="connsiteY32" fmla="*/ 23622 h 393191"/>
                  <a:gd name="connsiteX33" fmla="*/ 197930 w 372046"/>
                  <a:gd name="connsiteY33" fmla="*/ 39338 h 393191"/>
                  <a:gd name="connsiteX34" fmla="*/ 190024 w 372046"/>
                  <a:gd name="connsiteY34" fmla="*/ 47244 h 393191"/>
                  <a:gd name="connsiteX35" fmla="*/ 190024 w 372046"/>
                  <a:gd name="connsiteY35" fmla="*/ 55054 h 393191"/>
                  <a:gd name="connsiteX36" fmla="*/ 166211 w 372046"/>
                  <a:gd name="connsiteY36" fmla="*/ 55054 h 393191"/>
                  <a:gd name="connsiteX37" fmla="*/ 158306 w 372046"/>
                  <a:gd name="connsiteY37" fmla="*/ 62960 h 393191"/>
                  <a:gd name="connsiteX38" fmla="*/ 158306 w 372046"/>
                  <a:gd name="connsiteY38" fmla="*/ 70771 h 393191"/>
                  <a:gd name="connsiteX39" fmla="*/ 182118 w 372046"/>
                  <a:gd name="connsiteY39" fmla="*/ 70771 h 393191"/>
                  <a:gd name="connsiteX40" fmla="*/ 190024 w 372046"/>
                  <a:gd name="connsiteY40" fmla="*/ 78677 h 393191"/>
                  <a:gd name="connsiteX41" fmla="*/ 197930 w 372046"/>
                  <a:gd name="connsiteY41" fmla="*/ 78677 h 393191"/>
                  <a:gd name="connsiteX42" fmla="*/ 197930 w 372046"/>
                  <a:gd name="connsiteY42" fmla="*/ 86487 h 393191"/>
                  <a:gd name="connsiteX43" fmla="*/ 190024 w 372046"/>
                  <a:gd name="connsiteY43" fmla="*/ 94393 h 393191"/>
                  <a:gd name="connsiteX44" fmla="*/ 174117 w 372046"/>
                  <a:gd name="connsiteY44" fmla="*/ 94393 h 393191"/>
                  <a:gd name="connsiteX45" fmla="*/ 174117 w 372046"/>
                  <a:gd name="connsiteY45" fmla="*/ 102299 h 393191"/>
                  <a:gd name="connsiteX46" fmla="*/ 166211 w 372046"/>
                  <a:gd name="connsiteY46" fmla="*/ 110109 h 393191"/>
                  <a:gd name="connsiteX47" fmla="*/ 134588 w 372046"/>
                  <a:gd name="connsiteY47" fmla="*/ 110109 h 393191"/>
                  <a:gd name="connsiteX48" fmla="*/ 134588 w 372046"/>
                  <a:gd name="connsiteY48" fmla="*/ 118015 h 393191"/>
                  <a:gd name="connsiteX49" fmla="*/ 118777 w 372046"/>
                  <a:gd name="connsiteY49" fmla="*/ 102299 h 393191"/>
                  <a:gd name="connsiteX50" fmla="*/ 55436 w 372046"/>
                  <a:gd name="connsiteY50" fmla="*/ 102299 h 393191"/>
                  <a:gd name="connsiteX51" fmla="*/ 55436 w 372046"/>
                  <a:gd name="connsiteY51" fmla="*/ 133731 h 393191"/>
                  <a:gd name="connsiteX52" fmla="*/ 71247 w 372046"/>
                  <a:gd name="connsiteY52" fmla="*/ 133731 h 393191"/>
                  <a:gd name="connsiteX53" fmla="*/ 71247 w 372046"/>
                  <a:gd name="connsiteY53" fmla="*/ 141542 h 393191"/>
                  <a:gd name="connsiteX54" fmla="*/ 79153 w 372046"/>
                  <a:gd name="connsiteY54" fmla="*/ 149447 h 393191"/>
                  <a:gd name="connsiteX55" fmla="*/ 55436 w 372046"/>
                  <a:gd name="connsiteY55" fmla="*/ 165164 h 393191"/>
                  <a:gd name="connsiteX56" fmla="*/ 47530 w 372046"/>
                  <a:gd name="connsiteY56" fmla="*/ 165164 h 393191"/>
                  <a:gd name="connsiteX57" fmla="*/ 39624 w 372046"/>
                  <a:gd name="connsiteY57" fmla="*/ 173069 h 393191"/>
                  <a:gd name="connsiteX58" fmla="*/ 39624 w 372046"/>
                  <a:gd name="connsiteY58" fmla="*/ 180880 h 393191"/>
                  <a:gd name="connsiteX59" fmla="*/ 55436 w 372046"/>
                  <a:gd name="connsiteY59" fmla="*/ 196596 h 393191"/>
                  <a:gd name="connsiteX60" fmla="*/ 71247 w 372046"/>
                  <a:gd name="connsiteY60" fmla="*/ 204502 h 393191"/>
                  <a:gd name="connsiteX61" fmla="*/ 79153 w 372046"/>
                  <a:gd name="connsiteY61" fmla="*/ 212408 h 393191"/>
                  <a:gd name="connsiteX62" fmla="*/ 95060 w 372046"/>
                  <a:gd name="connsiteY62" fmla="*/ 212408 h 393191"/>
                  <a:gd name="connsiteX63" fmla="*/ 102965 w 372046"/>
                  <a:gd name="connsiteY63" fmla="*/ 204502 h 393191"/>
                  <a:gd name="connsiteX64" fmla="*/ 126683 w 372046"/>
                  <a:gd name="connsiteY64" fmla="*/ 204502 h 393191"/>
                  <a:gd name="connsiteX65" fmla="*/ 126683 w 372046"/>
                  <a:gd name="connsiteY65" fmla="*/ 220218 h 393191"/>
                  <a:gd name="connsiteX66" fmla="*/ 118777 w 372046"/>
                  <a:gd name="connsiteY66" fmla="*/ 228124 h 393191"/>
                  <a:gd name="connsiteX67" fmla="*/ 95060 w 372046"/>
                  <a:gd name="connsiteY67" fmla="*/ 228124 h 393191"/>
                  <a:gd name="connsiteX68" fmla="*/ 95060 w 372046"/>
                  <a:gd name="connsiteY68" fmla="*/ 251650 h 393191"/>
                  <a:gd name="connsiteX69" fmla="*/ 71247 w 372046"/>
                  <a:gd name="connsiteY69" fmla="*/ 251650 h 393191"/>
                  <a:gd name="connsiteX70" fmla="*/ 63341 w 372046"/>
                  <a:gd name="connsiteY70" fmla="*/ 259556 h 393191"/>
                  <a:gd name="connsiteX71" fmla="*/ 63341 w 372046"/>
                  <a:gd name="connsiteY71" fmla="*/ 275273 h 393191"/>
                  <a:gd name="connsiteX72" fmla="*/ 55436 w 372046"/>
                  <a:gd name="connsiteY72" fmla="*/ 290989 h 393191"/>
                  <a:gd name="connsiteX73" fmla="*/ 55436 w 372046"/>
                  <a:gd name="connsiteY73" fmla="*/ 306705 h 393191"/>
                  <a:gd name="connsiteX74" fmla="*/ 23813 w 372046"/>
                  <a:gd name="connsiteY74" fmla="*/ 306705 h 393191"/>
                  <a:gd name="connsiteX75" fmla="*/ 15907 w 372046"/>
                  <a:gd name="connsiteY75" fmla="*/ 314611 h 393191"/>
                  <a:gd name="connsiteX76" fmla="*/ 8001 w 372046"/>
                  <a:gd name="connsiteY76" fmla="*/ 314611 h 393191"/>
                  <a:gd name="connsiteX77" fmla="*/ 8001 w 372046"/>
                  <a:gd name="connsiteY77" fmla="*/ 322421 h 393191"/>
                  <a:gd name="connsiteX78" fmla="*/ 15907 w 372046"/>
                  <a:gd name="connsiteY78" fmla="*/ 322421 h 393191"/>
                  <a:gd name="connsiteX79" fmla="*/ 23813 w 372046"/>
                  <a:gd name="connsiteY79" fmla="*/ 330327 h 393191"/>
                  <a:gd name="connsiteX80" fmla="*/ 8001 w 372046"/>
                  <a:gd name="connsiteY80" fmla="*/ 330327 h 393191"/>
                  <a:gd name="connsiteX81" fmla="*/ 0 w 372046"/>
                  <a:gd name="connsiteY81" fmla="*/ 338138 h 393191"/>
                  <a:gd name="connsiteX82" fmla="*/ 0 w 372046"/>
                  <a:gd name="connsiteY82" fmla="*/ 353949 h 393191"/>
                  <a:gd name="connsiteX83" fmla="*/ 55436 w 372046"/>
                  <a:gd name="connsiteY83" fmla="*/ 353949 h 393191"/>
                  <a:gd name="connsiteX84" fmla="*/ 31718 w 372046"/>
                  <a:gd name="connsiteY84" fmla="*/ 377476 h 393191"/>
                  <a:gd name="connsiteX85" fmla="*/ 39624 w 372046"/>
                  <a:gd name="connsiteY85" fmla="*/ 369665 h 393191"/>
                  <a:gd name="connsiteX86" fmla="*/ 63341 w 372046"/>
                  <a:gd name="connsiteY86" fmla="*/ 369665 h 393191"/>
                  <a:gd name="connsiteX87" fmla="*/ 63341 w 372046"/>
                  <a:gd name="connsiteY87" fmla="*/ 377476 h 393191"/>
                  <a:gd name="connsiteX88" fmla="*/ 55436 w 372046"/>
                  <a:gd name="connsiteY88" fmla="*/ 377476 h 393191"/>
                  <a:gd name="connsiteX89" fmla="*/ 47530 w 372046"/>
                  <a:gd name="connsiteY89" fmla="*/ 385382 h 393191"/>
                  <a:gd name="connsiteX90" fmla="*/ 39624 w 372046"/>
                  <a:gd name="connsiteY90" fmla="*/ 385382 h 393191"/>
                  <a:gd name="connsiteX91" fmla="*/ 47530 w 372046"/>
                  <a:gd name="connsiteY91" fmla="*/ 393192 h 393191"/>
                  <a:gd name="connsiteX92" fmla="*/ 79153 w 372046"/>
                  <a:gd name="connsiteY92" fmla="*/ 393192 h 393191"/>
                  <a:gd name="connsiteX93" fmla="*/ 126683 w 372046"/>
                  <a:gd name="connsiteY93" fmla="*/ 377476 h 393191"/>
                  <a:gd name="connsiteX94" fmla="*/ 142494 w 372046"/>
                  <a:gd name="connsiteY94" fmla="*/ 369665 h 393191"/>
                  <a:gd name="connsiteX95" fmla="*/ 158306 w 372046"/>
                  <a:gd name="connsiteY95" fmla="*/ 353949 h 393191"/>
                  <a:gd name="connsiteX96" fmla="*/ 158306 w 372046"/>
                  <a:gd name="connsiteY96" fmla="*/ 346043 h 393191"/>
                  <a:gd name="connsiteX97" fmla="*/ 174117 w 372046"/>
                  <a:gd name="connsiteY97" fmla="*/ 353949 h 393191"/>
                  <a:gd name="connsiteX98" fmla="*/ 182118 w 372046"/>
                  <a:gd name="connsiteY98" fmla="*/ 353949 h 393191"/>
                  <a:gd name="connsiteX99" fmla="*/ 197930 w 372046"/>
                  <a:gd name="connsiteY99" fmla="*/ 346043 h 393191"/>
                  <a:gd name="connsiteX100" fmla="*/ 213741 w 372046"/>
                  <a:gd name="connsiteY100" fmla="*/ 330327 h 393191"/>
                  <a:gd name="connsiteX101" fmla="*/ 237458 w 372046"/>
                  <a:gd name="connsiteY101" fmla="*/ 322421 h 393191"/>
                  <a:gd name="connsiteX102" fmla="*/ 269081 w 372046"/>
                  <a:gd name="connsiteY102" fmla="*/ 322421 h 393191"/>
                  <a:gd name="connsiteX103" fmla="*/ 276987 w 372046"/>
                  <a:gd name="connsiteY103" fmla="*/ 314611 h 393191"/>
                  <a:gd name="connsiteX104" fmla="*/ 332422 w 372046"/>
                  <a:gd name="connsiteY104" fmla="*/ 314611 h 393191"/>
                  <a:gd name="connsiteX105" fmla="*/ 324517 w 372046"/>
                  <a:gd name="connsiteY105" fmla="*/ 290989 h 393191"/>
                  <a:gd name="connsiteX106" fmla="*/ 348234 w 372046"/>
                  <a:gd name="connsiteY106" fmla="*/ 290989 h 393191"/>
                  <a:gd name="connsiteX107" fmla="*/ 348234 w 372046"/>
                  <a:gd name="connsiteY107" fmla="*/ 259556 h 393191"/>
                  <a:gd name="connsiteX108" fmla="*/ 356140 w 372046"/>
                  <a:gd name="connsiteY108" fmla="*/ 251650 h 393191"/>
                  <a:gd name="connsiteX109" fmla="*/ 356140 w 372046"/>
                  <a:gd name="connsiteY109" fmla="*/ 235934 h 393191"/>
                  <a:gd name="connsiteX110" fmla="*/ 364046 w 372046"/>
                  <a:gd name="connsiteY110" fmla="*/ 220218 h 393191"/>
                  <a:gd name="connsiteX111" fmla="*/ 364046 w 372046"/>
                  <a:gd name="connsiteY111" fmla="*/ 204502 h 39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72046" h="393191">
                    <a:moveTo>
                      <a:pt x="364046" y="204502"/>
                    </a:moveTo>
                    <a:lnTo>
                      <a:pt x="364046" y="188786"/>
                    </a:lnTo>
                    <a:lnTo>
                      <a:pt x="356140" y="173069"/>
                    </a:lnTo>
                    <a:lnTo>
                      <a:pt x="348234" y="165164"/>
                    </a:lnTo>
                    <a:lnTo>
                      <a:pt x="348234" y="149447"/>
                    </a:lnTo>
                    <a:lnTo>
                      <a:pt x="340328" y="141542"/>
                    </a:lnTo>
                    <a:lnTo>
                      <a:pt x="340328" y="133731"/>
                    </a:lnTo>
                    <a:lnTo>
                      <a:pt x="364046" y="133731"/>
                    </a:lnTo>
                    <a:lnTo>
                      <a:pt x="372047" y="125825"/>
                    </a:lnTo>
                    <a:lnTo>
                      <a:pt x="324517" y="118015"/>
                    </a:lnTo>
                    <a:lnTo>
                      <a:pt x="300800" y="86487"/>
                    </a:lnTo>
                    <a:lnTo>
                      <a:pt x="269081" y="118015"/>
                    </a:lnTo>
                    <a:lnTo>
                      <a:pt x="253270" y="118015"/>
                    </a:lnTo>
                    <a:lnTo>
                      <a:pt x="221647" y="102299"/>
                    </a:lnTo>
                    <a:lnTo>
                      <a:pt x="213741" y="94393"/>
                    </a:lnTo>
                    <a:lnTo>
                      <a:pt x="229553" y="78677"/>
                    </a:lnTo>
                    <a:lnTo>
                      <a:pt x="237458" y="78677"/>
                    </a:lnTo>
                    <a:lnTo>
                      <a:pt x="245364" y="70771"/>
                    </a:lnTo>
                    <a:lnTo>
                      <a:pt x="253270" y="70771"/>
                    </a:lnTo>
                    <a:lnTo>
                      <a:pt x="253270" y="55054"/>
                    </a:lnTo>
                    <a:lnTo>
                      <a:pt x="308705" y="23622"/>
                    </a:lnTo>
                    <a:lnTo>
                      <a:pt x="316611" y="15716"/>
                    </a:lnTo>
                    <a:lnTo>
                      <a:pt x="316611" y="7906"/>
                    </a:lnTo>
                    <a:lnTo>
                      <a:pt x="308705" y="7906"/>
                    </a:lnTo>
                    <a:lnTo>
                      <a:pt x="300800" y="0"/>
                    </a:lnTo>
                    <a:lnTo>
                      <a:pt x="292894" y="0"/>
                    </a:lnTo>
                    <a:lnTo>
                      <a:pt x="276987" y="7906"/>
                    </a:lnTo>
                    <a:lnTo>
                      <a:pt x="269081" y="23622"/>
                    </a:lnTo>
                    <a:lnTo>
                      <a:pt x="261175" y="7906"/>
                    </a:lnTo>
                    <a:lnTo>
                      <a:pt x="229553" y="7906"/>
                    </a:lnTo>
                    <a:lnTo>
                      <a:pt x="213741" y="15716"/>
                    </a:lnTo>
                    <a:lnTo>
                      <a:pt x="205835" y="15716"/>
                    </a:lnTo>
                    <a:lnTo>
                      <a:pt x="197930" y="23622"/>
                    </a:lnTo>
                    <a:lnTo>
                      <a:pt x="197930" y="39338"/>
                    </a:lnTo>
                    <a:lnTo>
                      <a:pt x="190024" y="47244"/>
                    </a:lnTo>
                    <a:lnTo>
                      <a:pt x="190024" y="55054"/>
                    </a:lnTo>
                    <a:lnTo>
                      <a:pt x="166211" y="55054"/>
                    </a:lnTo>
                    <a:lnTo>
                      <a:pt x="158306" y="62960"/>
                    </a:lnTo>
                    <a:lnTo>
                      <a:pt x="158306" y="70771"/>
                    </a:lnTo>
                    <a:lnTo>
                      <a:pt x="182118" y="70771"/>
                    </a:lnTo>
                    <a:lnTo>
                      <a:pt x="190024" y="78677"/>
                    </a:lnTo>
                    <a:lnTo>
                      <a:pt x="197930" y="78677"/>
                    </a:lnTo>
                    <a:lnTo>
                      <a:pt x="197930" y="86487"/>
                    </a:lnTo>
                    <a:lnTo>
                      <a:pt x="190024" y="94393"/>
                    </a:lnTo>
                    <a:lnTo>
                      <a:pt x="174117" y="94393"/>
                    </a:lnTo>
                    <a:lnTo>
                      <a:pt x="174117" y="102299"/>
                    </a:lnTo>
                    <a:lnTo>
                      <a:pt x="166211" y="110109"/>
                    </a:lnTo>
                    <a:lnTo>
                      <a:pt x="134588" y="110109"/>
                    </a:lnTo>
                    <a:lnTo>
                      <a:pt x="134588" y="118015"/>
                    </a:lnTo>
                    <a:lnTo>
                      <a:pt x="118777" y="102299"/>
                    </a:lnTo>
                    <a:lnTo>
                      <a:pt x="55436" y="102299"/>
                    </a:lnTo>
                    <a:lnTo>
                      <a:pt x="55436" y="133731"/>
                    </a:lnTo>
                    <a:lnTo>
                      <a:pt x="71247" y="133731"/>
                    </a:lnTo>
                    <a:lnTo>
                      <a:pt x="71247" y="141542"/>
                    </a:lnTo>
                    <a:lnTo>
                      <a:pt x="79153" y="149447"/>
                    </a:lnTo>
                    <a:lnTo>
                      <a:pt x="55436" y="165164"/>
                    </a:lnTo>
                    <a:lnTo>
                      <a:pt x="47530" y="165164"/>
                    </a:lnTo>
                    <a:lnTo>
                      <a:pt x="39624" y="173069"/>
                    </a:lnTo>
                    <a:lnTo>
                      <a:pt x="39624" y="180880"/>
                    </a:lnTo>
                    <a:lnTo>
                      <a:pt x="55436" y="196596"/>
                    </a:lnTo>
                    <a:lnTo>
                      <a:pt x="71247" y="204502"/>
                    </a:lnTo>
                    <a:lnTo>
                      <a:pt x="79153" y="212408"/>
                    </a:lnTo>
                    <a:lnTo>
                      <a:pt x="95060" y="212408"/>
                    </a:lnTo>
                    <a:lnTo>
                      <a:pt x="102965" y="204502"/>
                    </a:lnTo>
                    <a:lnTo>
                      <a:pt x="126683" y="204502"/>
                    </a:lnTo>
                    <a:lnTo>
                      <a:pt x="126683" y="220218"/>
                    </a:lnTo>
                    <a:lnTo>
                      <a:pt x="118777" y="228124"/>
                    </a:lnTo>
                    <a:lnTo>
                      <a:pt x="95060" y="228124"/>
                    </a:lnTo>
                    <a:lnTo>
                      <a:pt x="95060" y="251650"/>
                    </a:lnTo>
                    <a:lnTo>
                      <a:pt x="71247" y="251650"/>
                    </a:lnTo>
                    <a:lnTo>
                      <a:pt x="63341" y="259556"/>
                    </a:lnTo>
                    <a:lnTo>
                      <a:pt x="63341" y="275273"/>
                    </a:lnTo>
                    <a:lnTo>
                      <a:pt x="55436" y="290989"/>
                    </a:lnTo>
                    <a:lnTo>
                      <a:pt x="55436" y="306705"/>
                    </a:lnTo>
                    <a:lnTo>
                      <a:pt x="23813" y="306705"/>
                    </a:lnTo>
                    <a:lnTo>
                      <a:pt x="15907" y="314611"/>
                    </a:lnTo>
                    <a:lnTo>
                      <a:pt x="8001" y="314611"/>
                    </a:lnTo>
                    <a:lnTo>
                      <a:pt x="8001" y="322421"/>
                    </a:lnTo>
                    <a:lnTo>
                      <a:pt x="15907" y="322421"/>
                    </a:lnTo>
                    <a:lnTo>
                      <a:pt x="23813" y="330327"/>
                    </a:lnTo>
                    <a:lnTo>
                      <a:pt x="8001" y="330327"/>
                    </a:lnTo>
                    <a:lnTo>
                      <a:pt x="0" y="338138"/>
                    </a:lnTo>
                    <a:lnTo>
                      <a:pt x="0" y="353949"/>
                    </a:lnTo>
                    <a:lnTo>
                      <a:pt x="55436" y="353949"/>
                    </a:lnTo>
                    <a:lnTo>
                      <a:pt x="31718" y="377476"/>
                    </a:lnTo>
                    <a:lnTo>
                      <a:pt x="39624" y="369665"/>
                    </a:lnTo>
                    <a:lnTo>
                      <a:pt x="63341" y="369665"/>
                    </a:lnTo>
                    <a:lnTo>
                      <a:pt x="63341" y="377476"/>
                    </a:lnTo>
                    <a:lnTo>
                      <a:pt x="55436" y="377476"/>
                    </a:lnTo>
                    <a:lnTo>
                      <a:pt x="47530" y="385382"/>
                    </a:lnTo>
                    <a:lnTo>
                      <a:pt x="39624" y="385382"/>
                    </a:lnTo>
                    <a:lnTo>
                      <a:pt x="47530" y="393192"/>
                    </a:lnTo>
                    <a:lnTo>
                      <a:pt x="79153" y="393192"/>
                    </a:lnTo>
                    <a:lnTo>
                      <a:pt x="126683" y="377476"/>
                    </a:lnTo>
                    <a:lnTo>
                      <a:pt x="142494" y="369665"/>
                    </a:lnTo>
                    <a:lnTo>
                      <a:pt x="158306" y="353949"/>
                    </a:lnTo>
                    <a:lnTo>
                      <a:pt x="158306" y="346043"/>
                    </a:lnTo>
                    <a:lnTo>
                      <a:pt x="174117" y="353949"/>
                    </a:lnTo>
                    <a:lnTo>
                      <a:pt x="182118" y="353949"/>
                    </a:lnTo>
                    <a:lnTo>
                      <a:pt x="197930" y="346043"/>
                    </a:lnTo>
                    <a:lnTo>
                      <a:pt x="213741" y="330327"/>
                    </a:lnTo>
                    <a:lnTo>
                      <a:pt x="237458" y="322421"/>
                    </a:lnTo>
                    <a:lnTo>
                      <a:pt x="269081" y="322421"/>
                    </a:lnTo>
                    <a:lnTo>
                      <a:pt x="276987" y="314611"/>
                    </a:lnTo>
                    <a:lnTo>
                      <a:pt x="332422" y="314611"/>
                    </a:lnTo>
                    <a:lnTo>
                      <a:pt x="324517" y="290989"/>
                    </a:lnTo>
                    <a:lnTo>
                      <a:pt x="348234" y="290989"/>
                    </a:lnTo>
                    <a:lnTo>
                      <a:pt x="348234" y="259556"/>
                    </a:lnTo>
                    <a:lnTo>
                      <a:pt x="356140" y="251650"/>
                    </a:lnTo>
                    <a:lnTo>
                      <a:pt x="356140" y="235934"/>
                    </a:lnTo>
                    <a:lnTo>
                      <a:pt x="364046" y="220218"/>
                    </a:lnTo>
                    <a:lnTo>
                      <a:pt x="364046" y="204502"/>
                    </a:lnTo>
                    <a:close/>
                  </a:path>
                </a:pathLst>
              </a:custGeom>
              <a:solidFill>
                <a:srgbClr val="00B0F0"/>
              </a:solidFill>
              <a:ln w="4763"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FB1EDCEE-A118-F148-3B25-B0E8FD8A50BB}"/>
                  </a:ext>
                </a:extLst>
              </p:cNvPr>
              <p:cNvSpPr/>
              <p:nvPr/>
            </p:nvSpPr>
            <p:spPr>
              <a:xfrm>
                <a:off x="4472177" y="3235927"/>
                <a:ext cx="372046" cy="393191"/>
              </a:xfrm>
              <a:custGeom>
                <a:avLst/>
                <a:gdLst>
                  <a:gd name="connsiteX0" fmla="*/ 364046 w 372046"/>
                  <a:gd name="connsiteY0" fmla="*/ 204502 h 393191"/>
                  <a:gd name="connsiteX1" fmla="*/ 364046 w 372046"/>
                  <a:gd name="connsiteY1" fmla="*/ 188786 h 393191"/>
                  <a:gd name="connsiteX2" fmla="*/ 356140 w 372046"/>
                  <a:gd name="connsiteY2" fmla="*/ 173069 h 393191"/>
                  <a:gd name="connsiteX3" fmla="*/ 348234 w 372046"/>
                  <a:gd name="connsiteY3" fmla="*/ 165164 h 393191"/>
                  <a:gd name="connsiteX4" fmla="*/ 348234 w 372046"/>
                  <a:gd name="connsiteY4" fmla="*/ 149447 h 393191"/>
                  <a:gd name="connsiteX5" fmla="*/ 340328 w 372046"/>
                  <a:gd name="connsiteY5" fmla="*/ 141542 h 393191"/>
                  <a:gd name="connsiteX6" fmla="*/ 340328 w 372046"/>
                  <a:gd name="connsiteY6" fmla="*/ 133731 h 393191"/>
                  <a:gd name="connsiteX7" fmla="*/ 364046 w 372046"/>
                  <a:gd name="connsiteY7" fmla="*/ 133731 h 393191"/>
                  <a:gd name="connsiteX8" fmla="*/ 372047 w 372046"/>
                  <a:gd name="connsiteY8" fmla="*/ 125825 h 393191"/>
                  <a:gd name="connsiteX9" fmla="*/ 324517 w 372046"/>
                  <a:gd name="connsiteY9" fmla="*/ 118015 h 393191"/>
                  <a:gd name="connsiteX10" fmla="*/ 300800 w 372046"/>
                  <a:gd name="connsiteY10" fmla="*/ 86487 h 393191"/>
                  <a:gd name="connsiteX11" fmla="*/ 269081 w 372046"/>
                  <a:gd name="connsiteY11" fmla="*/ 118015 h 393191"/>
                  <a:gd name="connsiteX12" fmla="*/ 253270 w 372046"/>
                  <a:gd name="connsiteY12" fmla="*/ 118015 h 393191"/>
                  <a:gd name="connsiteX13" fmla="*/ 221647 w 372046"/>
                  <a:gd name="connsiteY13" fmla="*/ 102299 h 393191"/>
                  <a:gd name="connsiteX14" fmla="*/ 213741 w 372046"/>
                  <a:gd name="connsiteY14" fmla="*/ 94393 h 393191"/>
                  <a:gd name="connsiteX15" fmla="*/ 229553 w 372046"/>
                  <a:gd name="connsiteY15" fmla="*/ 78677 h 393191"/>
                  <a:gd name="connsiteX16" fmla="*/ 237458 w 372046"/>
                  <a:gd name="connsiteY16" fmla="*/ 78677 h 393191"/>
                  <a:gd name="connsiteX17" fmla="*/ 245364 w 372046"/>
                  <a:gd name="connsiteY17" fmla="*/ 70771 h 393191"/>
                  <a:gd name="connsiteX18" fmla="*/ 253270 w 372046"/>
                  <a:gd name="connsiteY18" fmla="*/ 70771 h 393191"/>
                  <a:gd name="connsiteX19" fmla="*/ 253270 w 372046"/>
                  <a:gd name="connsiteY19" fmla="*/ 55054 h 393191"/>
                  <a:gd name="connsiteX20" fmla="*/ 308705 w 372046"/>
                  <a:gd name="connsiteY20" fmla="*/ 23622 h 393191"/>
                  <a:gd name="connsiteX21" fmla="*/ 316611 w 372046"/>
                  <a:gd name="connsiteY21" fmla="*/ 15716 h 393191"/>
                  <a:gd name="connsiteX22" fmla="*/ 316611 w 372046"/>
                  <a:gd name="connsiteY22" fmla="*/ 7906 h 393191"/>
                  <a:gd name="connsiteX23" fmla="*/ 308705 w 372046"/>
                  <a:gd name="connsiteY23" fmla="*/ 7906 h 393191"/>
                  <a:gd name="connsiteX24" fmla="*/ 300800 w 372046"/>
                  <a:gd name="connsiteY24" fmla="*/ 0 h 393191"/>
                  <a:gd name="connsiteX25" fmla="*/ 292894 w 372046"/>
                  <a:gd name="connsiteY25" fmla="*/ 0 h 393191"/>
                  <a:gd name="connsiteX26" fmla="*/ 276987 w 372046"/>
                  <a:gd name="connsiteY26" fmla="*/ 7906 h 393191"/>
                  <a:gd name="connsiteX27" fmla="*/ 269081 w 372046"/>
                  <a:gd name="connsiteY27" fmla="*/ 23622 h 393191"/>
                  <a:gd name="connsiteX28" fmla="*/ 261175 w 372046"/>
                  <a:gd name="connsiteY28" fmla="*/ 7906 h 393191"/>
                  <a:gd name="connsiteX29" fmla="*/ 229553 w 372046"/>
                  <a:gd name="connsiteY29" fmla="*/ 7906 h 393191"/>
                  <a:gd name="connsiteX30" fmla="*/ 213741 w 372046"/>
                  <a:gd name="connsiteY30" fmla="*/ 15716 h 393191"/>
                  <a:gd name="connsiteX31" fmla="*/ 205835 w 372046"/>
                  <a:gd name="connsiteY31" fmla="*/ 15716 h 393191"/>
                  <a:gd name="connsiteX32" fmla="*/ 197930 w 372046"/>
                  <a:gd name="connsiteY32" fmla="*/ 23622 h 393191"/>
                  <a:gd name="connsiteX33" fmla="*/ 197930 w 372046"/>
                  <a:gd name="connsiteY33" fmla="*/ 39338 h 393191"/>
                  <a:gd name="connsiteX34" fmla="*/ 190024 w 372046"/>
                  <a:gd name="connsiteY34" fmla="*/ 47244 h 393191"/>
                  <a:gd name="connsiteX35" fmla="*/ 190024 w 372046"/>
                  <a:gd name="connsiteY35" fmla="*/ 55054 h 393191"/>
                  <a:gd name="connsiteX36" fmla="*/ 166211 w 372046"/>
                  <a:gd name="connsiteY36" fmla="*/ 55054 h 393191"/>
                  <a:gd name="connsiteX37" fmla="*/ 158306 w 372046"/>
                  <a:gd name="connsiteY37" fmla="*/ 62960 h 393191"/>
                  <a:gd name="connsiteX38" fmla="*/ 158306 w 372046"/>
                  <a:gd name="connsiteY38" fmla="*/ 70771 h 393191"/>
                  <a:gd name="connsiteX39" fmla="*/ 182118 w 372046"/>
                  <a:gd name="connsiteY39" fmla="*/ 70771 h 393191"/>
                  <a:gd name="connsiteX40" fmla="*/ 190024 w 372046"/>
                  <a:gd name="connsiteY40" fmla="*/ 78677 h 393191"/>
                  <a:gd name="connsiteX41" fmla="*/ 197930 w 372046"/>
                  <a:gd name="connsiteY41" fmla="*/ 78677 h 393191"/>
                  <a:gd name="connsiteX42" fmla="*/ 197930 w 372046"/>
                  <a:gd name="connsiteY42" fmla="*/ 86487 h 393191"/>
                  <a:gd name="connsiteX43" fmla="*/ 190024 w 372046"/>
                  <a:gd name="connsiteY43" fmla="*/ 94393 h 393191"/>
                  <a:gd name="connsiteX44" fmla="*/ 174117 w 372046"/>
                  <a:gd name="connsiteY44" fmla="*/ 94393 h 393191"/>
                  <a:gd name="connsiteX45" fmla="*/ 174117 w 372046"/>
                  <a:gd name="connsiteY45" fmla="*/ 102299 h 393191"/>
                  <a:gd name="connsiteX46" fmla="*/ 166211 w 372046"/>
                  <a:gd name="connsiteY46" fmla="*/ 110109 h 393191"/>
                  <a:gd name="connsiteX47" fmla="*/ 134588 w 372046"/>
                  <a:gd name="connsiteY47" fmla="*/ 110109 h 393191"/>
                  <a:gd name="connsiteX48" fmla="*/ 134588 w 372046"/>
                  <a:gd name="connsiteY48" fmla="*/ 118015 h 393191"/>
                  <a:gd name="connsiteX49" fmla="*/ 118777 w 372046"/>
                  <a:gd name="connsiteY49" fmla="*/ 102299 h 393191"/>
                  <a:gd name="connsiteX50" fmla="*/ 55436 w 372046"/>
                  <a:gd name="connsiteY50" fmla="*/ 102299 h 393191"/>
                  <a:gd name="connsiteX51" fmla="*/ 55436 w 372046"/>
                  <a:gd name="connsiteY51" fmla="*/ 133731 h 393191"/>
                  <a:gd name="connsiteX52" fmla="*/ 71247 w 372046"/>
                  <a:gd name="connsiteY52" fmla="*/ 133731 h 393191"/>
                  <a:gd name="connsiteX53" fmla="*/ 71247 w 372046"/>
                  <a:gd name="connsiteY53" fmla="*/ 141542 h 393191"/>
                  <a:gd name="connsiteX54" fmla="*/ 79153 w 372046"/>
                  <a:gd name="connsiteY54" fmla="*/ 149447 h 393191"/>
                  <a:gd name="connsiteX55" fmla="*/ 55436 w 372046"/>
                  <a:gd name="connsiteY55" fmla="*/ 165164 h 393191"/>
                  <a:gd name="connsiteX56" fmla="*/ 47530 w 372046"/>
                  <a:gd name="connsiteY56" fmla="*/ 165164 h 393191"/>
                  <a:gd name="connsiteX57" fmla="*/ 39624 w 372046"/>
                  <a:gd name="connsiteY57" fmla="*/ 173069 h 393191"/>
                  <a:gd name="connsiteX58" fmla="*/ 39624 w 372046"/>
                  <a:gd name="connsiteY58" fmla="*/ 180880 h 393191"/>
                  <a:gd name="connsiteX59" fmla="*/ 55436 w 372046"/>
                  <a:gd name="connsiteY59" fmla="*/ 196596 h 393191"/>
                  <a:gd name="connsiteX60" fmla="*/ 71247 w 372046"/>
                  <a:gd name="connsiteY60" fmla="*/ 204502 h 393191"/>
                  <a:gd name="connsiteX61" fmla="*/ 79153 w 372046"/>
                  <a:gd name="connsiteY61" fmla="*/ 212408 h 393191"/>
                  <a:gd name="connsiteX62" fmla="*/ 95060 w 372046"/>
                  <a:gd name="connsiteY62" fmla="*/ 212408 h 393191"/>
                  <a:gd name="connsiteX63" fmla="*/ 102965 w 372046"/>
                  <a:gd name="connsiteY63" fmla="*/ 204502 h 393191"/>
                  <a:gd name="connsiteX64" fmla="*/ 126683 w 372046"/>
                  <a:gd name="connsiteY64" fmla="*/ 204502 h 393191"/>
                  <a:gd name="connsiteX65" fmla="*/ 126683 w 372046"/>
                  <a:gd name="connsiteY65" fmla="*/ 220218 h 393191"/>
                  <a:gd name="connsiteX66" fmla="*/ 118777 w 372046"/>
                  <a:gd name="connsiteY66" fmla="*/ 228124 h 393191"/>
                  <a:gd name="connsiteX67" fmla="*/ 95060 w 372046"/>
                  <a:gd name="connsiteY67" fmla="*/ 228124 h 393191"/>
                  <a:gd name="connsiteX68" fmla="*/ 95060 w 372046"/>
                  <a:gd name="connsiteY68" fmla="*/ 251650 h 393191"/>
                  <a:gd name="connsiteX69" fmla="*/ 71247 w 372046"/>
                  <a:gd name="connsiteY69" fmla="*/ 251650 h 393191"/>
                  <a:gd name="connsiteX70" fmla="*/ 63341 w 372046"/>
                  <a:gd name="connsiteY70" fmla="*/ 259556 h 393191"/>
                  <a:gd name="connsiteX71" fmla="*/ 63341 w 372046"/>
                  <a:gd name="connsiteY71" fmla="*/ 275273 h 393191"/>
                  <a:gd name="connsiteX72" fmla="*/ 55436 w 372046"/>
                  <a:gd name="connsiteY72" fmla="*/ 290989 h 393191"/>
                  <a:gd name="connsiteX73" fmla="*/ 55436 w 372046"/>
                  <a:gd name="connsiteY73" fmla="*/ 306705 h 393191"/>
                  <a:gd name="connsiteX74" fmla="*/ 23813 w 372046"/>
                  <a:gd name="connsiteY74" fmla="*/ 306705 h 393191"/>
                  <a:gd name="connsiteX75" fmla="*/ 15907 w 372046"/>
                  <a:gd name="connsiteY75" fmla="*/ 314611 h 393191"/>
                  <a:gd name="connsiteX76" fmla="*/ 8001 w 372046"/>
                  <a:gd name="connsiteY76" fmla="*/ 314611 h 393191"/>
                  <a:gd name="connsiteX77" fmla="*/ 8001 w 372046"/>
                  <a:gd name="connsiteY77" fmla="*/ 322421 h 393191"/>
                  <a:gd name="connsiteX78" fmla="*/ 15907 w 372046"/>
                  <a:gd name="connsiteY78" fmla="*/ 322421 h 393191"/>
                  <a:gd name="connsiteX79" fmla="*/ 23813 w 372046"/>
                  <a:gd name="connsiteY79" fmla="*/ 330327 h 393191"/>
                  <a:gd name="connsiteX80" fmla="*/ 8001 w 372046"/>
                  <a:gd name="connsiteY80" fmla="*/ 330327 h 393191"/>
                  <a:gd name="connsiteX81" fmla="*/ 0 w 372046"/>
                  <a:gd name="connsiteY81" fmla="*/ 338138 h 393191"/>
                  <a:gd name="connsiteX82" fmla="*/ 0 w 372046"/>
                  <a:gd name="connsiteY82" fmla="*/ 353949 h 393191"/>
                  <a:gd name="connsiteX83" fmla="*/ 55436 w 372046"/>
                  <a:gd name="connsiteY83" fmla="*/ 353949 h 393191"/>
                  <a:gd name="connsiteX84" fmla="*/ 31718 w 372046"/>
                  <a:gd name="connsiteY84" fmla="*/ 377476 h 393191"/>
                  <a:gd name="connsiteX85" fmla="*/ 39624 w 372046"/>
                  <a:gd name="connsiteY85" fmla="*/ 369665 h 393191"/>
                  <a:gd name="connsiteX86" fmla="*/ 63341 w 372046"/>
                  <a:gd name="connsiteY86" fmla="*/ 369665 h 393191"/>
                  <a:gd name="connsiteX87" fmla="*/ 63341 w 372046"/>
                  <a:gd name="connsiteY87" fmla="*/ 377476 h 393191"/>
                  <a:gd name="connsiteX88" fmla="*/ 55436 w 372046"/>
                  <a:gd name="connsiteY88" fmla="*/ 377476 h 393191"/>
                  <a:gd name="connsiteX89" fmla="*/ 47530 w 372046"/>
                  <a:gd name="connsiteY89" fmla="*/ 385382 h 393191"/>
                  <a:gd name="connsiteX90" fmla="*/ 39624 w 372046"/>
                  <a:gd name="connsiteY90" fmla="*/ 385382 h 393191"/>
                  <a:gd name="connsiteX91" fmla="*/ 47530 w 372046"/>
                  <a:gd name="connsiteY91" fmla="*/ 393192 h 393191"/>
                  <a:gd name="connsiteX92" fmla="*/ 79153 w 372046"/>
                  <a:gd name="connsiteY92" fmla="*/ 393192 h 393191"/>
                  <a:gd name="connsiteX93" fmla="*/ 126683 w 372046"/>
                  <a:gd name="connsiteY93" fmla="*/ 377476 h 393191"/>
                  <a:gd name="connsiteX94" fmla="*/ 142494 w 372046"/>
                  <a:gd name="connsiteY94" fmla="*/ 369665 h 393191"/>
                  <a:gd name="connsiteX95" fmla="*/ 158306 w 372046"/>
                  <a:gd name="connsiteY95" fmla="*/ 353949 h 393191"/>
                  <a:gd name="connsiteX96" fmla="*/ 158306 w 372046"/>
                  <a:gd name="connsiteY96" fmla="*/ 346043 h 393191"/>
                  <a:gd name="connsiteX97" fmla="*/ 174117 w 372046"/>
                  <a:gd name="connsiteY97" fmla="*/ 353949 h 393191"/>
                  <a:gd name="connsiteX98" fmla="*/ 182118 w 372046"/>
                  <a:gd name="connsiteY98" fmla="*/ 353949 h 393191"/>
                  <a:gd name="connsiteX99" fmla="*/ 197930 w 372046"/>
                  <a:gd name="connsiteY99" fmla="*/ 346043 h 393191"/>
                  <a:gd name="connsiteX100" fmla="*/ 213741 w 372046"/>
                  <a:gd name="connsiteY100" fmla="*/ 330327 h 393191"/>
                  <a:gd name="connsiteX101" fmla="*/ 237458 w 372046"/>
                  <a:gd name="connsiteY101" fmla="*/ 322421 h 393191"/>
                  <a:gd name="connsiteX102" fmla="*/ 269081 w 372046"/>
                  <a:gd name="connsiteY102" fmla="*/ 322421 h 393191"/>
                  <a:gd name="connsiteX103" fmla="*/ 276987 w 372046"/>
                  <a:gd name="connsiteY103" fmla="*/ 314611 h 393191"/>
                  <a:gd name="connsiteX104" fmla="*/ 332422 w 372046"/>
                  <a:gd name="connsiteY104" fmla="*/ 314611 h 393191"/>
                  <a:gd name="connsiteX105" fmla="*/ 324517 w 372046"/>
                  <a:gd name="connsiteY105" fmla="*/ 290989 h 393191"/>
                  <a:gd name="connsiteX106" fmla="*/ 348234 w 372046"/>
                  <a:gd name="connsiteY106" fmla="*/ 290989 h 393191"/>
                  <a:gd name="connsiteX107" fmla="*/ 348234 w 372046"/>
                  <a:gd name="connsiteY107" fmla="*/ 259556 h 393191"/>
                  <a:gd name="connsiteX108" fmla="*/ 356140 w 372046"/>
                  <a:gd name="connsiteY108" fmla="*/ 251650 h 393191"/>
                  <a:gd name="connsiteX109" fmla="*/ 356140 w 372046"/>
                  <a:gd name="connsiteY109" fmla="*/ 235934 h 393191"/>
                  <a:gd name="connsiteX110" fmla="*/ 364046 w 372046"/>
                  <a:gd name="connsiteY110" fmla="*/ 220218 h 393191"/>
                  <a:gd name="connsiteX111" fmla="*/ 364046 w 372046"/>
                  <a:gd name="connsiteY111" fmla="*/ 204502 h 39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72046" h="393191">
                    <a:moveTo>
                      <a:pt x="364046" y="204502"/>
                    </a:moveTo>
                    <a:lnTo>
                      <a:pt x="364046" y="188786"/>
                    </a:lnTo>
                    <a:lnTo>
                      <a:pt x="356140" y="173069"/>
                    </a:lnTo>
                    <a:lnTo>
                      <a:pt x="348234" y="165164"/>
                    </a:lnTo>
                    <a:lnTo>
                      <a:pt x="348234" y="149447"/>
                    </a:lnTo>
                    <a:lnTo>
                      <a:pt x="340328" y="141542"/>
                    </a:lnTo>
                    <a:lnTo>
                      <a:pt x="340328" y="133731"/>
                    </a:lnTo>
                    <a:lnTo>
                      <a:pt x="364046" y="133731"/>
                    </a:lnTo>
                    <a:lnTo>
                      <a:pt x="372047" y="125825"/>
                    </a:lnTo>
                    <a:lnTo>
                      <a:pt x="324517" y="118015"/>
                    </a:lnTo>
                    <a:lnTo>
                      <a:pt x="300800" y="86487"/>
                    </a:lnTo>
                    <a:lnTo>
                      <a:pt x="269081" y="118015"/>
                    </a:lnTo>
                    <a:lnTo>
                      <a:pt x="253270" y="118015"/>
                    </a:lnTo>
                    <a:lnTo>
                      <a:pt x="221647" y="102299"/>
                    </a:lnTo>
                    <a:lnTo>
                      <a:pt x="213741" y="94393"/>
                    </a:lnTo>
                    <a:lnTo>
                      <a:pt x="229553" y="78677"/>
                    </a:lnTo>
                    <a:lnTo>
                      <a:pt x="237458" y="78677"/>
                    </a:lnTo>
                    <a:lnTo>
                      <a:pt x="245364" y="70771"/>
                    </a:lnTo>
                    <a:lnTo>
                      <a:pt x="253270" y="70771"/>
                    </a:lnTo>
                    <a:lnTo>
                      <a:pt x="253270" y="55054"/>
                    </a:lnTo>
                    <a:lnTo>
                      <a:pt x="308705" y="23622"/>
                    </a:lnTo>
                    <a:lnTo>
                      <a:pt x="316611" y="15716"/>
                    </a:lnTo>
                    <a:lnTo>
                      <a:pt x="316611" y="7906"/>
                    </a:lnTo>
                    <a:lnTo>
                      <a:pt x="308705" y="7906"/>
                    </a:lnTo>
                    <a:lnTo>
                      <a:pt x="300800" y="0"/>
                    </a:lnTo>
                    <a:lnTo>
                      <a:pt x="292894" y="0"/>
                    </a:lnTo>
                    <a:lnTo>
                      <a:pt x="276987" y="7906"/>
                    </a:lnTo>
                    <a:lnTo>
                      <a:pt x="269081" y="23622"/>
                    </a:lnTo>
                    <a:lnTo>
                      <a:pt x="261175" y="7906"/>
                    </a:lnTo>
                    <a:lnTo>
                      <a:pt x="229553" y="7906"/>
                    </a:lnTo>
                    <a:lnTo>
                      <a:pt x="213741" y="15716"/>
                    </a:lnTo>
                    <a:lnTo>
                      <a:pt x="205835" y="15716"/>
                    </a:lnTo>
                    <a:lnTo>
                      <a:pt x="197930" y="23622"/>
                    </a:lnTo>
                    <a:lnTo>
                      <a:pt x="197930" y="39338"/>
                    </a:lnTo>
                    <a:lnTo>
                      <a:pt x="190024" y="47244"/>
                    </a:lnTo>
                    <a:lnTo>
                      <a:pt x="190024" y="55054"/>
                    </a:lnTo>
                    <a:lnTo>
                      <a:pt x="166211" y="55054"/>
                    </a:lnTo>
                    <a:lnTo>
                      <a:pt x="158306" y="62960"/>
                    </a:lnTo>
                    <a:lnTo>
                      <a:pt x="158306" y="70771"/>
                    </a:lnTo>
                    <a:lnTo>
                      <a:pt x="182118" y="70771"/>
                    </a:lnTo>
                    <a:lnTo>
                      <a:pt x="190024" y="78677"/>
                    </a:lnTo>
                    <a:lnTo>
                      <a:pt x="197930" y="78677"/>
                    </a:lnTo>
                    <a:lnTo>
                      <a:pt x="197930" y="86487"/>
                    </a:lnTo>
                    <a:lnTo>
                      <a:pt x="190024" y="94393"/>
                    </a:lnTo>
                    <a:lnTo>
                      <a:pt x="174117" y="94393"/>
                    </a:lnTo>
                    <a:lnTo>
                      <a:pt x="174117" y="102299"/>
                    </a:lnTo>
                    <a:lnTo>
                      <a:pt x="166211" y="110109"/>
                    </a:lnTo>
                    <a:lnTo>
                      <a:pt x="134588" y="110109"/>
                    </a:lnTo>
                    <a:lnTo>
                      <a:pt x="134588" y="118015"/>
                    </a:lnTo>
                    <a:lnTo>
                      <a:pt x="118777" y="102299"/>
                    </a:lnTo>
                    <a:lnTo>
                      <a:pt x="55436" y="102299"/>
                    </a:lnTo>
                    <a:lnTo>
                      <a:pt x="55436" y="133731"/>
                    </a:lnTo>
                    <a:lnTo>
                      <a:pt x="71247" y="133731"/>
                    </a:lnTo>
                    <a:lnTo>
                      <a:pt x="71247" y="141542"/>
                    </a:lnTo>
                    <a:lnTo>
                      <a:pt x="79153" y="149447"/>
                    </a:lnTo>
                    <a:lnTo>
                      <a:pt x="55436" y="165164"/>
                    </a:lnTo>
                    <a:lnTo>
                      <a:pt x="47530" y="165164"/>
                    </a:lnTo>
                    <a:lnTo>
                      <a:pt x="39624" y="173069"/>
                    </a:lnTo>
                    <a:lnTo>
                      <a:pt x="39624" y="180880"/>
                    </a:lnTo>
                    <a:lnTo>
                      <a:pt x="55436" y="196596"/>
                    </a:lnTo>
                    <a:lnTo>
                      <a:pt x="71247" y="204502"/>
                    </a:lnTo>
                    <a:lnTo>
                      <a:pt x="79153" y="212408"/>
                    </a:lnTo>
                    <a:lnTo>
                      <a:pt x="95060" y="212408"/>
                    </a:lnTo>
                    <a:lnTo>
                      <a:pt x="102965" y="204502"/>
                    </a:lnTo>
                    <a:lnTo>
                      <a:pt x="126683" y="204502"/>
                    </a:lnTo>
                    <a:lnTo>
                      <a:pt x="126683" y="220218"/>
                    </a:lnTo>
                    <a:lnTo>
                      <a:pt x="118777" y="228124"/>
                    </a:lnTo>
                    <a:lnTo>
                      <a:pt x="95060" y="228124"/>
                    </a:lnTo>
                    <a:lnTo>
                      <a:pt x="95060" y="251650"/>
                    </a:lnTo>
                    <a:lnTo>
                      <a:pt x="71247" y="251650"/>
                    </a:lnTo>
                    <a:lnTo>
                      <a:pt x="63341" y="259556"/>
                    </a:lnTo>
                    <a:lnTo>
                      <a:pt x="63341" y="275273"/>
                    </a:lnTo>
                    <a:lnTo>
                      <a:pt x="55436" y="290989"/>
                    </a:lnTo>
                    <a:lnTo>
                      <a:pt x="55436" y="306705"/>
                    </a:lnTo>
                    <a:lnTo>
                      <a:pt x="23813" y="306705"/>
                    </a:lnTo>
                    <a:lnTo>
                      <a:pt x="15907" y="314611"/>
                    </a:lnTo>
                    <a:lnTo>
                      <a:pt x="8001" y="314611"/>
                    </a:lnTo>
                    <a:lnTo>
                      <a:pt x="8001" y="322421"/>
                    </a:lnTo>
                    <a:lnTo>
                      <a:pt x="15907" y="322421"/>
                    </a:lnTo>
                    <a:lnTo>
                      <a:pt x="23813" y="330327"/>
                    </a:lnTo>
                    <a:lnTo>
                      <a:pt x="8001" y="330327"/>
                    </a:lnTo>
                    <a:lnTo>
                      <a:pt x="0" y="338138"/>
                    </a:lnTo>
                    <a:lnTo>
                      <a:pt x="0" y="353949"/>
                    </a:lnTo>
                    <a:lnTo>
                      <a:pt x="55436" y="353949"/>
                    </a:lnTo>
                    <a:lnTo>
                      <a:pt x="31718" y="377476"/>
                    </a:lnTo>
                    <a:lnTo>
                      <a:pt x="39624" y="369665"/>
                    </a:lnTo>
                    <a:lnTo>
                      <a:pt x="63341" y="369665"/>
                    </a:lnTo>
                    <a:lnTo>
                      <a:pt x="63341" y="377476"/>
                    </a:lnTo>
                    <a:lnTo>
                      <a:pt x="55436" y="377476"/>
                    </a:lnTo>
                    <a:lnTo>
                      <a:pt x="47530" y="385382"/>
                    </a:lnTo>
                    <a:lnTo>
                      <a:pt x="39624" y="385382"/>
                    </a:lnTo>
                    <a:lnTo>
                      <a:pt x="47530" y="393192"/>
                    </a:lnTo>
                    <a:lnTo>
                      <a:pt x="79153" y="393192"/>
                    </a:lnTo>
                    <a:lnTo>
                      <a:pt x="126683" y="377476"/>
                    </a:lnTo>
                    <a:lnTo>
                      <a:pt x="142494" y="369665"/>
                    </a:lnTo>
                    <a:lnTo>
                      <a:pt x="158306" y="353949"/>
                    </a:lnTo>
                    <a:lnTo>
                      <a:pt x="158306" y="346043"/>
                    </a:lnTo>
                    <a:lnTo>
                      <a:pt x="174117" y="353949"/>
                    </a:lnTo>
                    <a:lnTo>
                      <a:pt x="182118" y="353949"/>
                    </a:lnTo>
                    <a:lnTo>
                      <a:pt x="197930" y="346043"/>
                    </a:lnTo>
                    <a:lnTo>
                      <a:pt x="213741" y="330327"/>
                    </a:lnTo>
                    <a:lnTo>
                      <a:pt x="237458" y="322421"/>
                    </a:lnTo>
                    <a:lnTo>
                      <a:pt x="269081" y="322421"/>
                    </a:lnTo>
                    <a:lnTo>
                      <a:pt x="276987" y="314611"/>
                    </a:lnTo>
                    <a:lnTo>
                      <a:pt x="332422" y="314611"/>
                    </a:lnTo>
                    <a:lnTo>
                      <a:pt x="324517" y="290989"/>
                    </a:lnTo>
                    <a:lnTo>
                      <a:pt x="348234" y="290989"/>
                    </a:lnTo>
                    <a:lnTo>
                      <a:pt x="348234" y="259556"/>
                    </a:lnTo>
                    <a:lnTo>
                      <a:pt x="356140" y="251650"/>
                    </a:lnTo>
                    <a:lnTo>
                      <a:pt x="356140" y="235934"/>
                    </a:lnTo>
                    <a:lnTo>
                      <a:pt x="364046" y="220218"/>
                    </a:lnTo>
                    <a:lnTo>
                      <a:pt x="364046" y="204502"/>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115" name="Freeform: Shape 114">
                <a:extLst>
                  <a:ext uri="{FF2B5EF4-FFF2-40B4-BE49-F238E27FC236}">
                    <a16:creationId xmlns:a16="http://schemas.microsoft.com/office/drawing/2014/main" id="{5508914C-B5E5-40A6-E603-18C82D63DD17}"/>
                  </a:ext>
                </a:extLst>
              </p:cNvPr>
              <p:cNvSpPr/>
              <p:nvPr/>
            </p:nvSpPr>
            <p:spPr>
              <a:xfrm>
                <a:off x="6625590" y="3924108"/>
                <a:ext cx="563213" cy="293560"/>
              </a:xfrm>
              <a:custGeom>
                <a:avLst/>
                <a:gdLst>
                  <a:gd name="connsiteX0" fmla="*/ 55531 w 563213"/>
                  <a:gd name="connsiteY0" fmla="*/ 87249 h 293560"/>
                  <a:gd name="connsiteX1" fmla="*/ 31718 w 563213"/>
                  <a:gd name="connsiteY1" fmla="*/ 87249 h 293560"/>
                  <a:gd name="connsiteX2" fmla="*/ 23813 w 563213"/>
                  <a:gd name="connsiteY2" fmla="*/ 103060 h 293560"/>
                  <a:gd name="connsiteX3" fmla="*/ 39624 w 563213"/>
                  <a:gd name="connsiteY3" fmla="*/ 103060 h 293560"/>
                  <a:gd name="connsiteX4" fmla="*/ 23813 w 563213"/>
                  <a:gd name="connsiteY4" fmla="*/ 126873 h 293560"/>
                  <a:gd name="connsiteX5" fmla="*/ 23813 w 563213"/>
                  <a:gd name="connsiteY5" fmla="*/ 158591 h 293560"/>
                  <a:gd name="connsiteX6" fmla="*/ 0 w 563213"/>
                  <a:gd name="connsiteY6" fmla="*/ 158591 h 293560"/>
                  <a:gd name="connsiteX7" fmla="*/ 0 w 563213"/>
                  <a:gd name="connsiteY7" fmla="*/ 166592 h 293560"/>
                  <a:gd name="connsiteX8" fmla="*/ 7906 w 563213"/>
                  <a:gd name="connsiteY8" fmla="*/ 174498 h 293560"/>
                  <a:gd name="connsiteX9" fmla="*/ 15811 w 563213"/>
                  <a:gd name="connsiteY9" fmla="*/ 198310 h 293560"/>
                  <a:gd name="connsiteX10" fmla="*/ 39624 w 563213"/>
                  <a:gd name="connsiteY10" fmla="*/ 214217 h 293560"/>
                  <a:gd name="connsiteX11" fmla="*/ 55531 w 563213"/>
                  <a:gd name="connsiteY11" fmla="*/ 222123 h 293560"/>
                  <a:gd name="connsiteX12" fmla="*/ 63436 w 563213"/>
                  <a:gd name="connsiteY12" fmla="*/ 230029 h 293560"/>
                  <a:gd name="connsiteX13" fmla="*/ 63436 w 563213"/>
                  <a:gd name="connsiteY13" fmla="*/ 238030 h 293560"/>
                  <a:gd name="connsiteX14" fmla="*/ 79343 w 563213"/>
                  <a:gd name="connsiteY14" fmla="*/ 253841 h 293560"/>
                  <a:gd name="connsiteX15" fmla="*/ 95155 w 563213"/>
                  <a:gd name="connsiteY15" fmla="*/ 261842 h 293560"/>
                  <a:gd name="connsiteX16" fmla="*/ 103156 w 563213"/>
                  <a:gd name="connsiteY16" fmla="*/ 269748 h 293560"/>
                  <a:gd name="connsiteX17" fmla="*/ 118967 w 563213"/>
                  <a:gd name="connsiteY17" fmla="*/ 277654 h 293560"/>
                  <a:gd name="connsiteX18" fmla="*/ 142780 w 563213"/>
                  <a:gd name="connsiteY18" fmla="*/ 277654 h 293560"/>
                  <a:gd name="connsiteX19" fmla="*/ 150685 w 563213"/>
                  <a:gd name="connsiteY19" fmla="*/ 293560 h 293560"/>
                  <a:gd name="connsiteX20" fmla="*/ 206216 w 563213"/>
                  <a:gd name="connsiteY20" fmla="*/ 285559 h 293560"/>
                  <a:gd name="connsiteX21" fmla="*/ 222123 w 563213"/>
                  <a:gd name="connsiteY21" fmla="*/ 277654 h 293560"/>
                  <a:gd name="connsiteX22" fmla="*/ 230029 w 563213"/>
                  <a:gd name="connsiteY22" fmla="*/ 269748 h 293560"/>
                  <a:gd name="connsiteX23" fmla="*/ 261747 w 563213"/>
                  <a:gd name="connsiteY23" fmla="*/ 269748 h 293560"/>
                  <a:gd name="connsiteX24" fmla="*/ 285559 w 563213"/>
                  <a:gd name="connsiteY24" fmla="*/ 245935 h 293560"/>
                  <a:gd name="connsiteX25" fmla="*/ 317278 w 563213"/>
                  <a:gd name="connsiteY25" fmla="*/ 245935 h 293560"/>
                  <a:gd name="connsiteX26" fmla="*/ 341090 w 563213"/>
                  <a:gd name="connsiteY26" fmla="*/ 261842 h 293560"/>
                  <a:gd name="connsiteX27" fmla="*/ 380809 w 563213"/>
                  <a:gd name="connsiteY27" fmla="*/ 253841 h 293560"/>
                  <a:gd name="connsiteX28" fmla="*/ 380809 w 563213"/>
                  <a:gd name="connsiteY28" fmla="*/ 230029 h 293560"/>
                  <a:gd name="connsiteX29" fmla="*/ 404527 w 563213"/>
                  <a:gd name="connsiteY29" fmla="*/ 238030 h 293560"/>
                  <a:gd name="connsiteX30" fmla="*/ 412528 w 563213"/>
                  <a:gd name="connsiteY30" fmla="*/ 230029 h 293560"/>
                  <a:gd name="connsiteX31" fmla="*/ 428339 w 563213"/>
                  <a:gd name="connsiteY31" fmla="*/ 222123 h 293560"/>
                  <a:gd name="connsiteX32" fmla="*/ 436340 w 563213"/>
                  <a:gd name="connsiteY32" fmla="*/ 214217 h 293560"/>
                  <a:gd name="connsiteX33" fmla="*/ 436340 w 563213"/>
                  <a:gd name="connsiteY33" fmla="*/ 190405 h 293560"/>
                  <a:gd name="connsiteX34" fmla="*/ 444246 w 563213"/>
                  <a:gd name="connsiteY34" fmla="*/ 182499 h 293560"/>
                  <a:gd name="connsiteX35" fmla="*/ 460057 w 563213"/>
                  <a:gd name="connsiteY35" fmla="*/ 174498 h 293560"/>
                  <a:gd name="connsiteX36" fmla="*/ 483870 w 563213"/>
                  <a:gd name="connsiteY36" fmla="*/ 150685 h 293560"/>
                  <a:gd name="connsiteX37" fmla="*/ 483870 w 563213"/>
                  <a:gd name="connsiteY37" fmla="*/ 95155 h 293560"/>
                  <a:gd name="connsiteX38" fmla="*/ 499777 w 563213"/>
                  <a:gd name="connsiteY38" fmla="*/ 79248 h 293560"/>
                  <a:gd name="connsiteX39" fmla="*/ 539401 w 563213"/>
                  <a:gd name="connsiteY39" fmla="*/ 79248 h 293560"/>
                  <a:gd name="connsiteX40" fmla="*/ 563213 w 563213"/>
                  <a:gd name="connsiteY40" fmla="*/ 55531 h 293560"/>
                  <a:gd name="connsiteX41" fmla="*/ 555307 w 563213"/>
                  <a:gd name="connsiteY41" fmla="*/ 47530 h 293560"/>
                  <a:gd name="connsiteX42" fmla="*/ 539401 w 563213"/>
                  <a:gd name="connsiteY42" fmla="*/ 47530 h 293560"/>
                  <a:gd name="connsiteX43" fmla="*/ 531495 w 563213"/>
                  <a:gd name="connsiteY43" fmla="*/ 39624 h 293560"/>
                  <a:gd name="connsiteX44" fmla="*/ 523589 w 563213"/>
                  <a:gd name="connsiteY44" fmla="*/ 39624 h 293560"/>
                  <a:gd name="connsiteX45" fmla="*/ 491871 w 563213"/>
                  <a:gd name="connsiteY45" fmla="*/ 7906 h 293560"/>
                  <a:gd name="connsiteX46" fmla="*/ 460057 w 563213"/>
                  <a:gd name="connsiteY46" fmla="*/ 7906 h 293560"/>
                  <a:gd name="connsiteX47" fmla="*/ 444246 w 563213"/>
                  <a:gd name="connsiteY47" fmla="*/ 15812 h 293560"/>
                  <a:gd name="connsiteX48" fmla="*/ 428339 w 563213"/>
                  <a:gd name="connsiteY48" fmla="*/ 15812 h 293560"/>
                  <a:gd name="connsiteX49" fmla="*/ 428339 w 563213"/>
                  <a:gd name="connsiteY49" fmla="*/ 0 h 293560"/>
                  <a:gd name="connsiteX50" fmla="*/ 412528 w 563213"/>
                  <a:gd name="connsiteY50" fmla="*/ 0 h 293560"/>
                  <a:gd name="connsiteX51" fmla="*/ 412528 w 563213"/>
                  <a:gd name="connsiteY51" fmla="*/ 23717 h 293560"/>
                  <a:gd name="connsiteX52" fmla="*/ 388715 w 563213"/>
                  <a:gd name="connsiteY52" fmla="*/ 15812 h 293560"/>
                  <a:gd name="connsiteX53" fmla="*/ 388715 w 563213"/>
                  <a:gd name="connsiteY53" fmla="*/ 0 h 293560"/>
                  <a:gd name="connsiteX54" fmla="*/ 356997 w 563213"/>
                  <a:gd name="connsiteY54" fmla="*/ 0 h 293560"/>
                  <a:gd name="connsiteX55" fmla="*/ 348996 w 563213"/>
                  <a:gd name="connsiteY55" fmla="*/ 15812 h 293560"/>
                  <a:gd name="connsiteX56" fmla="*/ 333184 w 563213"/>
                  <a:gd name="connsiteY56" fmla="*/ 31718 h 293560"/>
                  <a:gd name="connsiteX57" fmla="*/ 325279 w 563213"/>
                  <a:gd name="connsiteY57" fmla="*/ 31718 h 293560"/>
                  <a:gd name="connsiteX58" fmla="*/ 309372 w 563213"/>
                  <a:gd name="connsiteY58" fmla="*/ 39624 h 293560"/>
                  <a:gd name="connsiteX59" fmla="*/ 277654 w 563213"/>
                  <a:gd name="connsiteY59" fmla="*/ 39624 h 293560"/>
                  <a:gd name="connsiteX60" fmla="*/ 269748 w 563213"/>
                  <a:gd name="connsiteY60" fmla="*/ 55531 h 293560"/>
                  <a:gd name="connsiteX61" fmla="*/ 222123 w 563213"/>
                  <a:gd name="connsiteY61" fmla="*/ 47530 h 293560"/>
                  <a:gd name="connsiteX62" fmla="*/ 206216 w 563213"/>
                  <a:gd name="connsiteY62" fmla="*/ 79248 h 293560"/>
                  <a:gd name="connsiteX63" fmla="*/ 190405 w 563213"/>
                  <a:gd name="connsiteY63" fmla="*/ 79248 h 293560"/>
                  <a:gd name="connsiteX64" fmla="*/ 166592 w 563213"/>
                  <a:gd name="connsiteY64" fmla="*/ 87249 h 293560"/>
                  <a:gd name="connsiteX65" fmla="*/ 111061 w 563213"/>
                  <a:gd name="connsiteY65" fmla="*/ 87249 h 293560"/>
                  <a:gd name="connsiteX66" fmla="*/ 103156 w 563213"/>
                  <a:gd name="connsiteY66" fmla="*/ 79248 h 293560"/>
                  <a:gd name="connsiteX67" fmla="*/ 95155 w 563213"/>
                  <a:gd name="connsiteY67" fmla="*/ 63437 h 293560"/>
                  <a:gd name="connsiteX68" fmla="*/ 87249 w 563213"/>
                  <a:gd name="connsiteY68" fmla="*/ 55531 h 293560"/>
                  <a:gd name="connsiteX69" fmla="*/ 71342 w 563213"/>
                  <a:gd name="connsiteY69" fmla="*/ 79248 h 293560"/>
                  <a:gd name="connsiteX70" fmla="*/ 55531 w 563213"/>
                  <a:gd name="connsiteY70" fmla="*/ 71342 h 293560"/>
                  <a:gd name="connsiteX71" fmla="*/ 55531 w 563213"/>
                  <a:gd name="connsiteY71" fmla="*/ 87249 h 29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63213" h="293560">
                    <a:moveTo>
                      <a:pt x="55531" y="87249"/>
                    </a:moveTo>
                    <a:lnTo>
                      <a:pt x="31718" y="87249"/>
                    </a:lnTo>
                    <a:lnTo>
                      <a:pt x="23813" y="103060"/>
                    </a:lnTo>
                    <a:lnTo>
                      <a:pt x="39624" y="103060"/>
                    </a:lnTo>
                    <a:lnTo>
                      <a:pt x="23813" y="126873"/>
                    </a:lnTo>
                    <a:lnTo>
                      <a:pt x="23813" y="158591"/>
                    </a:lnTo>
                    <a:lnTo>
                      <a:pt x="0" y="158591"/>
                    </a:lnTo>
                    <a:lnTo>
                      <a:pt x="0" y="166592"/>
                    </a:lnTo>
                    <a:lnTo>
                      <a:pt x="7906" y="174498"/>
                    </a:lnTo>
                    <a:lnTo>
                      <a:pt x="15811" y="198310"/>
                    </a:lnTo>
                    <a:lnTo>
                      <a:pt x="39624" y="214217"/>
                    </a:lnTo>
                    <a:lnTo>
                      <a:pt x="55531" y="222123"/>
                    </a:lnTo>
                    <a:lnTo>
                      <a:pt x="63436" y="230029"/>
                    </a:lnTo>
                    <a:lnTo>
                      <a:pt x="63436" y="238030"/>
                    </a:lnTo>
                    <a:lnTo>
                      <a:pt x="79343" y="253841"/>
                    </a:lnTo>
                    <a:lnTo>
                      <a:pt x="95155" y="261842"/>
                    </a:lnTo>
                    <a:lnTo>
                      <a:pt x="103156" y="269748"/>
                    </a:lnTo>
                    <a:lnTo>
                      <a:pt x="118967" y="277654"/>
                    </a:lnTo>
                    <a:lnTo>
                      <a:pt x="142780" y="277654"/>
                    </a:lnTo>
                    <a:lnTo>
                      <a:pt x="150685" y="293560"/>
                    </a:lnTo>
                    <a:lnTo>
                      <a:pt x="206216" y="285559"/>
                    </a:lnTo>
                    <a:lnTo>
                      <a:pt x="222123" y="277654"/>
                    </a:lnTo>
                    <a:lnTo>
                      <a:pt x="230029" y="269748"/>
                    </a:lnTo>
                    <a:lnTo>
                      <a:pt x="261747" y="269748"/>
                    </a:lnTo>
                    <a:lnTo>
                      <a:pt x="285559" y="245935"/>
                    </a:lnTo>
                    <a:lnTo>
                      <a:pt x="317278" y="245935"/>
                    </a:lnTo>
                    <a:lnTo>
                      <a:pt x="341090" y="261842"/>
                    </a:lnTo>
                    <a:lnTo>
                      <a:pt x="380809" y="253841"/>
                    </a:lnTo>
                    <a:lnTo>
                      <a:pt x="380809" y="230029"/>
                    </a:lnTo>
                    <a:lnTo>
                      <a:pt x="404527" y="238030"/>
                    </a:lnTo>
                    <a:lnTo>
                      <a:pt x="412528" y="230029"/>
                    </a:lnTo>
                    <a:lnTo>
                      <a:pt x="428339" y="222123"/>
                    </a:lnTo>
                    <a:lnTo>
                      <a:pt x="436340" y="214217"/>
                    </a:lnTo>
                    <a:lnTo>
                      <a:pt x="436340" y="190405"/>
                    </a:lnTo>
                    <a:lnTo>
                      <a:pt x="444246" y="182499"/>
                    </a:lnTo>
                    <a:lnTo>
                      <a:pt x="460057" y="174498"/>
                    </a:lnTo>
                    <a:lnTo>
                      <a:pt x="483870" y="150685"/>
                    </a:lnTo>
                    <a:lnTo>
                      <a:pt x="483870" y="95155"/>
                    </a:lnTo>
                    <a:lnTo>
                      <a:pt x="499777" y="79248"/>
                    </a:lnTo>
                    <a:lnTo>
                      <a:pt x="539401" y="79248"/>
                    </a:lnTo>
                    <a:lnTo>
                      <a:pt x="563213" y="55531"/>
                    </a:lnTo>
                    <a:lnTo>
                      <a:pt x="555307" y="47530"/>
                    </a:lnTo>
                    <a:lnTo>
                      <a:pt x="539401" y="47530"/>
                    </a:lnTo>
                    <a:lnTo>
                      <a:pt x="531495" y="39624"/>
                    </a:lnTo>
                    <a:lnTo>
                      <a:pt x="523589" y="39624"/>
                    </a:lnTo>
                    <a:lnTo>
                      <a:pt x="491871" y="7906"/>
                    </a:lnTo>
                    <a:lnTo>
                      <a:pt x="460057" y="7906"/>
                    </a:lnTo>
                    <a:lnTo>
                      <a:pt x="444246" y="15812"/>
                    </a:lnTo>
                    <a:lnTo>
                      <a:pt x="428339" y="15812"/>
                    </a:lnTo>
                    <a:lnTo>
                      <a:pt x="428339" y="0"/>
                    </a:lnTo>
                    <a:lnTo>
                      <a:pt x="412528" y="0"/>
                    </a:lnTo>
                    <a:lnTo>
                      <a:pt x="412528" y="23717"/>
                    </a:lnTo>
                    <a:lnTo>
                      <a:pt x="388715" y="15812"/>
                    </a:lnTo>
                    <a:lnTo>
                      <a:pt x="388715" y="0"/>
                    </a:lnTo>
                    <a:lnTo>
                      <a:pt x="356997" y="0"/>
                    </a:lnTo>
                    <a:lnTo>
                      <a:pt x="348996" y="15812"/>
                    </a:lnTo>
                    <a:lnTo>
                      <a:pt x="333184" y="31718"/>
                    </a:lnTo>
                    <a:lnTo>
                      <a:pt x="325279" y="31718"/>
                    </a:lnTo>
                    <a:lnTo>
                      <a:pt x="309372" y="39624"/>
                    </a:lnTo>
                    <a:lnTo>
                      <a:pt x="277654" y="39624"/>
                    </a:lnTo>
                    <a:lnTo>
                      <a:pt x="269748" y="55531"/>
                    </a:lnTo>
                    <a:lnTo>
                      <a:pt x="222123" y="47530"/>
                    </a:lnTo>
                    <a:lnTo>
                      <a:pt x="206216" y="79248"/>
                    </a:lnTo>
                    <a:lnTo>
                      <a:pt x="190405" y="79248"/>
                    </a:lnTo>
                    <a:lnTo>
                      <a:pt x="166592" y="87249"/>
                    </a:lnTo>
                    <a:lnTo>
                      <a:pt x="111061" y="87249"/>
                    </a:lnTo>
                    <a:lnTo>
                      <a:pt x="103156" y="79248"/>
                    </a:lnTo>
                    <a:lnTo>
                      <a:pt x="95155" y="63437"/>
                    </a:lnTo>
                    <a:lnTo>
                      <a:pt x="87249" y="55531"/>
                    </a:lnTo>
                    <a:lnTo>
                      <a:pt x="71342" y="79248"/>
                    </a:lnTo>
                    <a:lnTo>
                      <a:pt x="55531" y="71342"/>
                    </a:lnTo>
                    <a:lnTo>
                      <a:pt x="55531" y="87249"/>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116" name="Freeform: Shape 115">
                <a:extLst>
                  <a:ext uri="{FF2B5EF4-FFF2-40B4-BE49-F238E27FC236}">
                    <a16:creationId xmlns:a16="http://schemas.microsoft.com/office/drawing/2014/main" id="{44059656-D183-A0AF-0989-909AB865324E}"/>
                  </a:ext>
                </a:extLst>
              </p:cNvPr>
              <p:cNvSpPr/>
              <p:nvPr/>
            </p:nvSpPr>
            <p:spPr>
              <a:xfrm>
                <a:off x="6625590" y="3924108"/>
                <a:ext cx="563213" cy="293560"/>
              </a:xfrm>
              <a:custGeom>
                <a:avLst/>
                <a:gdLst>
                  <a:gd name="connsiteX0" fmla="*/ 55531 w 563213"/>
                  <a:gd name="connsiteY0" fmla="*/ 87249 h 293560"/>
                  <a:gd name="connsiteX1" fmla="*/ 31718 w 563213"/>
                  <a:gd name="connsiteY1" fmla="*/ 87249 h 293560"/>
                  <a:gd name="connsiteX2" fmla="*/ 23813 w 563213"/>
                  <a:gd name="connsiteY2" fmla="*/ 103060 h 293560"/>
                  <a:gd name="connsiteX3" fmla="*/ 39624 w 563213"/>
                  <a:gd name="connsiteY3" fmla="*/ 103060 h 293560"/>
                  <a:gd name="connsiteX4" fmla="*/ 23813 w 563213"/>
                  <a:gd name="connsiteY4" fmla="*/ 126873 h 293560"/>
                  <a:gd name="connsiteX5" fmla="*/ 23813 w 563213"/>
                  <a:gd name="connsiteY5" fmla="*/ 158591 h 293560"/>
                  <a:gd name="connsiteX6" fmla="*/ 0 w 563213"/>
                  <a:gd name="connsiteY6" fmla="*/ 158591 h 293560"/>
                  <a:gd name="connsiteX7" fmla="*/ 0 w 563213"/>
                  <a:gd name="connsiteY7" fmla="*/ 166592 h 293560"/>
                  <a:gd name="connsiteX8" fmla="*/ 7906 w 563213"/>
                  <a:gd name="connsiteY8" fmla="*/ 174498 h 293560"/>
                  <a:gd name="connsiteX9" fmla="*/ 15811 w 563213"/>
                  <a:gd name="connsiteY9" fmla="*/ 198310 h 293560"/>
                  <a:gd name="connsiteX10" fmla="*/ 39624 w 563213"/>
                  <a:gd name="connsiteY10" fmla="*/ 214217 h 293560"/>
                  <a:gd name="connsiteX11" fmla="*/ 55531 w 563213"/>
                  <a:gd name="connsiteY11" fmla="*/ 222123 h 293560"/>
                  <a:gd name="connsiteX12" fmla="*/ 63436 w 563213"/>
                  <a:gd name="connsiteY12" fmla="*/ 230029 h 293560"/>
                  <a:gd name="connsiteX13" fmla="*/ 63436 w 563213"/>
                  <a:gd name="connsiteY13" fmla="*/ 238030 h 293560"/>
                  <a:gd name="connsiteX14" fmla="*/ 79343 w 563213"/>
                  <a:gd name="connsiteY14" fmla="*/ 253841 h 293560"/>
                  <a:gd name="connsiteX15" fmla="*/ 95155 w 563213"/>
                  <a:gd name="connsiteY15" fmla="*/ 261842 h 293560"/>
                  <a:gd name="connsiteX16" fmla="*/ 103156 w 563213"/>
                  <a:gd name="connsiteY16" fmla="*/ 269748 h 293560"/>
                  <a:gd name="connsiteX17" fmla="*/ 118967 w 563213"/>
                  <a:gd name="connsiteY17" fmla="*/ 277654 h 293560"/>
                  <a:gd name="connsiteX18" fmla="*/ 142780 w 563213"/>
                  <a:gd name="connsiteY18" fmla="*/ 277654 h 293560"/>
                  <a:gd name="connsiteX19" fmla="*/ 150685 w 563213"/>
                  <a:gd name="connsiteY19" fmla="*/ 293560 h 293560"/>
                  <a:gd name="connsiteX20" fmla="*/ 206216 w 563213"/>
                  <a:gd name="connsiteY20" fmla="*/ 285559 h 293560"/>
                  <a:gd name="connsiteX21" fmla="*/ 222123 w 563213"/>
                  <a:gd name="connsiteY21" fmla="*/ 277654 h 293560"/>
                  <a:gd name="connsiteX22" fmla="*/ 230029 w 563213"/>
                  <a:gd name="connsiteY22" fmla="*/ 269748 h 293560"/>
                  <a:gd name="connsiteX23" fmla="*/ 261747 w 563213"/>
                  <a:gd name="connsiteY23" fmla="*/ 269748 h 293560"/>
                  <a:gd name="connsiteX24" fmla="*/ 285559 w 563213"/>
                  <a:gd name="connsiteY24" fmla="*/ 245935 h 293560"/>
                  <a:gd name="connsiteX25" fmla="*/ 317278 w 563213"/>
                  <a:gd name="connsiteY25" fmla="*/ 245935 h 293560"/>
                  <a:gd name="connsiteX26" fmla="*/ 341090 w 563213"/>
                  <a:gd name="connsiteY26" fmla="*/ 261842 h 293560"/>
                  <a:gd name="connsiteX27" fmla="*/ 380809 w 563213"/>
                  <a:gd name="connsiteY27" fmla="*/ 253841 h 293560"/>
                  <a:gd name="connsiteX28" fmla="*/ 380809 w 563213"/>
                  <a:gd name="connsiteY28" fmla="*/ 230029 h 293560"/>
                  <a:gd name="connsiteX29" fmla="*/ 404527 w 563213"/>
                  <a:gd name="connsiteY29" fmla="*/ 238030 h 293560"/>
                  <a:gd name="connsiteX30" fmla="*/ 412528 w 563213"/>
                  <a:gd name="connsiteY30" fmla="*/ 230029 h 293560"/>
                  <a:gd name="connsiteX31" fmla="*/ 428339 w 563213"/>
                  <a:gd name="connsiteY31" fmla="*/ 222123 h 293560"/>
                  <a:gd name="connsiteX32" fmla="*/ 436340 w 563213"/>
                  <a:gd name="connsiteY32" fmla="*/ 214217 h 293560"/>
                  <a:gd name="connsiteX33" fmla="*/ 436340 w 563213"/>
                  <a:gd name="connsiteY33" fmla="*/ 190405 h 293560"/>
                  <a:gd name="connsiteX34" fmla="*/ 444246 w 563213"/>
                  <a:gd name="connsiteY34" fmla="*/ 182499 h 293560"/>
                  <a:gd name="connsiteX35" fmla="*/ 460057 w 563213"/>
                  <a:gd name="connsiteY35" fmla="*/ 174498 h 293560"/>
                  <a:gd name="connsiteX36" fmla="*/ 483870 w 563213"/>
                  <a:gd name="connsiteY36" fmla="*/ 150685 h 293560"/>
                  <a:gd name="connsiteX37" fmla="*/ 483870 w 563213"/>
                  <a:gd name="connsiteY37" fmla="*/ 95155 h 293560"/>
                  <a:gd name="connsiteX38" fmla="*/ 499777 w 563213"/>
                  <a:gd name="connsiteY38" fmla="*/ 79248 h 293560"/>
                  <a:gd name="connsiteX39" fmla="*/ 539401 w 563213"/>
                  <a:gd name="connsiteY39" fmla="*/ 79248 h 293560"/>
                  <a:gd name="connsiteX40" fmla="*/ 563213 w 563213"/>
                  <a:gd name="connsiteY40" fmla="*/ 55531 h 293560"/>
                  <a:gd name="connsiteX41" fmla="*/ 555307 w 563213"/>
                  <a:gd name="connsiteY41" fmla="*/ 47530 h 293560"/>
                  <a:gd name="connsiteX42" fmla="*/ 539401 w 563213"/>
                  <a:gd name="connsiteY42" fmla="*/ 47530 h 293560"/>
                  <a:gd name="connsiteX43" fmla="*/ 531495 w 563213"/>
                  <a:gd name="connsiteY43" fmla="*/ 39624 h 293560"/>
                  <a:gd name="connsiteX44" fmla="*/ 523589 w 563213"/>
                  <a:gd name="connsiteY44" fmla="*/ 39624 h 293560"/>
                  <a:gd name="connsiteX45" fmla="*/ 491871 w 563213"/>
                  <a:gd name="connsiteY45" fmla="*/ 7906 h 293560"/>
                  <a:gd name="connsiteX46" fmla="*/ 460057 w 563213"/>
                  <a:gd name="connsiteY46" fmla="*/ 7906 h 293560"/>
                  <a:gd name="connsiteX47" fmla="*/ 444246 w 563213"/>
                  <a:gd name="connsiteY47" fmla="*/ 15812 h 293560"/>
                  <a:gd name="connsiteX48" fmla="*/ 428339 w 563213"/>
                  <a:gd name="connsiteY48" fmla="*/ 15812 h 293560"/>
                  <a:gd name="connsiteX49" fmla="*/ 428339 w 563213"/>
                  <a:gd name="connsiteY49" fmla="*/ 0 h 293560"/>
                  <a:gd name="connsiteX50" fmla="*/ 412528 w 563213"/>
                  <a:gd name="connsiteY50" fmla="*/ 0 h 293560"/>
                  <a:gd name="connsiteX51" fmla="*/ 412528 w 563213"/>
                  <a:gd name="connsiteY51" fmla="*/ 23717 h 293560"/>
                  <a:gd name="connsiteX52" fmla="*/ 388715 w 563213"/>
                  <a:gd name="connsiteY52" fmla="*/ 15812 h 293560"/>
                  <a:gd name="connsiteX53" fmla="*/ 388715 w 563213"/>
                  <a:gd name="connsiteY53" fmla="*/ 0 h 293560"/>
                  <a:gd name="connsiteX54" fmla="*/ 356997 w 563213"/>
                  <a:gd name="connsiteY54" fmla="*/ 0 h 293560"/>
                  <a:gd name="connsiteX55" fmla="*/ 348996 w 563213"/>
                  <a:gd name="connsiteY55" fmla="*/ 15812 h 293560"/>
                  <a:gd name="connsiteX56" fmla="*/ 333184 w 563213"/>
                  <a:gd name="connsiteY56" fmla="*/ 31718 h 293560"/>
                  <a:gd name="connsiteX57" fmla="*/ 325279 w 563213"/>
                  <a:gd name="connsiteY57" fmla="*/ 31718 h 293560"/>
                  <a:gd name="connsiteX58" fmla="*/ 309372 w 563213"/>
                  <a:gd name="connsiteY58" fmla="*/ 39624 h 293560"/>
                  <a:gd name="connsiteX59" fmla="*/ 277654 w 563213"/>
                  <a:gd name="connsiteY59" fmla="*/ 39624 h 293560"/>
                  <a:gd name="connsiteX60" fmla="*/ 269748 w 563213"/>
                  <a:gd name="connsiteY60" fmla="*/ 55531 h 293560"/>
                  <a:gd name="connsiteX61" fmla="*/ 222123 w 563213"/>
                  <a:gd name="connsiteY61" fmla="*/ 47530 h 293560"/>
                  <a:gd name="connsiteX62" fmla="*/ 206216 w 563213"/>
                  <a:gd name="connsiteY62" fmla="*/ 79248 h 293560"/>
                  <a:gd name="connsiteX63" fmla="*/ 190405 w 563213"/>
                  <a:gd name="connsiteY63" fmla="*/ 79248 h 293560"/>
                  <a:gd name="connsiteX64" fmla="*/ 166592 w 563213"/>
                  <a:gd name="connsiteY64" fmla="*/ 87249 h 293560"/>
                  <a:gd name="connsiteX65" fmla="*/ 111061 w 563213"/>
                  <a:gd name="connsiteY65" fmla="*/ 87249 h 293560"/>
                  <a:gd name="connsiteX66" fmla="*/ 103156 w 563213"/>
                  <a:gd name="connsiteY66" fmla="*/ 79248 h 293560"/>
                  <a:gd name="connsiteX67" fmla="*/ 95155 w 563213"/>
                  <a:gd name="connsiteY67" fmla="*/ 63437 h 293560"/>
                  <a:gd name="connsiteX68" fmla="*/ 87249 w 563213"/>
                  <a:gd name="connsiteY68" fmla="*/ 55531 h 293560"/>
                  <a:gd name="connsiteX69" fmla="*/ 71342 w 563213"/>
                  <a:gd name="connsiteY69" fmla="*/ 79248 h 293560"/>
                  <a:gd name="connsiteX70" fmla="*/ 55531 w 563213"/>
                  <a:gd name="connsiteY70" fmla="*/ 71342 h 293560"/>
                  <a:gd name="connsiteX71" fmla="*/ 55531 w 563213"/>
                  <a:gd name="connsiteY71" fmla="*/ 87249 h 29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63213" h="293560">
                    <a:moveTo>
                      <a:pt x="55531" y="87249"/>
                    </a:moveTo>
                    <a:lnTo>
                      <a:pt x="31718" y="87249"/>
                    </a:lnTo>
                    <a:lnTo>
                      <a:pt x="23813" y="103060"/>
                    </a:lnTo>
                    <a:lnTo>
                      <a:pt x="39624" y="103060"/>
                    </a:lnTo>
                    <a:lnTo>
                      <a:pt x="23813" y="126873"/>
                    </a:lnTo>
                    <a:lnTo>
                      <a:pt x="23813" y="158591"/>
                    </a:lnTo>
                    <a:lnTo>
                      <a:pt x="0" y="158591"/>
                    </a:lnTo>
                    <a:lnTo>
                      <a:pt x="0" y="166592"/>
                    </a:lnTo>
                    <a:lnTo>
                      <a:pt x="7906" y="174498"/>
                    </a:lnTo>
                    <a:lnTo>
                      <a:pt x="15811" y="198310"/>
                    </a:lnTo>
                    <a:lnTo>
                      <a:pt x="39624" y="214217"/>
                    </a:lnTo>
                    <a:lnTo>
                      <a:pt x="55531" y="222123"/>
                    </a:lnTo>
                    <a:lnTo>
                      <a:pt x="63436" y="230029"/>
                    </a:lnTo>
                    <a:lnTo>
                      <a:pt x="63436" y="238030"/>
                    </a:lnTo>
                    <a:lnTo>
                      <a:pt x="79343" y="253841"/>
                    </a:lnTo>
                    <a:lnTo>
                      <a:pt x="95155" y="261842"/>
                    </a:lnTo>
                    <a:lnTo>
                      <a:pt x="103156" y="269748"/>
                    </a:lnTo>
                    <a:lnTo>
                      <a:pt x="118967" y="277654"/>
                    </a:lnTo>
                    <a:lnTo>
                      <a:pt x="142780" y="277654"/>
                    </a:lnTo>
                    <a:lnTo>
                      <a:pt x="150685" y="293560"/>
                    </a:lnTo>
                    <a:lnTo>
                      <a:pt x="206216" y="285559"/>
                    </a:lnTo>
                    <a:lnTo>
                      <a:pt x="222123" y="277654"/>
                    </a:lnTo>
                    <a:lnTo>
                      <a:pt x="230029" y="269748"/>
                    </a:lnTo>
                    <a:lnTo>
                      <a:pt x="261747" y="269748"/>
                    </a:lnTo>
                    <a:lnTo>
                      <a:pt x="285559" y="245935"/>
                    </a:lnTo>
                    <a:lnTo>
                      <a:pt x="317278" y="245935"/>
                    </a:lnTo>
                    <a:lnTo>
                      <a:pt x="341090" y="261842"/>
                    </a:lnTo>
                    <a:lnTo>
                      <a:pt x="380809" y="253841"/>
                    </a:lnTo>
                    <a:lnTo>
                      <a:pt x="380809" y="230029"/>
                    </a:lnTo>
                    <a:lnTo>
                      <a:pt x="404527" y="238030"/>
                    </a:lnTo>
                    <a:lnTo>
                      <a:pt x="412528" y="230029"/>
                    </a:lnTo>
                    <a:lnTo>
                      <a:pt x="428339" y="222123"/>
                    </a:lnTo>
                    <a:lnTo>
                      <a:pt x="436340" y="214217"/>
                    </a:lnTo>
                    <a:lnTo>
                      <a:pt x="436340" y="190405"/>
                    </a:lnTo>
                    <a:lnTo>
                      <a:pt x="444246" y="182499"/>
                    </a:lnTo>
                    <a:lnTo>
                      <a:pt x="460057" y="174498"/>
                    </a:lnTo>
                    <a:lnTo>
                      <a:pt x="483870" y="150685"/>
                    </a:lnTo>
                    <a:lnTo>
                      <a:pt x="483870" y="95155"/>
                    </a:lnTo>
                    <a:lnTo>
                      <a:pt x="499777" y="79248"/>
                    </a:lnTo>
                    <a:lnTo>
                      <a:pt x="539401" y="79248"/>
                    </a:lnTo>
                    <a:lnTo>
                      <a:pt x="563213" y="55531"/>
                    </a:lnTo>
                    <a:lnTo>
                      <a:pt x="555307" y="47530"/>
                    </a:lnTo>
                    <a:lnTo>
                      <a:pt x="539401" y="47530"/>
                    </a:lnTo>
                    <a:lnTo>
                      <a:pt x="531495" y="39624"/>
                    </a:lnTo>
                    <a:lnTo>
                      <a:pt x="523589" y="39624"/>
                    </a:lnTo>
                    <a:lnTo>
                      <a:pt x="491871" y="7906"/>
                    </a:lnTo>
                    <a:lnTo>
                      <a:pt x="460057" y="7906"/>
                    </a:lnTo>
                    <a:lnTo>
                      <a:pt x="444246" y="15812"/>
                    </a:lnTo>
                    <a:lnTo>
                      <a:pt x="428339" y="15812"/>
                    </a:lnTo>
                    <a:lnTo>
                      <a:pt x="428339" y="0"/>
                    </a:lnTo>
                    <a:lnTo>
                      <a:pt x="412528" y="0"/>
                    </a:lnTo>
                    <a:lnTo>
                      <a:pt x="412528" y="23717"/>
                    </a:lnTo>
                    <a:lnTo>
                      <a:pt x="388715" y="15812"/>
                    </a:lnTo>
                    <a:lnTo>
                      <a:pt x="388715" y="0"/>
                    </a:lnTo>
                    <a:lnTo>
                      <a:pt x="356997" y="0"/>
                    </a:lnTo>
                    <a:lnTo>
                      <a:pt x="348996" y="15812"/>
                    </a:lnTo>
                    <a:lnTo>
                      <a:pt x="333184" y="31718"/>
                    </a:lnTo>
                    <a:lnTo>
                      <a:pt x="325279" y="31718"/>
                    </a:lnTo>
                    <a:lnTo>
                      <a:pt x="309372" y="39624"/>
                    </a:lnTo>
                    <a:lnTo>
                      <a:pt x="277654" y="39624"/>
                    </a:lnTo>
                    <a:lnTo>
                      <a:pt x="269748" y="55531"/>
                    </a:lnTo>
                    <a:lnTo>
                      <a:pt x="222123" y="47530"/>
                    </a:lnTo>
                    <a:lnTo>
                      <a:pt x="206216" y="79248"/>
                    </a:lnTo>
                    <a:lnTo>
                      <a:pt x="190405" y="79248"/>
                    </a:lnTo>
                    <a:lnTo>
                      <a:pt x="166592" y="87249"/>
                    </a:lnTo>
                    <a:lnTo>
                      <a:pt x="111061" y="87249"/>
                    </a:lnTo>
                    <a:lnTo>
                      <a:pt x="103156" y="79248"/>
                    </a:lnTo>
                    <a:lnTo>
                      <a:pt x="95155" y="63437"/>
                    </a:lnTo>
                    <a:lnTo>
                      <a:pt x="87249" y="55531"/>
                    </a:lnTo>
                    <a:lnTo>
                      <a:pt x="71342" y="79248"/>
                    </a:lnTo>
                    <a:lnTo>
                      <a:pt x="55531" y="71342"/>
                    </a:lnTo>
                    <a:lnTo>
                      <a:pt x="55531" y="87249"/>
                    </a:lnTo>
                    <a:close/>
                  </a:path>
                </a:pathLst>
              </a:custGeom>
              <a:noFill/>
              <a:ln w="4763" cap="flat">
                <a:noFill/>
                <a:prstDash val="solid"/>
                <a:miter/>
              </a:ln>
            </p:spPr>
            <p:txBody>
              <a:bodyPr rtlCol="0" anchor="ctr"/>
              <a:lstStyle/>
              <a:p>
                <a:endParaRPr lang="en-GB"/>
              </a:p>
            </p:txBody>
          </p:sp>
          <p:sp>
            <p:nvSpPr>
              <p:cNvPr id="117" name="Freeform: Shape 116">
                <a:extLst>
                  <a:ext uri="{FF2B5EF4-FFF2-40B4-BE49-F238E27FC236}">
                    <a16:creationId xmlns:a16="http://schemas.microsoft.com/office/drawing/2014/main" id="{CEDAA1E2-A015-C142-6E2D-B998DB09CA24}"/>
                  </a:ext>
                </a:extLst>
              </p:cNvPr>
              <p:cNvSpPr/>
              <p:nvPr/>
            </p:nvSpPr>
            <p:spPr>
              <a:xfrm>
                <a:off x="7007733" y="4636102"/>
                <a:ext cx="703230" cy="727900"/>
              </a:xfrm>
              <a:custGeom>
                <a:avLst/>
                <a:gdLst>
                  <a:gd name="connsiteX0" fmla="*/ 300514 w 703230"/>
                  <a:gd name="connsiteY0" fmla="*/ 664655 h 727900"/>
                  <a:gd name="connsiteX1" fmla="*/ 308420 w 703230"/>
                  <a:gd name="connsiteY1" fmla="*/ 672560 h 727900"/>
                  <a:gd name="connsiteX2" fmla="*/ 324231 w 703230"/>
                  <a:gd name="connsiteY2" fmla="*/ 680466 h 727900"/>
                  <a:gd name="connsiteX3" fmla="*/ 332137 w 703230"/>
                  <a:gd name="connsiteY3" fmla="*/ 688372 h 727900"/>
                  <a:gd name="connsiteX4" fmla="*/ 340043 w 703230"/>
                  <a:gd name="connsiteY4" fmla="*/ 680466 h 727900"/>
                  <a:gd name="connsiteX5" fmla="*/ 347948 w 703230"/>
                  <a:gd name="connsiteY5" fmla="*/ 696277 h 727900"/>
                  <a:gd name="connsiteX6" fmla="*/ 395288 w 703230"/>
                  <a:gd name="connsiteY6" fmla="*/ 696277 h 727900"/>
                  <a:gd name="connsiteX7" fmla="*/ 411099 w 703230"/>
                  <a:gd name="connsiteY7" fmla="*/ 727900 h 727900"/>
                  <a:gd name="connsiteX8" fmla="*/ 466344 w 703230"/>
                  <a:gd name="connsiteY8" fmla="*/ 719995 h 727900"/>
                  <a:gd name="connsiteX9" fmla="*/ 466344 w 703230"/>
                  <a:gd name="connsiteY9" fmla="*/ 712089 h 727900"/>
                  <a:gd name="connsiteX10" fmla="*/ 529495 w 703230"/>
                  <a:gd name="connsiteY10" fmla="*/ 712089 h 727900"/>
                  <a:gd name="connsiteX11" fmla="*/ 545306 w 703230"/>
                  <a:gd name="connsiteY11" fmla="*/ 696277 h 727900"/>
                  <a:gd name="connsiteX12" fmla="*/ 545306 w 703230"/>
                  <a:gd name="connsiteY12" fmla="*/ 688372 h 727900"/>
                  <a:gd name="connsiteX13" fmla="*/ 537401 w 703230"/>
                  <a:gd name="connsiteY13" fmla="*/ 680466 h 727900"/>
                  <a:gd name="connsiteX14" fmla="*/ 529495 w 703230"/>
                  <a:gd name="connsiteY14" fmla="*/ 680466 h 727900"/>
                  <a:gd name="connsiteX15" fmla="*/ 521589 w 703230"/>
                  <a:gd name="connsiteY15" fmla="*/ 688372 h 727900"/>
                  <a:gd name="connsiteX16" fmla="*/ 513683 w 703230"/>
                  <a:gd name="connsiteY16" fmla="*/ 688372 h 727900"/>
                  <a:gd name="connsiteX17" fmla="*/ 505778 w 703230"/>
                  <a:gd name="connsiteY17" fmla="*/ 696277 h 727900"/>
                  <a:gd name="connsiteX18" fmla="*/ 497872 w 703230"/>
                  <a:gd name="connsiteY18" fmla="*/ 696277 h 727900"/>
                  <a:gd name="connsiteX19" fmla="*/ 497872 w 703230"/>
                  <a:gd name="connsiteY19" fmla="*/ 680466 h 727900"/>
                  <a:gd name="connsiteX20" fmla="*/ 489966 w 703230"/>
                  <a:gd name="connsiteY20" fmla="*/ 672560 h 727900"/>
                  <a:gd name="connsiteX21" fmla="*/ 450437 w 703230"/>
                  <a:gd name="connsiteY21" fmla="*/ 672560 h 727900"/>
                  <a:gd name="connsiteX22" fmla="*/ 403098 w 703230"/>
                  <a:gd name="connsiteY22" fmla="*/ 664655 h 727900"/>
                  <a:gd name="connsiteX23" fmla="*/ 363664 w 703230"/>
                  <a:gd name="connsiteY23" fmla="*/ 664655 h 727900"/>
                  <a:gd name="connsiteX24" fmla="*/ 324231 w 703230"/>
                  <a:gd name="connsiteY24" fmla="*/ 640937 h 727900"/>
                  <a:gd name="connsiteX25" fmla="*/ 300514 w 703230"/>
                  <a:gd name="connsiteY25" fmla="*/ 664655 h 727900"/>
                  <a:gd name="connsiteX26" fmla="*/ 608457 w 703230"/>
                  <a:gd name="connsiteY26" fmla="*/ 672560 h 727900"/>
                  <a:gd name="connsiteX27" fmla="*/ 632174 w 703230"/>
                  <a:gd name="connsiteY27" fmla="*/ 672560 h 727900"/>
                  <a:gd name="connsiteX28" fmla="*/ 616363 w 703230"/>
                  <a:gd name="connsiteY28" fmla="*/ 617125 h 727900"/>
                  <a:gd name="connsiteX29" fmla="*/ 608457 w 703230"/>
                  <a:gd name="connsiteY29" fmla="*/ 672560 h 727900"/>
                  <a:gd name="connsiteX30" fmla="*/ 245269 w 703230"/>
                  <a:gd name="connsiteY30" fmla="*/ 569690 h 727900"/>
                  <a:gd name="connsiteX31" fmla="*/ 237363 w 703230"/>
                  <a:gd name="connsiteY31" fmla="*/ 577596 h 727900"/>
                  <a:gd name="connsiteX32" fmla="*/ 237363 w 703230"/>
                  <a:gd name="connsiteY32" fmla="*/ 593407 h 727900"/>
                  <a:gd name="connsiteX33" fmla="*/ 245269 w 703230"/>
                  <a:gd name="connsiteY33" fmla="*/ 601313 h 727900"/>
                  <a:gd name="connsiteX34" fmla="*/ 261080 w 703230"/>
                  <a:gd name="connsiteY34" fmla="*/ 585502 h 727900"/>
                  <a:gd name="connsiteX35" fmla="*/ 261080 w 703230"/>
                  <a:gd name="connsiteY35" fmla="*/ 577596 h 727900"/>
                  <a:gd name="connsiteX36" fmla="*/ 253174 w 703230"/>
                  <a:gd name="connsiteY36" fmla="*/ 569690 h 727900"/>
                  <a:gd name="connsiteX37" fmla="*/ 245269 w 703230"/>
                  <a:gd name="connsiteY37" fmla="*/ 569690 h 727900"/>
                  <a:gd name="connsiteX38" fmla="*/ 687419 w 703230"/>
                  <a:gd name="connsiteY38" fmla="*/ 553879 h 727900"/>
                  <a:gd name="connsiteX39" fmla="*/ 679513 w 703230"/>
                  <a:gd name="connsiteY39" fmla="*/ 561784 h 727900"/>
                  <a:gd name="connsiteX40" fmla="*/ 671608 w 703230"/>
                  <a:gd name="connsiteY40" fmla="*/ 577596 h 727900"/>
                  <a:gd name="connsiteX41" fmla="*/ 671608 w 703230"/>
                  <a:gd name="connsiteY41" fmla="*/ 617125 h 727900"/>
                  <a:gd name="connsiteX42" fmla="*/ 679513 w 703230"/>
                  <a:gd name="connsiteY42" fmla="*/ 617125 h 727900"/>
                  <a:gd name="connsiteX43" fmla="*/ 687419 w 703230"/>
                  <a:gd name="connsiteY43" fmla="*/ 601313 h 727900"/>
                  <a:gd name="connsiteX44" fmla="*/ 695325 w 703230"/>
                  <a:gd name="connsiteY44" fmla="*/ 593407 h 727900"/>
                  <a:gd name="connsiteX45" fmla="*/ 703231 w 703230"/>
                  <a:gd name="connsiteY45" fmla="*/ 577596 h 727900"/>
                  <a:gd name="connsiteX46" fmla="*/ 703231 w 703230"/>
                  <a:gd name="connsiteY46" fmla="*/ 553879 h 727900"/>
                  <a:gd name="connsiteX47" fmla="*/ 687419 w 703230"/>
                  <a:gd name="connsiteY47" fmla="*/ 553879 h 727900"/>
                  <a:gd name="connsiteX48" fmla="*/ 411099 w 703230"/>
                  <a:gd name="connsiteY48" fmla="*/ 538067 h 727900"/>
                  <a:gd name="connsiteX49" fmla="*/ 411099 w 703230"/>
                  <a:gd name="connsiteY49" fmla="*/ 553879 h 727900"/>
                  <a:gd name="connsiteX50" fmla="*/ 426911 w 703230"/>
                  <a:gd name="connsiteY50" fmla="*/ 553879 h 727900"/>
                  <a:gd name="connsiteX51" fmla="*/ 426911 w 703230"/>
                  <a:gd name="connsiteY51" fmla="*/ 545973 h 727900"/>
                  <a:gd name="connsiteX52" fmla="*/ 419005 w 703230"/>
                  <a:gd name="connsiteY52" fmla="*/ 538067 h 727900"/>
                  <a:gd name="connsiteX53" fmla="*/ 411099 w 703230"/>
                  <a:gd name="connsiteY53" fmla="*/ 538067 h 727900"/>
                  <a:gd name="connsiteX54" fmla="*/ 537401 w 703230"/>
                  <a:gd name="connsiteY54" fmla="*/ 538067 h 727900"/>
                  <a:gd name="connsiteX55" fmla="*/ 537401 w 703230"/>
                  <a:gd name="connsiteY55" fmla="*/ 553879 h 727900"/>
                  <a:gd name="connsiteX56" fmla="*/ 553212 w 703230"/>
                  <a:gd name="connsiteY56" fmla="*/ 553879 h 727900"/>
                  <a:gd name="connsiteX57" fmla="*/ 561118 w 703230"/>
                  <a:gd name="connsiteY57" fmla="*/ 545973 h 727900"/>
                  <a:gd name="connsiteX58" fmla="*/ 553212 w 703230"/>
                  <a:gd name="connsiteY58" fmla="*/ 538067 h 727900"/>
                  <a:gd name="connsiteX59" fmla="*/ 537401 w 703230"/>
                  <a:gd name="connsiteY59" fmla="*/ 538067 h 727900"/>
                  <a:gd name="connsiteX60" fmla="*/ 497872 w 703230"/>
                  <a:gd name="connsiteY60" fmla="*/ 514350 h 727900"/>
                  <a:gd name="connsiteX61" fmla="*/ 497872 w 703230"/>
                  <a:gd name="connsiteY61" fmla="*/ 538067 h 727900"/>
                  <a:gd name="connsiteX62" fmla="*/ 513683 w 703230"/>
                  <a:gd name="connsiteY62" fmla="*/ 514350 h 727900"/>
                  <a:gd name="connsiteX63" fmla="*/ 497872 w 703230"/>
                  <a:gd name="connsiteY63" fmla="*/ 514350 h 727900"/>
                  <a:gd name="connsiteX64" fmla="*/ 387382 w 703230"/>
                  <a:gd name="connsiteY64" fmla="*/ 514350 h 727900"/>
                  <a:gd name="connsiteX65" fmla="*/ 403193 w 703230"/>
                  <a:gd name="connsiteY65" fmla="*/ 514350 h 727900"/>
                  <a:gd name="connsiteX66" fmla="*/ 395288 w 703230"/>
                  <a:gd name="connsiteY66" fmla="*/ 498538 h 727900"/>
                  <a:gd name="connsiteX67" fmla="*/ 387382 w 703230"/>
                  <a:gd name="connsiteY67" fmla="*/ 514350 h 727900"/>
                  <a:gd name="connsiteX68" fmla="*/ 608457 w 703230"/>
                  <a:gd name="connsiteY68" fmla="*/ 506444 h 727900"/>
                  <a:gd name="connsiteX69" fmla="*/ 600551 w 703230"/>
                  <a:gd name="connsiteY69" fmla="*/ 538067 h 727900"/>
                  <a:gd name="connsiteX70" fmla="*/ 655796 w 703230"/>
                  <a:gd name="connsiteY70" fmla="*/ 498538 h 727900"/>
                  <a:gd name="connsiteX71" fmla="*/ 639985 w 703230"/>
                  <a:gd name="connsiteY71" fmla="*/ 490633 h 727900"/>
                  <a:gd name="connsiteX72" fmla="*/ 608362 w 703230"/>
                  <a:gd name="connsiteY72" fmla="*/ 506444 h 727900"/>
                  <a:gd name="connsiteX73" fmla="*/ 450532 w 703230"/>
                  <a:gd name="connsiteY73" fmla="*/ 482727 h 727900"/>
                  <a:gd name="connsiteX74" fmla="*/ 450532 w 703230"/>
                  <a:gd name="connsiteY74" fmla="*/ 498538 h 727900"/>
                  <a:gd name="connsiteX75" fmla="*/ 458438 w 703230"/>
                  <a:gd name="connsiteY75" fmla="*/ 506444 h 727900"/>
                  <a:gd name="connsiteX76" fmla="*/ 474250 w 703230"/>
                  <a:gd name="connsiteY76" fmla="*/ 506444 h 727900"/>
                  <a:gd name="connsiteX77" fmla="*/ 482155 w 703230"/>
                  <a:gd name="connsiteY77" fmla="*/ 498538 h 727900"/>
                  <a:gd name="connsiteX78" fmla="*/ 482155 w 703230"/>
                  <a:gd name="connsiteY78" fmla="*/ 490633 h 727900"/>
                  <a:gd name="connsiteX79" fmla="*/ 474250 w 703230"/>
                  <a:gd name="connsiteY79" fmla="*/ 482727 h 727900"/>
                  <a:gd name="connsiteX80" fmla="*/ 450532 w 703230"/>
                  <a:gd name="connsiteY80" fmla="*/ 482727 h 727900"/>
                  <a:gd name="connsiteX81" fmla="*/ 576834 w 703230"/>
                  <a:gd name="connsiteY81" fmla="*/ 466915 h 727900"/>
                  <a:gd name="connsiteX82" fmla="*/ 584740 w 703230"/>
                  <a:gd name="connsiteY82" fmla="*/ 490633 h 727900"/>
                  <a:gd name="connsiteX83" fmla="*/ 600551 w 703230"/>
                  <a:gd name="connsiteY83" fmla="*/ 466915 h 727900"/>
                  <a:gd name="connsiteX84" fmla="*/ 576834 w 703230"/>
                  <a:gd name="connsiteY84" fmla="*/ 466915 h 727900"/>
                  <a:gd name="connsiteX85" fmla="*/ 363664 w 703230"/>
                  <a:gd name="connsiteY85" fmla="*/ 435292 h 727900"/>
                  <a:gd name="connsiteX86" fmla="*/ 355759 w 703230"/>
                  <a:gd name="connsiteY86" fmla="*/ 443198 h 727900"/>
                  <a:gd name="connsiteX87" fmla="*/ 355759 w 703230"/>
                  <a:gd name="connsiteY87" fmla="*/ 459010 h 727900"/>
                  <a:gd name="connsiteX88" fmla="*/ 363664 w 703230"/>
                  <a:gd name="connsiteY88" fmla="*/ 459010 h 727900"/>
                  <a:gd name="connsiteX89" fmla="*/ 379476 w 703230"/>
                  <a:gd name="connsiteY89" fmla="*/ 443198 h 727900"/>
                  <a:gd name="connsiteX90" fmla="*/ 371570 w 703230"/>
                  <a:gd name="connsiteY90" fmla="*/ 435292 h 727900"/>
                  <a:gd name="connsiteX91" fmla="*/ 363664 w 703230"/>
                  <a:gd name="connsiteY91" fmla="*/ 435292 h 727900"/>
                  <a:gd name="connsiteX92" fmla="*/ 521589 w 703230"/>
                  <a:gd name="connsiteY92" fmla="*/ 435292 h 727900"/>
                  <a:gd name="connsiteX93" fmla="*/ 505778 w 703230"/>
                  <a:gd name="connsiteY93" fmla="*/ 443198 h 727900"/>
                  <a:gd name="connsiteX94" fmla="*/ 505778 w 703230"/>
                  <a:gd name="connsiteY94" fmla="*/ 451104 h 727900"/>
                  <a:gd name="connsiteX95" fmla="*/ 521589 w 703230"/>
                  <a:gd name="connsiteY95" fmla="*/ 451104 h 727900"/>
                  <a:gd name="connsiteX96" fmla="*/ 529495 w 703230"/>
                  <a:gd name="connsiteY96" fmla="*/ 443198 h 727900"/>
                  <a:gd name="connsiteX97" fmla="*/ 537401 w 703230"/>
                  <a:gd name="connsiteY97" fmla="*/ 443198 h 727900"/>
                  <a:gd name="connsiteX98" fmla="*/ 537401 w 703230"/>
                  <a:gd name="connsiteY98" fmla="*/ 435292 h 727900"/>
                  <a:gd name="connsiteX99" fmla="*/ 521589 w 703230"/>
                  <a:gd name="connsiteY99" fmla="*/ 435292 h 727900"/>
                  <a:gd name="connsiteX100" fmla="*/ 568928 w 703230"/>
                  <a:gd name="connsiteY100" fmla="*/ 411575 h 727900"/>
                  <a:gd name="connsiteX101" fmla="*/ 568928 w 703230"/>
                  <a:gd name="connsiteY101" fmla="*/ 435292 h 727900"/>
                  <a:gd name="connsiteX102" fmla="*/ 584740 w 703230"/>
                  <a:gd name="connsiteY102" fmla="*/ 443198 h 727900"/>
                  <a:gd name="connsiteX103" fmla="*/ 592646 w 703230"/>
                  <a:gd name="connsiteY103" fmla="*/ 435292 h 727900"/>
                  <a:gd name="connsiteX104" fmla="*/ 592646 w 703230"/>
                  <a:gd name="connsiteY104" fmla="*/ 419481 h 727900"/>
                  <a:gd name="connsiteX105" fmla="*/ 584740 w 703230"/>
                  <a:gd name="connsiteY105" fmla="*/ 411575 h 727900"/>
                  <a:gd name="connsiteX106" fmla="*/ 568928 w 703230"/>
                  <a:gd name="connsiteY106" fmla="*/ 411575 h 727900"/>
                  <a:gd name="connsiteX107" fmla="*/ 32004 w 703230"/>
                  <a:gd name="connsiteY107" fmla="*/ 411575 h 727900"/>
                  <a:gd name="connsiteX108" fmla="*/ 24098 w 703230"/>
                  <a:gd name="connsiteY108" fmla="*/ 419481 h 727900"/>
                  <a:gd name="connsiteX109" fmla="*/ 32004 w 703230"/>
                  <a:gd name="connsiteY109" fmla="*/ 427387 h 727900"/>
                  <a:gd name="connsiteX110" fmla="*/ 39910 w 703230"/>
                  <a:gd name="connsiteY110" fmla="*/ 427387 h 727900"/>
                  <a:gd name="connsiteX111" fmla="*/ 47815 w 703230"/>
                  <a:gd name="connsiteY111" fmla="*/ 435292 h 727900"/>
                  <a:gd name="connsiteX112" fmla="*/ 55721 w 703230"/>
                  <a:gd name="connsiteY112" fmla="*/ 427387 h 727900"/>
                  <a:gd name="connsiteX113" fmla="*/ 55721 w 703230"/>
                  <a:gd name="connsiteY113" fmla="*/ 419481 h 727900"/>
                  <a:gd name="connsiteX114" fmla="*/ 39910 w 703230"/>
                  <a:gd name="connsiteY114" fmla="*/ 403669 h 727900"/>
                  <a:gd name="connsiteX115" fmla="*/ 32004 w 703230"/>
                  <a:gd name="connsiteY115" fmla="*/ 411575 h 727900"/>
                  <a:gd name="connsiteX116" fmla="*/ 418910 w 703230"/>
                  <a:gd name="connsiteY116" fmla="*/ 443198 h 727900"/>
                  <a:gd name="connsiteX117" fmla="*/ 434721 w 703230"/>
                  <a:gd name="connsiteY117" fmla="*/ 419481 h 727900"/>
                  <a:gd name="connsiteX118" fmla="*/ 387382 w 703230"/>
                  <a:gd name="connsiteY118" fmla="*/ 387858 h 727900"/>
                  <a:gd name="connsiteX119" fmla="*/ 418910 w 703230"/>
                  <a:gd name="connsiteY119" fmla="*/ 443198 h 727900"/>
                  <a:gd name="connsiteX120" fmla="*/ 150400 w 703230"/>
                  <a:gd name="connsiteY120" fmla="*/ 364046 h 727900"/>
                  <a:gd name="connsiteX121" fmla="*/ 118872 w 703230"/>
                  <a:gd name="connsiteY121" fmla="*/ 379857 h 727900"/>
                  <a:gd name="connsiteX122" fmla="*/ 110966 w 703230"/>
                  <a:gd name="connsiteY122" fmla="*/ 379857 h 727900"/>
                  <a:gd name="connsiteX123" fmla="*/ 87249 w 703230"/>
                  <a:gd name="connsiteY123" fmla="*/ 411480 h 727900"/>
                  <a:gd name="connsiteX124" fmla="*/ 126778 w 703230"/>
                  <a:gd name="connsiteY124" fmla="*/ 443103 h 727900"/>
                  <a:gd name="connsiteX125" fmla="*/ 126778 w 703230"/>
                  <a:gd name="connsiteY125" fmla="*/ 458914 h 727900"/>
                  <a:gd name="connsiteX126" fmla="*/ 118872 w 703230"/>
                  <a:gd name="connsiteY126" fmla="*/ 482632 h 727900"/>
                  <a:gd name="connsiteX127" fmla="*/ 118872 w 703230"/>
                  <a:gd name="connsiteY127" fmla="*/ 506349 h 727900"/>
                  <a:gd name="connsiteX128" fmla="*/ 126778 w 703230"/>
                  <a:gd name="connsiteY128" fmla="*/ 514255 h 727900"/>
                  <a:gd name="connsiteX129" fmla="*/ 142589 w 703230"/>
                  <a:gd name="connsiteY129" fmla="*/ 522160 h 727900"/>
                  <a:gd name="connsiteX130" fmla="*/ 150495 w 703230"/>
                  <a:gd name="connsiteY130" fmla="*/ 522160 h 727900"/>
                  <a:gd name="connsiteX131" fmla="*/ 150495 w 703230"/>
                  <a:gd name="connsiteY131" fmla="*/ 514255 h 727900"/>
                  <a:gd name="connsiteX132" fmla="*/ 166306 w 703230"/>
                  <a:gd name="connsiteY132" fmla="*/ 498443 h 727900"/>
                  <a:gd name="connsiteX133" fmla="*/ 174212 w 703230"/>
                  <a:gd name="connsiteY133" fmla="*/ 498443 h 727900"/>
                  <a:gd name="connsiteX134" fmla="*/ 205835 w 703230"/>
                  <a:gd name="connsiteY134" fmla="*/ 553879 h 727900"/>
                  <a:gd name="connsiteX135" fmla="*/ 213741 w 703230"/>
                  <a:gd name="connsiteY135" fmla="*/ 514350 h 727900"/>
                  <a:gd name="connsiteX136" fmla="*/ 237458 w 703230"/>
                  <a:gd name="connsiteY136" fmla="*/ 545973 h 727900"/>
                  <a:gd name="connsiteX137" fmla="*/ 269081 w 703230"/>
                  <a:gd name="connsiteY137" fmla="*/ 553879 h 727900"/>
                  <a:gd name="connsiteX138" fmla="*/ 245364 w 703230"/>
                  <a:gd name="connsiteY138" fmla="*/ 530162 h 727900"/>
                  <a:gd name="connsiteX139" fmla="*/ 253270 w 703230"/>
                  <a:gd name="connsiteY139" fmla="*/ 522256 h 727900"/>
                  <a:gd name="connsiteX140" fmla="*/ 253270 w 703230"/>
                  <a:gd name="connsiteY140" fmla="*/ 490633 h 727900"/>
                  <a:gd name="connsiteX141" fmla="*/ 245364 w 703230"/>
                  <a:gd name="connsiteY141" fmla="*/ 482727 h 727900"/>
                  <a:gd name="connsiteX142" fmla="*/ 237458 w 703230"/>
                  <a:gd name="connsiteY142" fmla="*/ 466915 h 727900"/>
                  <a:gd name="connsiteX143" fmla="*/ 229553 w 703230"/>
                  <a:gd name="connsiteY143" fmla="*/ 459010 h 727900"/>
                  <a:gd name="connsiteX144" fmla="*/ 221647 w 703230"/>
                  <a:gd name="connsiteY144" fmla="*/ 443198 h 727900"/>
                  <a:gd name="connsiteX145" fmla="*/ 221647 w 703230"/>
                  <a:gd name="connsiteY145" fmla="*/ 435292 h 727900"/>
                  <a:gd name="connsiteX146" fmla="*/ 245364 w 703230"/>
                  <a:gd name="connsiteY146" fmla="*/ 435292 h 727900"/>
                  <a:gd name="connsiteX147" fmla="*/ 261176 w 703230"/>
                  <a:gd name="connsiteY147" fmla="*/ 443198 h 727900"/>
                  <a:gd name="connsiteX148" fmla="*/ 276987 w 703230"/>
                  <a:gd name="connsiteY148" fmla="*/ 459010 h 727900"/>
                  <a:gd name="connsiteX149" fmla="*/ 292798 w 703230"/>
                  <a:gd name="connsiteY149" fmla="*/ 451104 h 727900"/>
                  <a:gd name="connsiteX150" fmla="*/ 276987 w 703230"/>
                  <a:gd name="connsiteY150" fmla="*/ 443198 h 727900"/>
                  <a:gd name="connsiteX151" fmla="*/ 269081 w 703230"/>
                  <a:gd name="connsiteY151" fmla="*/ 427387 h 727900"/>
                  <a:gd name="connsiteX152" fmla="*/ 253270 w 703230"/>
                  <a:gd name="connsiteY152" fmla="*/ 419481 h 727900"/>
                  <a:gd name="connsiteX153" fmla="*/ 245364 w 703230"/>
                  <a:gd name="connsiteY153" fmla="*/ 411575 h 727900"/>
                  <a:gd name="connsiteX154" fmla="*/ 229553 w 703230"/>
                  <a:gd name="connsiteY154" fmla="*/ 403669 h 727900"/>
                  <a:gd name="connsiteX155" fmla="*/ 205835 w 703230"/>
                  <a:gd name="connsiteY155" fmla="*/ 387858 h 727900"/>
                  <a:gd name="connsiteX156" fmla="*/ 182118 w 703230"/>
                  <a:gd name="connsiteY156" fmla="*/ 379952 h 727900"/>
                  <a:gd name="connsiteX157" fmla="*/ 166306 w 703230"/>
                  <a:gd name="connsiteY157" fmla="*/ 372046 h 727900"/>
                  <a:gd name="connsiteX158" fmla="*/ 158401 w 703230"/>
                  <a:gd name="connsiteY158" fmla="*/ 364141 h 727900"/>
                  <a:gd name="connsiteX159" fmla="*/ 150495 w 703230"/>
                  <a:gd name="connsiteY159" fmla="*/ 364141 h 727900"/>
                  <a:gd name="connsiteX160" fmla="*/ 381 w 703230"/>
                  <a:gd name="connsiteY160" fmla="*/ 371951 h 727900"/>
                  <a:gd name="connsiteX161" fmla="*/ 55626 w 703230"/>
                  <a:gd name="connsiteY161" fmla="*/ 387763 h 727900"/>
                  <a:gd name="connsiteX162" fmla="*/ 31909 w 703230"/>
                  <a:gd name="connsiteY162" fmla="*/ 340233 h 727900"/>
                  <a:gd name="connsiteX163" fmla="*/ 381 w 703230"/>
                  <a:gd name="connsiteY163" fmla="*/ 371856 h 727900"/>
                  <a:gd name="connsiteX164" fmla="*/ 489966 w 703230"/>
                  <a:gd name="connsiteY164" fmla="*/ 332327 h 727900"/>
                  <a:gd name="connsiteX165" fmla="*/ 489966 w 703230"/>
                  <a:gd name="connsiteY165" fmla="*/ 356044 h 727900"/>
                  <a:gd name="connsiteX166" fmla="*/ 505778 w 703230"/>
                  <a:gd name="connsiteY166" fmla="*/ 387667 h 727900"/>
                  <a:gd name="connsiteX167" fmla="*/ 521589 w 703230"/>
                  <a:gd name="connsiteY167" fmla="*/ 332232 h 727900"/>
                  <a:gd name="connsiteX168" fmla="*/ 490061 w 703230"/>
                  <a:gd name="connsiteY168" fmla="*/ 332232 h 727900"/>
                  <a:gd name="connsiteX169" fmla="*/ 363664 w 703230"/>
                  <a:gd name="connsiteY169" fmla="*/ 316516 h 727900"/>
                  <a:gd name="connsiteX170" fmla="*/ 379476 w 703230"/>
                  <a:gd name="connsiteY170" fmla="*/ 316516 h 727900"/>
                  <a:gd name="connsiteX171" fmla="*/ 363664 w 703230"/>
                  <a:gd name="connsiteY171" fmla="*/ 292798 h 727900"/>
                  <a:gd name="connsiteX172" fmla="*/ 363664 w 703230"/>
                  <a:gd name="connsiteY172" fmla="*/ 316516 h 727900"/>
                  <a:gd name="connsiteX173" fmla="*/ 489966 w 703230"/>
                  <a:gd name="connsiteY173" fmla="*/ 261080 h 727900"/>
                  <a:gd name="connsiteX174" fmla="*/ 489966 w 703230"/>
                  <a:gd name="connsiteY174" fmla="*/ 276892 h 727900"/>
                  <a:gd name="connsiteX175" fmla="*/ 513683 w 703230"/>
                  <a:gd name="connsiteY175" fmla="*/ 276892 h 727900"/>
                  <a:gd name="connsiteX176" fmla="*/ 521589 w 703230"/>
                  <a:gd name="connsiteY176" fmla="*/ 284797 h 727900"/>
                  <a:gd name="connsiteX177" fmla="*/ 521589 w 703230"/>
                  <a:gd name="connsiteY177" fmla="*/ 292703 h 727900"/>
                  <a:gd name="connsiteX178" fmla="*/ 545306 w 703230"/>
                  <a:gd name="connsiteY178" fmla="*/ 292703 h 727900"/>
                  <a:gd name="connsiteX179" fmla="*/ 545306 w 703230"/>
                  <a:gd name="connsiteY179" fmla="*/ 276892 h 727900"/>
                  <a:gd name="connsiteX180" fmla="*/ 521589 w 703230"/>
                  <a:gd name="connsiteY180" fmla="*/ 253174 h 727900"/>
                  <a:gd name="connsiteX181" fmla="*/ 490061 w 703230"/>
                  <a:gd name="connsiteY181" fmla="*/ 261080 h 727900"/>
                  <a:gd name="connsiteX182" fmla="*/ 355759 w 703230"/>
                  <a:gd name="connsiteY182" fmla="*/ 166116 h 727900"/>
                  <a:gd name="connsiteX183" fmla="*/ 371570 w 703230"/>
                  <a:gd name="connsiteY183" fmla="*/ 158210 h 727900"/>
                  <a:gd name="connsiteX184" fmla="*/ 316325 w 703230"/>
                  <a:gd name="connsiteY184" fmla="*/ 142399 h 727900"/>
                  <a:gd name="connsiteX185" fmla="*/ 355759 w 703230"/>
                  <a:gd name="connsiteY185" fmla="*/ 166116 h 727900"/>
                  <a:gd name="connsiteX186" fmla="*/ 482060 w 703230"/>
                  <a:gd name="connsiteY186" fmla="*/ 7810 h 727900"/>
                  <a:gd name="connsiteX187" fmla="*/ 489966 w 703230"/>
                  <a:gd name="connsiteY187" fmla="*/ 15716 h 727900"/>
                  <a:gd name="connsiteX188" fmla="*/ 489966 w 703230"/>
                  <a:gd name="connsiteY188" fmla="*/ 39433 h 727900"/>
                  <a:gd name="connsiteX189" fmla="*/ 482060 w 703230"/>
                  <a:gd name="connsiteY189" fmla="*/ 47339 h 727900"/>
                  <a:gd name="connsiteX190" fmla="*/ 458343 w 703230"/>
                  <a:gd name="connsiteY190" fmla="*/ 47339 h 727900"/>
                  <a:gd name="connsiteX191" fmla="*/ 442531 w 703230"/>
                  <a:gd name="connsiteY191" fmla="*/ 31528 h 727900"/>
                  <a:gd name="connsiteX192" fmla="*/ 426720 w 703230"/>
                  <a:gd name="connsiteY192" fmla="*/ 47339 h 727900"/>
                  <a:gd name="connsiteX193" fmla="*/ 410908 w 703230"/>
                  <a:gd name="connsiteY193" fmla="*/ 47339 h 727900"/>
                  <a:gd name="connsiteX194" fmla="*/ 395097 w 703230"/>
                  <a:gd name="connsiteY194" fmla="*/ 31528 h 727900"/>
                  <a:gd name="connsiteX195" fmla="*/ 387191 w 703230"/>
                  <a:gd name="connsiteY195" fmla="*/ 39433 h 727900"/>
                  <a:gd name="connsiteX196" fmla="*/ 371380 w 703230"/>
                  <a:gd name="connsiteY196" fmla="*/ 39433 h 727900"/>
                  <a:gd name="connsiteX197" fmla="*/ 347663 w 703230"/>
                  <a:gd name="connsiteY197" fmla="*/ 15716 h 727900"/>
                  <a:gd name="connsiteX198" fmla="*/ 347663 w 703230"/>
                  <a:gd name="connsiteY198" fmla="*/ 7810 h 727900"/>
                  <a:gd name="connsiteX199" fmla="*/ 308229 w 703230"/>
                  <a:gd name="connsiteY199" fmla="*/ 15716 h 727900"/>
                  <a:gd name="connsiteX200" fmla="*/ 300323 w 703230"/>
                  <a:gd name="connsiteY200" fmla="*/ 39433 h 727900"/>
                  <a:gd name="connsiteX201" fmla="*/ 268796 w 703230"/>
                  <a:gd name="connsiteY201" fmla="*/ 31528 h 727900"/>
                  <a:gd name="connsiteX202" fmla="*/ 260890 w 703230"/>
                  <a:gd name="connsiteY202" fmla="*/ 39433 h 727900"/>
                  <a:gd name="connsiteX203" fmla="*/ 245078 w 703230"/>
                  <a:gd name="connsiteY203" fmla="*/ 47339 h 727900"/>
                  <a:gd name="connsiteX204" fmla="*/ 229267 w 703230"/>
                  <a:gd name="connsiteY204" fmla="*/ 47339 h 727900"/>
                  <a:gd name="connsiteX205" fmla="*/ 221361 w 703230"/>
                  <a:gd name="connsiteY205" fmla="*/ 39433 h 727900"/>
                  <a:gd name="connsiteX206" fmla="*/ 213455 w 703230"/>
                  <a:gd name="connsiteY206" fmla="*/ 39433 h 727900"/>
                  <a:gd name="connsiteX207" fmla="*/ 197644 w 703230"/>
                  <a:gd name="connsiteY207" fmla="*/ 47339 h 727900"/>
                  <a:gd name="connsiteX208" fmla="*/ 181832 w 703230"/>
                  <a:gd name="connsiteY208" fmla="*/ 63151 h 727900"/>
                  <a:gd name="connsiteX209" fmla="*/ 166021 w 703230"/>
                  <a:gd name="connsiteY209" fmla="*/ 71056 h 727900"/>
                  <a:gd name="connsiteX210" fmla="*/ 134398 w 703230"/>
                  <a:gd name="connsiteY210" fmla="*/ 71056 h 727900"/>
                  <a:gd name="connsiteX211" fmla="*/ 134398 w 703230"/>
                  <a:gd name="connsiteY211" fmla="*/ 78962 h 727900"/>
                  <a:gd name="connsiteX212" fmla="*/ 126492 w 703230"/>
                  <a:gd name="connsiteY212" fmla="*/ 94774 h 727900"/>
                  <a:gd name="connsiteX213" fmla="*/ 94869 w 703230"/>
                  <a:gd name="connsiteY213" fmla="*/ 94774 h 727900"/>
                  <a:gd name="connsiteX214" fmla="*/ 86963 w 703230"/>
                  <a:gd name="connsiteY214" fmla="*/ 86868 h 727900"/>
                  <a:gd name="connsiteX215" fmla="*/ 79057 w 703230"/>
                  <a:gd name="connsiteY215" fmla="*/ 86868 h 727900"/>
                  <a:gd name="connsiteX216" fmla="*/ 63246 w 703230"/>
                  <a:gd name="connsiteY216" fmla="*/ 94774 h 727900"/>
                  <a:gd name="connsiteX217" fmla="*/ 71152 w 703230"/>
                  <a:gd name="connsiteY217" fmla="*/ 110585 h 727900"/>
                  <a:gd name="connsiteX218" fmla="*/ 71152 w 703230"/>
                  <a:gd name="connsiteY218" fmla="*/ 118491 h 727900"/>
                  <a:gd name="connsiteX219" fmla="*/ 55340 w 703230"/>
                  <a:gd name="connsiteY219" fmla="*/ 134302 h 727900"/>
                  <a:gd name="connsiteX220" fmla="*/ 31623 w 703230"/>
                  <a:gd name="connsiteY220" fmla="*/ 134302 h 727900"/>
                  <a:gd name="connsiteX221" fmla="*/ 31623 w 703230"/>
                  <a:gd name="connsiteY221" fmla="*/ 165925 h 727900"/>
                  <a:gd name="connsiteX222" fmla="*/ 15812 w 703230"/>
                  <a:gd name="connsiteY222" fmla="*/ 173831 h 727900"/>
                  <a:gd name="connsiteX223" fmla="*/ 0 w 703230"/>
                  <a:gd name="connsiteY223" fmla="*/ 173831 h 727900"/>
                  <a:gd name="connsiteX224" fmla="*/ 0 w 703230"/>
                  <a:gd name="connsiteY224" fmla="*/ 260890 h 727900"/>
                  <a:gd name="connsiteX225" fmla="*/ 7906 w 703230"/>
                  <a:gd name="connsiteY225" fmla="*/ 268796 h 727900"/>
                  <a:gd name="connsiteX226" fmla="*/ 23717 w 703230"/>
                  <a:gd name="connsiteY226" fmla="*/ 276701 h 727900"/>
                  <a:gd name="connsiteX227" fmla="*/ 31623 w 703230"/>
                  <a:gd name="connsiteY227" fmla="*/ 284607 h 727900"/>
                  <a:gd name="connsiteX228" fmla="*/ 39529 w 703230"/>
                  <a:gd name="connsiteY228" fmla="*/ 300418 h 727900"/>
                  <a:gd name="connsiteX229" fmla="*/ 47435 w 703230"/>
                  <a:gd name="connsiteY229" fmla="*/ 308324 h 727900"/>
                  <a:gd name="connsiteX230" fmla="*/ 55340 w 703230"/>
                  <a:gd name="connsiteY230" fmla="*/ 324136 h 727900"/>
                  <a:gd name="connsiteX231" fmla="*/ 71152 w 703230"/>
                  <a:gd name="connsiteY231" fmla="*/ 339947 h 727900"/>
                  <a:gd name="connsiteX232" fmla="*/ 79057 w 703230"/>
                  <a:gd name="connsiteY232" fmla="*/ 355759 h 727900"/>
                  <a:gd name="connsiteX233" fmla="*/ 110680 w 703230"/>
                  <a:gd name="connsiteY233" fmla="*/ 355759 h 727900"/>
                  <a:gd name="connsiteX234" fmla="*/ 126492 w 703230"/>
                  <a:gd name="connsiteY234" fmla="*/ 347853 h 727900"/>
                  <a:gd name="connsiteX235" fmla="*/ 181737 w 703230"/>
                  <a:gd name="connsiteY235" fmla="*/ 347853 h 727900"/>
                  <a:gd name="connsiteX236" fmla="*/ 189643 w 703230"/>
                  <a:gd name="connsiteY236" fmla="*/ 355759 h 727900"/>
                  <a:gd name="connsiteX237" fmla="*/ 205454 w 703230"/>
                  <a:gd name="connsiteY237" fmla="*/ 355759 h 727900"/>
                  <a:gd name="connsiteX238" fmla="*/ 236982 w 703230"/>
                  <a:gd name="connsiteY238" fmla="*/ 371570 h 727900"/>
                  <a:gd name="connsiteX239" fmla="*/ 252794 w 703230"/>
                  <a:gd name="connsiteY239" fmla="*/ 371570 h 727900"/>
                  <a:gd name="connsiteX240" fmla="*/ 260699 w 703230"/>
                  <a:gd name="connsiteY240" fmla="*/ 379476 h 727900"/>
                  <a:gd name="connsiteX241" fmla="*/ 268605 w 703230"/>
                  <a:gd name="connsiteY241" fmla="*/ 379476 h 727900"/>
                  <a:gd name="connsiteX242" fmla="*/ 284416 w 703230"/>
                  <a:gd name="connsiteY242" fmla="*/ 395288 h 727900"/>
                  <a:gd name="connsiteX243" fmla="*/ 300228 w 703230"/>
                  <a:gd name="connsiteY243" fmla="*/ 403193 h 727900"/>
                  <a:gd name="connsiteX244" fmla="*/ 308134 w 703230"/>
                  <a:gd name="connsiteY244" fmla="*/ 411099 h 727900"/>
                  <a:gd name="connsiteX245" fmla="*/ 323945 w 703230"/>
                  <a:gd name="connsiteY245" fmla="*/ 411099 h 727900"/>
                  <a:gd name="connsiteX246" fmla="*/ 331851 w 703230"/>
                  <a:gd name="connsiteY246" fmla="*/ 403193 h 727900"/>
                  <a:gd name="connsiteX247" fmla="*/ 331851 w 703230"/>
                  <a:gd name="connsiteY247" fmla="*/ 379476 h 727900"/>
                  <a:gd name="connsiteX248" fmla="*/ 300228 w 703230"/>
                  <a:gd name="connsiteY248" fmla="*/ 347853 h 727900"/>
                  <a:gd name="connsiteX249" fmla="*/ 284416 w 703230"/>
                  <a:gd name="connsiteY249" fmla="*/ 339947 h 727900"/>
                  <a:gd name="connsiteX250" fmla="*/ 276511 w 703230"/>
                  <a:gd name="connsiteY250" fmla="*/ 332041 h 727900"/>
                  <a:gd name="connsiteX251" fmla="*/ 268605 w 703230"/>
                  <a:gd name="connsiteY251" fmla="*/ 332041 h 727900"/>
                  <a:gd name="connsiteX252" fmla="*/ 260699 w 703230"/>
                  <a:gd name="connsiteY252" fmla="*/ 324136 h 727900"/>
                  <a:gd name="connsiteX253" fmla="*/ 244888 w 703230"/>
                  <a:gd name="connsiteY253" fmla="*/ 324136 h 727900"/>
                  <a:gd name="connsiteX254" fmla="*/ 229076 w 703230"/>
                  <a:gd name="connsiteY254" fmla="*/ 308324 h 727900"/>
                  <a:gd name="connsiteX255" fmla="*/ 221171 w 703230"/>
                  <a:gd name="connsiteY255" fmla="*/ 308324 h 727900"/>
                  <a:gd name="connsiteX256" fmla="*/ 229076 w 703230"/>
                  <a:gd name="connsiteY256" fmla="*/ 300418 h 727900"/>
                  <a:gd name="connsiteX257" fmla="*/ 252794 w 703230"/>
                  <a:gd name="connsiteY257" fmla="*/ 300418 h 727900"/>
                  <a:gd name="connsiteX258" fmla="*/ 260699 w 703230"/>
                  <a:gd name="connsiteY258" fmla="*/ 316230 h 727900"/>
                  <a:gd name="connsiteX259" fmla="*/ 292227 w 703230"/>
                  <a:gd name="connsiteY259" fmla="*/ 332041 h 727900"/>
                  <a:gd name="connsiteX260" fmla="*/ 308038 w 703230"/>
                  <a:gd name="connsiteY260" fmla="*/ 347853 h 727900"/>
                  <a:gd name="connsiteX261" fmla="*/ 339566 w 703230"/>
                  <a:gd name="connsiteY261" fmla="*/ 347853 h 727900"/>
                  <a:gd name="connsiteX262" fmla="*/ 355378 w 703230"/>
                  <a:gd name="connsiteY262" fmla="*/ 332041 h 727900"/>
                  <a:gd name="connsiteX263" fmla="*/ 339566 w 703230"/>
                  <a:gd name="connsiteY263" fmla="*/ 316230 h 727900"/>
                  <a:gd name="connsiteX264" fmla="*/ 323755 w 703230"/>
                  <a:gd name="connsiteY264" fmla="*/ 316230 h 727900"/>
                  <a:gd name="connsiteX265" fmla="*/ 307943 w 703230"/>
                  <a:gd name="connsiteY265" fmla="*/ 308324 h 727900"/>
                  <a:gd name="connsiteX266" fmla="*/ 292132 w 703230"/>
                  <a:gd name="connsiteY266" fmla="*/ 308324 h 727900"/>
                  <a:gd name="connsiteX267" fmla="*/ 276320 w 703230"/>
                  <a:gd name="connsiteY267" fmla="*/ 300418 h 727900"/>
                  <a:gd name="connsiteX268" fmla="*/ 268414 w 703230"/>
                  <a:gd name="connsiteY268" fmla="*/ 284607 h 727900"/>
                  <a:gd name="connsiteX269" fmla="*/ 260509 w 703230"/>
                  <a:gd name="connsiteY269" fmla="*/ 276701 h 727900"/>
                  <a:gd name="connsiteX270" fmla="*/ 260509 w 703230"/>
                  <a:gd name="connsiteY270" fmla="*/ 268796 h 727900"/>
                  <a:gd name="connsiteX271" fmla="*/ 252603 w 703230"/>
                  <a:gd name="connsiteY271" fmla="*/ 252984 h 727900"/>
                  <a:gd name="connsiteX272" fmla="*/ 244697 w 703230"/>
                  <a:gd name="connsiteY272" fmla="*/ 245078 h 727900"/>
                  <a:gd name="connsiteX273" fmla="*/ 228886 w 703230"/>
                  <a:gd name="connsiteY273" fmla="*/ 213455 h 727900"/>
                  <a:gd name="connsiteX274" fmla="*/ 220980 w 703230"/>
                  <a:gd name="connsiteY274" fmla="*/ 205549 h 727900"/>
                  <a:gd name="connsiteX275" fmla="*/ 213074 w 703230"/>
                  <a:gd name="connsiteY275" fmla="*/ 189738 h 727900"/>
                  <a:gd name="connsiteX276" fmla="*/ 197263 w 703230"/>
                  <a:gd name="connsiteY276" fmla="*/ 173926 h 727900"/>
                  <a:gd name="connsiteX277" fmla="*/ 197263 w 703230"/>
                  <a:gd name="connsiteY277" fmla="*/ 158115 h 727900"/>
                  <a:gd name="connsiteX278" fmla="*/ 189357 w 703230"/>
                  <a:gd name="connsiteY278" fmla="*/ 150209 h 727900"/>
                  <a:gd name="connsiteX279" fmla="*/ 189357 w 703230"/>
                  <a:gd name="connsiteY279" fmla="*/ 134398 h 727900"/>
                  <a:gd name="connsiteX280" fmla="*/ 197263 w 703230"/>
                  <a:gd name="connsiteY280" fmla="*/ 126492 h 727900"/>
                  <a:gd name="connsiteX281" fmla="*/ 205169 w 703230"/>
                  <a:gd name="connsiteY281" fmla="*/ 126492 h 727900"/>
                  <a:gd name="connsiteX282" fmla="*/ 213074 w 703230"/>
                  <a:gd name="connsiteY282" fmla="*/ 134398 h 727900"/>
                  <a:gd name="connsiteX283" fmla="*/ 213074 w 703230"/>
                  <a:gd name="connsiteY283" fmla="*/ 142304 h 727900"/>
                  <a:gd name="connsiteX284" fmla="*/ 220980 w 703230"/>
                  <a:gd name="connsiteY284" fmla="*/ 150209 h 727900"/>
                  <a:gd name="connsiteX285" fmla="*/ 236791 w 703230"/>
                  <a:gd name="connsiteY285" fmla="*/ 150209 h 727900"/>
                  <a:gd name="connsiteX286" fmla="*/ 236791 w 703230"/>
                  <a:gd name="connsiteY286" fmla="*/ 158115 h 727900"/>
                  <a:gd name="connsiteX287" fmla="*/ 244697 w 703230"/>
                  <a:gd name="connsiteY287" fmla="*/ 158115 h 727900"/>
                  <a:gd name="connsiteX288" fmla="*/ 260509 w 703230"/>
                  <a:gd name="connsiteY288" fmla="*/ 173926 h 727900"/>
                  <a:gd name="connsiteX289" fmla="*/ 260509 w 703230"/>
                  <a:gd name="connsiteY289" fmla="*/ 189738 h 727900"/>
                  <a:gd name="connsiteX290" fmla="*/ 268414 w 703230"/>
                  <a:gd name="connsiteY290" fmla="*/ 189738 h 727900"/>
                  <a:gd name="connsiteX291" fmla="*/ 276320 w 703230"/>
                  <a:gd name="connsiteY291" fmla="*/ 181832 h 727900"/>
                  <a:gd name="connsiteX292" fmla="*/ 284226 w 703230"/>
                  <a:gd name="connsiteY292" fmla="*/ 181832 h 727900"/>
                  <a:gd name="connsiteX293" fmla="*/ 268414 w 703230"/>
                  <a:gd name="connsiteY293" fmla="*/ 158115 h 727900"/>
                  <a:gd name="connsiteX294" fmla="*/ 276320 w 703230"/>
                  <a:gd name="connsiteY294" fmla="*/ 158115 h 727900"/>
                  <a:gd name="connsiteX295" fmla="*/ 307848 w 703230"/>
                  <a:gd name="connsiteY295" fmla="*/ 173926 h 727900"/>
                  <a:gd name="connsiteX296" fmla="*/ 292037 w 703230"/>
                  <a:gd name="connsiteY296" fmla="*/ 150209 h 727900"/>
                  <a:gd name="connsiteX297" fmla="*/ 299942 w 703230"/>
                  <a:gd name="connsiteY297" fmla="*/ 142304 h 727900"/>
                  <a:gd name="connsiteX298" fmla="*/ 299942 w 703230"/>
                  <a:gd name="connsiteY298" fmla="*/ 110680 h 727900"/>
                  <a:gd name="connsiteX299" fmla="*/ 315754 w 703230"/>
                  <a:gd name="connsiteY299" fmla="*/ 94869 h 727900"/>
                  <a:gd name="connsiteX300" fmla="*/ 355187 w 703230"/>
                  <a:gd name="connsiteY300" fmla="*/ 94869 h 727900"/>
                  <a:gd name="connsiteX301" fmla="*/ 363093 w 703230"/>
                  <a:gd name="connsiteY301" fmla="*/ 102775 h 727900"/>
                  <a:gd name="connsiteX302" fmla="*/ 363093 w 703230"/>
                  <a:gd name="connsiteY302" fmla="*/ 118586 h 727900"/>
                  <a:gd name="connsiteX303" fmla="*/ 378905 w 703230"/>
                  <a:gd name="connsiteY303" fmla="*/ 118586 h 727900"/>
                  <a:gd name="connsiteX304" fmla="*/ 386810 w 703230"/>
                  <a:gd name="connsiteY304" fmla="*/ 110680 h 727900"/>
                  <a:gd name="connsiteX305" fmla="*/ 394716 w 703230"/>
                  <a:gd name="connsiteY305" fmla="*/ 94869 h 727900"/>
                  <a:gd name="connsiteX306" fmla="*/ 402622 w 703230"/>
                  <a:gd name="connsiteY306" fmla="*/ 86963 h 727900"/>
                  <a:gd name="connsiteX307" fmla="*/ 449961 w 703230"/>
                  <a:gd name="connsiteY307" fmla="*/ 86963 h 727900"/>
                  <a:gd name="connsiteX308" fmla="*/ 473678 w 703230"/>
                  <a:gd name="connsiteY308" fmla="*/ 94869 h 727900"/>
                  <a:gd name="connsiteX309" fmla="*/ 489490 w 703230"/>
                  <a:gd name="connsiteY309" fmla="*/ 94869 h 727900"/>
                  <a:gd name="connsiteX310" fmla="*/ 497396 w 703230"/>
                  <a:gd name="connsiteY310" fmla="*/ 102775 h 727900"/>
                  <a:gd name="connsiteX311" fmla="*/ 505301 w 703230"/>
                  <a:gd name="connsiteY311" fmla="*/ 102775 h 727900"/>
                  <a:gd name="connsiteX312" fmla="*/ 505301 w 703230"/>
                  <a:gd name="connsiteY312" fmla="*/ 94869 h 727900"/>
                  <a:gd name="connsiteX313" fmla="*/ 513207 w 703230"/>
                  <a:gd name="connsiteY313" fmla="*/ 79057 h 727900"/>
                  <a:gd name="connsiteX314" fmla="*/ 513207 w 703230"/>
                  <a:gd name="connsiteY314" fmla="*/ 63246 h 727900"/>
                  <a:gd name="connsiteX315" fmla="*/ 505301 w 703230"/>
                  <a:gd name="connsiteY315" fmla="*/ 55340 h 727900"/>
                  <a:gd name="connsiteX316" fmla="*/ 505301 w 703230"/>
                  <a:gd name="connsiteY316" fmla="*/ 47434 h 727900"/>
                  <a:gd name="connsiteX317" fmla="*/ 513207 w 703230"/>
                  <a:gd name="connsiteY317" fmla="*/ 39529 h 727900"/>
                  <a:gd name="connsiteX318" fmla="*/ 536924 w 703230"/>
                  <a:gd name="connsiteY318" fmla="*/ 39529 h 727900"/>
                  <a:gd name="connsiteX319" fmla="*/ 536924 w 703230"/>
                  <a:gd name="connsiteY319" fmla="*/ 23717 h 727900"/>
                  <a:gd name="connsiteX320" fmla="*/ 529019 w 703230"/>
                  <a:gd name="connsiteY320" fmla="*/ 15812 h 727900"/>
                  <a:gd name="connsiteX321" fmla="*/ 529019 w 703230"/>
                  <a:gd name="connsiteY321" fmla="*/ 7906 h 727900"/>
                  <a:gd name="connsiteX322" fmla="*/ 513207 w 703230"/>
                  <a:gd name="connsiteY322" fmla="*/ 7906 h 727900"/>
                  <a:gd name="connsiteX323" fmla="*/ 505301 w 703230"/>
                  <a:gd name="connsiteY323" fmla="*/ 0 h 727900"/>
                  <a:gd name="connsiteX324" fmla="*/ 481584 w 703230"/>
                  <a:gd name="connsiteY324" fmla="*/ 7906 h 72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703230" h="727900">
                    <a:moveTo>
                      <a:pt x="300514" y="664655"/>
                    </a:moveTo>
                    <a:lnTo>
                      <a:pt x="308420" y="672560"/>
                    </a:lnTo>
                    <a:lnTo>
                      <a:pt x="324231" y="680466"/>
                    </a:lnTo>
                    <a:lnTo>
                      <a:pt x="332137" y="688372"/>
                    </a:lnTo>
                    <a:lnTo>
                      <a:pt x="340043" y="680466"/>
                    </a:lnTo>
                    <a:lnTo>
                      <a:pt x="347948" y="696277"/>
                    </a:lnTo>
                    <a:lnTo>
                      <a:pt x="395288" y="696277"/>
                    </a:lnTo>
                    <a:lnTo>
                      <a:pt x="411099" y="727900"/>
                    </a:lnTo>
                    <a:lnTo>
                      <a:pt x="466344" y="719995"/>
                    </a:lnTo>
                    <a:lnTo>
                      <a:pt x="466344" y="712089"/>
                    </a:lnTo>
                    <a:lnTo>
                      <a:pt x="529495" y="712089"/>
                    </a:lnTo>
                    <a:lnTo>
                      <a:pt x="545306" y="696277"/>
                    </a:lnTo>
                    <a:lnTo>
                      <a:pt x="545306" y="688372"/>
                    </a:lnTo>
                    <a:lnTo>
                      <a:pt x="537401" y="680466"/>
                    </a:lnTo>
                    <a:lnTo>
                      <a:pt x="529495" y="680466"/>
                    </a:lnTo>
                    <a:lnTo>
                      <a:pt x="521589" y="688372"/>
                    </a:lnTo>
                    <a:lnTo>
                      <a:pt x="513683" y="688372"/>
                    </a:lnTo>
                    <a:lnTo>
                      <a:pt x="505778" y="696277"/>
                    </a:lnTo>
                    <a:lnTo>
                      <a:pt x="497872" y="696277"/>
                    </a:lnTo>
                    <a:lnTo>
                      <a:pt x="497872" y="680466"/>
                    </a:lnTo>
                    <a:lnTo>
                      <a:pt x="489966" y="672560"/>
                    </a:lnTo>
                    <a:lnTo>
                      <a:pt x="450437" y="672560"/>
                    </a:lnTo>
                    <a:lnTo>
                      <a:pt x="403098" y="664655"/>
                    </a:lnTo>
                    <a:lnTo>
                      <a:pt x="363664" y="664655"/>
                    </a:lnTo>
                    <a:lnTo>
                      <a:pt x="324231" y="640937"/>
                    </a:lnTo>
                    <a:lnTo>
                      <a:pt x="300514" y="664655"/>
                    </a:lnTo>
                    <a:close/>
                    <a:moveTo>
                      <a:pt x="608457" y="672560"/>
                    </a:moveTo>
                    <a:lnTo>
                      <a:pt x="632174" y="672560"/>
                    </a:lnTo>
                    <a:lnTo>
                      <a:pt x="616363" y="617125"/>
                    </a:lnTo>
                    <a:lnTo>
                      <a:pt x="608457" y="672560"/>
                    </a:lnTo>
                    <a:close/>
                    <a:moveTo>
                      <a:pt x="245269" y="569690"/>
                    </a:moveTo>
                    <a:lnTo>
                      <a:pt x="237363" y="577596"/>
                    </a:lnTo>
                    <a:lnTo>
                      <a:pt x="237363" y="593407"/>
                    </a:lnTo>
                    <a:lnTo>
                      <a:pt x="245269" y="601313"/>
                    </a:lnTo>
                    <a:lnTo>
                      <a:pt x="261080" y="585502"/>
                    </a:lnTo>
                    <a:lnTo>
                      <a:pt x="261080" y="577596"/>
                    </a:lnTo>
                    <a:lnTo>
                      <a:pt x="253174" y="569690"/>
                    </a:lnTo>
                    <a:lnTo>
                      <a:pt x="245269" y="569690"/>
                    </a:lnTo>
                    <a:close/>
                    <a:moveTo>
                      <a:pt x="687419" y="553879"/>
                    </a:moveTo>
                    <a:lnTo>
                      <a:pt x="679513" y="561784"/>
                    </a:lnTo>
                    <a:lnTo>
                      <a:pt x="671608" y="577596"/>
                    </a:lnTo>
                    <a:lnTo>
                      <a:pt x="671608" y="617125"/>
                    </a:lnTo>
                    <a:lnTo>
                      <a:pt x="679513" y="617125"/>
                    </a:lnTo>
                    <a:lnTo>
                      <a:pt x="687419" y="601313"/>
                    </a:lnTo>
                    <a:lnTo>
                      <a:pt x="695325" y="593407"/>
                    </a:lnTo>
                    <a:lnTo>
                      <a:pt x="703231" y="577596"/>
                    </a:lnTo>
                    <a:lnTo>
                      <a:pt x="703231" y="553879"/>
                    </a:lnTo>
                    <a:lnTo>
                      <a:pt x="687419" y="553879"/>
                    </a:lnTo>
                    <a:close/>
                    <a:moveTo>
                      <a:pt x="411099" y="538067"/>
                    </a:moveTo>
                    <a:lnTo>
                      <a:pt x="411099" y="553879"/>
                    </a:lnTo>
                    <a:lnTo>
                      <a:pt x="426911" y="553879"/>
                    </a:lnTo>
                    <a:lnTo>
                      <a:pt x="426911" y="545973"/>
                    </a:lnTo>
                    <a:lnTo>
                      <a:pt x="419005" y="538067"/>
                    </a:lnTo>
                    <a:lnTo>
                      <a:pt x="411099" y="538067"/>
                    </a:lnTo>
                    <a:close/>
                    <a:moveTo>
                      <a:pt x="537401" y="538067"/>
                    </a:moveTo>
                    <a:lnTo>
                      <a:pt x="537401" y="553879"/>
                    </a:lnTo>
                    <a:lnTo>
                      <a:pt x="553212" y="553879"/>
                    </a:lnTo>
                    <a:lnTo>
                      <a:pt x="561118" y="545973"/>
                    </a:lnTo>
                    <a:lnTo>
                      <a:pt x="553212" y="538067"/>
                    </a:lnTo>
                    <a:lnTo>
                      <a:pt x="537401" y="538067"/>
                    </a:lnTo>
                    <a:close/>
                    <a:moveTo>
                      <a:pt x="497872" y="514350"/>
                    </a:moveTo>
                    <a:lnTo>
                      <a:pt x="497872" y="538067"/>
                    </a:lnTo>
                    <a:lnTo>
                      <a:pt x="513683" y="514350"/>
                    </a:lnTo>
                    <a:lnTo>
                      <a:pt x="497872" y="514350"/>
                    </a:lnTo>
                    <a:close/>
                    <a:moveTo>
                      <a:pt x="387382" y="514350"/>
                    </a:moveTo>
                    <a:lnTo>
                      <a:pt x="403193" y="514350"/>
                    </a:lnTo>
                    <a:lnTo>
                      <a:pt x="395288" y="498538"/>
                    </a:lnTo>
                    <a:lnTo>
                      <a:pt x="387382" y="514350"/>
                    </a:lnTo>
                    <a:close/>
                    <a:moveTo>
                      <a:pt x="608457" y="506444"/>
                    </a:moveTo>
                    <a:lnTo>
                      <a:pt x="600551" y="538067"/>
                    </a:lnTo>
                    <a:lnTo>
                      <a:pt x="655796" y="498538"/>
                    </a:lnTo>
                    <a:lnTo>
                      <a:pt x="639985" y="490633"/>
                    </a:lnTo>
                    <a:lnTo>
                      <a:pt x="608362" y="506444"/>
                    </a:lnTo>
                    <a:close/>
                    <a:moveTo>
                      <a:pt x="450532" y="482727"/>
                    </a:moveTo>
                    <a:lnTo>
                      <a:pt x="450532" y="498538"/>
                    </a:lnTo>
                    <a:lnTo>
                      <a:pt x="458438" y="506444"/>
                    </a:lnTo>
                    <a:lnTo>
                      <a:pt x="474250" y="506444"/>
                    </a:lnTo>
                    <a:lnTo>
                      <a:pt x="482155" y="498538"/>
                    </a:lnTo>
                    <a:lnTo>
                      <a:pt x="482155" y="490633"/>
                    </a:lnTo>
                    <a:lnTo>
                      <a:pt x="474250" y="482727"/>
                    </a:lnTo>
                    <a:lnTo>
                      <a:pt x="450532" y="482727"/>
                    </a:lnTo>
                    <a:close/>
                    <a:moveTo>
                      <a:pt x="576834" y="466915"/>
                    </a:moveTo>
                    <a:lnTo>
                      <a:pt x="584740" y="490633"/>
                    </a:lnTo>
                    <a:lnTo>
                      <a:pt x="600551" y="466915"/>
                    </a:lnTo>
                    <a:lnTo>
                      <a:pt x="576834" y="466915"/>
                    </a:lnTo>
                    <a:close/>
                    <a:moveTo>
                      <a:pt x="363664" y="435292"/>
                    </a:moveTo>
                    <a:lnTo>
                      <a:pt x="355759" y="443198"/>
                    </a:lnTo>
                    <a:lnTo>
                      <a:pt x="355759" y="459010"/>
                    </a:lnTo>
                    <a:lnTo>
                      <a:pt x="363664" y="459010"/>
                    </a:lnTo>
                    <a:lnTo>
                      <a:pt x="379476" y="443198"/>
                    </a:lnTo>
                    <a:lnTo>
                      <a:pt x="371570" y="435292"/>
                    </a:lnTo>
                    <a:lnTo>
                      <a:pt x="363664" y="435292"/>
                    </a:lnTo>
                    <a:close/>
                    <a:moveTo>
                      <a:pt x="521589" y="435292"/>
                    </a:moveTo>
                    <a:lnTo>
                      <a:pt x="505778" y="443198"/>
                    </a:lnTo>
                    <a:lnTo>
                      <a:pt x="505778" y="451104"/>
                    </a:lnTo>
                    <a:lnTo>
                      <a:pt x="521589" y="451104"/>
                    </a:lnTo>
                    <a:lnTo>
                      <a:pt x="529495" y="443198"/>
                    </a:lnTo>
                    <a:lnTo>
                      <a:pt x="537401" y="443198"/>
                    </a:lnTo>
                    <a:lnTo>
                      <a:pt x="537401" y="435292"/>
                    </a:lnTo>
                    <a:lnTo>
                      <a:pt x="521589" y="435292"/>
                    </a:lnTo>
                    <a:close/>
                    <a:moveTo>
                      <a:pt x="568928" y="411575"/>
                    </a:moveTo>
                    <a:lnTo>
                      <a:pt x="568928" y="435292"/>
                    </a:lnTo>
                    <a:lnTo>
                      <a:pt x="584740" y="443198"/>
                    </a:lnTo>
                    <a:lnTo>
                      <a:pt x="592646" y="435292"/>
                    </a:lnTo>
                    <a:lnTo>
                      <a:pt x="592646" y="419481"/>
                    </a:lnTo>
                    <a:lnTo>
                      <a:pt x="584740" y="411575"/>
                    </a:lnTo>
                    <a:lnTo>
                      <a:pt x="568928" y="411575"/>
                    </a:lnTo>
                    <a:close/>
                    <a:moveTo>
                      <a:pt x="32004" y="411575"/>
                    </a:moveTo>
                    <a:lnTo>
                      <a:pt x="24098" y="419481"/>
                    </a:lnTo>
                    <a:lnTo>
                      <a:pt x="32004" y="427387"/>
                    </a:lnTo>
                    <a:lnTo>
                      <a:pt x="39910" y="427387"/>
                    </a:lnTo>
                    <a:lnTo>
                      <a:pt x="47815" y="435292"/>
                    </a:lnTo>
                    <a:lnTo>
                      <a:pt x="55721" y="427387"/>
                    </a:lnTo>
                    <a:lnTo>
                      <a:pt x="55721" y="419481"/>
                    </a:lnTo>
                    <a:lnTo>
                      <a:pt x="39910" y="403669"/>
                    </a:lnTo>
                    <a:lnTo>
                      <a:pt x="32004" y="411575"/>
                    </a:lnTo>
                    <a:close/>
                    <a:moveTo>
                      <a:pt x="418910" y="443198"/>
                    </a:moveTo>
                    <a:lnTo>
                      <a:pt x="434721" y="419481"/>
                    </a:lnTo>
                    <a:lnTo>
                      <a:pt x="387382" y="387858"/>
                    </a:lnTo>
                    <a:lnTo>
                      <a:pt x="418910" y="443198"/>
                    </a:lnTo>
                    <a:close/>
                    <a:moveTo>
                      <a:pt x="150400" y="364046"/>
                    </a:moveTo>
                    <a:lnTo>
                      <a:pt x="118872" y="379857"/>
                    </a:lnTo>
                    <a:lnTo>
                      <a:pt x="110966" y="379857"/>
                    </a:lnTo>
                    <a:lnTo>
                      <a:pt x="87249" y="411480"/>
                    </a:lnTo>
                    <a:lnTo>
                      <a:pt x="126778" y="443103"/>
                    </a:lnTo>
                    <a:lnTo>
                      <a:pt x="126778" y="458914"/>
                    </a:lnTo>
                    <a:lnTo>
                      <a:pt x="118872" y="482632"/>
                    </a:lnTo>
                    <a:lnTo>
                      <a:pt x="118872" y="506349"/>
                    </a:lnTo>
                    <a:lnTo>
                      <a:pt x="126778" y="514255"/>
                    </a:lnTo>
                    <a:lnTo>
                      <a:pt x="142589" y="522160"/>
                    </a:lnTo>
                    <a:lnTo>
                      <a:pt x="150495" y="522160"/>
                    </a:lnTo>
                    <a:lnTo>
                      <a:pt x="150495" y="514255"/>
                    </a:lnTo>
                    <a:lnTo>
                      <a:pt x="166306" y="498443"/>
                    </a:lnTo>
                    <a:lnTo>
                      <a:pt x="174212" y="498443"/>
                    </a:lnTo>
                    <a:lnTo>
                      <a:pt x="205835" y="553879"/>
                    </a:lnTo>
                    <a:lnTo>
                      <a:pt x="213741" y="514350"/>
                    </a:lnTo>
                    <a:lnTo>
                      <a:pt x="237458" y="545973"/>
                    </a:lnTo>
                    <a:lnTo>
                      <a:pt x="269081" y="553879"/>
                    </a:lnTo>
                    <a:lnTo>
                      <a:pt x="245364" y="530162"/>
                    </a:lnTo>
                    <a:lnTo>
                      <a:pt x="253270" y="522256"/>
                    </a:lnTo>
                    <a:lnTo>
                      <a:pt x="253270" y="490633"/>
                    </a:lnTo>
                    <a:lnTo>
                      <a:pt x="245364" y="482727"/>
                    </a:lnTo>
                    <a:lnTo>
                      <a:pt x="237458" y="466915"/>
                    </a:lnTo>
                    <a:lnTo>
                      <a:pt x="229553" y="459010"/>
                    </a:lnTo>
                    <a:lnTo>
                      <a:pt x="221647" y="443198"/>
                    </a:lnTo>
                    <a:lnTo>
                      <a:pt x="221647" y="435292"/>
                    </a:lnTo>
                    <a:lnTo>
                      <a:pt x="245364" y="435292"/>
                    </a:lnTo>
                    <a:lnTo>
                      <a:pt x="261176" y="443198"/>
                    </a:lnTo>
                    <a:lnTo>
                      <a:pt x="276987" y="459010"/>
                    </a:lnTo>
                    <a:lnTo>
                      <a:pt x="292798" y="451104"/>
                    </a:lnTo>
                    <a:lnTo>
                      <a:pt x="276987" y="443198"/>
                    </a:lnTo>
                    <a:lnTo>
                      <a:pt x="269081" y="427387"/>
                    </a:lnTo>
                    <a:lnTo>
                      <a:pt x="253270" y="419481"/>
                    </a:lnTo>
                    <a:lnTo>
                      <a:pt x="245364" y="411575"/>
                    </a:lnTo>
                    <a:lnTo>
                      <a:pt x="229553" y="403669"/>
                    </a:lnTo>
                    <a:lnTo>
                      <a:pt x="205835" y="387858"/>
                    </a:lnTo>
                    <a:lnTo>
                      <a:pt x="182118" y="379952"/>
                    </a:lnTo>
                    <a:lnTo>
                      <a:pt x="166306" y="372046"/>
                    </a:lnTo>
                    <a:lnTo>
                      <a:pt x="158401" y="364141"/>
                    </a:lnTo>
                    <a:lnTo>
                      <a:pt x="150495" y="364141"/>
                    </a:lnTo>
                    <a:close/>
                    <a:moveTo>
                      <a:pt x="381" y="371951"/>
                    </a:moveTo>
                    <a:lnTo>
                      <a:pt x="55626" y="387763"/>
                    </a:lnTo>
                    <a:lnTo>
                      <a:pt x="31909" y="340233"/>
                    </a:lnTo>
                    <a:lnTo>
                      <a:pt x="381" y="371856"/>
                    </a:lnTo>
                    <a:close/>
                    <a:moveTo>
                      <a:pt x="489966" y="332327"/>
                    </a:moveTo>
                    <a:lnTo>
                      <a:pt x="489966" y="356044"/>
                    </a:lnTo>
                    <a:lnTo>
                      <a:pt x="505778" y="387667"/>
                    </a:lnTo>
                    <a:lnTo>
                      <a:pt x="521589" y="332232"/>
                    </a:lnTo>
                    <a:lnTo>
                      <a:pt x="490061" y="332232"/>
                    </a:lnTo>
                    <a:close/>
                    <a:moveTo>
                      <a:pt x="363664" y="316516"/>
                    </a:moveTo>
                    <a:lnTo>
                      <a:pt x="379476" y="316516"/>
                    </a:lnTo>
                    <a:lnTo>
                      <a:pt x="363664" y="292798"/>
                    </a:lnTo>
                    <a:lnTo>
                      <a:pt x="363664" y="316516"/>
                    </a:lnTo>
                    <a:close/>
                    <a:moveTo>
                      <a:pt x="489966" y="261080"/>
                    </a:moveTo>
                    <a:lnTo>
                      <a:pt x="489966" y="276892"/>
                    </a:lnTo>
                    <a:lnTo>
                      <a:pt x="513683" y="276892"/>
                    </a:lnTo>
                    <a:lnTo>
                      <a:pt x="521589" y="284797"/>
                    </a:lnTo>
                    <a:lnTo>
                      <a:pt x="521589" y="292703"/>
                    </a:lnTo>
                    <a:lnTo>
                      <a:pt x="545306" y="292703"/>
                    </a:lnTo>
                    <a:lnTo>
                      <a:pt x="545306" y="276892"/>
                    </a:lnTo>
                    <a:lnTo>
                      <a:pt x="521589" y="253174"/>
                    </a:lnTo>
                    <a:lnTo>
                      <a:pt x="490061" y="261080"/>
                    </a:lnTo>
                    <a:close/>
                    <a:moveTo>
                      <a:pt x="355759" y="166116"/>
                    </a:moveTo>
                    <a:lnTo>
                      <a:pt x="371570" y="158210"/>
                    </a:lnTo>
                    <a:lnTo>
                      <a:pt x="316325" y="142399"/>
                    </a:lnTo>
                    <a:lnTo>
                      <a:pt x="355759" y="166116"/>
                    </a:lnTo>
                    <a:close/>
                    <a:moveTo>
                      <a:pt x="482060" y="7810"/>
                    </a:moveTo>
                    <a:lnTo>
                      <a:pt x="489966" y="15716"/>
                    </a:lnTo>
                    <a:lnTo>
                      <a:pt x="489966" y="39433"/>
                    </a:lnTo>
                    <a:lnTo>
                      <a:pt x="482060" y="47339"/>
                    </a:lnTo>
                    <a:lnTo>
                      <a:pt x="458343" y="47339"/>
                    </a:lnTo>
                    <a:lnTo>
                      <a:pt x="442531" y="31528"/>
                    </a:lnTo>
                    <a:lnTo>
                      <a:pt x="426720" y="47339"/>
                    </a:lnTo>
                    <a:lnTo>
                      <a:pt x="410908" y="47339"/>
                    </a:lnTo>
                    <a:lnTo>
                      <a:pt x="395097" y="31528"/>
                    </a:lnTo>
                    <a:lnTo>
                      <a:pt x="387191" y="39433"/>
                    </a:lnTo>
                    <a:lnTo>
                      <a:pt x="371380" y="39433"/>
                    </a:lnTo>
                    <a:lnTo>
                      <a:pt x="347663" y="15716"/>
                    </a:lnTo>
                    <a:lnTo>
                      <a:pt x="347663" y="7810"/>
                    </a:lnTo>
                    <a:lnTo>
                      <a:pt x="308229" y="15716"/>
                    </a:lnTo>
                    <a:lnTo>
                      <a:pt x="300323" y="39433"/>
                    </a:lnTo>
                    <a:lnTo>
                      <a:pt x="268796" y="31528"/>
                    </a:lnTo>
                    <a:lnTo>
                      <a:pt x="260890" y="39433"/>
                    </a:lnTo>
                    <a:lnTo>
                      <a:pt x="245078" y="47339"/>
                    </a:lnTo>
                    <a:lnTo>
                      <a:pt x="229267" y="47339"/>
                    </a:lnTo>
                    <a:lnTo>
                      <a:pt x="221361" y="39433"/>
                    </a:lnTo>
                    <a:lnTo>
                      <a:pt x="213455" y="39433"/>
                    </a:lnTo>
                    <a:lnTo>
                      <a:pt x="197644" y="47339"/>
                    </a:lnTo>
                    <a:lnTo>
                      <a:pt x="181832" y="63151"/>
                    </a:lnTo>
                    <a:lnTo>
                      <a:pt x="166021" y="71056"/>
                    </a:lnTo>
                    <a:lnTo>
                      <a:pt x="134398" y="71056"/>
                    </a:lnTo>
                    <a:lnTo>
                      <a:pt x="134398" y="78962"/>
                    </a:lnTo>
                    <a:lnTo>
                      <a:pt x="126492" y="94774"/>
                    </a:lnTo>
                    <a:lnTo>
                      <a:pt x="94869" y="94774"/>
                    </a:lnTo>
                    <a:lnTo>
                      <a:pt x="86963" y="86868"/>
                    </a:lnTo>
                    <a:lnTo>
                      <a:pt x="79057" y="86868"/>
                    </a:lnTo>
                    <a:lnTo>
                      <a:pt x="63246" y="94774"/>
                    </a:lnTo>
                    <a:lnTo>
                      <a:pt x="71152" y="110585"/>
                    </a:lnTo>
                    <a:lnTo>
                      <a:pt x="71152" y="118491"/>
                    </a:lnTo>
                    <a:lnTo>
                      <a:pt x="55340" y="134302"/>
                    </a:lnTo>
                    <a:lnTo>
                      <a:pt x="31623" y="134302"/>
                    </a:lnTo>
                    <a:lnTo>
                      <a:pt x="31623" y="165925"/>
                    </a:lnTo>
                    <a:lnTo>
                      <a:pt x="15812" y="173831"/>
                    </a:lnTo>
                    <a:lnTo>
                      <a:pt x="0" y="173831"/>
                    </a:lnTo>
                    <a:lnTo>
                      <a:pt x="0" y="260890"/>
                    </a:lnTo>
                    <a:lnTo>
                      <a:pt x="7906" y="268796"/>
                    </a:lnTo>
                    <a:lnTo>
                      <a:pt x="23717" y="276701"/>
                    </a:lnTo>
                    <a:lnTo>
                      <a:pt x="31623" y="284607"/>
                    </a:lnTo>
                    <a:lnTo>
                      <a:pt x="39529" y="300418"/>
                    </a:lnTo>
                    <a:lnTo>
                      <a:pt x="47435" y="308324"/>
                    </a:lnTo>
                    <a:lnTo>
                      <a:pt x="55340" y="324136"/>
                    </a:lnTo>
                    <a:lnTo>
                      <a:pt x="71152" y="339947"/>
                    </a:lnTo>
                    <a:lnTo>
                      <a:pt x="79057" y="355759"/>
                    </a:lnTo>
                    <a:lnTo>
                      <a:pt x="110680" y="355759"/>
                    </a:lnTo>
                    <a:lnTo>
                      <a:pt x="126492" y="347853"/>
                    </a:lnTo>
                    <a:lnTo>
                      <a:pt x="181737" y="347853"/>
                    </a:lnTo>
                    <a:lnTo>
                      <a:pt x="189643" y="355759"/>
                    </a:lnTo>
                    <a:lnTo>
                      <a:pt x="205454" y="355759"/>
                    </a:lnTo>
                    <a:lnTo>
                      <a:pt x="236982" y="371570"/>
                    </a:lnTo>
                    <a:lnTo>
                      <a:pt x="252794" y="371570"/>
                    </a:lnTo>
                    <a:lnTo>
                      <a:pt x="260699" y="379476"/>
                    </a:lnTo>
                    <a:lnTo>
                      <a:pt x="268605" y="379476"/>
                    </a:lnTo>
                    <a:lnTo>
                      <a:pt x="284416" y="395288"/>
                    </a:lnTo>
                    <a:lnTo>
                      <a:pt x="300228" y="403193"/>
                    </a:lnTo>
                    <a:lnTo>
                      <a:pt x="308134" y="411099"/>
                    </a:lnTo>
                    <a:lnTo>
                      <a:pt x="323945" y="411099"/>
                    </a:lnTo>
                    <a:lnTo>
                      <a:pt x="331851" y="403193"/>
                    </a:lnTo>
                    <a:lnTo>
                      <a:pt x="331851" y="379476"/>
                    </a:lnTo>
                    <a:lnTo>
                      <a:pt x="300228" y="347853"/>
                    </a:lnTo>
                    <a:lnTo>
                      <a:pt x="284416" y="339947"/>
                    </a:lnTo>
                    <a:lnTo>
                      <a:pt x="276511" y="332041"/>
                    </a:lnTo>
                    <a:lnTo>
                      <a:pt x="268605" y="332041"/>
                    </a:lnTo>
                    <a:lnTo>
                      <a:pt x="260699" y="324136"/>
                    </a:lnTo>
                    <a:lnTo>
                      <a:pt x="244888" y="324136"/>
                    </a:lnTo>
                    <a:lnTo>
                      <a:pt x="229076" y="308324"/>
                    </a:lnTo>
                    <a:lnTo>
                      <a:pt x="221171" y="308324"/>
                    </a:lnTo>
                    <a:lnTo>
                      <a:pt x="229076" y="300418"/>
                    </a:lnTo>
                    <a:lnTo>
                      <a:pt x="252794" y="300418"/>
                    </a:lnTo>
                    <a:lnTo>
                      <a:pt x="260699" y="316230"/>
                    </a:lnTo>
                    <a:lnTo>
                      <a:pt x="292227" y="332041"/>
                    </a:lnTo>
                    <a:lnTo>
                      <a:pt x="308038" y="347853"/>
                    </a:lnTo>
                    <a:lnTo>
                      <a:pt x="339566" y="347853"/>
                    </a:lnTo>
                    <a:lnTo>
                      <a:pt x="355378" y="332041"/>
                    </a:lnTo>
                    <a:lnTo>
                      <a:pt x="339566" y="316230"/>
                    </a:lnTo>
                    <a:lnTo>
                      <a:pt x="323755" y="316230"/>
                    </a:lnTo>
                    <a:lnTo>
                      <a:pt x="307943" y="308324"/>
                    </a:lnTo>
                    <a:lnTo>
                      <a:pt x="292132" y="308324"/>
                    </a:lnTo>
                    <a:lnTo>
                      <a:pt x="276320" y="300418"/>
                    </a:lnTo>
                    <a:lnTo>
                      <a:pt x="268414" y="284607"/>
                    </a:lnTo>
                    <a:lnTo>
                      <a:pt x="260509" y="276701"/>
                    </a:lnTo>
                    <a:lnTo>
                      <a:pt x="260509" y="268796"/>
                    </a:lnTo>
                    <a:lnTo>
                      <a:pt x="252603" y="252984"/>
                    </a:lnTo>
                    <a:lnTo>
                      <a:pt x="244697" y="245078"/>
                    </a:lnTo>
                    <a:lnTo>
                      <a:pt x="228886" y="213455"/>
                    </a:lnTo>
                    <a:lnTo>
                      <a:pt x="220980" y="205549"/>
                    </a:lnTo>
                    <a:lnTo>
                      <a:pt x="213074" y="189738"/>
                    </a:lnTo>
                    <a:lnTo>
                      <a:pt x="197263" y="173926"/>
                    </a:lnTo>
                    <a:lnTo>
                      <a:pt x="197263" y="158115"/>
                    </a:lnTo>
                    <a:lnTo>
                      <a:pt x="189357" y="150209"/>
                    </a:lnTo>
                    <a:lnTo>
                      <a:pt x="189357" y="134398"/>
                    </a:lnTo>
                    <a:lnTo>
                      <a:pt x="197263" y="126492"/>
                    </a:lnTo>
                    <a:lnTo>
                      <a:pt x="205169" y="126492"/>
                    </a:lnTo>
                    <a:lnTo>
                      <a:pt x="213074" y="134398"/>
                    </a:lnTo>
                    <a:lnTo>
                      <a:pt x="213074" y="142304"/>
                    </a:lnTo>
                    <a:lnTo>
                      <a:pt x="220980" y="150209"/>
                    </a:lnTo>
                    <a:lnTo>
                      <a:pt x="236791" y="150209"/>
                    </a:lnTo>
                    <a:lnTo>
                      <a:pt x="236791" y="158115"/>
                    </a:lnTo>
                    <a:lnTo>
                      <a:pt x="244697" y="158115"/>
                    </a:lnTo>
                    <a:lnTo>
                      <a:pt x="260509" y="173926"/>
                    </a:lnTo>
                    <a:lnTo>
                      <a:pt x="260509" y="189738"/>
                    </a:lnTo>
                    <a:lnTo>
                      <a:pt x="268414" y="189738"/>
                    </a:lnTo>
                    <a:lnTo>
                      <a:pt x="276320" y="181832"/>
                    </a:lnTo>
                    <a:lnTo>
                      <a:pt x="284226" y="181832"/>
                    </a:lnTo>
                    <a:lnTo>
                      <a:pt x="268414" y="158115"/>
                    </a:lnTo>
                    <a:lnTo>
                      <a:pt x="276320" y="158115"/>
                    </a:lnTo>
                    <a:lnTo>
                      <a:pt x="307848" y="173926"/>
                    </a:lnTo>
                    <a:lnTo>
                      <a:pt x="292037" y="150209"/>
                    </a:lnTo>
                    <a:lnTo>
                      <a:pt x="299942" y="142304"/>
                    </a:lnTo>
                    <a:lnTo>
                      <a:pt x="299942" y="110680"/>
                    </a:lnTo>
                    <a:lnTo>
                      <a:pt x="315754" y="94869"/>
                    </a:lnTo>
                    <a:lnTo>
                      <a:pt x="355187" y="94869"/>
                    </a:lnTo>
                    <a:lnTo>
                      <a:pt x="363093" y="102775"/>
                    </a:lnTo>
                    <a:lnTo>
                      <a:pt x="363093" y="118586"/>
                    </a:lnTo>
                    <a:lnTo>
                      <a:pt x="378905" y="118586"/>
                    </a:lnTo>
                    <a:lnTo>
                      <a:pt x="386810" y="110680"/>
                    </a:lnTo>
                    <a:lnTo>
                      <a:pt x="394716" y="94869"/>
                    </a:lnTo>
                    <a:lnTo>
                      <a:pt x="402622" y="86963"/>
                    </a:lnTo>
                    <a:lnTo>
                      <a:pt x="449961" y="86963"/>
                    </a:lnTo>
                    <a:lnTo>
                      <a:pt x="473678" y="94869"/>
                    </a:lnTo>
                    <a:lnTo>
                      <a:pt x="489490" y="94869"/>
                    </a:lnTo>
                    <a:lnTo>
                      <a:pt x="497396" y="102775"/>
                    </a:lnTo>
                    <a:lnTo>
                      <a:pt x="505301" y="102775"/>
                    </a:lnTo>
                    <a:lnTo>
                      <a:pt x="505301" y="94869"/>
                    </a:lnTo>
                    <a:lnTo>
                      <a:pt x="513207" y="79057"/>
                    </a:lnTo>
                    <a:lnTo>
                      <a:pt x="513207" y="63246"/>
                    </a:lnTo>
                    <a:lnTo>
                      <a:pt x="505301" y="55340"/>
                    </a:lnTo>
                    <a:lnTo>
                      <a:pt x="505301" y="47434"/>
                    </a:lnTo>
                    <a:lnTo>
                      <a:pt x="513207" y="39529"/>
                    </a:lnTo>
                    <a:lnTo>
                      <a:pt x="536924" y="39529"/>
                    </a:lnTo>
                    <a:lnTo>
                      <a:pt x="536924" y="23717"/>
                    </a:lnTo>
                    <a:lnTo>
                      <a:pt x="529019" y="15812"/>
                    </a:lnTo>
                    <a:lnTo>
                      <a:pt x="529019" y="7906"/>
                    </a:lnTo>
                    <a:lnTo>
                      <a:pt x="513207" y="7906"/>
                    </a:lnTo>
                    <a:lnTo>
                      <a:pt x="505301" y="0"/>
                    </a:lnTo>
                    <a:lnTo>
                      <a:pt x="481584" y="7906"/>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118" name="Freeform: Shape 117">
                <a:extLst>
                  <a:ext uri="{FF2B5EF4-FFF2-40B4-BE49-F238E27FC236}">
                    <a16:creationId xmlns:a16="http://schemas.microsoft.com/office/drawing/2014/main" id="{462DB94E-A77B-34BB-868D-416FC7A02286}"/>
                  </a:ext>
                </a:extLst>
              </p:cNvPr>
              <p:cNvSpPr/>
              <p:nvPr/>
            </p:nvSpPr>
            <p:spPr>
              <a:xfrm>
                <a:off x="7007828" y="4636483"/>
                <a:ext cx="703040" cy="727519"/>
              </a:xfrm>
              <a:custGeom>
                <a:avLst/>
                <a:gdLst>
                  <a:gd name="connsiteX0" fmla="*/ 150304 w 703040"/>
                  <a:gd name="connsiteY0" fmla="*/ 363569 h 727519"/>
                  <a:gd name="connsiteX1" fmla="*/ 118681 w 703040"/>
                  <a:gd name="connsiteY1" fmla="*/ 379381 h 727519"/>
                  <a:gd name="connsiteX2" fmla="*/ 110776 w 703040"/>
                  <a:gd name="connsiteY2" fmla="*/ 379381 h 727519"/>
                  <a:gd name="connsiteX3" fmla="*/ 87058 w 703040"/>
                  <a:gd name="connsiteY3" fmla="*/ 411004 h 727519"/>
                  <a:gd name="connsiteX4" fmla="*/ 126492 w 703040"/>
                  <a:gd name="connsiteY4" fmla="*/ 442627 h 727519"/>
                  <a:gd name="connsiteX5" fmla="*/ 126492 w 703040"/>
                  <a:gd name="connsiteY5" fmla="*/ 458438 h 727519"/>
                  <a:gd name="connsiteX6" fmla="*/ 118586 w 703040"/>
                  <a:gd name="connsiteY6" fmla="*/ 482156 h 727519"/>
                  <a:gd name="connsiteX7" fmla="*/ 118586 w 703040"/>
                  <a:gd name="connsiteY7" fmla="*/ 505873 h 727519"/>
                  <a:gd name="connsiteX8" fmla="*/ 126492 w 703040"/>
                  <a:gd name="connsiteY8" fmla="*/ 513779 h 727519"/>
                  <a:gd name="connsiteX9" fmla="*/ 142304 w 703040"/>
                  <a:gd name="connsiteY9" fmla="*/ 521684 h 727519"/>
                  <a:gd name="connsiteX10" fmla="*/ 150209 w 703040"/>
                  <a:gd name="connsiteY10" fmla="*/ 521684 h 727519"/>
                  <a:gd name="connsiteX11" fmla="*/ 150209 w 703040"/>
                  <a:gd name="connsiteY11" fmla="*/ 513779 h 727519"/>
                  <a:gd name="connsiteX12" fmla="*/ 166021 w 703040"/>
                  <a:gd name="connsiteY12" fmla="*/ 497967 h 727519"/>
                  <a:gd name="connsiteX13" fmla="*/ 173926 w 703040"/>
                  <a:gd name="connsiteY13" fmla="*/ 497967 h 727519"/>
                  <a:gd name="connsiteX14" fmla="*/ 205549 w 703040"/>
                  <a:gd name="connsiteY14" fmla="*/ 553403 h 727519"/>
                  <a:gd name="connsiteX15" fmla="*/ 213455 w 703040"/>
                  <a:gd name="connsiteY15" fmla="*/ 513874 h 727519"/>
                  <a:gd name="connsiteX16" fmla="*/ 237172 w 703040"/>
                  <a:gd name="connsiteY16" fmla="*/ 545497 h 727519"/>
                  <a:gd name="connsiteX17" fmla="*/ 268796 w 703040"/>
                  <a:gd name="connsiteY17" fmla="*/ 553403 h 727519"/>
                  <a:gd name="connsiteX18" fmla="*/ 245078 w 703040"/>
                  <a:gd name="connsiteY18" fmla="*/ 529685 h 727519"/>
                  <a:gd name="connsiteX19" fmla="*/ 252984 w 703040"/>
                  <a:gd name="connsiteY19" fmla="*/ 521780 h 727519"/>
                  <a:gd name="connsiteX20" fmla="*/ 252984 w 703040"/>
                  <a:gd name="connsiteY20" fmla="*/ 490157 h 727519"/>
                  <a:gd name="connsiteX21" fmla="*/ 245078 w 703040"/>
                  <a:gd name="connsiteY21" fmla="*/ 482251 h 727519"/>
                  <a:gd name="connsiteX22" fmla="*/ 237172 w 703040"/>
                  <a:gd name="connsiteY22" fmla="*/ 466439 h 727519"/>
                  <a:gd name="connsiteX23" fmla="*/ 229267 w 703040"/>
                  <a:gd name="connsiteY23" fmla="*/ 458534 h 727519"/>
                  <a:gd name="connsiteX24" fmla="*/ 221361 w 703040"/>
                  <a:gd name="connsiteY24" fmla="*/ 442722 h 727519"/>
                  <a:gd name="connsiteX25" fmla="*/ 221361 w 703040"/>
                  <a:gd name="connsiteY25" fmla="*/ 434816 h 727519"/>
                  <a:gd name="connsiteX26" fmla="*/ 245078 w 703040"/>
                  <a:gd name="connsiteY26" fmla="*/ 434816 h 727519"/>
                  <a:gd name="connsiteX27" fmla="*/ 260890 w 703040"/>
                  <a:gd name="connsiteY27" fmla="*/ 442722 h 727519"/>
                  <a:gd name="connsiteX28" fmla="*/ 276701 w 703040"/>
                  <a:gd name="connsiteY28" fmla="*/ 458534 h 727519"/>
                  <a:gd name="connsiteX29" fmla="*/ 292513 w 703040"/>
                  <a:gd name="connsiteY29" fmla="*/ 450628 h 727519"/>
                  <a:gd name="connsiteX30" fmla="*/ 276701 w 703040"/>
                  <a:gd name="connsiteY30" fmla="*/ 442722 h 727519"/>
                  <a:gd name="connsiteX31" fmla="*/ 268796 w 703040"/>
                  <a:gd name="connsiteY31" fmla="*/ 426911 h 727519"/>
                  <a:gd name="connsiteX32" fmla="*/ 252984 w 703040"/>
                  <a:gd name="connsiteY32" fmla="*/ 419005 h 727519"/>
                  <a:gd name="connsiteX33" fmla="*/ 245078 w 703040"/>
                  <a:gd name="connsiteY33" fmla="*/ 411099 h 727519"/>
                  <a:gd name="connsiteX34" fmla="*/ 229267 w 703040"/>
                  <a:gd name="connsiteY34" fmla="*/ 403193 h 727519"/>
                  <a:gd name="connsiteX35" fmla="*/ 205549 w 703040"/>
                  <a:gd name="connsiteY35" fmla="*/ 387382 h 727519"/>
                  <a:gd name="connsiteX36" fmla="*/ 181832 w 703040"/>
                  <a:gd name="connsiteY36" fmla="*/ 379476 h 727519"/>
                  <a:gd name="connsiteX37" fmla="*/ 166021 w 703040"/>
                  <a:gd name="connsiteY37" fmla="*/ 371570 h 727519"/>
                  <a:gd name="connsiteX38" fmla="*/ 158115 w 703040"/>
                  <a:gd name="connsiteY38" fmla="*/ 363665 h 727519"/>
                  <a:gd name="connsiteX39" fmla="*/ 150209 w 703040"/>
                  <a:gd name="connsiteY39" fmla="*/ 363665 h 727519"/>
                  <a:gd name="connsiteX40" fmla="*/ 553022 w 703040"/>
                  <a:gd name="connsiteY40" fmla="*/ 537686 h 727519"/>
                  <a:gd name="connsiteX41" fmla="*/ 537210 w 703040"/>
                  <a:gd name="connsiteY41" fmla="*/ 537686 h 727519"/>
                  <a:gd name="connsiteX42" fmla="*/ 537210 w 703040"/>
                  <a:gd name="connsiteY42" fmla="*/ 553498 h 727519"/>
                  <a:gd name="connsiteX43" fmla="*/ 553022 w 703040"/>
                  <a:gd name="connsiteY43" fmla="*/ 553498 h 727519"/>
                  <a:gd name="connsiteX44" fmla="*/ 560927 w 703040"/>
                  <a:gd name="connsiteY44" fmla="*/ 545592 h 727519"/>
                  <a:gd name="connsiteX45" fmla="*/ 553022 w 703040"/>
                  <a:gd name="connsiteY45" fmla="*/ 537686 h 727519"/>
                  <a:gd name="connsiteX46" fmla="*/ 505682 w 703040"/>
                  <a:gd name="connsiteY46" fmla="*/ 695897 h 727519"/>
                  <a:gd name="connsiteX47" fmla="*/ 497776 w 703040"/>
                  <a:gd name="connsiteY47" fmla="*/ 695897 h 727519"/>
                  <a:gd name="connsiteX48" fmla="*/ 497776 w 703040"/>
                  <a:gd name="connsiteY48" fmla="*/ 680085 h 727519"/>
                  <a:gd name="connsiteX49" fmla="*/ 489871 w 703040"/>
                  <a:gd name="connsiteY49" fmla="*/ 672179 h 727519"/>
                  <a:gd name="connsiteX50" fmla="*/ 450437 w 703040"/>
                  <a:gd name="connsiteY50" fmla="*/ 672179 h 727519"/>
                  <a:gd name="connsiteX51" fmla="*/ 403003 w 703040"/>
                  <a:gd name="connsiteY51" fmla="*/ 664274 h 727519"/>
                  <a:gd name="connsiteX52" fmla="*/ 363569 w 703040"/>
                  <a:gd name="connsiteY52" fmla="*/ 664274 h 727519"/>
                  <a:gd name="connsiteX53" fmla="*/ 324136 w 703040"/>
                  <a:gd name="connsiteY53" fmla="*/ 640556 h 727519"/>
                  <a:gd name="connsiteX54" fmla="*/ 300418 w 703040"/>
                  <a:gd name="connsiteY54" fmla="*/ 664274 h 727519"/>
                  <a:gd name="connsiteX55" fmla="*/ 308324 w 703040"/>
                  <a:gd name="connsiteY55" fmla="*/ 672179 h 727519"/>
                  <a:gd name="connsiteX56" fmla="*/ 324136 w 703040"/>
                  <a:gd name="connsiteY56" fmla="*/ 680085 h 727519"/>
                  <a:gd name="connsiteX57" fmla="*/ 332041 w 703040"/>
                  <a:gd name="connsiteY57" fmla="*/ 687991 h 727519"/>
                  <a:gd name="connsiteX58" fmla="*/ 339947 w 703040"/>
                  <a:gd name="connsiteY58" fmla="*/ 680085 h 727519"/>
                  <a:gd name="connsiteX59" fmla="*/ 347853 w 703040"/>
                  <a:gd name="connsiteY59" fmla="*/ 695897 h 727519"/>
                  <a:gd name="connsiteX60" fmla="*/ 395288 w 703040"/>
                  <a:gd name="connsiteY60" fmla="*/ 695897 h 727519"/>
                  <a:gd name="connsiteX61" fmla="*/ 411099 w 703040"/>
                  <a:gd name="connsiteY61" fmla="*/ 727520 h 727519"/>
                  <a:gd name="connsiteX62" fmla="*/ 466344 w 703040"/>
                  <a:gd name="connsiteY62" fmla="*/ 719614 h 727519"/>
                  <a:gd name="connsiteX63" fmla="*/ 466344 w 703040"/>
                  <a:gd name="connsiteY63" fmla="*/ 711708 h 727519"/>
                  <a:gd name="connsiteX64" fmla="*/ 529495 w 703040"/>
                  <a:gd name="connsiteY64" fmla="*/ 711708 h 727519"/>
                  <a:gd name="connsiteX65" fmla="*/ 545306 w 703040"/>
                  <a:gd name="connsiteY65" fmla="*/ 695897 h 727519"/>
                  <a:gd name="connsiteX66" fmla="*/ 545306 w 703040"/>
                  <a:gd name="connsiteY66" fmla="*/ 687991 h 727519"/>
                  <a:gd name="connsiteX67" fmla="*/ 537400 w 703040"/>
                  <a:gd name="connsiteY67" fmla="*/ 680085 h 727519"/>
                  <a:gd name="connsiteX68" fmla="*/ 529495 w 703040"/>
                  <a:gd name="connsiteY68" fmla="*/ 680085 h 727519"/>
                  <a:gd name="connsiteX69" fmla="*/ 521589 w 703040"/>
                  <a:gd name="connsiteY69" fmla="*/ 687991 h 727519"/>
                  <a:gd name="connsiteX70" fmla="*/ 513683 w 703040"/>
                  <a:gd name="connsiteY70" fmla="*/ 687991 h 727519"/>
                  <a:gd name="connsiteX71" fmla="*/ 505777 w 703040"/>
                  <a:gd name="connsiteY71" fmla="*/ 695897 h 727519"/>
                  <a:gd name="connsiteX72" fmla="*/ 245078 w 703040"/>
                  <a:gd name="connsiteY72" fmla="*/ 569309 h 727519"/>
                  <a:gd name="connsiteX73" fmla="*/ 237172 w 703040"/>
                  <a:gd name="connsiteY73" fmla="*/ 577215 h 727519"/>
                  <a:gd name="connsiteX74" fmla="*/ 237172 w 703040"/>
                  <a:gd name="connsiteY74" fmla="*/ 593027 h 727519"/>
                  <a:gd name="connsiteX75" fmla="*/ 245078 w 703040"/>
                  <a:gd name="connsiteY75" fmla="*/ 600932 h 727519"/>
                  <a:gd name="connsiteX76" fmla="*/ 260890 w 703040"/>
                  <a:gd name="connsiteY76" fmla="*/ 585121 h 727519"/>
                  <a:gd name="connsiteX77" fmla="*/ 260890 w 703040"/>
                  <a:gd name="connsiteY77" fmla="*/ 577215 h 727519"/>
                  <a:gd name="connsiteX78" fmla="*/ 252984 w 703040"/>
                  <a:gd name="connsiteY78" fmla="*/ 569309 h 727519"/>
                  <a:gd name="connsiteX79" fmla="*/ 245078 w 703040"/>
                  <a:gd name="connsiteY79" fmla="*/ 569309 h 727519"/>
                  <a:gd name="connsiteX80" fmla="*/ 363474 w 703040"/>
                  <a:gd name="connsiteY80" fmla="*/ 434816 h 727519"/>
                  <a:gd name="connsiteX81" fmla="*/ 355568 w 703040"/>
                  <a:gd name="connsiteY81" fmla="*/ 442722 h 727519"/>
                  <a:gd name="connsiteX82" fmla="*/ 355568 w 703040"/>
                  <a:gd name="connsiteY82" fmla="*/ 458534 h 727519"/>
                  <a:gd name="connsiteX83" fmla="*/ 363474 w 703040"/>
                  <a:gd name="connsiteY83" fmla="*/ 458534 h 727519"/>
                  <a:gd name="connsiteX84" fmla="*/ 379285 w 703040"/>
                  <a:gd name="connsiteY84" fmla="*/ 442722 h 727519"/>
                  <a:gd name="connsiteX85" fmla="*/ 371380 w 703040"/>
                  <a:gd name="connsiteY85" fmla="*/ 434816 h 727519"/>
                  <a:gd name="connsiteX86" fmla="*/ 363474 w 703040"/>
                  <a:gd name="connsiteY86" fmla="*/ 434816 h 727519"/>
                  <a:gd name="connsiteX87" fmla="*/ 608266 w 703040"/>
                  <a:gd name="connsiteY87" fmla="*/ 672179 h 727519"/>
                  <a:gd name="connsiteX88" fmla="*/ 631984 w 703040"/>
                  <a:gd name="connsiteY88" fmla="*/ 672179 h 727519"/>
                  <a:gd name="connsiteX89" fmla="*/ 616172 w 703040"/>
                  <a:gd name="connsiteY89" fmla="*/ 616744 h 727519"/>
                  <a:gd name="connsiteX90" fmla="*/ 608266 w 703040"/>
                  <a:gd name="connsiteY90" fmla="*/ 672179 h 727519"/>
                  <a:gd name="connsiteX91" fmla="*/ 608266 w 703040"/>
                  <a:gd name="connsiteY91" fmla="*/ 505968 h 727519"/>
                  <a:gd name="connsiteX92" fmla="*/ 600361 w 703040"/>
                  <a:gd name="connsiteY92" fmla="*/ 537591 h 727519"/>
                  <a:gd name="connsiteX93" fmla="*/ 655606 w 703040"/>
                  <a:gd name="connsiteY93" fmla="*/ 498062 h 727519"/>
                  <a:gd name="connsiteX94" fmla="*/ 639794 w 703040"/>
                  <a:gd name="connsiteY94" fmla="*/ 490157 h 727519"/>
                  <a:gd name="connsiteX95" fmla="*/ 608266 w 703040"/>
                  <a:gd name="connsiteY95" fmla="*/ 505968 h 727519"/>
                  <a:gd name="connsiteX96" fmla="*/ 703040 w 703040"/>
                  <a:gd name="connsiteY96" fmla="*/ 553498 h 727519"/>
                  <a:gd name="connsiteX97" fmla="*/ 687229 w 703040"/>
                  <a:gd name="connsiteY97" fmla="*/ 553498 h 727519"/>
                  <a:gd name="connsiteX98" fmla="*/ 679323 w 703040"/>
                  <a:gd name="connsiteY98" fmla="*/ 561404 h 727519"/>
                  <a:gd name="connsiteX99" fmla="*/ 671417 w 703040"/>
                  <a:gd name="connsiteY99" fmla="*/ 577215 h 727519"/>
                  <a:gd name="connsiteX100" fmla="*/ 671417 w 703040"/>
                  <a:gd name="connsiteY100" fmla="*/ 616744 h 727519"/>
                  <a:gd name="connsiteX101" fmla="*/ 679323 w 703040"/>
                  <a:gd name="connsiteY101" fmla="*/ 616744 h 727519"/>
                  <a:gd name="connsiteX102" fmla="*/ 687229 w 703040"/>
                  <a:gd name="connsiteY102" fmla="*/ 600932 h 727519"/>
                  <a:gd name="connsiteX103" fmla="*/ 695134 w 703040"/>
                  <a:gd name="connsiteY103" fmla="*/ 593027 h 727519"/>
                  <a:gd name="connsiteX104" fmla="*/ 703040 w 703040"/>
                  <a:gd name="connsiteY104" fmla="*/ 577215 h 727519"/>
                  <a:gd name="connsiteX105" fmla="*/ 703040 w 703040"/>
                  <a:gd name="connsiteY105" fmla="*/ 553498 h 727519"/>
                  <a:gd name="connsiteX106" fmla="*/ 363569 w 703040"/>
                  <a:gd name="connsiteY106" fmla="*/ 292418 h 727519"/>
                  <a:gd name="connsiteX107" fmla="*/ 363569 w 703040"/>
                  <a:gd name="connsiteY107" fmla="*/ 316135 h 727519"/>
                  <a:gd name="connsiteX108" fmla="*/ 379381 w 703040"/>
                  <a:gd name="connsiteY108" fmla="*/ 316135 h 727519"/>
                  <a:gd name="connsiteX109" fmla="*/ 363569 w 703040"/>
                  <a:gd name="connsiteY109" fmla="*/ 292418 h 727519"/>
                  <a:gd name="connsiteX110" fmla="*/ 584644 w 703040"/>
                  <a:gd name="connsiteY110" fmla="*/ 490252 h 727519"/>
                  <a:gd name="connsiteX111" fmla="*/ 600456 w 703040"/>
                  <a:gd name="connsiteY111" fmla="*/ 466535 h 727519"/>
                  <a:gd name="connsiteX112" fmla="*/ 576739 w 703040"/>
                  <a:gd name="connsiteY112" fmla="*/ 466535 h 727519"/>
                  <a:gd name="connsiteX113" fmla="*/ 584644 w 703040"/>
                  <a:gd name="connsiteY113" fmla="*/ 490252 h 727519"/>
                  <a:gd name="connsiteX114" fmla="*/ 584644 w 703040"/>
                  <a:gd name="connsiteY114" fmla="*/ 411099 h 727519"/>
                  <a:gd name="connsiteX115" fmla="*/ 568833 w 703040"/>
                  <a:gd name="connsiteY115" fmla="*/ 411099 h 727519"/>
                  <a:gd name="connsiteX116" fmla="*/ 568833 w 703040"/>
                  <a:gd name="connsiteY116" fmla="*/ 434816 h 727519"/>
                  <a:gd name="connsiteX117" fmla="*/ 584644 w 703040"/>
                  <a:gd name="connsiteY117" fmla="*/ 442722 h 727519"/>
                  <a:gd name="connsiteX118" fmla="*/ 592550 w 703040"/>
                  <a:gd name="connsiteY118" fmla="*/ 434816 h 727519"/>
                  <a:gd name="connsiteX119" fmla="*/ 592550 w 703040"/>
                  <a:gd name="connsiteY119" fmla="*/ 419005 h 727519"/>
                  <a:gd name="connsiteX120" fmla="*/ 584644 w 703040"/>
                  <a:gd name="connsiteY120" fmla="*/ 411099 h 727519"/>
                  <a:gd name="connsiteX121" fmla="*/ 450437 w 703040"/>
                  <a:gd name="connsiteY121" fmla="*/ 490252 h 727519"/>
                  <a:gd name="connsiteX122" fmla="*/ 450437 w 703040"/>
                  <a:gd name="connsiteY122" fmla="*/ 498158 h 727519"/>
                  <a:gd name="connsiteX123" fmla="*/ 458343 w 703040"/>
                  <a:gd name="connsiteY123" fmla="*/ 506063 h 727519"/>
                  <a:gd name="connsiteX124" fmla="*/ 474155 w 703040"/>
                  <a:gd name="connsiteY124" fmla="*/ 506063 h 727519"/>
                  <a:gd name="connsiteX125" fmla="*/ 482060 w 703040"/>
                  <a:gd name="connsiteY125" fmla="*/ 498158 h 727519"/>
                  <a:gd name="connsiteX126" fmla="*/ 482060 w 703040"/>
                  <a:gd name="connsiteY126" fmla="*/ 490252 h 727519"/>
                  <a:gd name="connsiteX127" fmla="*/ 474155 w 703040"/>
                  <a:gd name="connsiteY127" fmla="*/ 482346 h 727519"/>
                  <a:gd name="connsiteX128" fmla="*/ 450437 w 703040"/>
                  <a:gd name="connsiteY128" fmla="*/ 482346 h 727519"/>
                  <a:gd name="connsiteX129" fmla="*/ 450437 w 703040"/>
                  <a:gd name="connsiteY129" fmla="*/ 490252 h 727519"/>
                  <a:gd name="connsiteX130" fmla="*/ 521494 w 703040"/>
                  <a:gd name="connsiteY130" fmla="*/ 252889 h 727519"/>
                  <a:gd name="connsiteX131" fmla="*/ 489966 w 703040"/>
                  <a:gd name="connsiteY131" fmla="*/ 260795 h 727519"/>
                  <a:gd name="connsiteX132" fmla="*/ 489966 w 703040"/>
                  <a:gd name="connsiteY132" fmla="*/ 276606 h 727519"/>
                  <a:gd name="connsiteX133" fmla="*/ 513683 w 703040"/>
                  <a:gd name="connsiteY133" fmla="*/ 276606 h 727519"/>
                  <a:gd name="connsiteX134" fmla="*/ 521589 w 703040"/>
                  <a:gd name="connsiteY134" fmla="*/ 284512 h 727519"/>
                  <a:gd name="connsiteX135" fmla="*/ 521589 w 703040"/>
                  <a:gd name="connsiteY135" fmla="*/ 292418 h 727519"/>
                  <a:gd name="connsiteX136" fmla="*/ 545306 w 703040"/>
                  <a:gd name="connsiteY136" fmla="*/ 292418 h 727519"/>
                  <a:gd name="connsiteX137" fmla="*/ 545306 w 703040"/>
                  <a:gd name="connsiteY137" fmla="*/ 276606 h 727519"/>
                  <a:gd name="connsiteX138" fmla="*/ 521589 w 703040"/>
                  <a:gd name="connsiteY138" fmla="*/ 252889 h 727519"/>
                  <a:gd name="connsiteX139" fmla="*/ 537305 w 703040"/>
                  <a:gd name="connsiteY139" fmla="*/ 434912 h 727519"/>
                  <a:gd name="connsiteX140" fmla="*/ 521494 w 703040"/>
                  <a:gd name="connsiteY140" fmla="*/ 434912 h 727519"/>
                  <a:gd name="connsiteX141" fmla="*/ 505682 w 703040"/>
                  <a:gd name="connsiteY141" fmla="*/ 442817 h 727519"/>
                  <a:gd name="connsiteX142" fmla="*/ 505682 w 703040"/>
                  <a:gd name="connsiteY142" fmla="*/ 450723 h 727519"/>
                  <a:gd name="connsiteX143" fmla="*/ 521494 w 703040"/>
                  <a:gd name="connsiteY143" fmla="*/ 450723 h 727519"/>
                  <a:gd name="connsiteX144" fmla="*/ 529399 w 703040"/>
                  <a:gd name="connsiteY144" fmla="*/ 442817 h 727519"/>
                  <a:gd name="connsiteX145" fmla="*/ 537305 w 703040"/>
                  <a:gd name="connsiteY145" fmla="*/ 442817 h 727519"/>
                  <a:gd name="connsiteX146" fmla="*/ 537305 w 703040"/>
                  <a:gd name="connsiteY146" fmla="*/ 434912 h 727519"/>
                  <a:gd name="connsiteX147" fmla="*/ 497872 w 703040"/>
                  <a:gd name="connsiteY147" fmla="*/ 514064 h 727519"/>
                  <a:gd name="connsiteX148" fmla="*/ 497872 w 703040"/>
                  <a:gd name="connsiteY148" fmla="*/ 537782 h 727519"/>
                  <a:gd name="connsiteX149" fmla="*/ 513683 w 703040"/>
                  <a:gd name="connsiteY149" fmla="*/ 514064 h 727519"/>
                  <a:gd name="connsiteX150" fmla="*/ 497872 w 703040"/>
                  <a:gd name="connsiteY150" fmla="*/ 514064 h 727519"/>
                  <a:gd name="connsiteX151" fmla="*/ 32004 w 703040"/>
                  <a:gd name="connsiteY151" fmla="*/ 411194 h 727519"/>
                  <a:gd name="connsiteX152" fmla="*/ 24098 w 703040"/>
                  <a:gd name="connsiteY152" fmla="*/ 419100 h 727519"/>
                  <a:gd name="connsiteX153" fmla="*/ 32004 w 703040"/>
                  <a:gd name="connsiteY153" fmla="*/ 427006 h 727519"/>
                  <a:gd name="connsiteX154" fmla="*/ 39910 w 703040"/>
                  <a:gd name="connsiteY154" fmla="*/ 427006 h 727519"/>
                  <a:gd name="connsiteX155" fmla="*/ 47815 w 703040"/>
                  <a:gd name="connsiteY155" fmla="*/ 434912 h 727519"/>
                  <a:gd name="connsiteX156" fmla="*/ 55721 w 703040"/>
                  <a:gd name="connsiteY156" fmla="*/ 427006 h 727519"/>
                  <a:gd name="connsiteX157" fmla="*/ 55721 w 703040"/>
                  <a:gd name="connsiteY157" fmla="*/ 419100 h 727519"/>
                  <a:gd name="connsiteX158" fmla="*/ 39910 w 703040"/>
                  <a:gd name="connsiteY158" fmla="*/ 403288 h 727519"/>
                  <a:gd name="connsiteX159" fmla="*/ 32004 w 703040"/>
                  <a:gd name="connsiteY159" fmla="*/ 411194 h 727519"/>
                  <a:gd name="connsiteX160" fmla="*/ 521494 w 703040"/>
                  <a:gd name="connsiteY160" fmla="*/ 332042 h 727519"/>
                  <a:gd name="connsiteX161" fmla="*/ 489966 w 703040"/>
                  <a:gd name="connsiteY161" fmla="*/ 332042 h 727519"/>
                  <a:gd name="connsiteX162" fmla="*/ 489966 w 703040"/>
                  <a:gd name="connsiteY162" fmla="*/ 355759 h 727519"/>
                  <a:gd name="connsiteX163" fmla="*/ 505777 w 703040"/>
                  <a:gd name="connsiteY163" fmla="*/ 387382 h 727519"/>
                  <a:gd name="connsiteX164" fmla="*/ 521589 w 703040"/>
                  <a:gd name="connsiteY164" fmla="*/ 331946 h 727519"/>
                  <a:gd name="connsiteX165" fmla="*/ 142494 w 703040"/>
                  <a:gd name="connsiteY165" fmla="*/ 347853 h 727519"/>
                  <a:gd name="connsiteX166" fmla="*/ 181927 w 703040"/>
                  <a:gd name="connsiteY166" fmla="*/ 347853 h 727519"/>
                  <a:gd name="connsiteX167" fmla="*/ 189833 w 703040"/>
                  <a:gd name="connsiteY167" fmla="*/ 355759 h 727519"/>
                  <a:gd name="connsiteX168" fmla="*/ 205645 w 703040"/>
                  <a:gd name="connsiteY168" fmla="*/ 355759 h 727519"/>
                  <a:gd name="connsiteX169" fmla="*/ 237172 w 703040"/>
                  <a:gd name="connsiteY169" fmla="*/ 371570 h 727519"/>
                  <a:gd name="connsiteX170" fmla="*/ 252984 w 703040"/>
                  <a:gd name="connsiteY170" fmla="*/ 371570 h 727519"/>
                  <a:gd name="connsiteX171" fmla="*/ 260890 w 703040"/>
                  <a:gd name="connsiteY171" fmla="*/ 379476 h 727519"/>
                  <a:gd name="connsiteX172" fmla="*/ 268796 w 703040"/>
                  <a:gd name="connsiteY172" fmla="*/ 379476 h 727519"/>
                  <a:gd name="connsiteX173" fmla="*/ 284607 w 703040"/>
                  <a:gd name="connsiteY173" fmla="*/ 395288 h 727519"/>
                  <a:gd name="connsiteX174" fmla="*/ 300418 w 703040"/>
                  <a:gd name="connsiteY174" fmla="*/ 403193 h 727519"/>
                  <a:gd name="connsiteX175" fmla="*/ 308324 w 703040"/>
                  <a:gd name="connsiteY175" fmla="*/ 411099 h 727519"/>
                  <a:gd name="connsiteX176" fmla="*/ 324136 w 703040"/>
                  <a:gd name="connsiteY176" fmla="*/ 411099 h 727519"/>
                  <a:gd name="connsiteX177" fmla="*/ 332041 w 703040"/>
                  <a:gd name="connsiteY177" fmla="*/ 403193 h 727519"/>
                  <a:gd name="connsiteX178" fmla="*/ 332041 w 703040"/>
                  <a:gd name="connsiteY178" fmla="*/ 379476 h 727519"/>
                  <a:gd name="connsiteX179" fmla="*/ 300418 w 703040"/>
                  <a:gd name="connsiteY179" fmla="*/ 347853 h 727519"/>
                  <a:gd name="connsiteX180" fmla="*/ 284607 w 703040"/>
                  <a:gd name="connsiteY180" fmla="*/ 339947 h 727519"/>
                  <a:gd name="connsiteX181" fmla="*/ 276701 w 703040"/>
                  <a:gd name="connsiteY181" fmla="*/ 332042 h 727519"/>
                  <a:gd name="connsiteX182" fmla="*/ 268796 w 703040"/>
                  <a:gd name="connsiteY182" fmla="*/ 332042 h 727519"/>
                  <a:gd name="connsiteX183" fmla="*/ 260890 w 703040"/>
                  <a:gd name="connsiteY183" fmla="*/ 324136 h 727519"/>
                  <a:gd name="connsiteX184" fmla="*/ 245078 w 703040"/>
                  <a:gd name="connsiteY184" fmla="*/ 324136 h 727519"/>
                  <a:gd name="connsiteX185" fmla="*/ 229267 w 703040"/>
                  <a:gd name="connsiteY185" fmla="*/ 308325 h 727519"/>
                  <a:gd name="connsiteX186" fmla="*/ 221361 w 703040"/>
                  <a:gd name="connsiteY186" fmla="*/ 308325 h 727519"/>
                  <a:gd name="connsiteX187" fmla="*/ 229267 w 703040"/>
                  <a:gd name="connsiteY187" fmla="*/ 300419 h 727519"/>
                  <a:gd name="connsiteX188" fmla="*/ 252984 w 703040"/>
                  <a:gd name="connsiteY188" fmla="*/ 300419 h 727519"/>
                  <a:gd name="connsiteX189" fmla="*/ 260890 w 703040"/>
                  <a:gd name="connsiteY189" fmla="*/ 316230 h 727519"/>
                  <a:gd name="connsiteX190" fmla="*/ 292417 w 703040"/>
                  <a:gd name="connsiteY190" fmla="*/ 332042 h 727519"/>
                  <a:gd name="connsiteX191" fmla="*/ 308229 w 703040"/>
                  <a:gd name="connsiteY191" fmla="*/ 347853 h 727519"/>
                  <a:gd name="connsiteX192" fmla="*/ 339852 w 703040"/>
                  <a:gd name="connsiteY192" fmla="*/ 347853 h 727519"/>
                  <a:gd name="connsiteX193" fmla="*/ 355663 w 703040"/>
                  <a:gd name="connsiteY193" fmla="*/ 332042 h 727519"/>
                  <a:gd name="connsiteX194" fmla="*/ 339852 w 703040"/>
                  <a:gd name="connsiteY194" fmla="*/ 316230 h 727519"/>
                  <a:gd name="connsiteX195" fmla="*/ 324040 w 703040"/>
                  <a:gd name="connsiteY195" fmla="*/ 316230 h 727519"/>
                  <a:gd name="connsiteX196" fmla="*/ 308229 w 703040"/>
                  <a:gd name="connsiteY196" fmla="*/ 308325 h 727519"/>
                  <a:gd name="connsiteX197" fmla="*/ 292417 w 703040"/>
                  <a:gd name="connsiteY197" fmla="*/ 308325 h 727519"/>
                  <a:gd name="connsiteX198" fmla="*/ 276606 w 703040"/>
                  <a:gd name="connsiteY198" fmla="*/ 300419 h 727519"/>
                  <a:gd name="connsiteX199" fmla="*/ 268700 w 703040"/>
                  <a:gd name="connsiteY199" fmla="*/ 284607 h 727519"/>
                  <a:gd name="connsiteX200" fmla="*/ 260794 w 703040"/>
                  <a:gd name="connsiteY200" fmla="*/ 276701 h 727519"/>
                  <a:gd name="connsiteX201" fmla="*/ 260794 w 703040"/>
                  <a:gd name="connsiteY201" fmla="*/ 268796 h 727519"/>
                  <a:gd name="connsiteX202" fmla="*/ 252889 w 703040"/>
                  <a:gd name="connsiteY202" fmla="*/ 252984 h 727519"/>
                  <a:gd name="connsiteX203" fmla="*/ 244983 w 703040"/>
                  <a:gd name="connsiteY203" fmla="*/ 245078 h 727519"/>
                  <a:gd name="connsiteX204" fmla="*/ 229171 w 703040"/>
                  <a:gd name="connsiteY204" fmla="*/ 213455 h 727519"/>
                  <a:gd name="connsiteX205" fmla="*/ 221266 w 703040"/>
                  <a:gd name="connsiteY205" fmla="*/ 205550 h 727519"/>
                  <a:gd name="connsiteX206" fmla="*/ 213360 w 703040"/>
                  <a:gd name="connsiteY206" fmla="*/ 189738 h 727519"/>
                  <a:gd name="connsiteX207" fmla="*/ 197548 w 703040"/>
                  <a:gd name="connsiteY207" fmla="*/ 173927 h 727519"/>
                  <a:gd name="connsiteX208" fmla="*/ 197548 w 703040"/>
                  <a:gd name="connsiteY208" fmla="*/ 158115 h 727519"/>
                  <a:gd name="connsiteX209" fmla="*/ 189643 w 703040"/>
                  <a:gd name="connsiteY209" fmla="*/ 150209 h 727519"/>
                  <a:gd name="connsiteX210" fmla="*/ 189643 w 703040"/>
                  <a:gd name="connsiteY210" fmla="*/ 134398 h 727519"/>
                  <a:gd name="connsiteX211" fmla="*/ 197548 w 703040"/>
                  <a:gd name="connsiteY211" fmla="*/ 126492 h 727519"/>
                  <a:gd name="connsiteX212" fmla="*/ 205454 w 703040"/>
                  <a:gd name="connsiteY212" fmla="*/ 126492 h 727519"/>
                  <a:gd name="connsiteX213" fmla="*/ 213360 w 703040"/>
                  <a:gd name="connsiteY213" fmla="*/ 134398 h 727519"/>
                  <a:gd name="connsiteX214" fmla="*/ 213360 w 703040"/>
                  <a:gd name="connsiteY214" fmla="*/ 142304 h 727519"/>
                  <a:gd name="connsiteX215" fmla="*/ 221266 w 703040"/>
                  <a:gd name="connsiteY215" fmla="*/ 150209 h 727519"/>
                  <a:gd name="connsiteX216" fmla="*/ 237077 w 703040"/>
                  <a:gd name="connsiteY216" fmla="*/ 150209 h 727519"/>
                  <a:gd name="connsiteX217" fmla="*/ 237077 w 703040"/>
                  <a:gd name="connsiteY217" fmla="*/ 158115 h 727519"/>
                  <a:gd name="connsiteX218" fmla="*/ 244983 w 703040"/>
                  <a:gd name="connsiteY218" fmla="*/ 158115 h 727519"/>
                  <a:gd name="connsiteX219" fmla="*/ 260794 w 703040"/>
                  <a:gd name="connsiteY219" fmla="*/ 173927 h 727519"/>
                  <a:gd name="connsiteX220" fmla="*/ 260794 w 703040"/>
                  <a:gd name="connsiteY220" fmla="*/ 189738 h 727519"/>
                  <a:gd name="connsiteX221" fmla="*/ 268700 w 703040"/>
                  <a:gd name="connsiteY221" fmla="*/ 189738 h 727519"/>
                  <a:gd name="connsiteX222" fmla="*/ 276606 w 703040"/>
                  <a:gd name="connsiteY222" fmla="*/ 181832 h 727519"/>
                  <a:gd name="connsiteX223" fmla="*/ 284512 w 703040"/>
                  <a:gd name="connsiteY223" fmla="*/ 181832 h 727519"/>
                  <a:gd name="connsiteX224" fmla="*/ 268700 w 703040"/>
                  <a:gd name="connsiteY224" fmla="*/ 158115 h 727519"/>
                  <a:gd name="connsiteX225" fmla="*/ 276606 w 703040"/>
                  <a:gd name="connsiteY225" fmla="*/ 158115 h 727519"/>
                  <a:gd name="connsiteX226" fmla="*/ 308134 w 703040"/>
                  <a:gd name="connsiteY226" fmla="*/ 173927 h 727519"/>
                  <a:gd name="connsiteX227" fmla="*/ 292322 w 703040"/>
                  <a:gd name="connsiteY227" fmla="*/ 150209 h 727519"/>
                  <a:gd name="connsiteX228" fmla="*/ 300228 w 703040"/>
                  <a:gd name="connsiteY228" fmla="*/ 142304 h 727519"/>
                  <a:gd name="connsiteX229" fmla="*/ 300228 w 703040"/>
                  <a:gd name="connsiteY229" fmla="*/ 110681 h 727519"/>
                  <a:gd name="connsiteX230" fmla="*/ 316039 w 703040"/>
                  <a:gd name="connsiteY230" fmla="*/ 94869 h 727519"/>
                  <a:gd name="connsiteX231" fmla="*/ 355473 w 703040"/>
                  <a:gd name="connsiteY231" fmla="*/ 94869 h 727519"/>
                  <a:gd name="connsiteX232" fmla="*/ 363379 w 703040"/>
                  <a:gd name="connsiteY232" fmla="*/ 102775 h 727519"/>
                  <a:gd name="connsiteX233" fmla="*/ 363379 w 703040"/>
                  <a:gd name="connsiteY233" fmla="*/ 118586 h 727519"/>
                  <a:gd name="connsiteX234" fmla="*/ 379190 w 703040"/>
                  <a:gd name="connsiteY234" fmla="*/ 118586 h 727519"/>
                  <a:gd name="connsiteX235" fmla="*/ 387096 w 703040"/>
                  <a:gd name="connsiteY235" fmla="*/ 110681 h 727519"/>
                  <a:gd name="connsiteX236" fmla="*/ 395002 w 703040"/>
                  <a:gd name="connsiteY236" fmla="*/ 94869 h 727519"/>
                  <a:gd name="connsiteX237" fmla="*/ 402907 w 703040"/>
                  <a:gd name="connsiteY237" fmla="*/ 86963 h 727519"/>
                  <a:gd name="connsiteX238" fmla="*/ 450342 w 703040"/>
                  <a:gd name="connsiteY238" fmla="*/ 86963 h 727519"/>
                  <a:gd name="connsiteX239" fmla="*/ 474059 w 703040"/>
                  <a:gd name="connsiteY239" fmla="*/ 94869 h 727519"/>
                  <a:gd name="connsiteX240" fmla="*/ 489871 w 703040"/>
                  <a:gd name="connsiteY240" fmla="*/ 94869 h 727519"/>
                  <a:gd name="connsiteX241" fmla="*/ 497776 w 703040"/>
                  <a:gd name="connsiteY241" fmla="*/ 102775 h 727519"/>
                  <a:gd name="connsiteX242" fmla="*/ 505682 w 703040"/>
                  <a:gd name="connsiteY242" fmla="*/ 102775 h 727519"/>
                  <a:gd name="connsiteX243" fmla="*/ 505682 w 703040"/>
                  <a:gd name="connsiteY243" fmla="*/ 94869 h 727519"/>
                  <a:gd name="connsiteX244" fmla="*/ 513588 w 703040"/>
                  <a:gd name="connsiteY244" fmla="*/ 79058 h 727519"/>
                  <a:gd name="connsiteX245" fmla="*/ 513588 w 703040"/>
                  <a:gd name="connsiteY245" fmla="*/ 63246 h 727519"/>
                  <a:gd name="connsiteX246" fmla="*/ 505682 w 703040"/>
                  <a:gd name="connsiteY246" fmla="*/ 55340 h 727519"/>
                  <a:gd name="connsiteX247" fmla="*/ 505682 w 703040"/>
                  <a:gd name="connsiteY247" fmla="*/ 47435 h 727519"/>
                  <a:gd name="connsiteX248" fmla="*/ 513588 w 703040"/>
                  <a:gd name="connsiteY248" fmla="*/ 39529 h 727519"/>
                  <a:gd name="connsiteX249" fmla="*/ 537305 w 703040"/>
                  <a:gd name="connsiteY249" fmla="*/ 39529 h 727519"/>
                  <a:gd name="connsiteX250" fmla="*/ 537305 w 703040"/>
                  <a:gd name="connsiteY250" fmla="*/ 23717 h 727519"/>
                  <a:gd name="connsiteX251" fmla="*/ 529399 w 703040"/>
                  <a:gd name="connsiteY251" fmla="*/ 15812 h 727519"/>
                  <a:gd name="connsiteX252" fmla="*/ 529399 w 703040"/>
                  <a:gd name="connsiteY252" fmla="*/ 7906 h 727519"/>
                  <a:gd name="connsiteX253" fmla="*/ 513588 w 703040"/>
                  <a:gd name="connsiteY253" fmla="*/ 7906 h 727519"/>
                  <a:gd name="connsiteX254" fmla="*/ 505682 w 703040"/>
                  <a:gd name="connsiteY254" fmla="*/ 0 h 727519"/>
                  <a:gd name="connsiteX255" fmla="*/ 481965 w 703040"/>
                  <a:gd name="connsiteY255" fmla="*/ 7906 h 727519"/>
                  <a:gd name="connsiteX256" fmla="*/ 489871 w 703040"/>
                  <a:gd name="connsiteY256" fmla="*/ 15812 h 727519"/>
                  <a:gd name="connsiteX257" fmla="*/ 489871 w 703040"/>
                  <a:gd name="connsiteY257" fmla="*/ 39529 h 727519"/>
                  <a:gd name="connsiteX258" fmla="*/ 481965 w 703040"/>
                  <a:gd name="connsiteY258" fmla="*/ 47435 h 727519"/>
                  <a:gd name="connsiteX259" fmla="*/ 458248 w 703040"/>
                  <a:gd name="connsiteY259" fmla="*/ 47435 h 727519"/>
                  <a:gd name="connsiteX260" fmla="*/ 442436 w 703040"/>
                  <a:gd name="connsiteY260" fmla="*/ 31623 h 727519"/>
                  <a:gd name="connsiteX261" fmla="*/ 426625 w 703040"/>
                  <a:gd name="connsiteY261" fmla="*/ 47435 h 727519"/>
                  <a:gd name="connsiteX262" fmla="*/ 410813 w 703040"/>
                  <a:gd name="connsiteY262" fmla="*/ 47435 h 727519"/>
                  <a:gd name="connsiteX263" fmla="*/ 395002 w 703040"/>
                  <a:gd name="connsiteY263" fmla="*/ 31623 h 727519"/>
                  <a:gd name="connsiteX264" fmla="*/ 387096 w 703040"/>
                  <a:gd name="connsiteY264" fmla="*/ 39529 h 727519"/>
                  <a:gd name="connsiteX265" fmla="*/ 371284 w 703040"/>
                  <a:gd name="connsiteY265" fmla="*/ 39529 h 727519"/>
                  <a:gd name="connsiteX266" fmla="*/ 347567 w 703040"/>
                  <a:gd name="connsiteY266" fmla="*/ 15812 h 727519"/>
                  <a:gd name="connsiteX267" fmla="*/ 347567 w 703040"/>
                  <a:gd name="connsiteY267" fmla="*/ 7906 h 727519"/>
                  <a:gd name="connsiteX268" fmla="*/ 308134 w 703040"/>
                  <a:gd name="connsiteY268" fmla="*/ 15812 h 727519"/>
                  <a:gd name="connsiteX269" fmla="*/ 300228 w 703040"/>
                  <a:gd name="connsiteY269" fmla="*/ 39529 h 727519"/>
                  <a:gd name="connsiteX270" fmla="*/ 268700 w 703040"/>
                  <a:gd name="connsiteY270" fmla="*/ 31623 h 727519"/>
                  <a:gd name="connsiteX271" fmla="*/ 260794 w 703040"/>
                  <a:gd name="connsiteY271" fmla="*/ 39529 h 727519"/>
                  <a:gd name="connsiteX272" fmla="*/ 244983 w 703040"/>
                  <a:gd name="connsiteY272" fmla="*/ 47435 h 727519"/>
                  <a:gd name="connsiteX273" fmla="*/ 229171 w 703040"/>
                  <a:gd name="connsiteY273" fmla="*/ 47435 h 727519"/>
                  <a:gd name="connsiteX274" fmla="*/ 221266 w 703040"/>
                  <a:gd name="connsiteY274" fmla="*/ 39529 h 727519"/>
                  <a:gd name="connsiteX275" fmla="*/ 213360 w 703040"/>
                  <a:gd name="connsiteY275" fmla="*/ 39529 h 727519"/>
                  <a:gd name="connsiteX276" fmla="*/ 197548 w 703040"/>
                  <a:gd name="connsiteY276" fmla="*/ 47435 h 727519"/>
                  <a:gd name="connsiteX277" fmla="*/ 181737 w 703040"/>
                  <a:gd name="connsiteY277" fmla="*/ 63246 h 727519"/>
                  <a:gd name="connsiteX278" fmla="*/ 165925 w 703040"/>
                  <a:gd name="connsiteY278" fmla="*/ 71152 h 727519"/>
                  <a:gd name="connsiteX279" fmla="*/ 134302 w 703040"/>
                  <a:gd name="connsiteY279" fmla="*/ 71152 h 727519"/>
                  <a:gd name="connsiteX280" fmla="*/ 134302 w 703040"/>
                  <a:gd name="connsiteY280" fmla="*/ 79058 h 727519"/>
                  <a:gd name="connsiteX281" fmla="*/ 126397 w 703040"/>
                  <a:gd name="connsiteY281" fmla="*/ 94869 h 727519"/>
                  <a:gd name="connsiteX282" fmla="*/ 94869 w 703040"/>
                  <a:gd name="connsiteY282" fmla="*/ 94869 h 727519"/>
                  <a:gd name="connsiteX283" fmla="*/ 86963 w 703040"/>
                  <a:gd name="connsiteY283" fmla="*/ 86963 h 727519"/>
                  <a:gd name="connsiteX284" fmla="*/ 79057 w 703040"/>
                  <a:gd name="connsiteY284" fmla="*/ 86963 h 727519"/>
                  <a:gd name="connsiteX285" fmla="*/ 63246 w 703040"/>
                  <a:gd name="connsiteY285" fmla="*/ 94869 h 727519"/>
                  <a:gd name="connsiteX286" fmla="*/ 71152 w 703040"/>
                  <a:gd name="connsiteY286" fmla="*/ 110681 h 727519"/>
                  <a:gd name="connsiteX287" fmla="*/ 71152 w 703040"/>
                  <a:gd name="connsiteY287" fmla="*/ 118586 h 727519"/>
                  <a:gd name="connsiteX288" fmla="*/ 55340 w 703040"/>
                  <a:gd name="connsiteY288" fmla="*/ 134398 h 727519"/>
                  <a:gd name="connsiteX289" fmla="*/ 31623 w 703040"/>
                  <a:gd name="connsiteY289" fmla="*/ 134398 h 727519"/>
                  <a:gd name="connsiteX290" fmla="*/ 31623 w 703040"/>
                  <a:gd name="connsiteY290" fmla="*/ 166021 h 727519"/>
                  <a:gd name="connsiteX291" fmla="*/ 15812 w 703040"/>
                  <a:gd name="connsiteY291" fmla="*/ 173927 h 727519"/>
                  <a:gd name="connsiteX292" fmla="*/ 0 w 703040"/>
                  <a:gd name="connsiteY292" fmla="*/ 173927 h 727519"/>
                  <a:gd name="connsiteX293" fmla="*/ 0 w 703040"/>
                  <a:gd name="connsiteY293" fmla="*/ 260985 h 727519"/>
                  <a:gd name="connsiteX294" fmla="*/ 7906 w 703040"/>
                  <a:gd name="connsiteY294" fmla="*/ 268891 h 727519"/>
                  <a:gd name="connsiteX295" fmla="*/ 23717 w 703040"/>
                  <a:gd name="connsiteY295" fmla="*/ 276796 h 727519"/>
                  <a:gd name="connsiteX296" fmla="*/ 31623 w 703040"/>
                  <a:gd name="connsiteY296" fmla="*/ 284702 h 727519"/>
                  <a:gd name="connsiteX297" fmla="*/ 39529 w 703040"/>
                  <a:gd name="connsiteY297" fmla="*/ 300514 h 727519"/>
                  <a:gd name="connsiteX298" fmla="*/ 47434 w 703040"/>
                  <a:gd name="connsiteY298" fmla="*/ 308420 h 727519"/>
                  <a:gd name="connsiteX299" fmla="*/ 55340 w 703040"/>
                  <a:gd name="connsiteY299" fmla="*/ 324231 h 727519"/>
                  <a:gd name="connsiteX300" fmla="*/ 71152 w 703040"/>
                  <a:gd name="connsiteY300" fmla="*/ 340043 h 727519"/>
                  <a:gd name="connsiteX301" fmla="*/ 79057 w 703040"/>
                  <a:gd name="connsiteY301" fmla="*/ 355854 h 727519"/>
                  <a:gd name="connsiteX302" fmla="*/ 110680 w 703040"/>
                  <a:gd name="connsiteY302" fmla="*/ 355854 h 727519"/>
                  <a:gd name="connsiteX303" fmla="*/ 126492 w 703040"/>
                  <a:gd name="connsiteY303" fmla="*/ 347948 h 727519"/>
                  <a:gd name="connsiteX304" fmla="*/ 142304 w 703040"/>
                  <a:gd name="connsiteY304" fmla="*/ 347948 h 727519"/>
                  <a:gd name="connsiteX305" fmla="*/ 387287 w 703040"/>
                  <a:gd name="connsiteY305" fmla="*/ 387382 h 727519"/>
                  <a:gd name="connsiteX306" fmla="*/ 418814 w 703040"/>
                  <a:gd name="connsiteY306" fmla="*/ 442817 h 727519"/>
                  <a:gd name="connsiteX307" fmla="*/ 434626 w 703040"/>
                  <a:gd name="connsiteY307" fmla="*/ 419100 h 727519"/>
                  <a:gd name="connsiteX308" fmla="*/ 387287 w 703040"/>
                  <a:gd name="connsiteY308" fmla="*/ 387477 h 727519"/>
                  <a:gd name="connsiteX309" fmla="*/ 403098 w 703040"/>
                  <a:gd name="connsiteY309" fmla="*/ 513969 h 727519"/>
                  <a:gd name="connsiteX310" fmla="*/ 395192 w 703040"/>
                  <a:gd name="connsiteY310" fmla="*/ 498158 h 727519"/>
                  <a:gd name="connsiteX311" fmla="*/ 387287 w 703040"/>
                  <a:gd name="connsiteY311" fmla="*/ 513969 h 727519"/>
                  <a:gd name="connsiteX312" fmla="*/ 403098 w 703040"/>
                  <a:gd name="connsiteY312" fmla="*/ 513969 h 727519"/>
                  <a:gd name="connsiteX313" fmla="*/ 411004 w 703040"/>
                  <a:gd name="connsiteY313" fmla="*/ 545592 h 727519"/>
                  <a:gd name="connsiteX314" fmla="*/ 411004 w 703040"/>
                  <a:gd name="connsiteY314" fmla="*/ 553498 h 727519"/>
                  <a:gd name="connsiteX315" fmla="*/ 426815 w 703040"/>
                  <a:gd name="connsiteY315" fmla="*/ 553498 h 727519"/>
                  <a:gd name="connsiteX316" fmla="*/ 426815 w 703040"/>
                  <a:gd name="connsiteY316" fmla="*/ 545592 h 727519"/>
                  <a:gd name="connsiteX317" fmla="*/ 418909 w 703040"/>
                  <a:gd name="connsiteY317" fmla="*/ 537686 h 727519"/>
                  <a:gd name="connsiteX318" fmla="*/ 411004 w 703040"/>
                  <a:gd name="connsiteY318" fmla="*/ 537686 h 727519"/>
                  <a:gd name="connsiteX319" fmla="*/ 411004 w 703040"/>
                  <a:gd name="connsiteY319" fmla="*/ 545592 h 727519"/>
                  <a:gd name="connsiteX320" fmla="*/ 32004 w 703040"/>
                  <a:gd name="connsiteY320" fmla="*/ 339852 h 727519"/>
                  <a:gd name="connsiteX321" fmla="*/ 381 w 703040"/>
                  <a:gd name="connsiteY321" fmla="*/ 371475 h 727519"/>
                  <a:gd name="connsiteX322" fmla="*/ 55626 w 703040"/>
                  <a:gd name="connsiteY322" fmla="*/ 387287 h 727519"/>
                  <a:gd name="connsiteX323" fmla="*/ 31909 w 703040"/>
                  <a:gd name="connsiteY323" fmla="*/ 339757 h 727519"/>
                  <a:gd name="connsiteX324" fmla="*/ 316230 w 703040"/>
                  <a:gd name="connsiteY324" fmla="*/ 142018 h 727519"/>
                  <a:gd name="connsiteX325" fmla="*/ 355663 w 703040"/>
                  <a:gd name="connsiteY325" fmla="*/ 165735 h 727519"/>
                  <a:gd name="connsiteX326" fmla="*/ 371475 w 703040"/>
                  <a:gd name="connsiteY326" fmla="*/ 157829 h 727519"/>
                  <a:gd name="connsiteX327" fmla="*/ 316230 w 703040"/>
                  <a:gd name="connsiteY327" fmla="*/ 142018 h 72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Lst>
                <a:rect l="l" t="t" r="r" b="b"/>
                <a:pathLst>
                  <a:path w="703040" h="727519">
                    <a:moveTo>
                      <a:pt x="150304" y="363569"/>
                    </a:moveTo>
                    <a:lnTo>
                      <a:pt x="118681" y="379381"/>
                    </a:lnTo>
                    <a:lnTo>
                      <a:pt x="110776" y="379381"/>
                    </a:lnTo>
                    <a:lnTo>
                      <a:pt x="87058" y="411004"/>
                    </a:lnTo>
                    <a:lnTo>
                      <a:pt x="126492" y="442627"/>
                    </a:lnTo>
                    <a:lnTo>
                      <a:pt x="126492" y="458438"/>
                    </a:lnTo>
                    <a:lnTo>
                      <a:pt x="118586" y="482156"/>
                    </a:lnTo>
                    <a:lnTo>
                      <a:pt x="118586" y="505873"/>
                    </a:lnTo>
                    <a:lnTo>
                      <a:pt x="126492" y="513779"/>
                    </a:lnTo>
                    <a:lnTo>
                      <a:pt x="142304" y="521684"/>
                    </a:lnTo>
                    <a:lnTo>
                      <a:pt x="150209" y="521684"/>
                    </a:lnTo>
                    <a:lnTo>
                      <a:pt x="150209" y="513779"/>
                    </a:lnTo>
                    <a:lnTo>
                      <a:pt x="166021" y="497967"/>
                    </a:lnTo>
                    <a:lnTo>
                      <a:pt x="173926" y="497967"/>
                    </a:lnTo>
                    <a:lnTo>
                      <a:pt x="205549" y="553403"/>
                    </a:lnTo>
                    <a:lnTo>
                      <a:pt x="213455" y="513874"/>
                    </a:lnTo>
                    <a:lnTo>
                      <a:pt x="237172" y="545497"/>
                    </a:lnTo>
                    <a:lnTo>
                      <a:pt x="268796" y="553403"/>
                    </a:lnTo>
                    <a:lnTo>
                      <a:pt x="245078" y="529685"/>
                    </a:lnTo>
                    <a:lnTo>
                      <a:pt x="252984" y="521780"/>
                    </a:lnTo>
                    <a:lnTo>
                      <a:pt x="252984" y="490157"/>
                    </a:lnTo>
                    <a:lnTo>
                      <a:pt x="245078" y="482251"/>
                    </a:lnTo>
                    <a:lnTo>
                      <a:pt x="237172" y="466439"/>
                    </a:lnTo>
                    <a:lnTo>
                      <a:pt x="229267" y="458534"/>
                    </a:lnTo>
                    <a:lnTo>
                      <a:pt x="221361" y="442722"/>
                    </a:lnTo>
                    <a:lnTo>
                      <a:pt x="221361" y="434816"/>
                    </a:lnTo>
                    <a:lnTo>
                      <a:pt x="245078" y="434816"/>
                    </a:lnTo>
                    <a:lnTo>
                      <a:pt x="260890" y="442722"/>
                    </a:lnTo>
                    <a:lnTo>
                      <a:pt x="276701" y="458534"/>
                    </a:lnTo>
                    <a:lnTo>
                      <a:pt x="292513" y="450628"/>
                    </a:lnTo>
                    <a:lnTo>
                      <a:pt x="276701" y="442722"/>
                    </a:lnTo>
                    <a:lnTo>
                      <a:pt x="268796" y="426911"/>
                    </a:lnTo>
                    <a:lnTo>
                      <a:pt x="252984" y="419005"/>
                    </a:lnTo>
                    <a:lnTo>
                      <a:pt x="245078" y="411099"/>
                    </a:lnTo>
                    <a:lnTo>
                      <a:pt x="229267" y="403193"/>
                    </a:lnTo>
                    <a:lnTo>
                      <a:pt x="205549" y="387382"/>
                    </a:lnTo>
                    <a:lnTo>
                      <a:pt x="181832" y="379476"/>
                    </a:lnTo>
                    <a:lnTo>
                      <a:pt x="166021" y="371570"/>
                    </a:lnTo>
                    <a:lnTo>
                      <a:pt x="158115" y="363665"/>
                    </a:lnTo>
                    <a:lnTo>
                      <a:pt x="150209" y="363665"/>
                    </a:lnTo>
                    <a:close/>
                    <a:moveTo>
                      <a:pt x="553022" y="537686"/>
                    </a:moveTo>
                    <a:lnTo>
                      <a:pt x="537210" y="537686"/>
                    </a:lnTo>
                    <a:lnTo>
                      <a:pt x="537210" y="553498"/>
                    </a:lnTo>
                    <a:lnTo>
                      <a:pt x="553022" y="553498"/>
                    </a:lnTo>
                    <a:lnTo>
                      <a:pt x="560927" y="545592"/>
                    </a:lnTo>
                    <a:lnTo>
                      <a:pt x="553022" y="537686"/>
                    </a:lnTo>
                    <a:close/>
                    <a:moveTo>
                      <a:pt x="505682" y="695897"/>
                    </a:moveTo>
                    <a:lnTo>
                      <a:pt x="497776" y="695897"/>
                    </a:lnTo>
                    <a:lnTo>
                      <a:pt x="497776" y="680085"/>
                    </a:lnTo>
                    <a:lnTo>
                      <a:pt x="489871" y="672179"/>
                    </a:lnTo>
                    <a:lnTo>
                      <a:pt x="450437" y="672179"/>
                    </a:lnTo>
                    <a:lnTo>
                      <a:pt x="403003" y="664274"/>
                    </a:lnTo>
                    <a:lnTo>
                      <a:pt x="363569" y="664274"/>
                    </a:lnTo>
                    <a:lnTo>
                      <a:pt x="324136" y="640556"/>
                    </a:lnTo>
                    <a:lnTo>
                      <a:pt x="300418" y="664274"/>
                    </a:lnTo>
                    <a:lnTo>
                      <a:pt x="308324" y="672179"/>
                    </a:lnTo>
                    <a:lnTo>
                      <a:pt x="324136" y="680085"/>
                    </a:lnTo>
                    <a:lnTo>
                      <a:pt x="332041" y="687991"/>
                    </a:lnTo>
                    <a:lnTo>
                      <a:pt x="339947" y="680085"/>
                    </a:lnTo>
                    <a:lnTo>
                      <a:pt x="347853" y="695897"/>
                    </a:lnTo>
                    <a:lnTo>
                      <a:pt x="395288" y="695897"/>
                    </a:lnTo>
                    <a:lnTo>
                      <a:pt x="411099" y="727520"/>
                    </a:lnTo>
                    <a:lnTo>
                      <a:pt x="466344" y="719614"/>
                    </a:lnTo>
                    <a:lnTo>
                      <a:pt x="466344" y="711708"/>
                    </a:lnTo>
                    <a:lnTo>
                      <a:pt x="529495" y="711708"/>
                    </a:lnTo>
                    <a:lnTo>
                      <a:pt x="545306" y="695897"/>
                    </a:lnTo>
                    <a:lnTo>
                      <a:pt x="545306" y="687991"/>
                    </a:lnTo>
                    <a:lnTo>
                      <a:pt x="537400" y="680085"/>
                    </a:lnTo>
                    <a:lnTo>
                      <a:pt x="529495" y="680085"/>
                    </a:lnTo>
                    <a:lnTo>
                      <a:pt x="521589" y="687991"/>
                    </a:lnTo>
                    <a:lnTo>
                      <a:pt x="513683" y="687991"/>
                    </a:lnTo>
                    <a:lnTo>
                      <a:pt x="505777" y="695897"/>
                    </a:lnTo>
                    <a:close/>
                    <a:moveTo>
                      <a:pt x="245078" y="569309"/>
                    </a:moveTo>
                    <a:lnTo>
                      <a:pt x="237172" y="577215"/>
                    </a:lnTo>
                    <a:lnTo>
                      <a:pt x="237172" y="593027"/>
                    </a:lnTo>
                    <a:lnTo>
                      <a:pt x="245078" y="600932"/>
                    </a:lnTo>
                    <a:lnTo>
                      <a:pt x="260890" y="585121"/>
                    </a:lnTo>
                    <a:lnTo>
                      <a:pt x="260890" y="577215"/>
                    </a:lnTo>
                    <a:lnTo>
                      <a:pt x="252984" y="569309"/>
                    </a:lnTo>
                    <a:lnTo>
                      <a:pt x="245078" y="569309"/>
                    </a:lnTo>
                    <a:close/>
                    <a:moveTo>
                      <a:pt x="363474" y="434816"/>
                    </a:moveTo>
                    <a:lnTo>
                      <a:pt x="355568" y="442722"/>
                    </a:lnTo>
                    <a:lnTo>
                      <a:pt x="355568" y="458534"/>
                    </a:lnTo>
                    <a:lnTo>
                      <a:pt x="363474" y="458534"/>
                    </a:lnTo>
                    <a:lnTo>
                      <a:pt x="379285" y="442722"/>
                    </a:lnTo>
                    <a:lnTo>
                      <a:pt x="371380" y="434816"/>
                    </a:lnTo>
                    <a:lnTo>
                      <a:pt x="363474" y="434816"/>
                    </a:lnTo>
                    <a:close/>
                    <a:moveTo>
                      <a:pt x="608266" y="672179"/>
                    </a:moveTo>
                    <a:lnTo>
                      <a:pt x="631984" y="672179"/>
                    </a:lnTo>
                    <a:lnTo>
                      <a:pt x="616172" y="616744"/>
                    </a:lnTo>
                    <a:lnTo>
                      <a:pt x="608266" y="672179"/>
                    </a:lnTo>
                    <a:close/>
                    <a:moveTo>
                      <a:pt x="608266" y="505968"/>
                    </a:moveTo>
                    <a:lnTo>
                      <a:pt x="600361" y="537591"/>
                    </a:lnTo>
                    <a:lnTo>
                      <a:pt x="655606" y="498062"/>
                    </a:lnTo>
                    <a:lnTo>
                      <a:pt x="639794" y="490157"/>
                    </a:lnTo>
                    <a:lnTo>
                      <a:pt x="608266" y="505968"/>
                    </a:lnTo>
                    <a:close/>
                    <a:moveTo>
                      <a:pt x="703040" y="553498"/>
                    </a:moveTo>
                    <a:lnTo>
                      <a:pt x="687229" y="553498"/>
                    </a:lnTo>
                    <a:lnTo>
                      <a:pt x="679323" y="561404"/>
                    </a:lnTo>
                    <a:lnTo>
                      <a:pt x="671417" y="577215"/>
                    </a:lnTo>
                    <a:lnTo>
                      <a:pt x="671417" y="616744"/>
                    </a:lnTo>
                    <a:lnTo>
                      <a:pt x="679323" y="616744"/>
                    </a:lnTo>
                    <a:lnTo>
                      <a:pt x="687229" y="600932"/>
                    </a:lnTo>
                    <a:lnTo>
                      <a:pt x="695134" y="593027"/>
                    </a:lnTo>
                    <a:lnTo>
                      <a:pt x="703040" y="577215"/>
                    </a:lnTo>
                    <a:lnTo>
                      <a:pt x="703040" y="553498"/>
                    </a:lnTo>
                    <a:close/>
                    <a:moveTo>
                      <a:pt x="363569" y="292418"/>
                    </a:moveTo>
                    <a:lnTo>
                      <a:pt x="363569" y="316135"/>
                    </a:lnTo>
                    <a:lnTo>
                      <a:pt x="379381" y="316135"/>
                    </a:lnTo>
                    <a:lnTo>
                      <a:pt x="363569" y="292418"/>
                    </a:lnTo>
                    <a:close/>
                    <a:moveTo>
                      <a:pt x="584644" y="490252"/>
                    </a:moveTo>
                    <a:lnTo>
                      <a:pt x="600456" y="466535"/>
                    </a:lnTo>
                    <a:lnTo>
                      <a:pt x="576739" y="466535"/>
                    </a:lnTo>
                    <a:lnTo>
                      <a:pt x="584644" y="490252"/>
                    </a:lnTo>
                    <a:close/>
                    <a:moveTo>
                      <a:pt x="584644" y="411099"/>
                    </a:moveTo>
                    <a:lnTo>
                      <a:pt x="568833" y="411099"/>
                    </a:lnTo>
                    <a:lnTo>
                      <a:pt x="568833" y="434816"/>
                    </a:lnTo>
                    <a:lnTo>
                      <a:pt x="584644" y="442722"/>
                    </a:lnTo>
                    <a:lnTo>
                      <a:pt x="592550" y="434816"/>
                    </a:lnTo>
                    <a:lnTo>
                      <a:pt x="592550" y="419005"/>
                    </a:lnTo>
                    <a:lnTo>
                      <a:pt x="584644" y="411099"/>
                    </a:lnTo>
                    <a:close/>
                    <a:moveTo>
                      <a:pt x="450437" y="490252"/>
                    </a:moveTo>
                    <a:lnTo>
                      <a:pt x="450437" y="498158"/>
                    </a:lnTo>
                    <a:lnTo>
                      <a:pt x="458343" y="506063"/>
                    </a:lnTo>
                    <a:lnTo>
                      <a:pt x="474155" y="506063"/>
                    </a:lnTo>
                    <a:lnTo>
                      <a:pt x="482060" y="498158"/>
                    </a:lnTo>
                    <a:lnTo>
                      <a:pt x="482060" y="490252"/>
                    </a:lnTo>
                    <a:lnTo>
                      <a:pt x="474155" y="482346"/>
                    </a:lnTo>
                    <a:lnTo>
                      <a:pt x="450437" y="482346"/>
                    </a:lnTo>
                    <a:lnTo>
                      <a:pt x="450437" y="490252"/>
                    </a:lnTo>
                    <a:close/>
                    <a:moveTo>
                      <a:pt x="521494" y="252889"/>
                    </a:moveTo>
                    <a:lnTo>
                      <a:pt x="489966" y="260795"/>
                    </a:lnTo>
                    <a:lnTo>
                      <a:pt x="489966" y="276606"/>
                    </a:lnTo>
                    <a:lnTo>
                      <a:pt x="513683" y="276606"/>
                    </a:lnTo>
                    <a:lnTo>
                      <a:pt x="521589" y="284512"/>
                    </a:lnTo>
                    <a:lnTo>
                      <a:pt x="521589" y="292418"/>
                    </a:lnTo>
                    <a:lnTo>
                      <a:pt x="545306" y="292418"/>
                    </a:lnTo>
                    <a:lnTo>
                      <a:pt x="545306" y="276606"/>
                    </a:lnTo>
                    <a:lnTo>
                      <a:pt x="521589" y="252889"/>
                    </a:lnTo>
                    <a:close/>
                    <a:moveTo>
                      <a:pt x="537305" y="434912"/>
                    </a:moveTo>
                    <a:lnTo>
                      <a:pt x="521494" y="434912"/>
                    </a:lnTo>
                    <a:lnTo>
                      <a:pt x="505682" y="442817"/>
                    </a:lnTo>
                    <a:lnTo>
                      <a:pt x="505682" y="450723"/>
                    </a:lnTo>
                    <a:lnTo>
                      <a:pt x="521494" y="450723"/>
                    </a:lnTo>
                    <a:lnTo>
                      <a:pt x="529399" y="442817"/>
                    </a:lnTo>
                    <a:lnTo>
                      <a:pt x="537305" y="442817"/>
                    </a:lnTo>
                    <a:lnTo>
                      <a:pt x="537305" y="434912"/>
                    </a:lnTo>
                    <a:close/>
                    <a:moveTo>
                      <a:pt x="497872" y="514064"/>
                    </a:moveTo>
                    <a:lnTo>
                      <a:pt x="497872" y="537782"/>
                    </a:lnTo>
                    <a:lnTo>
                      <a:pt x="513683" y="514064"/>
                    </a:lnTo>
                    <a:lnTo>
                      <a:pt x="497872" y="514064"/>
                    </a:lnTo>
                    <a:close/>
                    <a:moveTo>
                      <a:pt x="32004" y="411194"/>
                    </a:moveTo>
                    <a:lnTo>
                      <a:pt x="24098" y="419100"/>
                    </a:lnTo>
                    <a:lnTo>
                      <a:pt x="32004" y="427006"/>
                    </a:lnTo>
                    <a:lnTo>
                      <a:pt x="39910" y="427006"/>
                    </a:lnTo>
                    <a:lnTo>
                      <a:pt x="47815" y="434912"/>
                    </a:lnTo>
                    <a:lnTo>
                      <a:pt x="55721" y="427006"/>
                    </a:lnTo>
                    <a:lnTo>
                      <a:pt x="55721" y="419100"/>
                    </a:lnTo>
                    <a:lnTo>
                      <a:pt x="39910" y="403288"/>
                    </a:lnTo>
                    <a:lnTo>
                      <a:pt x="32004" y="411194"/>
                    </a:lnTo>
                    <a:close/>
                    <a:moveTo>
                      <a:pt x="521494" y="332042"/>
                    </a:moveTo>
                    <a:lnTo>
                      <a:pt x="489966" y="332042"/>
                    </a:lnTo>
                    <a:lnTo>
                      <a:pt x="489966" y="355759"/>
                    </a:lnTo>
                    <a:lnTo>
                      <a:pt x="505777" y="387382"/>
                    </a:lnTo>
                    <a:lnTo>
                      <a:pt x="521589" y="331946"/>
                    </a:lnTo>
                    <a:close/>
                    <a:moveTo>
                      <a:pt x="142494" y="347853"/>
                    </a:moveTo>
                    <a:lnTo>
                      <a:pt x="181927" y="347853"/>
                    </a:lnTo>
                    <a:lnTo>
                      <a:pt x="189833" y="355759"/>
                    </a:lnTo>
                    <a:lnTo>
                      <a:pt x="205645" y="355759"/>
                    </a:lnTo>
                    <a:lnTo>
                      <a:pt x="237172" y="371570"/>
                    </a:lnTo>
                    <a:lnTo>
                      <a:pt x="252984" y="371570"/>
                    </a:lnTo>
                    <a:lnTo>
                      <a:pt x="260890" y="379476"/>
                    </a:lnTo>
                    <a:lnTo>
                      <a:pt x="268796" y="379476"/>
                    </a:lnTo>
                    <a:lnTo>
                      <a:pt x="284607" y="395288"/>
                    </a:lnTo>
                    <a:lnTo>
                      <a:pt x="300418" y="403193"/>
                    </a:lnTo>
                    <a:lnTo>
                      <a:pt x="308324" y="411099"/>
                    </a:lnTo>
                    <a:lnTo>
                      <a:pt x="324136" y="411099"/>
                    </a:lnTo>
                    <a:lnTo>
                      <a:pt x="332041" y="403193"/>
                    </a:lnTo>
                    <a:lnTo>
                      <a:pt x="332041" y="379476"/>
                    </a:lnTo>
                    <a:lnTo>
                      <a:pt x="300418" y="347853"/>
                    </a:lnTo>
                    <a:lnTo>
                      <a:pt x="284607" y="339947"/>
                    </a:lnTo>
                    <a:lnTo>
                      <a:pt x="276701" y="332042"/>
                    </a:lnTo>
                    <a:lnTo>
                      <a:pt x="268796" y="332042"/>
                    </a:lnTo>
                    <a:lnTo>
                      <a:pt x="260890" y="324136"/>
                    </a:lnTo>
                    <a:lnTo>
                      <a:pt x="245078" y="324136"/>
                    </a:lnTo>
                    <a:lnTo>
                      <a:pt x="229267" y="308325"/>
                    </a:lnTo>
                    <a:lnTo>
                      <a:pt x="221361" y="308325"/>
                    </a:lnTo>
                    <a:lnTo>
                      <a:pt x="229267" y="300419"/>
                    </a:lnTo>
                    <a:lnTo>
                      <a:pt x="252984" y="300419"/>
                    </a:lnTo>
                    <a:lnTo>
                      <a:pt x="260890" y="316230"/>
                    </a:lnTo>
                    <a:lnTo>
                      <a:pt x="292417" y="332042"/>
                    </a:lnTo>
                    <a:lnTo>
                      <a:pt x="308229" y="347853"/>
                    </a:lnTo>
                    <a:lnTo>
                      <a:pt x="339852" y="347853"/>
                    </a:lnTo>
                    <a:lnTo>
                      <a:pt x="355663" y="332042"/>
                    </a:lnTo>
                    <a:lnTo>
                      <a:pt x="339852" y="316230"/>
                    </a:lnTo>
                    <a:lnTo>
                      <a:pt x="324040" y="316230"/>
                    </a:lnTo>
                    <a:lnTo>
                      <a:pt x="308229" y="308325"/>
                    </a:lnTo>
                    <a:lnTo>
                      <a:pt x="292417" y="308325"/>
                    </a:lnTo>
                    <a:lnTo>
                      <a:pt x="276606" y="300419"/>
                    </a:lnTo>
                    <a:lnTo>
                      <a:pt x="268700" y="284607"/>
                    </a:lnTo>
                    <a:lnTo>
                      <a:pt x="260794" y="276701"/>
                    </a:lnTo>
                    <a:lnTo>
                      <a:pt x="260794" y="268796"/>
                    </a:lnTo>
                    <a:lnTo>
                      <a:pt x="252889" y="252984"/>
                    </a:lnTo>
                    <a:lnTo>
                      <a:pt x="244983" y="245078"/>
                    </a:lnTo>
                    <a:lnTo>
                      <a:pt x="229171" y="213455"/>
                    </a:lnTo>
                    <a:lnTo>
                      <a:pt x="221266" y="205550"/>
                    </a:lnTo>
                    <a:lnTo>
                      <a:pt x="213360" y="189738"/>
                    </a:lnTo>
                    <a:lnTo>
                      <a:pt x="197548" y="173927"/>
                    </a:lnTo>
                    <a:lnTo>
                      <a:pt x="197548" y="158115"/>
                    </a:lnTo>
                    <a:lnTo>
                      <a:pt x="189643" y="150209"/>
                    </a:lnTo>
                    <a:lnTo>
                      <a:pt x="189643" y="134398"/>
                    </a:lnTo>
                    <a:lnTo>
                      <a:pt x="197548" y="126492"/>
                    </a:lnTo>
                    <a:lnTo>
                      <a:pt x="205454" y="126492"/>
                    </a:lnTo>
                    <a:lnTo>
                      <a:pt x="213360" y="134398"/>
                    </a:lnTo>
                    <a:lnTo>
                      <a:pt x="213360" y="142304"/>
                    </a:lnTo>
                    <a:lnTo>
                      <a:pt x="221266" y="150209"/>
                    </a:lnTo>
                    <a:lnTo>
                      <a:pt x="237077" y="150209"/>
                    </a:lnTo>
                    <a:lnTo>
                      <a:pt x="237077" y="158115"/>
                    </a:lnTo>
                    <a:lnTo>
                      <a:pt x="244983" y="158115"/>
                    </a:lnTo>
                    <a:lnTo>
                      <a:pt x="260794" y="173927"/>
                    </a:lnTo>
                    <a:lnTo>
                      <a:pt x="260794" y="189738"/>
                    </a:lnTo>
                    <a:lnTo>
                      <a:pt x="268700" y="189738"/>
                    </a:lnTo>
                    <a:lnTo>
                      <a:pt x="276606" y="181832"/>
                    </a:lnTo>
                    <a:lnTo>
                      <a:pt x="284512" y="181832"/>
                    </a:lnTo>
                    <a:lnTo>
                      <a:pt x="268700" y="158115"/>
                    </a:lnTo>
                    <a:lnTo>
                      <a:pt x="276606" y="158115"/>
                    </a:lnTo>
                    <a:lnTo>
                      <a:pt x="308134" y="173927"/>
                    </a:lnTo>
                    <a:lnTo>
                      <a:pt x="292322" y="150209"/>
                    </a:lnTo>
                    <a:lnTo>
                      <a:pt x="300228" y="142304"/>
                    </a:lnTo>
                    <a:lnTo>
                      <a:pt x="300228" y="110681"/>
                    </a:lnTo>
                    <a:lnTo>
                      <a:pt x="316039" y="94869"/>
                    </a:lnTo>
                    <a:lnTo>
                      <a:pt x="355473" y="94869"/>
                    </a:lnTo>
                    <a:lnTo>
                      <a:pt x="363379" y="102775"/>
                    </a:lnTo>
                    <a:lnTo>
                      <a:pt x="363379" y="118586"/>
                    </a:lnTo>
                    <a:lnTo>
                      <a:pt x="379190" y="118586"/>
                    </a:lnTo>
                    <a:lnTo>
                      <a:pt x="387096" y="110681"/>
                    </a:lnTo>
                    <a:lnTo>
                      <a:pt x="395002" y="94869"/>
                    </a:lnTo>
                    <a:lnTo>
                      <a:pt x="402907" y="86963"/>
                    </a:lnTo>
                    <a:lnTo>
                      <a:pt x="450342" y="86963"/>
                    </a:lnTo>
                    <a:lnTo>
                      <a:pt x="474059" y="94869"/>
                    </a:lnTo>
                    <a:lnTo>
                      <a:pt x="489871" y="94869"/>
                    </a:lnTo>
                    <a:lnTo>
                      <a:pt x="497776" y="102775"/>
                    </a:lnTo>
                    <a:lnTo>
                      <a:pt x="505682" y="102775"/>
                    </a:lnTo>
                    <a:lnTo>
                      <a:pt x="505682" y="94869"/>
                    </a:lnTo>
                    <a:lnTo>
                      <a:pt x="513588" y="79058"/>
                    </a:lnTo>
                    <a:lnTo>
                      <a:pt x="513588" y="63246"/>
                    </a:lnTo>
                    <a:lnTo>
                      <a:pt x="505682" y="55340"/>
                    </a:lnTo>
                    <a:lnTo>
                      <a:pt x="505682" y="47435"/>
                    </a:lnTo>
                    <a:lnTo>
                      <a:pt x="513588" y="39529"/>
                    </a:lnTo>
                    <a:lnTo>
                      <a:pt x="537305" y="39529"/>
                    </a:lnTo>
                    <a:lnTo>
                      <a:pt x="537305" y="23717"/>
                    </a:lnTo>
                    <a:lnTo>
                      <a:pt x="529399" y="15812"/>
                    </a:lnTo>
                    <a:lnTo>
                      <a:pt x="529399" y="7906"/>
                    </a:lnTo>
                    <a:lnTo>
                      <a:pt x="513588" y="7906"/>
                    </a:lnTo>
                    <a:lnTo>
                      <a:pt x="505682" y="0"/>
                    </a:lnTo>
                    <a:lnTo>
                      <a:pt x="481965" y="7906"/>
                    </a:lnTo>
                    <a:lnTo>
                      <a:pt x="489871" y="15812"/>
                    </a:lnTo>
                    <a:lnTo>
                      <a:pt x="489871" y="39529"/>
                    </a:lnTo>
                    <a:lnTo>
                      <a:pt x="481965" y="47435"/>
                    </a:lnTo>
                    <a:lnTo>
                      <a:pt x="458248" y="47435"/>
                    </a:lnTo>
                    <a:lnTo>
                      <a:pt x="442436" y="31623"/>
                    </a:lnTo>
                    <a:lnTo>
                      <a:pt x="426625" y="47435"/>
                    </a:lnTo>
                    <a:lnTo>
                      <a:pt x="410813" y="47435"/>
                    </a:lnTo>
                    <a:lnTo>
                      <a:pt x="395002" y="31623"/>
                    </a:lnTo>
                    <a:lnTo>
                      <a:pt x="387096" y="39529"/>
                    </a:lnTo>
                    <a:lnTo>
                      <a:pt x="371284" y="39529"/>
                    </a:lnTo>
                    <a:lnTo>
                      <a:pt x="347567" y="15812"/>
                    </a:lnTo>
                    <a:lnTo>
                      <a:pt x="347567" y="7906"/>
                    </a:lnTo>
                    <a:lnTo>
                      <a:pt x="308134" y="15812"/>
                    </a:lnTo>
                    <a:lnTo>
                      <a:pt x="300228" y="39529"/>
                    </a:lnTo>
                    <a:lnTo>
                      <a:pt x="268700" y="31623"/>
                    </a:lnTo>
                    <a:lnTo>
                      <a:pt x="260794" y="39529"/>
                    </a:lnTo>
                    <a:lnTo>
                      <a:pt x="244983" y="47435"/>
                    </a:lnTo>
                    <a:lnTo>
                      <a:pt x="229171" y="47435"/>
                    </a:lnTo>
                    <a:lnTo>
                      <a:pt x="221266" y="39529"/>
                    </a:lnTo>
                    <a:lnTo>
                      <a:pt x="213360" y="39529"/>
                    </a:lnTo>
                    <a:lnTo>
                      <a:pt x="197548" y="47435"/>
                    </a:lnTo>
                    <a:lnTo>
                      <a:pt x="181737" y="63246"/>
                    </a:lnTo>
                    <a:lnTo>
                      <a:pt x="165925" y="71152"/>
                    </a:lnTo>
                    <a:lnTo>
                      <a:pt x="134302" y="71152"/>
                    </a:lnTo>
                    <a:lnTo>
                      <a:pt x="134302" y="79058"/>
                    </a:lnTo>
                    <a:lnTo>
                      <a:pt x="126397" y="94869"/>
                    </a:lnTo>
                    <a:lnTo>
                      <a:pt x="94869" y="94869"/>
                    </a:lnTo>
                    <a:lnTo>
                      <a:pt x="86963" y="86963"/>
                    </a:lnTo>
                    <a:lnTo>
                      <a:pt x="79057" y="86963"/>
                    </a:lnTo>
                    <a:lnTo>
                      <a:pt x="63246" y="94869"/>
                    </a:lnTo>
                    <a:lnTo>
                      <a:pt x="71152" y="110681"/>
                    </a:lnTo>
                    <a:lnTo>
                      <a:pt x="71152" y="118586"/>
                    </a:lnTo>
                    <a:lnTo>
                      <a:pt x="55340" y="134398"/>
                    </a:lnTo>
                    <a:lnTo>
                      <a:pt x="31623" y="134398"/>
                    </a:lnTo>
                    <a:lnTo>
                      <a:pt x="31623" y="166021"/>
                    </a:lnTo>
                    <a:lnTo>
                      <a:pt x="15812" y="173927"/>
                    </a:lnTo>
                    <a:lnTo>
                      <a:pt x="0" y="173927"/>
                    </a:lnTo>
                    <a:lnTo>
                      <a:pt x="0" y="260985"/>
                    </a:lnTo>
                    <a:lnTo>
                      <a:pt x="7906" y="268891"/>
                    </a:lnTo>
                    <a:lnTo>
                      <a:pt x="23717" y="276796"/>
                    </a:lnTo>
                    <a:lnTo>
                      <a:pt x="31623" y="284702"/>
                    </a:lnTo>
                    <a:lnTo>
                      <a:pt x="39529" y="300514"/>
                    </a:lnTo>
                    <a:lnTo>
                      <a:pt x="47434" y="308420"/>
                    </a:lnTo>
                    <a:lnTo>
                      <a:pt x="55340" y="324231"/>
                    </a:lnTo>
                    <a:lnTo>
                      <a:pt x="71152" y="340043"/>
                    </a:lnTo>
                    <a:lnTo>
                      <a:pt x="79057" y="355854"/>
                    </a:lnTo>
                    <a:lnTo>
                      <a:pt x="110680" y="355854"/>
                    </a:lnTo>
                    <a:lnTo>
                      <a:pt x="126492" y="347948"/>
                    </a:lnTo>
                    <a:lnTo>
                      <a:pt x="142304" y="347948"/>
                    </a:lnTo>
                    <a:close/>
                    <a:moveTo>
                      <a:pt x="387287" y="387382"/>
                    </a:moveTo>
                    <a:lnTo>
                      <a:pt x="418814" y="442817"/>
                    </a:lnTo>
                    <a:lnTo>
                      <a:pt x="434626" y="419100"/>
                    </a:lnTo>
                    <a:lnTo>
                      <a:pt x="387287" y="387477"/>
                    </a:lnTo>
                    <a:close/>
                    <a:moveTo>
                      <a:pt x="403098" y="513969"/>
                    </a:moveTo>
                    <a:lnTo>
                      <a:pt x="395192" y="498158"/>
                    </a:lnTo>
                    <a:lnTo>
                      <a:pt x="387287" y="513969"/>
                    </a:lnTo>
                    <a:lnTo>
                      <a:pt x="403098" y="513969"/>
                    </a:lnTo>
                    <a:close/>
                    <a:moveTo>
                      <a:pt x="411004" y="545592"/>
                    </a:moveTo>
                    <a:lnTo>
                      <a:pt x="411004" y="553498"/>
                    </a:lnTo>
                    <a:lnTo>
                      <a:pt x="426815" y="553498"/>
                    </a:lnTo>
                    <a:lnTo>
                      <a:pt x="426815" y="545592"/>
                    </a:lnTo>
                    <a:lnTo>
                      <a:pt x="418909" y="537686"/>
                    </a:lnTo>
                    <a:lnTo>
                      <a:pt x="411004" y="537686"/>
                    </a:lnTo>
                    <a:lnTo>
                      <a:pt x="411004" y="545592"/>
                    </a:lnTo>
                    <a:close/>
                    <a:moveTo>
                      <a:pt x="32004" y="339852"/>
                    </a:moveTo>
                    <a:lnTo>
                      <a:pt x="381" y="371475"/>
                    </a:lnTo>
                    <a:lnTo>
                      <a:pt x="55626" y="387287"/>
                    </a:lnTo>
                    <a:lnTo>
                      <a:pt x="31909" y="339757"/>
                    </a:lnTo>
                    <a:close/>
                    <a:moveTo>
                      <a:pt x="316230" y="142018"/>
                    </a:moveTo>
                    <a:lnTo>
                      <a:pt x="355663" y="165735"/>
                    </a:lnTo>
                    <a:lnTo>
                      <a:pt x="371475" y="157829"/>
                    </a:lnTo>
                    <a:lnTo>
                      <a:pt x="316230" y="142018"/>
                    </a:lnTo>
                    <a:close/>
                  </a:path>
                </a:pathLst>
              </a:custGeom>
              <a:noFill/>
              <a:ln w="4763" cap="flat">
                <a:noFill/>
                <a:prstDash val="solid"/>
                <a:miter/>
              </a:ln>
            </p:spPr>
            <p:txBody>
              <a:bodyPr rtlCol="0" anchor="ctr"/>
              <a:lstStyle/>
              <a:p>
                <a:endParaRPr lang="en-GB"/>
              </a:p>
            </p:txBody>
          </p:sp>
          <p:sp>
            <p:nvSpPr>
              <p:cNvPr id="119" name="Freeform: Shape 118">
                <a:extLst>
                  <a:ext uri="{FF2B5EF4-FFF2-40B4-BE49-F238E27FC236}">
                    <a16:creationId xmlns:a16="http://schemas.microsoft.com/office/drawing/2014/main" id="{05295A31-F511-A271-1E71-083D1EB7D5FB}"/>
                  </a:ext>
                </a:extLst>
              </p:cNvPr>
              <p:cNvSpPr/>
              <p:nvPr/>
            </p:nvSpPr>
            <p:spPr>
              <a:xfrm>
                <a:off x="5778055" y="3273170"/>
                <a:ext cx="743902" cy="779716"/>
              </a:xfrm>
              <a:custGeom>
                <a:avLst/>
                <a:gdLst>
                  <a:gd name="connsiteX0" fmla="*/ 39529 w 743902"/>
                  <a:gd name="connsiteY0" fmla="*/ 549021 h 779716"/>
                  <a:gd name="connsiteX1" fmla="*/ 39529 w 743902"/>
                  <a:gd name="connsiteY1" fmla="*/ 556927 h 779716"/>
                  <a:gd name="connsiteX2" fmla="*/ 47530 w 743902"/>
                  <a:gd name="connsiteY2" fmla="*/ 556927 h 779716"/>
                  <a:gd name="connsiteX3" fmla="*/ 47530 w 743902"/>
                  <a:gd name="connsiteY3" fmla="*/ 588740 h 779716"/>
                  <a:gd name="connsiteX4" fmla="*/ 79153 w 743902"/>
                  <a:gd name="connsiteY4" fmla="*/ 588740 h 779716"/>
                  <a:gd name="connsiteX5" fmla="*/ 79153 w 743902"/>
                  <a:gd name="connsiteY5" fmla="*/ 596741 h 779716"/>
                  <a:gd name="connsiteX6" fmla="*/ 94964 w 743902"/>
                  <a:gd name="connsiteY6" fmla="*/ 596741 h 779716"/>
                  <a:gd name="connsiteX7" fmla="*/ 110776 w 743902"/>
                  <a:gd name="connsiteY7" fmla="*/ 588740 h 779716"/>
                  <a:gd name="connsiteX8" fmla="*/ 126587 w 743902"/>
                  <a:gd name="connsiteY8" fmla="*/ 588740 h 779716"/>
                  <a:gd name="connsiteX9" fmla="*/ 126587 w 743902"/>
                  <a:gd name="connsiteY9" fmla="*/ 596741 h 779716"/>
                  <a:gd name="connsiteX10" fmla="*/ 158306 w 743902"/>
                  <a:gd name="connsiteY10" fmla="*/ 596741 h 779716"/>
                  <a:gd name="connsiteX11" fmla="*/ 182023 w 743902"/>
                  <a:gd name="connsiteY11" fmla="*/ 604742 h 779716"/>
                  <a:gd name="connsiteX12" fmla="*/ 174117 w 743902"/>
                  <a:gd name="connsiteY12" fmla="*/ 620649 h 779716"/>
                  <a:gd name="connsiteX13" fmla="*/ 150400 w 743902"/>
                  <a:gd name="connsiteY13" fmla="*/ 644462 h 779716"/>
                  <a:gd name="connsiteX14" fmla="*/ 150400 w 743902"/>
                  <a:gd name="connsiteY14" fmla="*/ 660368 h 779716"/>
                  <a:gd name="connsiteX15" fmla="*/ 142399 w 743902"/>
                  <a:gd name="connsiteY15" fmla="*/ 676275 h 779716"/>
                  <a:gd name="connsiteX16" fmla="*/ 134588 w 743902"/>
                  <a:gd name="connsiteY16" fmla="*/ 684276 h 779716"/>
                  <a:gd name="connsiteX17" fmla="*/ 126587 w 743902"/>
                  <a:gd name="connsiteY17" fmla="*/ 700183 h 779716"/>
                  <a:gd name="connsiteX18" fmla="*/ 126587 w 743902"/>
                  <a:gd name="connsiteY18" fmla="*/ 755904 h 779716"/>
                  <a:gd name="connsiteX19" fmla="*/ 174117 w 743902"/>
                  <a:gd name="connsiteY19" fmla="*/ 755904 h 779716"/>
                  <a:gd name="connsiteX20" fmla="*/ 197834 w 743902"/>
                  <a:gd name="connsiteY20" fmla="*/ 747903 h 779716"/>
                  <a:gd name="connsiteX21" fmla="*/ 205740 w 743902"/>
                  <a:gd name="connsiteY21" fmla="*/ 755904 h 779716"/>
                  <a:gd name="connsiteX22" fmla="*/ 197834 w 743902"/>
                  <a:gd name="connsiteY22" fmla="*/ 747903 h 779716"/>
                  <a:gd name="connsiteX23" fmla="*/ 197834 w 743902"/>
                  <a:gd name="connsiteY23" fmla="*/ 731996 h 779716"/>
                  <a:gd name="connsiteX24" fmla="*/ 205740 w 743902"/>
                  <a:gd name="connsiteY24" fmla="*/ 724091 h 779716"/>
                  <a:gd name="connsiteX25" fmla="*/ 213646 w 743902"/>
                  <a:gd name="connsiteY25" fmla="*/ 724091 h 779716"/>
                  <a:gd name="connsiteX26" fmla="*/ 229457 w 743902"/>
                  <a:gd name="connsiteY26" fmla="*/ 731996 h 779716"/>
                  <a:gd name="connsiteX27" fmla="*/ 237458 w 743902"/>
                  <a:gd name="connsiteY27" fmla="*/ 739997 h 779716"/>
                  <a:gd name="connsiteX28" fmla="*/ 253270 w 743902"/>
                  <a:gd name="connsiteY28" fmla="*/ 739997 h 779716"/>
                  <a:gd name="connsiteX29" fmla="*/ 276987 w 743902"/>
                  <a:gd name="connsiteY29" fmla="*/ 747903 h 779716"/>
                  <a:gd name="connsiteX30" fmla="*/ 284893 w 743902"/>
                  <a:gd name="connsiteY30" fmla="*/ 763810 h 779716"/>
                  <a:gd name="connsiteX31" fmla="*/ 332327 w 743902"/>
                  <a:gd name="connsiteY31" fmla="*/ 763810 h 779716"/>
                  <a:gd name="connsiteX32" fmla="*/ 340328 w 743902"/>
                  <a:gd name="connsiteY32" fmla="*/ 771811 h 779716"/>
                  <a:gd name="connsiteX33" fmla="*/ 340328 w 743902"/>
                  <a:gd name="connsiteY33" fmla="*/ 779717 h 779716"/>
                  <a:gd name="connsiteX34" fmla="*/ 356140 w 743902"/>
                  <a:gd name="connsiteY34" fmla="*/ 779717 h 779716"/>
                  <a:gd name="connsiteX35" fmla="*/ 364046 w 743902"/>
                  <a:gd name="connsiteY35" fmla="*/ 771811 h 779716"/>
                  <a:gd name="connsiteX36" fmla="*/ 364046 w 743902"/>
                  <a:gd name="connsiteY36" fmla="*/ 755904 h 779716"/>
                  <a:gd name="connsiteX37" fmla="*/ 387763 w 743902"/>
                  <a:gd name="connsiteY37" fmla="*/ 755904 h 779716"/>
                  <a:gd name="connsiteX38" fmla="*/ 411480 w 743902"/>
                  <a:gd name="connsiteY38" fmla="*/ 779717 h 779716"/>
                  <a:gd name="connsiteX39" fmla="*/ 435293 w 743902"/>
                  <a:gd name="connsiteY39" fmla="*/ 779717 h 779716"/>
                  <a:gd name="connsiteX40" fmla="*/ 443198 w 743902"/>
                  <a:gd name="connsiteY40" fmla="*/ 771811 h 779716"/>
                  <a:gd name="connsiteX41" fmla="*/ 466916 w 743902"/>
                  <a:gd name="connsiteY41" fmla="*/ 755904 h 779716"/>
                  <a:gd name="connsiteX42" fmla="*/ 490633 w 743902"/>
                  <a:gd name="connsiteY42" fmla="*/ 755904 h 779716"/>
                  <a:gd name="connsiteX43" fmla="*/ 514445 w 743902"/>
                  <a:gd name="connsiteY43" fmla="*/ 739997 h 779716"/>
                  <a:gd name="connsiteX44" fmla="*/ 530257 w 743902"/>
                  <a:gd name="connsiteY44" fmla="*/ 747903 h 779716"/>
                  <a:gd name="connsiteX45" fmla="*/ 553974 w 743902"/>
                  <a:gd name="connsiteY45" fmla="*/ 755904 h 779716"/>
                  <a:gd name="connsiteX46" fmla="*/ 569786 w 743902"/>
                  <a:gd name="connsiteY46" fmla="*/ 771811 h 779716"/>
                  <a:gd name="connsiteX47" fmla="*/ 577691 w 743902"/>
                  <a:gd name="connsiteY47" fmla="*/ 771811 h 779716"/>
                  <a:gd name="connsiteX48" fmla="*/ 577691 w 743902"/>
                  <a:gd name="connsiteY48" fmla="*/ 716090 h 779716"/>
                  <a:gd name="connsiteX49" fmla="*/ 561880 w 743902"/>
                  <a:gd name="connsiteY49" fmla="*/ 716090 h 779716"/>
                  <a:gd name="connsiteX50" fmla="*/ 561880 w 743902"/>
                  <a:gd name="connsiteY50" fmla="*/ 708184 h 779716"/>
                  <a:gd name="connsiteX51" fmla="*/ 569786 w 743902"/>
                  <a:gd name="connsiteY51" fmla="*/ 700183 h 779716"/>
                  <a:gd name="connsiteX52" fmla="*/ 569786 w 743902"/>
                  <a:gd name="connsiteY52" fmla="*/ 692182 h 779716"/>
                  <a:gd name="connsiteX53" fmla="*/ 577691 w 743902"/>
                  <a:gd name="connsiteY53" fmla="*/ 684276 h 779716"/>
                  <a:gd name="connsiteX54" fmla="*/ 601504 w 743902"/>
                  <a:gd name="connsiteY54" fmla="*/ 684276 h 779716"/>
                  <a:gd name="connsiteX55" fmla="*/ 609410 w 743902"/>
                  <a:gd name="connsiteY55" fmla="*/ 692182 h 779716"/>
                  <a:gd name="connsiteX56" fmla="*/ 617315 w 743902"/>
                  <a:gd name="connsiteY56" fmla="*/ 692182 h 779716"/>
                  <a:gd name="connsiteX57" fmla="*/ 617315 w 743902"/>
                  <a:gd name="connsiteY57" fmla="*/ 668369 h 779716"/>
                  <a:gd name="connsiteX58" fmla="*/ 609410 w 743902"/>
                  <a:gd name="connsiteY58" fmla="*/ 652463 h 779716"/>
                  <a:gd name="connsiteX59" fmla="*/ 633127 w 743902"/>
                  <a:gd name="connsiteY59" fmla="*/ 652463 h 779716"/>
                  <a:gd name="connsiteX60" fmla="*/ 641033 w 743902"/>
                  <a:gd name="connsiteY60" fmla="*/ 628555 h 779716"/>
                  <a:gd name="connsiteX61" fmla="*/ 641033 w 743902"/>
                  <a:gd name="connsiteY61" fmla="*/ 612648 h 779716"/>
                  <a:gd name="connsiteX62" fmla="*/ 633127 w 743902"/>
                  <a:gd name="connsiteY62" fmla="*/ 612648 h 779716"/>
                  <a:gd name="connsiteX63" fmla="*/ 625221 w 743902"/>
                  <a:gd name="connsiteY63" fmla="*/ 604742 h 779716"/>
                  <a:gd name="connsiteX64" fmla="*/ 609410 w 743902"/>
                  <a:gd name="connsiteY64" fmla="*/ 604742 h 779716"/>
                  <a:gd name="connsiteX65" fmla="*/ 601504 w 743902"/>
                  <a:gd name="connsiteY65" fmla="*/ 588740 h 779716"/>
                  <a:gd name="connsiteX66" fmla="*/ 593503 w 743902"/>
                  <a:gd name="connsiteY66" fmla="*/ 588740 h 779716"/>
                  <a:gd name="connsiteX67" fmla="*/ 585597 w 743902"/>
                  <a:gd name="connsiteY67" fmla="*/ 572834 h 779716"/>
                  <a:gd name="connsiteX68" fmla="*/ 569786 w 743902"/>
                  <a:gd name="connsiteY68" fmla="*/ 572834 h 779716"/>
                  <a:gd name="connsiteX69" fmla="*/ 553974 w 743902"/>
                  <a:gd name="connsiteY69" fmla="*/ 564928 h 779716"/>
                  <a:gd name="connsiteX70" fmla="*/ 553974 w 743902"/>
                  <a:gd name="connsiteY70" fmla="*/ 556927 h 779716"/>
                  <a:gd name="connsiteX71" fmla="*/ 546068 w 743902"/>
                  <a:gd name="connsiteY71" fmla="*/ 556927 h 779716"/>
                  <a:gd name="connsiteX72" fmla="*/ 538163 w 743902"/>
                  <a:gd name="connsiteY72" fmla="*/ 541020 h 779716"/>
                  <a:gd name="connsiteX73" fmla="*/ 522351 w 743902"/>
                  <a:gd name="connsiteY73" fmla="*/ 525113 h 779716"/>
                  <a:gd name="connsiteX74" fmla="*/ 522351 w 743902"/>
                  <a:gd name="connsiteY74" fmla="*/ 517208 h 779716"/>
                  <a:gd name="connsiteX75" fmla="*/ 530257 w 743902"/>
                  <a:gd name="connsiteY75" fmla="*/ 517208 h 779716"/>
                  <a:gd name="connsiteX76" fmla="*/ 538163 w 743902"/>
                  <a:gd name="connsiteY76" fmla="*/ 509207 h 779716"/>
                  <a:gd name="connsiteX77" fmla="*/ 522351 w 743902"/>
                  <a:gd name="connsiteY77" fmla="*/ 493300 h 779716"/>
                  <a:gd name="connsiteX78" fmla="*/ 514445 w 743902"/>
                  <a:gd name="connsiteY78" fmla="*/ 493300 h 779716"/>
                  <a:gd name="connsiteX79" fmla="*/ 506444 w 743902"/>
                  <a:gd name="connsiteY79" fmla="*/ 485299 h 779716"/>
                  <a:gd name="connsiteX80" fmla="*/ 506444 w 743902"/>
                  <a:gd name="connsiteY80" fmla="*/ 469487 h 779716"/>
                  <a:gd name="connsiteX81" fmla="*/ 514445 w 743902"/>
                  <a:gd name="connsiteY81" fmla="*/ 469487 h 779716"/>
                  <a:gd name="connsiteX82" fmla="*/ 514445 w 743902"/>
                  <a:gd name="connsiteY82" fmla="*/ 477393 h 779716"/>
                  <a:gd name="connsiteX83" fmla="*/ 530257 w 743902"/>
                  <a:gd name="connsiteY83" fmla="*/ 477393 h 779716"/>
                  <a:gd name="connsiteX84" fmla="*/ 530257 w 743902"/>
                  <a:gd name="connsiteY84" fmla="*/ 469487 h 779716"/>
                  <a:gd name="connsiteX85" fmla="*/ 546068 w 743902"/>
                  <a:gd name="connsiteY85" fmla="*/ 469487 h 779716"/>
                  <a:gd name="connsiteX86" fmla="*/ 546068 w 743902"/>
                  <a:gd name="connsiteY86" fmla="*/ 461486 h 779716"/>
                  <a:gd name="connsiteX87" fmla="*/ 553974 w 743902"/>
                  <a:gd name="connsiteY87" fmla="*/ 453485 h 779716"/>
                  <a:gd name="connsiteX88" fmla="*/ 561880 w 743902"/>
                  <a:gd name="connsiteY88" fmla="*/ 453485 h 779716"/>
                  <a:gd name="connsiteX89" fmla="*/ 577691 w 743902"/>
                  <a:gd name="connsiteY89" fmla="*/ 461486 h 779716"/>
                  <a:gd name="connsiteX90" fmla="*/ 593503 w 743902"/>
                  <a:gd name="connsiteY90" fmla="*/ 445580 h 779716"/>
                  <a:gd name="connsiteX91" fmla="*/ 617315 w 743902"/>
                  <a:gd name="connsiteY91" fmla="*/ 437579 h 779716"/>
                  <a:gd name="connsiteX92" fmla="*/ 617315 w 743902"/>
                  <a:gd name="connsiteY92" fmla="*/ 429673 h 779716"/>
                  <a:gd name="connsiteX93" fmla="*/ 648938 w 743902"/>
                  <a:gd name="connsiteY93" fmla="*/ 429673 h 779716"/>
                  <a:gd name="connsiteX94" fmla="*/ 648938 w 743902"/>
                  <a:gd name="connsiteY94" fmla="*/ 421672 h 779716"/>
                  <a:gd name="connsiteX95" fmla="*/ 672656 w 743902"/>
                  <a:gd name="connsiteY95" fmla="*/ 421672 h 779716"/>
                  <a:gd name="connsiteX96" fmla="*/ 672656 w 743902"/>
                  <a:gd name="connsiteY96" fmla="*/ 413766 h 779716"/>
                  <a:gd name="connsiteX97" fmla="*/ 680561 w 743902"/>
                  <a:gd name="connsiteY97" fmla="*/ 405765 h 779716"/>
                  <a:gd name="connsiteX98" fmla="*/ 688467 w 743902"/>
                  <a:gd name="connsiteY98" fmla="*/ 405765 h 779716"/>
                  <a:gd name="connsiteX99" fmla="*/ 696373 w 743902"/>
                  <a:gd name="connsiteY99" fmla="*/ 397859 h 779716"/>
                  <a:gd name="connsiteX100" fmla="*/ 712280 w 743902"/>
                  <a:gd name="connsiteY100" fmla="*/ 413766 h 779716"/>
                  <a:gd name="connsiteX101" fmla="*/ 728091 w 743902"/>
                  <a:gd name="connsiteY101" fmla="*/ 413766 h 779716"/>
                  <a:gd name="connsiteX102" fmla="*/ 735997 w 743902"/>
                  <a:gd name="connsiteY102" fmla="*/ 397859 h 779716"/>
                  <a:gd name="connsiteX103" fmla="*/ 735997 w 743902"/>
                  <a:gd name="connsiteY103" fmla="*/ 389858 h 779716"/>
                  <a:gd name="connsiteX104" fmla="*/ 743903 w 743902"/>
                  <a:gd name="connsiteY104" fmla="*/ 381953 h 779716"/>
                  <a:gd name="connsiteX105" fmla="*/ 743903 w 743902"/>
                  <a:gd name="connsiteY105" fmla="*/ 373951 h 779716"/>
                  <a:gd name="connsiteX106" fmla="*/ 728091 w 743902"/>
                  <a:gd name="connsiteY106" fmla="*/ 373951 h 779716"/>
                  <a:gd name="connsiteX107" fmla="*/ 735997 w 743902"/>
                  <a:gd name="connsiteY107" fmla="*/ 365950 h 779716"/>
                  <a:gd name="connsiteX108" fmla="*/ 735997 w 743902"/>
                  <a:gd name="connsiteY108" fmla="*/ 350044 h 779716"/>
                  <a:gd name="connsiteX109" fmla="*/ 728091 w 743902"/>
                  <a:gd name="connsiteY109" fmla="*/ 350044 h 779716"/>
                  <a:gd name="connsiteX110" fmla="*/ 720185 w 743902"/>
                  <a:gd name="connsiteY110" fmla="*/ 358045 h 779716"/>
                  <a:gd name="connsiteX111" fmla="*/ 720185 w 743902"/>
                  <a:gd name="connsiteY111" fmla="*/ 334137 h 779716"/>
                  <a:gd name="connsiteX112" fmla="*/ 712280 w 743902"/>
                  <a:gd name="connsiteY112" fmla="*/ 326231 h 779716"/>
                  <a:gd name="connsiteX113" fmla="*/ 704374 w 743902"/>
                  <a:gd name="connsiteY113" fmla="*/ 326231 h 779716"/>
                  <a:gd name="connsiteX114" fmla="*/ 696373 w 743902"/>
                  <a:gd name="connsiteY114" fmla="*/ 318230 h 779716"/>
                  <a:gd name="connsiteX115" fmla="*/ 696373 w 743902"/>
                  <a:gd name="connsiteY115" fmla="*/ 310325 h 779716"/>
                  <a:gd name="connsiteX116" fmla="*/ 712280 w 743902"/>
                  <a:gd name="connsiteY116" fmla="*/ 302324 h 779716"/>
                  <a:gd name="connsiteX117" fmla="*/ 720185 w 743902"/>
                  <a:gd name="connsiteY117" fmla="*/ 294418 h 779716"/>
                  <a:gd name="connsiteX118" fmla="*/ 712280 w 743902"/>
                  <a:gd name="connsiteY118" fmla="*/ 286417 h 779716"/>
                  <a:gd name="connsiteX119" fmla="*/ 704374 w 743902"/>
                  <a:gd name="connsiteY119" fmla="*/ 286417 h 779716"/>
                  <a:gd name="connsiteX120" fmla="*/ 712280 w 743902"/>
                  <a:gd name="connsiteY120" fmla="*/ 278511 h 779716"/>
                  <a:gd name="connsiteX121" fmla="*/ 712280 w 743902"/>
                  <a:gd name="connsiteY121" fmla="*/ 270510 h 779716"/>
                  <a:gd name="connsiteX122" fmla="*/ 696373 w 743902"/>
                  <a:gd name="connsiteY122" fmla="*/ 270510 h 779716"/>
                  <a:gd name="connsiteX123" fmla="*/ 696373 w 743902"/>
                  <a:gd name="connsiteY123" fmla="*/ 254603 h 779716"/>
                  <a:gd name="connsiteX124" fmla="*/ 704374 w 743902"/>
                  <a:gd name="connsiteY124" fmla="*/ 254603 h 779716"/>
                  <a:gd name="connsiteX125" fmla="*/ 704374 w 743902"/>
                  <a:gd name="connsiteY125" fmla="*/ 230696 h 779716"/>
                  <a:gd name="connsiteX126" fmla="*/ 688467 w 743902"/>
                  <a:gd name="connsiteY126" fmla="*/ 230696 h 779716"/>
                  <a:gd name="connsiteX127" fmla="*/ 680561 w 743902"/>
                  <a:gd name="connsiteY127" fmla="*/ 222790 h 779716"/>
                  <a:gd name="connsiteX128" fmla="*/ 672656 w 743902"/>
                  <a:gd name="connsiteY128" fmla="*/ 222790 h 779716"/>
                  <a:gd name="connsiteX129" fmla="*/ 664750 w 743902"/>
                  <a:gd name="connsiteY129" fmla="*/ 214789 h 779716"/>
                  <a:gd name="connsiteX130" fmla="*/ 664750 w 743902"/>
                  <a:gd name="connsiteY130" fmla="*/ 198882 h 779716"/>
                  <a:gd name="connsiteX131" fmla="*/ 672656 w 743902"/>
                  <a:gd name="connsiteY131" fmla="*/ 198882 h 779716"/>
                  <a:gd name="connsiteX132" fmla="*/ 688467 w 743902"/>
                  <a:gd name="connsiteY132" fmla="*/ 182975 h 779716"/>
                  <a:gd name="connsiteX133" fmla="*/ 688467 w 743902"/>
                  <a:gd name="connsiteY133" fmla="*/ 159163 h 779716"/>
                  <a:gd name="connsiteX134" fmla="*/ 680561 w 743902"/>
                  <a:gd name="connsiteY134" fmla="*/ 151162 h 779716"/>
                  <a:gd name="connsiteX135" fmla="*/ 672656 w 743902"/>
                  <a:gd name="connsiteY135" fmla="*/ 151162 h 779716"/>
                  <a:gd name="connsiteX136" fmla="*/ 672656 w 743902"/>
                  <a:gd name="connsiteY136" fmla="*/ 127254 h 779716"/>
                  <a:gd name="connsiteX137" fmla="*/ 664750 w 743902"/>
                  <a:gd name="connsiteY137" fmla="*/ 119348 h 779716"/>
                  <a:gd name="connsiteX138" fmla="*/ 641033 w 743902"/>
                  <a:gd name="connsiteY138" fmla="*/ 111347 h 779716"/>
                  <a:gd name="connsiteX139" fmla="*/ 641033 w 743902"/>
                  <a:gd name="connsiteY139" fmla="*/ 103442 h 779716"/>
                  <a:gd name="connsiteX140" fmla="*/ 633127 w 743902"/>
                  <a:gd name="connsiteY140" fmla="*/ 87535 h 779716"/>
                  <a:gd name="connsiteX141" fmla="*/ 625221 w 743902"/>
                  <a:gd name="connsiteY141" fmla="*/ 79534 h 779716"/>
                  <a:gd name="connsiteX142" fmla="*/ 601504 w 743902"/>
                  <a:gd name="connsiteY142" fmla="*/ 79534 h 779716"/>
                  <a:gd name="connsiteX143" fmla="*/ 593503 w 743902"/>
                  <a:gd name="connsiteY143" fmla="*/ 71628 h 779716"/>
                  <a:gd name="connsiteX144" fmla="*/ 585597 w 743902"/>
                  <a:gd name="connsiteY144" fmla="*/ 71628 h 779716"/>
                  <a:gd name="connsiteX145" fmla="*/ 577691 w 743902"/>
                  <a:gd name="connsiteY145" fmla="*/ 63627 h 779716"/>
                  <a:gd name="connsiteX146" fmla="*/ 561880 w 743902"/>
                  <a:gd name="connsiteY146" fmla="*/ 63627 h 779716"/>
                  <a:gd name="connsiteX147" fmla="*/ 553974 w 743902"/>
                  <a:gd name="connsiteY147" fmla="*/ 55721 h 779716"/>
                  <a:gd name="connsiteX148" fmla="*/ 522351 w 743902"/>
                  <a:gd name="connsiteY148" fmla="*/ 55721 h 779716"/>
                  <a:gd name="connsiteX149" fmla="*/ 506444 w 743902"/>
                  <a:gd name="connsiteY149" fmla="*/ 71628 h 779716"/>
                  <a:gd name="connsiteX150" fmla="*/ 451104 w 743902"/>
                  <a:gd name="connsiteY150" fmla="*/ 71628 h 779716"/>
                  <a:gd name="connsiteX151" fmla="*/ 451104 w 743902"/>
                  <a:gd name="connsiteY151" fmla="*/ 95441 h 779716"/>
                  <a:gd name="connsiteX152" fmla="*/ 395669 w 743902"/>
                  <a:gd name="connsiteY152" fmla="*/ 95441 h 779716"/>
                  <a:gd name="connsiteX153" fmla="*/ 395669 w 743902"/>
                  <a:gd name="connsiteY153" fmla="*/ 79534 h 779716"/>
                  <a:gd name="connsiteX154" fmla="*/ 411480 w 743902"/>
                  <a:gd name="connsiteY154" fmla="*/ 63627 h 779716"/>
                  <a:gd name="connsiteX155" fmla="*/ 411480 w 743902"/>
                  <a:gd name="connsiteY155" fmla="*/ 55721 h 779716"/>
                  <a:gd name="connsiteX156" fmla="*/ 419386 w 743902"/>
                  <a:gd name="connsiteY156" fmla="*/ 39719 h 779716"/>
                  <a:gd name="connsiteX157" fmla="*/ 387763 w 743902"/>
                  <a:gd name="connsiteY157" fmla="*/ 55721 h 779716"/>
                  <a:gd name="connsiteX158" fmla="*/ 332327 w 743902"/>
                  <a:gd name="connsiteY158" fmla="*/ 47720 h 779716"/>
                  <a:gd name="connsiteX159" fmla="*/ 324517 w 743902"/>
                  <a:gd name="connsiteY159" fmla="*/ 39719 h 779716"/>
                  <a:gd name="connsiteX160" fmla="*/ 324517 w 743902"/>
                  <a:gd name="connsiteY160" fmla="*/ 23813 h 779716"/>
                  <a:gd name="connsiteX161" fmla="*/ 316516 w 743902"/>
                  <a:gd name="connsiteY161" fmla="*/ 7906 h 779716"/>
                  <a:gd name="connsiteX162" fmla="*/ 308610 w 743902"/>
                  <a:gd name="connsiteY162" fmla="*/ 7906 h 779716"/>
                  <a:gd name="connsiteX163" fmla="*/ 308610 w 743902"/>
                  <a:gd name="connsiteY163" fmla="*/ 15907 h 779716"/>
                  <a:gd name="connsiteX164" fmla="*/ 300704 w 743902"/>
                  <a:gd name="connsiteY164" fmla="*/ 7906 h 779716"/>
                  <a:gd name="connsiteX165" fmla="*/ 269081 w 743902"/>
                  <a:gd name="connsiteY165" fmla="*/ 7906 h 779716"/>
                  <a:gd name="connsiteX166" fmla="*/ 261175 w 743902"/>
                  <a:gd name="connsiteY166" fmla="*/ 0 h 779716"/>
                  <a:gd name="connsiteX167" fmla="*/ 221552 w 743902"/>
                  <a:gd name="connsiteY167" fmla="*/ 0 h 779716"/>
                  <a:gd name="connsiteX168" fmla="*/ 253270 w 743902"/>
                  <a:gd name="connsiteY168" fmla="*/ 47720 h 779716"/>
                  <a:gd name="connsiteX169" fmla="*/ 237458 w 743902"/>
                  <a:gd name="connsiteY169" fmla="*/ 63627 h 779716"/>
                  <a:gd name="connsiteX170" fmla="*/ 261175 w 743902"/>
                  <a:gd name="connsiteY170" fmla="*/ 95441 h 779716"/>
                  <a:gd name="connsiteX171" fmla="*/ 284893 w 743902"/>
                  <a:gd name="connsiteY171" fmla="*/ 119348 h 779716"/>
                  <a:gd name="connsiteX172" fmla="*/ 245364 w 743902"/>
                  <a:gd name="connsiteY172" fmla="*/ 103442 h 779716"/>
                  <a:gd name="connsiteX173" fmla="*/ 213646 w 743902"/>
                  <a:gd name="connsiteY173" fmla="*/ 111347 h 779716"/>
                  <a:gd name="connsiteX174" fmla="*/ 213646 w 743902"/>
                  <a:gd name="connsiteY174" fmla="*/ 143256 h 779716"/>
                  <a:gd name="connsiteX175" fmla="*/ 174117 w 743902"/>
                  <a:gd name="connsiteY175" fmla="*/ 143256 h 779716"/>
                  <a:gd name="connsiteX176" fmla="*/ 166211 w 743902"/>
                  <a:gd name="connsiteY176" fmla="*/ 127254 h 779716"/>
                  <a:gd name="connsiteX177" fmla="*/ 110776 w 743902"/>
                  <a:gd name="connsiteY177" fmla="*/ 127254 h 779716"/>
                  <a:gd name="connsiteX178" fmla="*/ 110776 w 743902"/>
                  <a:gd name="connsiteY178" fmla="*/ 167068 h 779716"/>
                  <a:gd name="connsiteX179" fmla="*/ 118682 w 743902"/>
                  <a:gd name="connsiteY179" fmla="*/ 167068 h 779716"/>
                  <a:gd name="connsiteX180" fmla="*/ 110776 w 743902"/>
                  <a:gd name="connsiteY180" fmla="*/ 174974 h 779716"/>
                  <a:gd name="connsiteX181" fmla="*/ 118682 w 743902"/>
                  <a:gd name="connsiteY181" fmla="*/ 190976 h 779716"/>
                  <a:gd name="connsiteX182" fmla="*/ 102870 w 743902"/>
                  <a:gd name="connsiteY182" fmla="*/ 198882 h 779716"/>
                  <a:gd name="connsiteX183" fmla="*/ 94964 w 743902"/>
                  <a:gd name="connsiteY183" fmla="*/ 198882 h 779716"/>
                  <a:gd name="connsiteX184" fmla="*/ 94964 w 743902"/>
                  <a:gd name="connsiteY184" fmla="*/ 222790 h 779716"/>
                  <a:gd name="connsiteX185" fmla="*/ 102870 w 743902"/>
                  <a:gd name="connsiteY185" fmla="*/ 230696 h 779716"/>
                  <a:gd name="connsiteX186" fmla="*/ 87058 w 743902"/>
                  <a:gd name="connsiteY186" fmla="*/ 230696 h 779716"/>
                  <a:gd name="connsiteX187" fmla="*/ 71247 w 743902"/>
                  <a:gd name="connsiteY187" fmla="*/ 238696 h 779716"/>
                  <a:gd name="connsiteX188" fmla="*/ 63341 w 743902"/>
                  <a:gd name="connsiteY188" fmla="*/ 238696 h 779716"/>
                  <a:gd name="connsiteX189" fmla="*/ 63341 w 743902"/>
                  <a:gd name="connsiteY189" fmla="*/ 246602 h 779716"/>
                  <a:gd name="connsiteX190" fmla="*/ 71247 w 743902"/>
                  <a:gd name="connsiteY190" fmla="*/ 254603 h 779716"/>
                  <a:gd name="connsiteX191" fmla="*/ 79153 w 743902"/>
                  <a:gd name="connsiteY191" fmla="*/ 254603 h 779716"/>
                  <a:gd name="connsiteX192" fmla="*/ 94964 w 743902"/>
                  <a:gd name="connsiteY192" fmla="*/ 270510 h 779716"/>
                  <a:gd name="connsiteX193" fmla="*/ 94964 w 743902"/>
                  <a:gd name="connsiteY193" fmla="*/ 278511 h 779716"/>
                  <a:gd name="connsiteX194" fmla="*/ 87058 w 743902"/>
                  <a:gd name="connsiteY194" fmla="*/ 278511 h 779716"/>
                  <a:gd name="connsiteX195" fmla="*/ 79153 w 743902"/>
                  <a:gd name="connsiteY195" fmla="*/ 286417 h 779716"/>
                  <a:gd name="connsiteX196" fmla="*/ 71247 w 743902"/>
                  <a:gd name="connsiteY196" fmla="*/ 302324 h 779716"/>
                  <a:gd name="connsiteX197" fmla="*/ 63341 w 743902"/>
                  <a:gd name="connsiteY197" fmla="*/ 302324 h 779716"/>
                  <a:gd name="connsiteX198" fmla="*/ 55340 w 743902"/>
                  <a:gd name="connsiteY198" fmla="*/ 310325 h 779716"/>
                  <a:gd name="connsiteX199" fmla="*/ 55340 w 743902"/>
                  <a:gd name="connsiteY199" fmla="*/ 318230 h 779716"/>
                  <a:gd name="connsiteX200" fmla="*/ 23717 w 743902"/>
                  <a:gd name="connsiteY200" fmla="*/ 318230 h 779716"/>
                  <a:gd name="connsiteX201" fmla="*/ 15812 w 743902"/>
                  <a:gd name="connsiteY201" fmla="*/ 310325 h 779716"/>
                  <a:gd name="connsiteX202" fmla="*/ 7906 w 743902"/>
                  <a:gd name="connsiteY202" fmla="*/ 310325 h 779716"/>
                  <a:gd name="connsiteX203" fmla="*/ 15812 w 743902"/>
                  <a:gd name="connsiteY203" fmla="*/ 342138 h 779716"/>
                  <a:gd name="connsiteX204" fmla="*/ 15812 w 743902"/>
                  <a:gd name="connsiteY204" fmla="*/ 350044 h 779716"/>
                  <a:gd name="connsiteX205" fmla="*/ 23717 w 743902"/>
                  <a:gd name="connsiteY205" fmla="*/ 358045 h 779716"/>
                  <a:gd name="connsiteX206" fmla="*/ 23717 w 743902"/>
                  <a:gd name="connsiteY206" fmla="*/ 365950 h 779716"/>
                  <a:gd name="connsiteX207" fmla="*/ 7906 w 743902"/>
                  <a:gd name="connsiteY207" fmla="*/ 373951 h 779716"/>
                  <a:gd name="connsiteX208" fmla="*/ 0 w 743902"/>
                  <a:gd name="connsiteY208" fmla="*/ 381953 h 779716"/>
                  <a:gd name="connsiteX209" fmla="*/ 7906 w 743902"/>
                  <a:gd name="connsiteY209" fmla="*/ 389858 h 779716"/>
                  <a:gd name="connsiteX210" fmla="*/ 7906 w 743902"/>
                  <a:gd name="connsiteY210" fmla="*/ 405765 h 779716"/>
                  <a:gd name="connsiteX211" fmla="*/ 0 w 743902"/>
                  <a:gd name="connsiteY211" fmla="*/ 413766 h 779716"/>
                  <a:gd name="connsiteX212" fmla="*/ 0 w 743902"/>
                  <a:gd name="connsiteY212" fmla="*/ 429673 h 779716"/>
                  <a:gd name="connsiteX213" fmla="*/ 15812 w 743902"/>
                  <a:gd name="connsiteY213" fmla="*/ 429673 h 779716"/>
                  <a:gd name="connsiteX214" fmla="*/ 31623 w 743902"/>
                  <a:gd name="connsiteY214" fmla="*/ 445580 h 779716"/>
                  <a:gd name="connsiteX215" fmla="*/ 31623 w 743902"/>
                  <a:gd name="connsiteY215" fmla="*/ 469487 h 779716"/>
                  <a:gd name="connsiteX216" fmla="*/ 39529 w 743902"/>
                  <a:gd name="connsiteY216" fmla="*/ 477393 h 779716"/>
                  <a:gd name="connsiteX217" fmla="*/ 23717 w 743902"/>
                  <a:gd name="connsiteY217" fmla="*/ 477393 h 779716"/>
                  <a:gd name="connsiteX218" fmla="*/ 15812 w 743902"/>
                  <a:gd name="connsiteY218" fmla="*/ 485299 h 779716"/>
                  <a:gd name="connsiteX219" fmla="*/ 15812 w 743902"/>
                  <a:gd name="connsiteY219" fmla="*/ 509207 h 779716"/>
                  <a:gd name="connsiteX220" fmla="*/ 23717 w 743902"/>
                  <a:gd name="connsiteY220" fmla="*/ 517208 h 779716"/>
                  <a:gd name="connsiteX221" fmla="*/ 31623 w 743902"/>
                  <a:gd name="connsiteY221" fmla="*/ 517208 h 779716"/>
                  <a:gd name="connsiteX222" fmla="*/ 47530 w 743902"/>
                  <a:gd name="connsiteY222" fmla="*/ 525113 h 779716"/>
                  <a:gd name="connsiteX223" fmla="*/ 47530 w 743902"/>
                  <a:gd name="connsiteY223" fmla="*/ 541020 h 779716"/>
                  <a:gd name="connsiteX224" fmla="*/ 39529 w 743902"/>
                  <a:gd name="connsiteY224" fmla="*/ 549021 h 7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743902" h="779716">
                    <a:moveTo>
                      <a:pt x="39529" y="549021"/>
                    </a:moveTo>
                    <a:lnTo>
                      <a:pt x="39529" y="556927"/>
                    </a:lnTo>
                    <a:lnTo>
                      <a:pt x="47530" y="556927"/>
                    </a:lnTo>
                    <a:lnTo>
                      <a:pt x="47530" y="588740"/>
                    </a:lnTo>
                    <a:lnTo>
                      <a:pt x="79153" y="588740"/>
                    </a:lnTo>
                    <a:lnTo>
                      <a:pt x="79153" y="596741"/>
                    </a:lnTo>
                    <a:lnTo>
                      <a:pt x="94964" y="596741"/>
                    </a:lnTo>
                    <a:lnTo>
                      <a:pt x="110776" y="588740"/>
                    </a:lnTo>
                    <a:lnTo>
                      <a:pt x="126587" y="588740"/>
                    </a:lnTo>
                    <a:lnTo>
                      <a:pt x="126587" y="596741"/>
                    </a:lnTo>
                    <a:lnTo>
                      <a:pt x="158306" y="596741"/>
                    </a:lnTo>
                    <a:lnTo>
                      <a:pt x="182023" y="604742"/>
                    </a:lnTo>
                    <a:lnTo>
                      <a:pt x="174117" y="620649"/>
                    </a:lnTo>
                    <a:lnTo>
                      <a:pt x="150400" y="644462"/>
                    </a:lnTo>
                    <a:lnTo>
                      <a:pt x="150400" y="660368"/>
                    </a:lnTo>
                    <a:lnTo>
                      <a:pt x="142399" y="676275"/>
                    </a:lnTo>
                    <a:lnTo>
                      <a:pt x="134588" y="684276"/>
                    </a:lnTo>
                    <a:lnTo>
                      <a:pt x="126587" y="700183"/>
                    </a:lnTo>
                    <a:lnTo>
                      <a:pt x="126587" y="755904"/>
                    </a:lnTo>
                    <a:lnTo>
                      <a:pt x="174117" y="755904"/>
                    </a:lnTo>
                    <a:lnTo>
                      <a:pt x="197834" y="747903"/>
                    </a:lnTo>
                    <a:lnTo>
                      <a:pt x="205740" y="755904"/>
                    </a:lnTo>
                    <a:lnTo>
                      <a:pt x="197834" y="747903"/>
                    </a:lnTo>
                    <a:lnTo>
                      <a:pt x="197834" y="731996"/>
                    </a:lnTo>
                    <a:lnTo>
                      <a:pt x="205740" y="724091"/>
                    </a:lnTo>
                    <a:lnTo>
                      <a:pt x="213646" y="724091"/>
                    </a:lnTo>
                    <a:lnTo>
                      <a:pt x="229457" y="731996"/>
                    </a:lnTo>
                    <a:lnTo>
                      <a:pt x="237458" y="739997"/>
                    </a:lnTo>
                    <a:lnTo>
                      <a:pt x="253270" y="739997"/>
                    </a:lnTo>
                    <a:lnTo>
                      <a:pt x="276987" y="747903"/>
                    </a:lnTo>
                    <a:lnTo>
                      <a:pt x="284893" y="763810"/>
                    </a:lnTo>
                    <a:lnTo>
                      <a:pt x="332327" y="763810"/>
                    </a:lnTo>
                    <a:lnTo>
                      <a:pt x="340328" y="771811"/>
                    </a:lnTo>
                    <a:lnTo>
                      <a:pt x="340328" y="779717"/>
                    </a:lnTo>
                    <a:lnTo>
                      <a:pt x="356140" y="779717"/>
                    </a:lnTo>
                    <a:lnTo>
                      <a:pt x="364046" y="771811"/>
                    </a:lnTo>
                    <a:lnTo>
                      <a:pt x="364046" y="755904"/>
                    </a:lnTo>
                    <a:lnTo>
                      <a:pt x="387763" y="755904"/>
                    </a:lnTo>
                    <a:lnTo>
                      <a:pt x="411480" y="779717"/>
                    </a:lnTo>
                    <a:lnTo>
                      <a:pt x="435293" y="779717"/>
                    </a:lnTo>
                    <a:lnTo>
                      <a:pt x="443198" y="771811"/>
                    </a:lnTo>
                    <a:lnTo>
                      <a:pt x="466916" y="755904"/>
                    </a:lnTo>
                    <a:lnTo>
                      <a:pt x="490633" y="755904"/>
                    </a:lnTo>
                    <a:lnTo>
                      <a:pt x="514445" y="739997"/>
                    </a:lnTo>
                    <a:lnTo>
                      <a:pt x="530257" y="747903"/>
                    </a:lnTo>
                    <a:lnTo>
                      <a:pt x="553974" y="755904"/>
                    </a:lnTo>
                    <a:lnTo>
                      <a:pt x="569786" y="771811"/>
                    </a:lnTo>
                    <a:lnTo>
                      <a:pt x="577691" y="771811"/>
                    </a:lnTo>
                    <a:lnTo>
                      <a:pt x="577691" y="716090"/>
                    </a:lnTo>
                    <a:lnTo>
                      <a:pt x="561880" y="716090"/>
                    </a:lnTo>
                    <a:lnTo>
                      <a:pt x="561880" y="708184"/>
                    </a:lnTo>
                    <a:lnTo>
                      <a:pt x="569786" y="700183"/>
                    </a:lnTo>
                    <a:lnTo>
                      <a:pt x="569786" y="692182"/>
                    </a:lnTo>
                    <a:lnTo>
                      <a:pt x="577691" y="684276"/>
                    </a:lnTo>
                    <a:lnTo>
                      <a:pt x="601504" y="684276"/>
                    </a:lnTo>
                    <a:lnTo>
                      <a:pt x="609410" y="692182"/>
                    </a:lnTo>
                    <a:lnTo>
                      <a:pt x="617315" y="692182"/>
                    </a:lnTo>
                    <a:lnTo>
                      <a:pt x="617315" y="668369"/>
                    </a:lnTo>
                    <a:lnTo>
                      <a:pt x="609410" y="652463"/>
                    </a:lnTo>
                    <a:lnTo>
                      <a:pt x="633127" y="652463"/>
                    </a:lnTo>
                    <a:lnTo>
                      <a:pt x="641033" y="628555"/>
                    </a:lnTo>
                    <a:lnTo>
                      <a:pt x="641033" y="612648"/>
                    </a:lnTo>
                    <a:lnTo>
                      <a:pt x="633127" y="612648"/>
                    </a:lnTo>
                    <a:lnTo>
                      <a:pt x="625221" y="604742"/>
                    </a:lnTo>
                    <a:lnTo>
                      <a:pt x="609410" y="604742"/>
                    </a:lnTo>
                    <a:lnTo>
                      <a:pt x="601504" y="588740"/>
                    </a:lnTo>
                    <a:lnTo>
                      <a:pt x="593503" y="588740"/>
                    </a:lnTo>
                    <a:lnTo>
                      <a:pt x="585597" y="572834"/>
                    </a:lnTo>
                    <a:lnTo>
                      <a:pt x="569786" y="572834"/>
                    </a:lnTo>
                    <a:lnTo>
                      <a:pt x="553974" y="564928"/>
                    </a:lnTo>
                    <a:lnTo>
                      <a:pt x="553974" y="556927"/>
                    </a:lnTo>
                    <a:lnTo>
                      <a:pt x="546068" y="556927"/>
                    </a:lnTo>
                    <a:lnTo>
                      <a:pt x="538163" y="541020"/>
                    </a:lnTo>
                    <a:lnTo>
                      <a:pt x="522351" y="525113"/>
                    </a:lnTo>
                    <a:lnTo>
                      <a:pt x="522351" y="517208"/>
                    </a:lnTo>
                    <a:lnTo>
                      <a:pt x="530257" y="517208"/>
                    </a:lnTo>
                    <a:lnTo>
                      <a:pt x="538163" y="509207"/>
                    </a:lnTo>
                    <a:lnTo>
                      <a:pt x="522351" y="493300"/>
                    </a:lnTo>
                    <a:lnTo>
                      <a:pt x="514445" y="493300"/>
                    </a:lnTo>
                    <a:lnTo>
                      <a:pt x="506444" y="485299"/>
                    </a:lnTo>
                    <a:lnTo>
                      <a:pt x="506444" y="469487"/>
                    </a:lnTo>
                    <a:lnTo>
                      <a:pt x="514445" y="469487"/>
                    </a:lnTo>
                    <a:lnTo>
                      <a:pt x="514445" y="477393"/>
                    </a:lnTo>
                    <a:lnTo>
                      <a:pt x="530257" y="477393"/>
                    </a:lnTo>
                    <a:lnTo>
                      <a:pt x="530257" y="469487"/>
                    </a:lnTo>
                    <a:lnTo>
                      <a:pt x="546068" y="469487"/>
                    </a:lnTo>
                    <a:lnTo>
                      <a:pt x="546068" y="461486"/>
                    </a:lnTo>
                    <a:lnTo>
                      <a:pt x="553974" y="453485"/>
                    </a:lnTo>
                    <a:lnTo>
                      <a:pt x="561880" y="453485"/>
                    </a:lnTo>
                    <a:lnTo>
                      <a:pt x="577691" y="461486"/>
                    </a:lnTo>
                    <a:lnTo>
                      <a:pt x="593503" y="445580"/>
                    </a:lnTo>
                    <a:lnTo>
                      <a:pt x="617315" y="437579"/>
                    </a:lnTo>
                    <a:lnTo>
                      <a:pt x="617315" y="429673"/>
                    </a:lnTo>
                    <a:lnTo>
                      <a:pt x="648938" y="429673"/>
                    </a:lnTo>
                    <a:lnTo>
                      <a:pt x="648938" y="421672"/>
                    </a:lnTo>
                    <a:lnTo>
                      <a:pt x="672656" y="421672"/>
                    </a:lnTo>
                    <a:lnTo>
                      <a:pt x="672656" y="413766"/>
                    </a:lnTo>
                    <a:lnTo>
                      <a:pt x="680561" y="405765"/>
                    </a:lnTo>
                    <a:lnTo>
                      <a:pt x="688467" y="405765"/>
                    </a:lnTo>
                    <a:lnTo>
                      <a:pt x="696373" y="397859"/>
                    </a:lnTo>
                    <a:lnTo>
                      <a:pt x="712280" y="413766"/>
                    </a:lnTo>
                    <a:lnTo>
                      <a:pt x="728091" y="413766"/>
                    </a:lnTo>
                    <a:lnTo>
                      <a:pt x="735997" y="397859"/>
                    </a:lnTo>
                    <a:lnTo>
                      <a:pt x="735997" y="389858"/>
                    </a:lnTo>
                    <a:lnTo>
                      <a:pt x="743903" y="381953"/>
                    </a:lnTo>
                    <a:lnTo>
                      <a:pt x="743903" y="373951"/>
                    </a:lnTo>
                    <a:lnTo>
                      <a:pt x="728091" y="373951"/>
                    </a:lnTo>
                    <a:lnTo>
                      <a:pt x="735997" y="365950"/>
                    </a:lnTo>
                    <a:lnTo>
                      <a:pt x="735997" y="350044"/>
                    </a:lnTo>
                    <a:lnTo>
                      <a:pt x="728091" y="350044"/>
                    </a:lnTo>
                    <a:lnTo>
                      <a:pt x="720185" y="358045"/>
                    </a:lnTo>
                    <a:lnTo>
                      <a:pt x="720185" y="334137"/>
                    </a:lnTo>
                    <a:lnTo>
                      <a:pt x="712280" y="326231"/>
                    </a:lnTo>
                    <a:lnTo>
                      <a:pt x="704374" y="326231"/>
                    </a:lnTo>
                    <a:lnTo>
                      <a:pt x="696373" y="318230"/>
                    </a:lnTo>
                    <a:lnTo>
                      <a:pt x="696373" y="310325"/>
                    </a:lnTo>
                    <a:lnTo>
                      <a:pt x="712280" y="302324"/>
                    </a:lnTo>
                    <a:lnTo>
                      <a:pt x="720185" y="294418"/>
                    </a:lnTo>
                    <a:lnTo>
                      <a:pt x="712280" y="286417"/>
                    </a:lnTo>
                    <a:lnTo>
                      <a:pt x="704374" y="286417"/>
                    </a:lnTo>
                    <a:lnTo>
                      <a:pt x="712280" y="278511"/>
                    </a:lnTo>
                    <a:lnTo>
                      <a:pt x="712280" y="270510"/>
                    </a:lnTo>
                    <a:lnTo>
                      <a:pt x="696373" y="270510"/>
                    </a:lnTo>
                    <a:lnTo>
                      <a:pt x="696373" y="254603"/>
                    </a:lnTo>
                    <a:lnTo>
                      <a:pt x="704374" y="254603"/>
                    </a:lnTo>
                    <a:lnTo>
                      <a:pt x="704374" y="230696"/>
                    </a:lnTo>
                    <a:lnTo>
                      <a:pt x="688467" y="230696"/>
                    </a:lnTo>
                    <a:lnTo>
                      <a:pt x="680561" y="222790"/>
                    </a:lnTo>
                    <a:lnTo>
                      <a:pt x="672656" y="222790"/>
                    </a:lnTo>
                    <a:lnTo>
                      <a:pt x="664750" y="214789"/>
                    </a:lnTo>
                    <a:lnTo>
                      <a:pt x="664750" y="198882"/>
                    </a:lnTo>
                    <a:lnTo>
                      <a:pt x="672656" y="198882"/>
                    </a:lnTo>
                    <a:lnTo>
                      <a:pt x="688467" y="182975"/>
                    </a:lnTo>
                    <a:lnTo>
                      <a:pt x="688467" y="159163"/>
                    </a:lnTo>
                    <a:lnTo>
                      <a:pt x="680561" y="151162"/>
                    </a:lnTo>
                    <a:lnTo>
                      <a:pt x="672656" y="151162"/>
                    </a:lnTo>
                    <a:lnTo>
                      <a:pt x="672656" y="127254"/>
                    </a:lnTo>
                    <a:lnTo>
                      <a:pt x="664750" y="119348"/>
                    </a:lnTo>
                    <a:lnTo>
                      <a:pt x="641033" y="111347"/>
                    </a:lnTo>
                    <a:lnTo>
                      <a:pt x="641033" y="103442"/>
                    </a:lnTo>
                    <a:lnTo>
                      <a:pt x="633127" y="87535"/>
                    </a:lnTo>
                    <a:lnTo>
                      <a:pt x="625221" y="79534"/>
                    </a:lnTo>
                    <a:lnTo>
                      <a:pt x="601504" y="79534"/>
                    </a:lnTo>
                    <a:lnTo>
                      <a:pt x="593503" y="71628"/>
                    </a:lnTo>
                    <a:lnTo>
                      <a:pt x="585597" y="71628"/>
                    </a:lnTo>
                    <a:lnTo>
                      <a:pt x="577691" y="63627"/>
                    </a:lnTo>
                    <a:lnTo>
                      <a:pt x="561880" y="63627"/>
                    </a:lnTo>
                    <a:lnTo>
                      <a:pt x="553974" y="55721"/>
                    </a:lnTo>
                    <a:lnTo>
                      <a:pt x="522351" y="55721"/>
                    </a:lnTo>
                    <a:lnTo>
                      <a:pt x="506444" y="71628"/>
                    </a:lnTo>
                    <a:lnTo>
                      <a:pt x="451104" y="71628"/>
                    </a:lnTo>
                    <a:lnTo>
                      <a:pt x="451104" y="95441"/>
                    </a:lnTo>
                    <a:lnTo>
                      <a:pt x="395669" y="95441"/>
                    </a:lnTo>
                    <a:lnTo>
                      <a:pt x="395669" y="79534"/>
                    </a:lnTo>
                    <a:lnTo>
                      <a:pt x="411480" y="63627"/>
                    </a:lnTo>
                    <a:lnTo>
                      <a:pt x="411480" y="55721"/>
                    </a:lnTo>
                    <a:lnTo>
                      <a:pt x="419386" y="39719"/>
                    </a:lnTo>
                    <a:lnTo>
                      <a:pt x="387763" y="55721"/>
                    </a:lnTo>
                    <a:lnTo>
                      <a:pt x="332327" y="47720"/>
                    </a:lnTo>
                    <a:lnTo>
                      <a:pt x="324517" y="39719"/>
                    </a:lnTo>
                    <a:lnTo>
                      <a:pt x="324517" y="23813"/>
                    </a:lnTo>
                    <a:lnTo>
                      <a:pt x="316516" y="7906"/>
                    </a:lnTo>
                    <a:lnTo>
                      <a:pt x="308610" y="7906"/>
                    </a:lnTo>
                    <a:lnTo>
                      <a:pt x="308610" y="15907"/>
                    </a:lnTo>
                    <a:lnTo>
                      <a:pt x="300704" y="7906"/>
                    </a:lnTo>
                    <a:lnTo>
                      <a:pt x="269081" y="7906"/>
                    </a:lnTo>
                    <a:lnTo>
                      <a:pt x="261175" y="0"/>
                    </a:lnTo>
                    <a:lnTo>
                      <a:pt x="221552" y="0"/>
                    </a:lnTo>
                    <a:lnTo>
                      <a:pt x="253270" y="47720"/>
                    </a:lnTo>
                    <a:lnTo>
                      <a:pt x="237458" y="63627"/>
                    </a:lnTo>
                    <a:lnTo>
                      <a:pt x="261175" y="95441"/>
                    </a:lnTo>
                    <a:lnTo>
                      <a:pt x="284893" y="119348"/>
                    </a:lnTo>
                    <a:lnTo>
                      <a:pt x="245364" y="103442"/>
                    </a:lnTo>
                    <a:lnTo>
                      <a:pt x="213646" y="111347"/>
                    </a:lnTo>
                    <a:lnTo>
                      <a:pt x="213646" y="143256"/>
                    </a:lnTo>
                    <a:lnTo>
                      <a:pt x="174117" y="143256"/>
                    </a:lnTo>
                    <a:lnTo>
                      <a:pt x="166211" y="127254"/>
                    </a:lnTo>
                    <a:lnTo>
                      <a:pt x="110776" y="127254"/>
                    </a:lnTo>
                    <a:lnTo>
                      <a:pt x="110776" y="167068"/>
                    </a:lnTo>
                    <a:lnTo>
                      <a:pt x="118682" y="167068"/>
                    </a:lnTo>
                    <a:lnTo>
                      <a:pt x="110776" y="174974"/>
                    </a:lnTo>
                    <a:lnTo>
                      <a:pt x="118682" y="190976"/>
                    </a:lnTo>
                    <a:lnTo>
                      <a:pt x="102870" y="198882"/>
                    </a:lnTo>
                    <a:lnTo>
                      <a:pt x="94964" y="198882"/>
                    </a:lnTo>
                    <a:lnTo>
                      <a:pt x="94964" y="222790"/>
                    </a:lnTo>
                    <a:lnTo>
                      <a:pt x="102870" y="230696"/>
                    </a:lnTo>
                    <a:lnTo>
                      <a:pt x="87058" y="230696"/>
                    </a:lnTo>
                    <a:lnTo>
                      <a:pt x="71247" y="238696"/>
                    </a:lnTo>
                    <a:lnTo>
                      <a:pt x="63341" y="238696"/>
                    </a:lnTo>
                    <a:lnTo>
                      <a:pt x="63341" y="246602"/>
                    </a:lnTo>
                    <a:lnTo>
                      <a:pt x="71247" y="254603"/>
                    </a:lnTo>
                    <a:lnTo>
                      <a:pt x="79153" y="254603"/>
                    </a:lnTo>
                    <a:lnTo>
                      <a:pt x="94964" y="270510"/>
                    </a:lnTo>
                    <a:lnTo>
                      <a:pt x="94964" y="278511"/>
                    </a:lnTo>
                    <a:lnTo>
                      <a:pt x="87058" y="278511"/>
                    </a:lnTo>
                    <a:lnTo>
                      <a:pt x="79153" y="286417"/>
                    </a:lnTo>
                    <a:lnTo>
                      <a:pt x="71247" y="302324"/>
                    </a:lnTo>
                    <a:lnTo>
                      <a:pt x="63341" y="302324"/>
                    </a:lnTo>
                    <a:lnTo>
                      <a:pt x="55340" y="310325"/>
                    </a:lnTo>
                    <a:lnTo>
                      <a:pt x="55340" y="318230"/>
                    </a:lnTo>
                    <a:lnTo>
                      <a:pt x="23717" y="318230"/>
                    </a:lnTo>
                    <a:lnTo>
                      <a:pt x="15812" y="310325"/>
                    </a:lnTo>
                    <a:lnTo>
                      <a:pt x="7906" y="310325"/>
                    </a:lnTo>
                    <a:lnTo>
                      <a:pt x="15812" y="342138"/>
                    </a:lnTo>
                    <a:lnTo>
                      <a:pt x="15812" y="350044"/>
                    </a:lnTo>
                    <a:lnTo>
                      <a:pt x="23717" y="358045"/>
                    </a:lnTo>
                    <a:lnTo>
                      <a:pt x="23717" y="365950"/>
                    </a:lnTo>
                    <a:lnTo>
                      <a:pt x="7906" y="373951"/>
                    </a:lnTo>
                    <a:lnTo>
                      <a:pt x="0" y="381953"/>
                    </a:lnTo>
                    <a:lnTo>
                      <a:pt x="7906" y="389858"/>
                    </a:lnTo>
                    <a:lnTo>
                      <a:pt x="7906" y="405765"/>
                    </a:lnTo>
                    <a:lnTo>
                      <a:pt x="0" y="413766"/>
                    </a:lnTo>
                    <a:lnTo>
                      <a:pt x="0" y="429673"/>
                    </a:lnTo>
                    <a:lnTo>
                      <a:pt x="15812" y="429673"/>
                    </a:lnTo>
                    <a:lnTo>
                      <a:pt x="31623" y="445580"/>
                    </a:lnTo>
                    <a:lnTo>
                      <a:pt x="31623" y="469487"/>
                    </a:lnTo>
                    <a:lnTo>
                      <a:pt x="39529" y="477393"/>
                    </a:lnTo>
                    <a:lnTo>
                      <a:pt x="23717" y="477393"/>
                    </a:lnTo>
                    <a:lnTo>
                      <a:pt x="15812" y="485299"/>
                    </a:lnTo>
                    <a:lnTo>
                      <a:pt x="15812" y="509207"/>
                    </a:lnTo>
                    <a:lnTo>
                      <a:pt x="23717" y="517208"/>
                    </a:lnTo>
                    <a:lnTo>
                      <a:pt x="31623" y="517208"/>
                    </a:lnTo>
                    <a:lnTo>
                      <a:pt x="47530" y="525113"/>
                    </a:lnTo>
                    <a:lnTo>
                      <a:pt x="47530" y="541020"/>
                    </a:lnTo>
                    <a:lnTo>
                      <a:pt x="39529" y="549021"/>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120" name="Freeform: Shape 119">
                <a:extLst>
                  <a:ext uri="{FF2B5EF4-FFF2-40B4-BE49-F238E27FC236}">
                    <a16:creationId xmlns:a16="http://schemas.microsoft.com/office/drawing/2014/main" id="{D6D7D3B7-147B-FFFA-0750-68BCB0A04FED}"/>
                  </a:ext>
                </a:extLst>
              </p:cNvPr>
              <p:cNvSpPr/>
              <p:nvPr/>
            </p:nvSpPr>
            <p:spPr>
              <a:xfrm>
                <a:off x="5778055" y="3273170"/>
                <a:ext cx="743902" cy="779716"/>
              </a:xfrm>
              <a:custGeom>
                <a:avLst/>
                <a:gdLst>
                  <a:gd name="connsiteX0" fmla="*/ 39529 w 743902"/>
                  <a:gd name="connsiteY0" fmla="*/ 549021 h 779716"/>
                  <a:gd name="connsiteX1" fmla="*/ 39529 w 743902"/>
                  <a:gd name="connsiteY1" fmla="*/ 556927 h 779716"/>
                  <a:gd name="connsiteX2" fmla="*/ 47530 w 743902"/>
                  <a:gd name="connsiteY2" fmla="*/ 556927 h 779716"/>
                  <a:gd name="connsiteX3" fmla="*/ 47530 w 743902"/>
                  <a:gd name="connsiteY3" fmla="*/ 588740 h 779716"/>
                  <a:gd name="connsiteX4" fmla="*/ 79153 w 743902"/>
                  <a:gd name="connsiteY4" fmla="*/ 588740 h 779716"/>
                  <a:gd name="connsiteX5" fmla="*/ 79153 w 743902"/>
                  <a:gd name="connsiteY5" fmla="*/ 596741 h 779716"/>
                  <a:gd name="connsiteX6" fmla="*/ 94964 w 743902"/>
                  <a:gd name="connsiteY6" fmla="*/ 596741 h 779716"/>
                  <a:gd name="connsiteX7" fmla="*/ 110776 w 743902"/>
                  <a:gd name="connsiteY7" fmla="*/ 588740 h 779716"/>
                  <a:gd name="connsiteX8" fmla="*/ 126587 w 743902"/>
                  <a:gd name="connsiteY8" fmla="*/ 588740 h 779716"/>
                  <a:gd name="connsiteX9" fmla="*/ 126587 w 743902"/>
                  <a:gd name="connsiteY9" fmla="*/ 596741 h 779716"/>
                  <a:gd name="connsiteX10" fmla="*/ 158306 w 743902"/>
                  <a:gd name="connsiteY10" fmla="*/ 596741 h 779716"/>
                  <a:gd name="connsiteX11" fmla="*/ 182023 w 743902"/>
                  <a:gd name="connsiteY11" fmla="*/ 604742 h 779716"/>
                  <a:gd name="connsiteX12" fmla="*/ 174117 w 743902"/>
                  <a:gd name="connsiteY12" fmla="*/ 620649 h 779716"/>
                  <a:gd name="connsiteX13" fmla="*/ 150400 w 743902"/>
                  <a:gd name="connsiteY13" fmla="*/ 644462 h 779716"/>
                  <a:gd name="connsiteX14" fmla="*/ 150400 w 743902"/>
                  <a:gd name="connsiteY14" fmla="*/ 660368 h 779716"/>
                  <a:gd name="connsiteX15" fmla="*/ 142399 w 743902"/>
                  <a:gd name="connsiteY15" fmla="*/ 676275 h 779716"/>
                  <a:gd name="connsiteX16" fmla="*/ 134588 w 743902"/>
                  <a:gd name="connsiteY16" fmla="*/ 684276 h 779716"/>
                  <a:gd name="connsiteX17" fmla="*/ 126587 w 743902"/>
                  <a:gd name="connsiteY17" fmla="*/ 700183 h 779716"/>
                  <a:gd name="connsiteX18" fmla="*/ 126587 w 743902"/>
                  <a:gd name="connsiteY18" fmla="*/ 755904 h 779716"/>
                  <a:gd name="connsiteX19" fmla="*/ 174117 w 743902"/>
                  <a:gd name="connsiteY19" fmla="*/ 755904 h 779716"/>
                  <a:gd name="connsiteX20" fmla="*/ 197834 w 743902"/>
                  <a:gd name="connsiteY20" fmla="*/ 747903 h 779716"/>
                  <a:gd name="connsiteX21" fmla="*/ 205740 w 743902"/>
                  <a:gd name="connsiteY21" fmla="*/ 755904 h 779716"/>
                  <a:gd name="connsiteX22" fmla="*/ 197834 w 743902"/>
                  <a:gd name="connsiteY22" fmla="*/ 747903 h 779716"/>
                  <a:gd name="connsiteX23" fmla="*/ 197834 w 743902"/>
                  <a:gd name="connsiteY23" fmla="*/ 731996 h 779716"/>
                  <a:gd name="connsiteX24" fmla="*/ 205740 w 743902"/>
                  <a:gd name="connsiteY24" fmla="*/ 724091 h 779716"/>
                  <a:gd name="connsiteX25" fmla="*/ 213646 w 743902"/>
                  <a:gd name="connsiteY25" fmla="*/ 724091 h 779716"/>
                  <a:gd name="connsiteX26" fmla="*/ 229457 w 743902"/>
                  <a:gd name="connsiteY26" fmla="*/ 731996 h 779716"/>
                  <a:gd name="connsiteX27" fmla="*/ 237458 w 743902"/>
                  <a:gd name="connsiteY27" fmla="*/ 739997 h 779716"/>
                  <a:gd name="connsiteX28" fmla="*/ 253270 w 743902"/>
                  <a:gd name="connsiteY28" fmla="*/ 739997 h 779716"/>
                  <a:gd name="connsiteX29" fmla="*/ 276987 w 743902"/>
                  <a:gd name="connsiteY29" fmla="*/ 747903 h 779716"/>
                  <a:gd name="connsiteX30" fmla="*/ 284893 w 743902"/>
                  <a:gd name="connsiteY30" fmla="*/ 763810 h 779716"/>
                  <a:gd name="connsiteX31" fmla="*/ 332327 w 743902"/>
                  <a:gd name="connsiteY31" fmla="*/ 763810 h 779716"/>
                  <a:gd name="connsiteX32" fmla="*/ 340328 w 743902"/>
                  <a:gd name="connsiteY32" fmla="*/ 771811 h 779716"/>
                  <a:gd name="connsiteX33" fmla="*/ 340328 w 743902"/>
                  <a:gd name="connsiteY33" fmla="*/ 779717 h 779716"/>
                  <a:gd name="connsiteX34" fmla="*/ 356140 w 743902"/>
                  <a:gd name="connsiteY34" fmla="*/ 779717 h 779716"/>
                  <a:gd name="connsiteX35" fmla="*/ 364046 w 743902"/>
                  <a:gd name="connsiteY35" fmla="*/ 771811 h 779716"/>
                  <a:gd name="connsiteX36" fmla="*/ 364046 w 743902"/>
                  <a:gd name="connsiteY36" fmla="*/ 755904 h 779716"/>
                  <a:gd name="connsiteX37" fmla="*/ 387763 w 743902"/>
                  <a:gd name="connsiteY37" fmla="*/ 755904 h 779716"/>
                  <a:gd name="connsiteX38" fmla="*/ 411480 w 743902"/>
                  <a:gd name="connsiteY38" fmla="*/ 779717 h 779716"/>
                  <a:gd name="connsiteX39" fmla="*/ 435293 w 743902"/>
                  <a:gd name="connsiteY39" fmla="*/ 779717 h 779716"/>
                  <a:gd name="connsiteX40" fmla="*/ 443198 w 743902"/>
                  <a:gd name="connsiteY40" fmla="*/ 771811 h 779716"/>
                  <a:gd name="connsiteX41" fmla="*/ 466916 w 743902"/>
                  <a:gd name="connsiteY41" fmla="*/ 755904 h 779716"/>
                  <a:gd name="connsiteX42" fmla="*/ 490633 w 743902"/>
                  <a:gd name="connsiteY42" fmla="*/ 755904 h 779716"/>
                  <a:gd name="connsiteX43" fmla="*/ 514445 w 743902"/>
                  <a:gd name="connsiteY43" fmla="*/ 739997 h 779716"/>
                  <a:gd name="connsiteX44" fmla="*/ 530257 w 743902"/>
                  <a:gd name="connsiteY44" fmla="*/ 747903 h 779716"/>
                  <a:gd name="connsiteX45" fmla="*/ 553974 w 743902"/>
                  <a:gd name="connsiteY45" fmla="*/ 755904 h 779716"/>
                  <a:gd name="connsiteX46" fmla="*/ 569786 w 743902"/>
                  <a:gd name="connsiteY46" fmla="*/ 771811 h 779716"/>
                  <a:gd name="connsiteX47" fmla="*/ 577691 w 743902"/>
                  <a:gd name="connsiteY47" fmla="*/ 771811 h 779716"/>
                  <a:gd name="connsiteX48" fmla="*/ 577691 w 743902"/>
                  <a:gd name="connsiteY48" fmla="*/ 716090 h 779716"/>
                  <a:gd name="connsiteX49" fmla="*/ 561880 w 743902"/>
                  <a:gd name="connsiteY49" fmla="*/ 716090 h 779716"/>
                  <a:gd name="connsiteX50" fmla="*/ 561880 w 743902"/>
                  <a:gd name="connsiteY50" fmla="*/ 708184 h 779716"/>
                  <a:gd name="connsiteX51" fmla="*/ 569786 w 743902"/>
                  <a:gd name="connsiteY51" fmla="*/ 700183 h 779716"/>
                  <a:gd name="connsiteX52" fmla="*/ 569786 w 743902"/>
                  <a:gd name="connsiteY52" fmla="*/ 692182 h 779716"/>
                  <a:gd name="connsiteX53" fmla="*/ 577691 w 743902"/>
                  <a:gd name="connsiteY53" fmla="*/ 684276 h 779716"/>
                  <a:gd name="connsiteX54" fmla="*/ 601504 w 743902"/>
                  <a:gd name="connsiteY54" fmla="*/ 684276 h 779716"/>
                  <a:gd name="connsiteX55" fmla="*/ 609410 w 743902"/>
                  <a:gd name="connsiteY55" fmla="*/ 692182 h 779716"/>
                  <a:gd name="connsiteX56" fmla="*/ 617315 w 743902"/>
                  <a:gd name="connsiteY56" fmla="*/ 692182 h 779716"/>
                  <a:gd name="connsiteX57" fmla="*/ 617315 w 743902"/>
                  <a:gd name="connsiteY57" fmla="*/ 668369 h 779716"/>
                  <a:gd name="connsiteX58" fmla="*/ 609410 w 743902"/>
                  <a:gd name="connsiteY58" fmla="*/ 652463 h 779716"/>
                  <a:gd name="connsiteX59" fmla="*/ 633127 w 743902"/>
                  <a:gd name="connsiteY59" fmla="*/ 652463 h 779716"/>
                  <a:gd name="connsiteX60" fmla="*/ 641033 w 743902"/>
                  <a:gd name="connsiteY60" fmla="*/ 628555 h 779716"/>
                  <a:gd name="connsiteX61" fmla="*/ 641033 w 743902"/>
                  <a:gd name="connsiteY61" fmla="*/ 612648 h 779716"/>
                  <a:gd name="connsiteX62" fmla="*/ 633127 w 743902"/>
                  <a:gd name="connsiteY62" fmla="*/ 612648 h 779716"/>
                  <a:gd name="connsiteX63" fmla="*/ 625221 w 743902"/>
                  <a:gd name="connsiteY63" fmla="*/ 604742 h 779716"/>
                  <a:gd name="connsiteX64" fmla="*/ 609410 w 743902"/>
                  <a:gd name="connsiteY64" fmla="*/ 604742 h 779716"/>
                  <a:gd name="connsiteX65" fmla="*/ 601504 w 743902"/>
                  <a:gd name="connsiteY65" fmla="*/ 588740 h 779716"/>
                  <a:gd name="connsiteX66" fmla="*/ 593503 w 743902"/>
                  <a:gd name="connsiteY66" fmla="*/ 588740 h 779716"/>
                  <a:gd name="connsiteX67" fmla="*/ 585597 w 743902"/>
                  <a:gd name="connsiteY67" fmla="*/ 572834 h 779716"/>
                  <a:gd name="connsiteX68" fmla="*/ 569786 w 743902"/>
                  <a:gd name="connsiteY68" fmla="*/ 572834 h 779716"/>
                  <a:gd name="connsiteX69" fmla="*/ 553974 w 743902"/>
                  <a:gd name="connsiteY69" fmla="*/ 564928 h 779716"/>
                  <a:gd name="connsiteX70" fmla="*/ 553974 w 743902"/>
                  <a:gd name="connsiteY70" fmla="*/ 556927 h 779716"/>
                  <a:gd name="connsiteX71" fmla="*/ 546068 w 743902"/>
                  <a:gd name="connsiteY71" fmla="*/ 556927 h 779716"/>
                  <a:gd name="connsiteX72" fmla="*/ 538163 w 743902"/>
                  <a:gd name="connsiteY72" fmla="*/ 541020 h 779716"/>
                  <a:gd name="connsiteX73" fmla="*/ 522351 w 743902"/>
                  <a:gd name="connsiteY73" fmla="*/ 525113 h 779716"/>
                  <a:gd name="connsiteX74" fmla="*/ 522351 w 743902"/>
                  <a:gd name="connsiteY74" fmla="*/ 517208 h 779716"/>
                  <a:gd name="connsiteX75" fmla="*/ 530257 w 743902"/>
                  <a:gd name="connsiteY75" fmla="*/ 517208 h 779716"/>
                  <a:gd name="connsiteX76" fmla="*/ 538163 w 743902"/>
                  <a:gd name="connsiteY76" fmla="*/ 509207 h 779716"/>
                  <a:gd name="connsiteX77" fmla="*/ 522351 w 743902"/>
                  <a:gd name="connsiteY77" fmla="*/ 493300 h 779716"/>
                  <a:gd name="connsiteX78" fmla="*/ 514445 w 743902"/>
                  <a:gd name="connsiteY78" fmla="*/ 493300 h 779716"/>
                  <a:gd name="connsiteX79" fmla="*/ 506444 w 743902"/>
                  <a:gd name="connsiteY79" fmla="*/ 485299 h 779716"/>
                  <a:gd name="connsiteX80" fmla="*/ 506444 w 743902"/>
                  <a:gd name="connsiteY80" fmla="*/ 469487 h 779716"/>
                  <a:gd name="connsiteX81" fmla="*/ 514445 w 743902"/>
                  <a:gd name="connsiteY81" fmla="*/ 469487 h 779716"/>
                  <a:gd name="connsiteX82" fmla="*/ 514445 w 743902"/>
                  <a:gd name="connsiteY82" fmla="*/ 477393 h 779716"/>
                  <a:gd name="connsiteX83" fmla="*/ 530257 w 743902"/>
                  <a:gd name="connsiteY83" fmla="*/ 477393 h 779716"/>
                  <a:gd name="connsiteX84" fmla="*/ 530257 w 743902"/>
                  <a:gd name="connsiteY84" fmla="*/ 469487 h 779716"/>
                  <a:gd name="connsiteX85" fmla="*/ 546068 w 743902"/>
                  <a:gd name="connsiteY85" fmla="*/ 469487 h 779716"/>
                  <a:gd name="connsiteX86" fmla="*/ 546068 w 743902"/>
                  <a:gd name="connsiteY86" fmla="*/ 461486 h 779716"/>
                  <a:gd name="connsiteX87" fmla="*/ 553974 w 743902"/>
                  <a:gd name="connsiteY87" fmla="*/ 453485 h 779716"/>
                  <a:gd name="connsiteX88" fmla="*/ 561880 w 743902"/>
                  <a:gd name="connsiteY88" fmla="*/ 453485 h 779716"/>
                  <a:gd name="connsiteX89" fmla="*/ 577691 w 743902"/>
                  <a:gd name="connsiteY89" fmla="*/ 461486 h 779716"/>
                  <a:gd name="connsiteX90" fmla="*/ 593503 w 743902"/>
                  <a:gd name="connsiteY90" fmla="*/ 445580 h 779716"/>
                  <a:gd name="connsiteX91" fmla="*/ 617315 w 743902"/>
                  <a:gd name="connsiteY91" fmla="*/ 437579 h 779716"/>
                  <a:gd name="connsiteX92" fmla="*/ 617315 w 743902"/>
                  <a:gd name="connsiteY92" fmla="*/ 429673 h 779716"/>
                  <a:gd name="connsiteX93" fmla="*/ 648938 w 743902"/>
                  <a:gd name="connsiteY93" fmla="*/ 429673 h 779716"/>
                  <a:gd name="connsiteX94" fmla="*/ 648938 w 743902"/>
                  <a:gd name="connsiteY94" fmla="*/ 421672 h 779716"/>
                  <a:gd name="connsiteX95" fmla="*/ 672656 w 743902"/>
                  <a:gd name="connsiteY95" fmla="*/ 421672 h 779716"/>
                  <a:gd name="connsiteX96" fmla="*/ 672656 w 743902"/>
                  <a:gd name="connsiteY96" fmla="*/ 413766 h 779716"/>
                  <a:gd name="connsiteX97" fmla="*/ 680561 w 743902"/>
                  <a:gd name="connsiteY97" fmla="*/ 405765 h 779716"/>
                  <a:gd name="connsiteX98" fmla="*/ 688467 w 743902"/>
                  <a:gd name="connsiteY98" fmla="*/ 405765 h 779716"/>
                  <a:gd name="connsiteX99" fmla="*/ 696373 w 743902"/>
                  <a:gd name="connsiteY99" fmla="*/ 397859 h 779716"/>
                  <a:gd name="connsiteX100" fmla="*/ 712280 w 743902"/>
                  <a:gd name="connsiteY100" fmla="*/ 413766 h 779716"/>
                  <a:gd name="connsiteX101" fmla="*/ 728091 w 743902"/>
                  <a:gd name="connsiteY101" fmla="*/ 413766 h 779716"/>
                  <a:gd name="connsiteX102" fmla="*/ 735997 w 743902"/>
                  <a:gd name="connsiteY102" fmla="*/ 397859 h 779716"/>
                  <a:gd name="connsiteX103" fmla="*/ 735997 w 743902"/>
                  <a:gd name="connsiteY103" fmla="*/ 389858 h 779716"/>
                  <a:gd name="connsiteX104" fmla="*/ 743903 w 743902"/>
                  <a:gd name="connsiteY104" fmla="*/ 381953 h 779716"/>
                  <a:gd name="connsiteX105" fmla="*/ 743903 w 743902"/>
                  <a:gd name="connsiteY105" fmla="*/ 373951 h 779716"/>
                  <a:gd name="connsiteX106" fmla="*/ 728091 w 743902"/>
                  <a:gd name="connsiteY106" fmla="*/ 373951 h 779716"/>
                  <a:gd name="connsiteX107" fmla="*/ 735997 w 743902"/>
                  <a:gd name="connsiteY107" fmla="*/ 365950 h 779716"/>
                  <a:gd name="connsiteX108" fmla="*/ 735997 w 743902"/>
                  <a:gd name="connsiteY108" fmla="*/ 350044 h 779716"/>
                  <a:gd name="connsiteX109" fmla="*/ 728091 w 743902"/>
                  <a:gd name="connsiteY109" fmla="*/ 350044 h 779716"/>
                  <a:gd name="connsiteX110" fmla="*/ 720185 w 743902"/>
                  <a:gd name="connsiteY110" fmla="*/ 358045 h 779716"/>
                  <a:gd name="connsiteX111" fmla="*/ 720185 w 743902"/>
                  <a:gd name="connsiteY111" fmla="*/ 334137 h 779716"/>
                  <a:gd name="connsiteX112" fmla="*/ 712280 w 743902"/>
                  <a:gd name="connsiteY112" fmla="*/ 326231 h 779716"/>
                  <a:gd name="connsiteX113" fmla="*/ 704374 w 743902"/>
                  <a:gd name="connsiteY113" fmla="*/ 326231 h 779716"/>
                  <a:gd name="connsiteX114" fmla="*/ 696373 w 743902"/>
                  <a:gd name="connsiteY114" fmla="*/ 318230 h 779716"/>
                  <a:gd name="connsiteX115" fmla="*/ 696373 w 743902"/>
                  <a:gd name="connsiteY115" fmla="*/ 310325 h 779716"/>
                  <a:gd name="connsiteX116" fmla="*/ 712280 w 743902"/>
                  <a:gd name="connsiteY116" fmla="*/ 302324 h 779716"/>
                  <a:gd name="connsiteX117" fmla="*/ 720185 w 743902"/>
                  <a:gd name="connsiteY117" fmla="*/ 294418 h 779716"/>
                  <a:gd name="connsiteX118" fmla="*/ 712280 w 743902"/>
                  <a:gd name="connsiteY118" fmla="*/ 286417 h 779716"/>
                  <a:gd name="connsiteX119" fmla="*/ 704374 w 743902"/>
                  <a:gd name="connsiteY119" fmla="*/ 286417 h 779716"/>
                  <a:gd name="connsiteX120" fmla="*/ 712280 w 743902"/>
                  <a:gd name="connsiteY120" fmla="*/ 278511 h 779716"/>
                  <a:gd name="connsiteX121" fmla="*/ 712280 w 743902"/>
                  <a:gd name="connsiteY121" fmla="*/ 270510 h 779716"/>
                  <a:gd name="connsiteX122" fmla="*/ 696373 w 743902"/>
                  <a:gd name="connsiteY122" fmla="*/ 270510 h 779716"/>
                  <a:gd name="connsiteX123" fmla="*/ 696373 w 743902"/>
                  <a:gd name="connsiteY123" fmla="*/ 254603 h 779716"/>
                  <a:gd name="connsiteX124" fmla="*/ 704374 w 743902"/>
                  <a:gd name="connsiteY124" fmla="*/ 254603 h 779716"/>
                  <a:gd name="connsiteX125" fmla="*/ 704374 w 743902"/>
                  <a:gd name="connsiteY125" fmla="*/ 230696 h 779716"/>
                  <a:gd name="connsiteX126" fmla="*/ 688467 w 743902"/>
                  <a:gd name="connsiteY126" fmla="*/ 230696 h 779716"/>
                  <a:gd name="connsiteX127" fmla="*/ 680561 w 743902"/>
                  <a:gd name="connsiteY127" fmla="*/ 222790 h 779716"/>
                  <a:gd name="connsiteX128" fmla="*/ 672656 w 743902"/>
                  <a:gd name="connsiteY128" fmla="*/ 222790 h 779716"/>
                  <a:gd name="connsiteX129" fmla="*/ 664750 w 743902"/>
                  <a:gd name="connsiteY129" fmla="*/ 214789 h 779716"/>
                  <a:gd name="connsiteX130" fmla="*/ 664750 w 743902"/>
                  <a:gd name="connsiteY130" fmla="*/ 198882 h 779716"/>
                  <a:gd name="connsiteX131" fmla="*/ 672656 w 743902"/>
                  <a:gd name="connsiteY131" fmla="*/ 198882 h 779716"/>
                  <a:gd name="connsiteX132" fmla="*/ 688467 w 743902"/>
                  <a:gd name="connsiteY132" fmla="*/ 182975 h 779716"/>
                  <a:gd name="connsiteX133" fmla="*/ 688467 w 743902"/>
                  <a:gd name="connsiteY133" fmla="*/ 159163 h 779716"/>
                  <a:gd name="connsiteX134" fmla="*/ 680561 w 743902"/>
                  <a:gd name="connsiteY134" fmla="*/ 151162 h 779716"/>
                  <a:gd name="connsiteX135" fmla="*/ 672656 w 743902"/>
                  <a:gd name="connsiteY135" fmla="*/ 151162 h 779716"/>
                  <a:gd name="connsiteX136" fmla="*/ 672656 w 743902"/>
                  <a:gd name="connsiteY136" fmla="*/ 127254 h 779716"/>
                  <a:gd name="connsiteX137" fmla="*/ 664750 w 743902"/>
                  <a:gd name="connsiteY137" fmla="*/ 119348 h 779716"/>
                  <a:gd name="connsiteX138" fmla="*/ 641033 w 743902"/>
                  <a:gd name="connsiteY138" fmla="*/ 111347 h 779716"/>
                  <a:gd name="connsiteX139" fmla="*/ 641033 w 743902"/>
                  <a:gd name="connsiteY139" fmla="*/ 103442 h 779716"/>
                  <a:gd name="connsiteX140" fmla="*/ 633127 w 743902"/>
                  <a:gd name="connsiteY140" fmla="*/ 87535 h 779716"/>
                  <a:gd name="connsiteX141" fmla="*/ 625221 w 743902"/>
                  <a:gd name="connsiteY141" fmla="*/ 79534 h 779716"/>
                  <a:gd name="connsiteX142" fmla="*/ 601504 w 743902"/>
                  <a:gd name="connsiteY142" fmla="*/ 79534 h 779716"/>
                  <a:gd name="connsiteX143" fmla="*/ 593503 w 743902"/>
                  <a:gd name="connsiteY143" fmla="*/ 71628 h 779716"/>
                  <a:gd name="connsiteX144" fmla="*/ 585597 w 743902"/>
                  <a:gd name="connsiteY144" fmla="*/ 71628 h 779716"/>
                  <a:gd name="connsiteX145" fmla="*/ 577691 w 743902"/>
                  <a:gd name="connsiteY145" fmla="*/ 63627 h 779716"/>
                  <a:gd name="connsiteX146" fmla="*/ 561880 w 743902"/>
                  <a:gd name="connsiteY146" fmla="*/ 63627 h 779716"/>
                  <a:gd name="connsiteX147" fmla="*/ 553974 w 743902"/>
                  <a:gd name="connsiteY147" fmla="*/ 55721 h 779716"/>
                  <a:gd name="connsiteX148" fmla="*/ 522351 w 743902"/>
                  <a:gd name="connsiteY148" fmla="*/ 55721 h 779716"/>
                  <a:gd name="connsiteX149" fmla="*/ 506444 w 743902"/>
                  <a:gd name="connsiteY149" fmla="*/ 71628 h 779716"/>
                  <a:gd name="connsiteX150" fmla="*/ 451104 w 743902"/>
                  <a:gd name="connsiteY150" fmla="*/ 71628 h 779716"/>
                  <a:gd name="connsiteX151" fmla="*/ 451104 w 743902"/>
                  <a:gd name="connsiteY151" fmla="*/ 95441 h 779716"/>
                  <a:gd name="connsiteX152" fmla="*/ 395669 w 743902"/>
                  <a:gd name="connsiteY152" fmla="*/ 95441 h 779716"/>
                  <a:gd name="connsiteX153" fmla="*/ 395669 w 743902"/>
                  <a:gd name="connsiteY153" fmla="*/ 79534 h 779716"/>
                  <a:gd name="connsiteX154" fmla="*/ 411480 w 743902"/>
                  <a:gd name="connsiteY154" fmla="*/ 63627 h 779716"/>
                  <a:gd name="connsiteX155" fmla="*/ 411480 w 743902"/>
                  <a:gd name="connsiteY155" fmla="*/ 55721 h 779716"/>
                  <a:gd name="connsiteX156" fmla="*/ 419386 w 743902"/>
                  <a:gd name="connsiteY156" fmla="*/ 39719 h 779716"/>
                  <a:gd name="connsiteX157" fmla="*/ 387763 w 743902"/>
                  <a:gd name="connsiteY157" fmla="*/ 55721 h 779716"/>
                  <a:gd name="connsiteX158" fmla="*/ 332327 w 743902"/>
                  <a:gd name="connsiteY158" fmla="*/ 47720 h 779716"/>
                  <a:gd name="connsiteX159" fmla="*/ 324517 w 743902"/>
                  <a:gd name="connsiteY159" fmla="*/ 39719 h 779716"/>
                  <a:gd name="connsiteX160" fmla="*/ 324517 w 743902"/>
                  <a:gd name="connsiteY160" fmla="*/ 23813 h 779716"/>
                  <a:gd name="connsiteX161" fmla="*/ 316516 w 743902"/>
                  <a:gd name="connsiteY161" fmla="*/ 7906 h 779716"/>
                  <a:gd name="connsiteX162" fmla="*/ 308610 w 743902"/>
                  <a:gd name="connsiteY162" fmla="*/ 7906 h 779716"/>
                  <a:gd name="connsiteX163" fmla="*/ 308610 w 743902"/>
                  <a:gd name="connsiteY163" fmla="*/ 15907 h 779716"/>
                  <a:gd name="connsiteX164" fmla="*/ 300704 w 743902"/>
                  <a:gd name="connsiteY164" fmla="*/ 7906 h 779716"/>
                  <a:gd name="connsiteX165" fmla="*/ 269081 w 743902"/>
                  <a:gd name="connsiteY165" fmla="*/ 7906 h 779716"/>
                  <a:gd name="connsiteX166" fmla="*/ 261175 w 743902"/>
                  <a:gd name="connsiteY166" fmla="*/ 0 h 779716"/>
                  <a:gd name="connsiteX167" fmla="*/ 221552 w 743902"/>
                  <a:gd name="connsiteY167" fmla="*/ 0 h 779716"/>
                  <a:gd name="connsiteX168" fmla="*/ 253270 w 743902"/>
                  <a:gd name="connsiteY168" fmla="*/ 47720 h 779716"/>
                  <a:gd name="connsiteX169" fmla="*/ 237458 w 743902"/>
                  <a:gd name="connsiteY169" fmla="*/ 63627 h 779716"/>
                  <a:gd name="connsiteX170" fmla="*/ 261175 w 743902"/>
                  <a:gd name="connsiteY170" fmla="*/ 95441 h 779716"/>
                  <a:gd name="connsiteX171" fmla="*/ 284893 w 743902"/>
                  <a:gd name="connsiteY171" fmla="*/ 119348 h 779716"/>
                  <a:gd name="connsiteX172" fmla="*/ 245364 w 743902"/>
                  <a:gd name="connsiteY172" fmla="*/ 103442 h 779716"/>
                  <a:gd name="connsiteX173" fmla="*/ 213646 w 743902"/>
                  <a:gd name="connsiteY173" fmla="*/ 111347 h 779716"/>
                  <a:gd name="connsiteX174" fmla="*/ 213646 w 743902"/>
                  <a:gd name="connsiteY174" fmla="*/ 143256 h 779716"/>
                  <a:gd name="connsiteX175" fmla="*/ 174117 w 743902"/>
                  <a:gd name="connsiteY175" fmla="*/ 143256 h 779716"/>
                  <a:gd name="connsiteX176" fmla="*/ 166211 w 743902"/>
                  <a:gd name="connsiteY176" fmla="*/ 127254 h 779716"/>
                  <a:gd name="connsiteX177" fmla="*/ 110776 w 743902"/>
                  <a:gd name="connsiteY177" fmla="*/ 127254 h 779716"/>
                  <a:gd name="connsiteX178" fmla="*/ 110776 w 743902"/>
                  <a:gd name="connsiteY178" fmla="*/ 167068 h 779716"/>
                  <a:gd name="connsiteX179" fmla="*/ 118682 w 743902"/>
                  <a:gd name="connsiteY179" fmla="*/ 167068 h 779716"/>
                  <a:gd name="connsiteX180" fmla="*/ 110776 w 743902"/>
                  <a:gd name="connsiteY180" fmla="*/ 174974 h 779716"/>
                  <a:gd name="connsiteX181" fmla="*/ 118682 w 743902"/>
                  <a:gd name="connsiteY181" fmla="*/ 190976 h 779716"/>
                  <a:gd name="connsiteX182" fmla="*/ 102870 w 743902"/>
                  <a:gd name="connsiteY182" fmla="*/ 198882 h 779716"/>
                  <a:gd name="connsiteX183" fmla="*/ 94964 w 743902"/>
                  <a:gd name="connsiteY183" fmla="*/ 198882 h 779716"/>
                  <a:gd name="connsiteX184" fmla="*/ 94964 w 743902"/>
                  <a:gd name="connsiteY184" fmla="*/ 222790 h 779716"/>
                  <a:gd name="connsiteX185" fmla="*/ 102870 w 743902"/>
                  <a:gd name="connsiteY185" fmla="*/ 230696 h 779716"/>
                  <a:gd name="connsiteX186" fmla="*/ 87058 w 743902"/>
                  <a:gd name="connsiteY186" fmla="*/ 230696 h 779716"/>
                  <a:gd name="connsiteX187" fmla="*/ 71247 w 743902"/>
                  <a:gd name="connsiteY187" fmla="*/ 238696 h 779716"/>
                  <a:gd name="connsiteX188" fmla="*/ 63341 w 743902"/>
                  <a:gd name="connsiteY188" fmla="*/ 238696 h 779716"/>
                  <a:gd name="connsiteX189" fmla="*/ 63341 w 743902"/>
                  <a:gd name="connsiteY189" fmla="*/ 246602 h 779716"/>
                  <a:gd name="connsiteX190" fmla="*/ 71247 w 743902"/>
                  <a:gd name="connsiteY190" fmla="*/ 254603 h 779716"/>
                  <a:gd name="connsiteX191" fmla="*/ 79153 w 743902"/>
                  <a:gd name="connsiteY191" fmla="*/ 254603 h 779716"/>
                  <a:gd name="connsiteX192" fmla="*/ 94964 w 743902"/>
                  <a:gd name="connsiteY192" fmla="*/ 270510 h 779716"/>
                  <a:gd name="connsiteX193" fmla="*/ 94964 w 743902"/>
                  <a:gd name="connsiteY193" fmla="*/ 278511 h 779716"/>
                  <a:gd name="connsiteX194" fmla="*/ 87058 w 743902"/>
                  <a:gd name="connsiteY194" fmla="*/ 278511 h 779716"/>
                  <a:gd name="connsiteX195" fmla="*/ 79153 w 743902"/>
                  <a:gd name="connsiteY195" fmla="*/ 286417 h 779716"/>
                  <a:gd name="connsiteX196" fmla="*/ 71247 w 743902"/>
                  <a:gd name="connsiteY196" fmla="*/ 302324 h 779716"/>
                  <a:gd name="connsiteX197" fmla="*/ 63341 w 743902"/>
                  <a:gd name="connsiteY197" fmla="*/ 302324 h 779716"/>
                  <a:gd name="connsiteX198" fmla="*/ 55340 w 743902"/>
                  <a:gd name="connsiteY198" fmla="*/ 310325 h 779716"/>
                  <a:gd name="connsiteX199" fmla="*/ 55340 w 743902"/>
                  <a:gd name="connsiteY199" fmla="*/ 318230 h 779716"/>
                  <a:gd name="connsiteX200" fmla="*/ 23717 w 743902"/>
                  <a:gd name="connsiteY200" fmla="*/ 318230 h 779716"/>
                  <a:gd name="connsiteX201" fmla="*/ 15812 w 743902"/>
                  <a:gd name="connsiteY201" fmla="*/ 310325 h 779716"/>
                  <a:gd name="connsiteX202" fmla="*/ 7906 w 743902"/>
                  <a:gd name="connsiteY202" fmla="*/ 310325 h 779716"/>
                  <a:gd name="connsiteX203" fmla="*/ 15812 w 743902"/>
                  <a:gd name="connsiteY203" fmla="*/ 342138 h 779716"/>
                  <a:gd name="connsiteX204" fmla="*/ 15812 w 743902"/>
                  <a:gd name="connsiteY204" fmla="*/ 350044 h 779716"/>
                  <a:gd name="connsiteX205" fmla="*/ 23717 w 743902"/>
                  <a:gd name="connsiteY205" fmla="*/ 358045 h 779716"/>
                  <a:gd name="connsiteX206" fmla="*/ 23717 w 743902"/>
                  <a:gd name="connsiteY206" fmla="*/ 365950 h 779716"/>
                  <a:gd name="connsiteX207" fmla="*/ 7906 w 743902"/>
                  <a:gd name="connsiteY207" fmla="*/ 373951 h 779716"/>
                  <a:gd name="connsiteX208" fmla="*/ 0 w 743902"/>
                  <a:gd name="connsiteY208" fmla="*/ 381953 h 779716"/>
                  <a:gd name="connsiteX209" fmla="*/ 7906 w 743902"/>
                  <a:gd name="connsiteY209" fmla="*/ 389858 h 779716"/>
                  <a:gd name="connsiteX210" fmla="*/ 7906 w 743902"/>
                  <a:gd name="connsiteY210" fmla="*/ 405765 h 779716"/>
                  <a:gd name="connsiteX211" fmla="*/ 0 w 743902"/>
                  <a:gd name="connsiteY211" fmla="*/ 413766 h 779716"/>
                  <a:gd name="connsiteX212" fmla="*/ 0 w 743902"/>
                  <a:gd name="connsiteY212" fmla="*/ 429673 h 779716"/>
                  <a:gd name="connsiteX213" fmla="*/ 15812 w 743902"/>
                  <a:gd name="connsiteY213" fmla="*/ 429673 h 779716"/>
                  <a:gd name="connsiteX214" fmla="*/ 31623 w 743902"/>
                  <a:gd name="connsiteY214" fmla="*/ 445580 h 779716"/>
                  <a:gd name="connsiteX215" fmla="*/ 31623 w 743902"/>
                  <a:gd name="connsiteY215" fmla="*/ 469487 h 779716"/>
                  <a:gd name="connsiteX216" fmla="*/ 39529 w 743902"/>
                  <a:gd name="connsiteY216" fmla="*/ 477393 h 779716"/>
                  <a:gd name="connsiteX217" fmla="*/ 23717 w 743902"/>
                  <a:gd name="connsiteY217" fmla="*/ 477393 h 779716"/>
                  <a:gd name="connsiteX218" fmla="*/ 15812 w 743902"/>
                  <a:gd name="connsiteY218" fmla="*/ 485299 h 779716"/>
                  <a:gd name="connsiteX219" fmla="*/ 15812 w 743902"/>
                  <a:gd name="connsiteY219" fmla="*/ 509207 h 779716"/>
                  <a:gd name="connsiteX220" fmla="*/ 23717 w 743902"/>
                  <a:gd name="connsiteY220" fmla="*/ 517208 h 779716"/>
                  <a:gd name="connsiteX221" fmla="*/ 31623 w 743902"/>
                  <a:gd name="connsiteY221" fmla="*/ 517208 h 779716"/>
                  <a:gd name="connsiteX222" fmla="*/ 47530 w 743902"/>
                  <a:gd name="connsiteY222" fmla="*/ 525113 h 779716"/>
                  <a:gd name="connsiteX223" fmla="*/ 47530 w 743902"/>
                  <a:gd name="connsiteY223" fmla="*/ 541020 h 779716"/>
                  <a:gd name="connsiteX224" fmla="*/ 39529 w 743902"/>
                  <a:gd name="connsiteY224" fmla="*/ 549021 h 7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743902" h="779716">
                    <a:moveTo>
                      <a:pt x="39529" y="549021"/>
                    </a:moveTo>
                    <a:lnTo>
                      <a:pt x="39529" y="556927"/>
                    </a:lnTo>
                    <a:lnTo>
                      <a:pt x="47530" y="556927"/>
                    </a:lnTo>
                    <a:lnTo>
                      <a:pt x="47530" y="588740"/>
                    </a:lnTo>
                    <a:lnTo>
                      <a:pt x="79153" y="588740"/>
                    </a:lnTo>
                    <a:lnTo>
                      <a:pt x="79153" y="596741"/>
                    </a:lnTo>
                    <a:lnTo>
                      <a:pt x="94964" y="596741"/>
                    </a:lnTo>
                    <a:lnTo>
                      <a:pt x="110776" y="588740"/>
                    </a:lnTo>
                    <a:lnTo>
                      <a:pt x="126587" y="588740"/>
                    </a:lnTo>
                    <a:lnTo>
                      <a:pt x="126587" y="596741"/>
                    </a:lnTo>
                    <a:lnTo>
                      <a:pt x="158306" y="596741"/>
                    </a:lnTo>
                    <a:lnTo>
                      <a:pt x="182023" y="604742"/>
                    </a:lnTo>
                    <a:lnTo>
                      <a:pt x="174117" y="620649"/>
                    </a:lnTo>
                    <a:lnTo>
                      <a:pt x="150400" y="644462"/>
                    </a:lnTo>
                    <a:lnTo>
                      <a:pt x="150400" y="660368"/>
                    </a:lnTo>
                    <a:lnTo>
                      <a:pt x="142399" y="676275"/>
                    </a:lnTo>
                    <a:lnTo>
                      <a:pt x="134588" y="684276"/>
                    </a:lnTo>
                    <a:lnTo>
                      <a:pt x="126587" y="700183"/>
                    </a:lnTo>
                    <a:lnTo>
                      <a:pt x="126587" y="755904"/>
                    </a:lnTo>
                    <a:lnTo>
                      <a:pt x="174117" y="755904"/>
                    </a:lnTo>
                    <a:lnTo>
                      <a:pt x="197834" y="747903"/>
                    </a:lnTo>
                    <a:lnTo>
                      <a:pt x="205740" y="755904"/>
                    </a:lnTo>
                    <a:lnTo>
                      <a:pt x="197834" y="747903"/>
                    </a:lnTo>
                    <a:lnTo>
                      <a:pt x="197834" y="731996"/>
                    </a:lnTo>
                    <a:lnTo>
                      <a:pt x="205740" y="724091"/>
                    </a:lnTo>
                    <a:lnTo>
                      <a:pt x="213646" y="724091"/>
                    </a:lnTo>
                    <a:lnTo>
                      <a:pt x="229457" y="731996"/>
                    </a:lnTo>
                    <a:lnTo>
                      <a:pt x="237458" y="739997"/>
                    </a:lnTo>
                    <a:lnTo>
                      <a:pt x="253270" y="739997"/>
                    </a:lnTo>
                    <a:lnTo>
                      <a:pt x="276987" y="747903"/>
                    </a:lnTo>
                    <a:lnTo>
                      <a:pt x="284893" y="763810"/>
                    </a:lnTo>
                    <a:lnTo>
                      <a:pt x="332327" y="763810"/>
                    </a:lnTo>
                    <a:lnTo>
                      <a:pt x="340328" y="771811"/>
                    </a:lnTo>
                    <a:lnTo>
                      <a:pt x="340328" y="779717"/>
                    </a:lnTo>
                    <a:lnTo>
                      <a:pt x="356140" y="779717"/>
                    </a:lnTo>
                    <a:lnTo>
                      <a:pt x="364046" y="771811"/>
                    </a:lnTo>
                    <a:lnTo>
                      <a:pt x="364046" y="755904"/>
                    </a:lnTo>
                    <a:lnTo>
                      <a:pt x="387763" y="755904"/>
                    </a:lnTo>
                    <a:lnTo>
                      <a:pt x="411480" y="779717"/>
                    </a:lnTo>
                    <a:lnTo>
                      <a:pt x="435293" y="779717"/>
                    </a:lnTo>
                    <a:lnTo>
                      <a:pt x="443198" y="771811"/>
                    </a:lnTo>
                    <a:lnTo>
                      <a:pt x="466916" y="755904"/>
                    </a:lnTo>
                    <a:lnTo>
                      <a:pt x="490633" y="755904"/>
                    </a:lnTo>
                    <a:lnTo>
                      <a:pt x="514445" y="739997"/>
                    </a:lnTo>
                    <a:lnTo>
                      <a:pt x="530257" y="747903"/>
                    </a:lnTo>
                    <a:lnTo>
                      <a:pt x="553974" y="755904"/>
                    </a:lnTo>
                    <a:lnTo>
                      <a:pt x="569786" y="771811"/>
                    </a:lnTo>
                    <a:lnTo>
                      <a:pt x="577691" y="771811"/>
                    </a:lnTo>
                    <a:lnTo>
                      <a:pt x="577691" y="716090"/>
                    </a:lnTo>
                    <a:lnTo>
                      <a:pt x="561880" y="716090"/>
                    </a:lnTo>
                    <a:lnTo>
                      <a:pt x="561880" y="708184"/>
                    </a:lnTo>
                    <a:lnTo>
                      <a:pt x="569786" y="700183"/>
                    </a:lnTo>
                    <a:lnTo>
                      <a:pt x="569786" y="692182"/>
                    </a:lnTo>
                    <a:lnTo>
                      <a:pt x="577691" y="684276"/>
                    </a:lnTo>
                    <a:lnTo>
                      <a:pt x="601504" y="684276"/>
                    </a:lnTo>
                    <a:lnTo>
                      <a:pt x="609410" y="692182"/>
                    </a:lnTo>
                    <a:lnTo>
                      <a:pt x="617315" y="692182"/>
                    </a:lnTo>
                    <a:lnTo>
                      <a:pt x="617315" y="668369"/>
                    </a:lnTo>
                    <a:lnTo>
                      <a:pt x="609410" y="652463"/>
                    </a:lnTo>
                    <a:lnTo>
                      <a:pt x="633127" y="652463"/>
                    </a:lnTo>
                    <a:lnTo>
                      <a:pt x="641033" y="628555"/>
                    </a:lnTo>
                    <a:lnTo>
                      <a:pt x="641033" y="612648"/>
                    </a:lnTo>
                    <a:lnTo>
                      <a:pt x="633127" y="612648"/>
                    </a:lnTo>
                    <a:lnTo>
                      <a:pt x="625221" y="604742"/>
                    </a:lnTo>
                    <a:lnTo>
                      <a:pt x="609410" y="604742"/>
                    </a:lnTo>
                    <a:lnTo>
                      <a:pt x="601504" y="588740"/>
                    </a:lnTo>
                    <a:lnTo>
                      <a:pt x="593503" y="588740"/>
                    </a:lnTo>
                    <a:lnTo>
                      <a:pt x="585597" y="572834"/>
                    </a:lnTo>
                    <a:lnTo>
                      <a:pt x="569786" y="572834"/>
                    </a:lnTo>
                    <a:lnTo>
                      <a:pt x="553974" y="564928"/>
                    </a:lnTo>
                    <a:lnTo>
                      <a:pt x="553974" y="556927"/>
                    </a:lnTo>
                    <a:lnTo>
                      <a:pt x="546068" y="556927"/>
                    </a:lnTo>
                    <a:lnTo>
                      <a:pt x="538163" y="541020"/>
                    </a:lnTo>
                    <a:lnTo>
                      <a:pt x="522351" y="525113"/>
                    </a:lnTo>
                    <a:lnTo>
                      <a:pt x="522351" y="517208"/>
                    </a:lnTo>
                    <a:lnTo>
                      <a:pt x="530257" y="517208"/>
                    </a:lnTo>
                    <a:lnTo>
                      <a:pt x="538163" y="509207"/>
                    </a:lnTo>
                    <a:lnTo>
                      <a:pt x="522351" y="493300"/>
                    </a:lnTo>
                    <a:lnTo>
                      <a:pt x="514445" y="493300"/>
                    </a:lnTo>
                    <a:lnTo>
                      <a:pt x="506444" y="485299"/>
                    </a:lnTo>
                    <a:lnTo>
                      <a:pt x="506444" y="469487"/>
                    </a:lnTo>
                    <a:lnTo>
                      <a:pt x="514445" y="469487"/>
                    </a:lnTo>
                    <a:lnTo>
                      <a:pt x="514445" y="477393"/>
                    </a:lnTo>
                    <a:lnTo>
                      <a:pt x="530257" y="477393"/>
                    </a:lnTo>
                    <a:lnTo>
                      <a:pt x="530257" y="469487"/>
                    </a:lnTo>
                    <a:lnTo>
                      <a:pt x="546068" y="469487"/>
                    </a:lnTo>
                    <a:lnTo>
                      <a:pt x="546068" y="461486"/>
                    </a:lnTo>
                    <a:lnTo>
                      <a:pt x="553974" y="453485"/>
                    </a:lnTo>
                    <a:lnTo>
                      <a:pt x="561880" y="453485"/>
                    </a:lnTo>
                    <a:lnTo>
                      <a:pt x="577691" y="461486"/>
                    </a:lnTo>
                    <a:lnTo>
                      <a:pt x="593503" y="445580"/>
                    </a:lnTo>
                    <a:lnTo>
                      <a:pt x="617315" y="437579"/>
                    </a:lnTo>
                    <a:lnTo>
                      <a:pt x="617315" y="429673"/>
                    </a:lnTo>
                    <a:lnTo>
                      <a:pt x="648938" y="429673"/>
                    </a:lnTo>
                    <a:lnTo>
                      <a:pt x="648938" y="421672"/>
                    </a:lnTo>
                    <a:lnTo>
                      <a:pt x="672656" y="421672"/>
                    </a:lnTo>
                    <a:lnTo>
                      <a:pt x="672656" y="413766"/>
                    </a:lnTo>
                    <a:lnTo>
                      <a:pt x="680561" y="405765"/>
                    </a:lnTo>
                    <a:lnTo>
                      <a:pt x="688467" y="405765"/>
                    </a:lnTo>
                    <a:lnTo>
                      <a:pt x="696373" y="397859"/>
                    </a:lnTo>
                    <a:lnTo>
                      <a:pt x="712280" y="413766"/>
                    </a:lnTo>
                    <a:lnTo>
                      <a:pt x="728091" y="413766"/>
                    </a:lnTo>
                    <a:lnTo>
                      <a:pt x="735997" y="397859"/>
                    </a:lnTo>
                    <a:lnTo>
                      <a:pt x="735997" y="389858"/>
                    </a:lnTo>
                    <a:lnTo>
                      <a:pt x="743903" y="381953"/>
                    </a:lnTo>
                    <a:lnTo>
                      <a:pt x="743903" y="373951"/>
                    </a:lnTo>
                    <a:lnTo>
                      <a:pt x="728091" y="373951"/>
                    </a:lnTo>
                    <a:lnTo>
                      <a:pt x="735997" y="365950"/>
                    </a:lnTo>
                    <a:lnTo>
                      <a:pt x="735997" y="350044"/>
                    </a:lnTo>
                    <a:lnTo>
                      <a:pt x="728091" y="350044"/>
                    </a:lnTo>
                    <a:lnTo>
                      <a:pt x="720185" y="358045"/>
                    </a:lnTo>
                    <a:lnTo>
                      <a:pt x="720185" y="334137"/>
                    </a:lnTo>
                    <a:lnTo>
                      <a:pt x="712280" y="326231"/>
                    </a:lnTo>
                    <a:lnTo>
                      <a:pt x="704374" y="326231"/>
                    </a:lnTo>
                    <a:lnTo>
                      <a:pt x="696373" y="318230"/>
                    </a:lnTo>
                    <a:lnTo>
                      <a:pt x="696373" y="310325"/>
                    </a:lnTo>
                    <a:lnTo>
                      <a:pt x="712280" y="302324"/>
                    </a:lnTo>
                    <a:lnTo>
                      <a:pt x="720185" y="294418"/>
                    </a:lnTo>
                    <a:lnTo>
                      <a:pt x="712280" y="286417"/>
                    </a:lnTo>
                    <a:lnTo>
                      <a:pt x="704374" y="286417"/>
                    </a:lnTo>
                    <a:lnTo>
                      <a:pt x="712280" y="278511"/>
                    </a:lnTo>
                    <a:lnTo>
                      <a:pt x="712280" y="270510"/>
                    </a:lnTo>
                    <a:lnTo>
                      <a:pt x="696373" y="270510"/>
                    </a:lnTo>
                    <a:lnTo>
                      <a:pt x="696373" y="254603"/>
                    </a:lnTo>
                    <a:lnTo>
                      <a:pt x="704374" y="254603"/>
                    </a:lnTo>
                    <a:lnTo>
                      <a:pt x="704374" y="230696"/>
                    </a:lnTo>
                    <a:lnTo>
                      <a:pt x="688467" y="230696"/>
                    </a:lnTo>
                    <a:lnTo>
                      <a:pt x="680561" y="222790"/>
                    </a:lnTo>
                    <a:lnTo>
                      <a:pt x="672656" y="222790"/>
                    </a:lnTo>
                    <a:lnTo>
                      <a:pt x="664750" y="214789"/>
                    </a:lnTo>
                    <a:lnTo>
                      <a:pt x="664750" y="198882"/>
                    </a:lnTo>
                    <a:lnTo>
                      <a:pt x="672656" y="198882"/>
                    </a:lnTo>
                    <a:lnTo>
                      <a:pt x="688467" y="182975"/>
                    </a:lnTo>
                    <a:lnTo>
                      <a:pt x="688467" y="159163"/>
                    </a:lnTo>
                    <a:lnTo>
                      <a:pt x="680561" y="151162"/>
                    </a:lnTo>
                    <a:lnTo>
                      <a:pt x="672656" y="151162"/>
                    </a:lnTo>
                    <a:lnTo>
                      <a:pt x="672656" y="127254"/>
                    </a:lnTo>
                    <a:lnTo>
                      <a:pt x="664750" y="119348"/>
                    </a:lnTo>
                    <a:lnTo>
                      <a:pt x="641033" y="111347"/>
                    </a:lnTo>
                    <a:lnTo>
                      <a:pt x="641033" y="103442"/>
                    </a:lnTo>
                    <a:lnTo>
                      <a:pt x="633127" y="87535"/>
                    </a:lnTo>
                    <a:lnTo>
                      <a:pt x="625221" y="79534"/>
                    </a:lnTo>
                    <a:lnTo>
                      <a:pt x="601504" y="79534"/>
                    </a:lnTo>
                    <a:lnTo>
                      <a:pt x="593503" y="71628"/>
                    </a:lnTo>
                    <a:lnTo>
                      <a:pt x="585597" y="71628"/>
                    </a:lnTo>
                    <a:lnTo>
                      <a:pt x="577691" y="63627"/>
                    </a:lnTo>
                    <a:lnTo>
                      <a:pt x="561880" y="63627"/>
                    </a:lnTo>
                    <a:lnTo>
                      <a:pt x="553974" y="55721"/>
                    </a:lnTo>
                    <a:lnTo>
                      <a:pt x="522351" y="55721"/>
                    </a:lnTo>
                    <a:lnTo>
                      <a:pt x="506444" y="71628"/>
                    </a:lnTo>
                    <a:lnTo>
                      <a:pt x="451104" y="71628"/>
                    </a:lnTo>
                    <a:lnTo>
                      <a:pt x="451104" y="95441"/>
                    </a:lnTo>
                    <a:lnTo>
                      <a:pt x="395669" y="95441"/>
                    </a:lnTo>
                    <a:lnTo>
                      <a:pt x="395669" y="79534"/>
                    </a:lnTo>
                    <a:lnTo>
                      <a:pt x="411480" y="63627"/>
                    </a:lnTo>
                    <a:lnTo>
                      <a:pt x="411480" y="55721"/>
                    </a:lnTo>
                    <a:lnTo>
                      <a:pt x="419386" y="39719"/>
                    </a:lnTo>
                    <a:lnTo>
                      <a:pt x="387763" y="55721"/>
                    </a:lnTo>
                    <a:lnTo>
                      <a:pt x="332327" y="47720"/>
                    </a:lnTo>
                    <a:lnTo>
                      <a:pt x="324517" y="39719"/>
                    </a:lnTo>
                    <a:lnTo>
                      <a:pt x="324517" y="23813"/>
                    </a:lnTo>
                    <a:lnTo>
                      <a:pt x="316516" y="7906"/>
                    </a:lnTo>
                    <a:lnTo>
                      <a:pt x="308610" y="7906"/>
                    </a:lnTo>
                    <a:lnTo>
                      <a:pt x="308610" y="15907"/>
                    </a:lnTo>
                    <a:lnTo>
                      <a:pt x="300704" y="7906"/>
                    </a:lnTo>
                    <a:lnTo>
                      <a:pt x="269081" y="7906"/>
                    </a:lnTo>
                    <a:lnTo>
                      <a:pt x="261175" y="0"/>
                    </a:lnTo>
                    <a:lnTo>
                      <a:pt x="221552" y="0"/>
                    </a:lnTo>
                    <a:lnTo>
                      <a:pt x="253270" y="47720"/>
                    </a:lnTo>
                    <a:lnTo>
                      <a:pt x="237458" y="63627"/>
                    </a:lnTo>
                    <a:lnTo>
                      <a:pt x="261175" y="95441"/>
                    </a:lnTo>
                    <a:lnTo>
                      <a:pt x="284893" y="119348"/>
                    </a:lnTo>
                    <a:lnTo>
                      <a:pt x="245364" y="103442"/>
                    </a:lnTo>
                    <a:lnTo>
                      <a:pt x="213646" y="111347"/>
                    </a:lnTo>
                    <a:lnTo>
                      <a:pt x="213646" y="143256"/>
                    </a:lnTo>
                    <a:lnTo>
                      <a:pt x="174117" y="143256"/>
                    </a:lnTo>
                    <a:lnTo>
                      <a:pt x="166211" y="127254"/>
                    </a:lnTo>
                    <a:lnTo>
                      <a:pt x="110776" y="127254"/>
                    </a:lnTo>
                    <a:lnTo>
                      <a:pt x="110776" y="167068"/>
                    </a:lnTo>
                    <a:lnTo>
                      <a:pt x="118682" y="167068"/>
                    </a:lnTo>
                    <a:lnTo>
                      <a:pt x="110776" y="174974"/>
                    </a:lnTo>
                    <a:lnTo>
                      <a:pt x="118682" y="190976"/>
                    </a:lnTo>
                    <a:lnTo>
                      <a:pt x="102870" y="198882"/>
                    </a:lnTo>
                    <a:lnTo>
                      <a:pt x="94964" y="198882"/>
                    </a:lnTo>
                    <a:lnTo>
                      <a:pt x="94964" y="222790"/>
                    </a:lnTo>
                    <a:lnTo>
                      <a:pt x="102870" y="230696"/>
                    </a:lnTo>
                    <a:lnTo>
                      <a:pt x="87058" y="230696"/>
                    </a:lnTo>
                    <a:lnTo>
                      <a:pt x="71247" y="238696"/>
                    </a:lnTo>
                    <a:lnTo>
                      <a:pt x="63341" y="238696"/>
                    </a:lnTo>
                    <a:lnTo>
                      <a:pt x="63341" y="246602"/>
                    </a:lnTo>
                    <a:lnTo>
                      <a:pt x="71247" y="254603"/>
                    </a:lnTo>
                    <a:lnTo>
                      <a:pt x="79153" y="254603"/>
                    </a:lnTo>
                    <a:lnTo>
                      <a:pt x="94964" y="270510"/>
                    </a:lnTo>
                    <a:lnTo>
                      <a:pt x="94964" y="278511"/>
                    </a:lnTo>
                    <a:lnTo>
                      <a:pt x="87058" y="278511"/>
                    </a:lnTo>
                    <a:lnTo>
                      <a:pt x="79153" y="286417"/>
                    </a:lnTo>
                    <a:lnTo>
                      <a:pt x="71247" y="302324"/>
                    </a:lnTo>
                    <a:lnTo>
                      <a:pt x="63341" y="302324"/>
                    </a:lnTo>
                    <a:lnTo>
                      <a:pt x="55340" y="310325"/>
                    </a:lnTo>
                    <a:lnTo>
                      <a:pt x="55340" y="318230"/>
                    </a:lnTo>
                    <a:lnTo>
                      <a:pt x="23717" y="318230"/>
                    </a:lnTo>
                    <a:lnTo>
                      <a:pt x="15812" y="310325"/>
                    </a:lnTo>
                    <a:lnTo>
                      <a:pt x="7906" y="310325"/>
                    </a:lnTo>
                    <a:lnTo>
                      <a:pt x="15812" y="342138"/>
                    </a:lnTo>
                    <a:lnTo>
                      <a:pt x="15812" y="350044"/>
                    </a:lnTo>
                    <a:lnTo>
                      <a:pt x="23717" y="358045"/>
                    </a:lnTo>
                    <a:lnTo>
                      <a:pt x="23717" y="365950"/>
                    </a:lnTo>
                    <a:lnTo>
                      <a:pt x="7906" y="373951"/>
                    </a:lnTo>
                    <a:lnTo>
                      <a:pt x="0" y="381953"/>
                    </a:lnTo>
                    <a:lnTo>
                      <a:pt x="7906" y="389858"/>
                    </a:lnTo>
                    <a:lnTo>
                      <a:pt x="7906" y="405765"/>
                    </a:lnTo>
                    <a:lnTo>
                      <a:pt x="0" y="413766"/>
                    </a:lnTo>
                    <a:lnTo>
                      <a:pt x="0" y="429673"/>
                    </a:lnTo>
                    <a:lnTo>
                      <a:pt x="15812" y="429673"/>
                    </a:lnTo>
                    <a:lnTo>
                      <a:pt x="31623" y="445580"/>
                    </a:lnTo>
                    <a:lnTo>
                      <a:pt x="31623" y="469487"/>
                    </a:lnTo>
                    <a:lnTo>
                      <a:pt x="39529" y="477393"/>
                    </a:lnTo>
                    <a:lnTo>
                      <a:pt x="23717" y="477393"/>
                    </a:lnTo>
                    <a:lnTo>
                      <a:pt x="15812" y="485299"/>
                    </a:lnTo>
                    <a:lnTo>
                      <a:pt x="15812" y="509207"/>
                    </a:lnTo>
                    <a:lnTo>
                      <a:pt x="23717" y="517208"/>
                    </a:lnTo>
                    <a:lnTo>
                      <a:pt x="31623" y="517208"/>
                    </a:lnTo>
                    <a:lnTo>
                      <a:pt x="47530" y="525113"/>
                    </a:lnTo>
                    <a:lnTo>
                      <a:pt x="47530" y="541020"/>
                    </a:lnTo>
                    <a:lnTo>
                      <a:pt x="39529" y="549021"/>
                    </a:lnTo>
                    <a:close/>
                  </a:path>
                </a:pathLst>
              </a:custGeom>
              <a:noFill/>
              <a:ln w="4763" cap="flat">
                <a:noFill/>
                <a:prstDash val="solid"/>
                <a:miter/>
              </a:ln>
            </p:spPr>
            <p:txBody>
              <a:bodyPr rtlCol="0" anchor="ctr"/>
              <a:lstStyle/>
              <a:p>
                <a:endParaRPr lang="en-GB"/>
              </a:p>
            </p:txBody>
          </p:sp>
          <p:sp>
            <p:nvSpPr>
              <p:cNvPr id="121" name="Freeform: Shape 120">
                <a:extLst>
                  <a:ext uri="{FF2B5EF4-FFF2-40B4-BE49-F238E27FC236}">
                    <a16:creationId xmlns:a16="http://schemas.microsoft.com/office/drawing/2014/main" id="{305B55D0-D3FE-71C6-9AFC-7BCEEFB0320C}"/>
                  </a:ext>
                </a:extLst>
              </p:cNvPr>
              <p:cNvSpPr/>
              <p:nvPr/>
            </p:nvSpPr>
            <p:spPr>
              <a:xfrm>
                <a:off x="4874418" y="3649312"/>
                <a:ext cx="1203864" cy="1038510"/>
              </a:xfrm>
              <a:custGeom>
                <a:avLst/>
                <a:gdLst>
                  <a:gd name="connsiteX0" fmla="*/ 1036415 w 1203864"/>
                  <a:gd name="connsiteY0" fmla="*/ 209645 h 1038510"/>
                  <a:gd name="connsiteX1" fmla="*/ 963168 w 1203864"/>
                  <a:gd name="connsiteY1" fmla="*/ 209645 h 1038510"/>
                  <a:gd name="connsiteX2" fmla="*/ 963168 w 1203864"/>
                  <a:gd name="connsiteY2" fmla="*/ 178213 h 1038510"/>
                  <a:gd name="connsiteX3" fmla="*/ 952691 w 1203864"/>
                  <a:gd name="connsiteY3" fmla="*/ 178213 h 1038510"/>
                  <a:gd name="connsiteX4" fmla="*/ 952691 w 1203864"/>
                  <a:gd name="connsiteY4" fmla="*/ 167735 h 1038510"/>
                  <a:gd name="connsiteX5" fmla="*/ 931736 w 1203864"/>
                  <a:gd name="connsiteY5" fmla="*/ 157258 h 1038510"/>
                  <a:gd name="connsiteX6" fmla="*/ 910780 w 1203864"/>
                  <a:gd name="connsiteY6" fmla="*/ 178213 h 1038510"/>
                  <a:gd name="connsiteX7" fmla="*/ 900303 w 1203864"/>
                  <a:gd name="connsiteY7" fmla="*/ 167735 h 1038510"/>
                  <a:gd name="connsiteX8" fmla="*/ 868966 w 1203864"/>
                  <a:gd name="connsiteY8" fmla="*/ 167735 h 1038510"/>
                  <a:gd name="connsiteX9" fmla="*/ 858488 w 1203864"/>
                  <a:gd name="connsiteY9" fmla="*/ 146780 h 1038510"/>
                  <a:gd name="connsiteX10" fmla="*/ 816578 w 1203864"/>
                  <a:gd name="connsiteY10" fmla="*/ 146780 h 1038510"/>
                  <a:gd name="connsiteX11" fmla="*/ 816578 w 1203864"/>
                  <a:gd name="connsiteY11" fmla="*/ 115348 h 1038510"/>
                  <a:gd name="connsiteX12" fmla="*/ 795623 w 1203864"/>
                  <a:gd name="connsiteY12" fmla="*/ 125825 h 1038510"/>
                  <a:gd name="connsiteX13" fmla="*/ 764286 w 1203864"/>
                  <a:gd name="connsiteY13" fmla="*/ 125825 h 1038510"/>
                  <a:gd name="connsiteX14" fmla="*/ 764286 w 1203864"/>
                  <a:gd name="connsiteY14" fmla="*/ 94393 h 1038510"/>
                  <a:gd name="connsiteX15" fmla="*/ 753809 w 1203864"/>
                  <a:gd name="connsiteY15" fmla="*/ 83915 h 1038510"/>
                  <a:gd name="connsiteX16" fmla="*/ 743331 w 1203864"/>
                  <a:gd name="connsiteY16" fmla="*/ 73438 h 1038510"/>
                  <a:gd name="connsiteX17" fmla="*/ 711994 w 1203864"/>
                  <a:gd name="connsiteY17" fmla="*/ 73438 h 1038510"/>
                  <a:gd name="connsiteX18" fmla="*/ 691039 w 1203864"/>
                  <a:gd name="connsiteY18" fmla="*/ 62960 h 1038510"/>
                  <a:gd name="connsiteX19" fmla="*/ 659702 w 1203864"/>
                  <a:gd name="connsiteY19" fmla="*/ 52483 h 1038510"/>
                  <a:gd name="connsiteX20" fmla="*/ 659702 w 1203864"/>
                  <a:gd name="connsiteY20" fmla="*/ 0 h 1038510"/>
                  <a:gd name="connsiteX21" fmla="*/ 617792 w 1203864"/>
                  <a:gd name="connsiteY21" fmla="*/ 0 h 1038510"/>
                  <a:gd name="connsiteX22" fmla="*/ 596837 w 1203864"/>
                  <a:gd name="connsiteY22" fmla="*/ 10477 h 1038510"/>
                  <a:gd name="connsiteX23" fmla="*/ 586359 w 1203864"/>
                  <a:gd name="connsiteY23" fmla="*/ 10477 h 1038510"/>
                  <a:gd name="connsiteX24" fmla="*/ 575882 w 1203864"/>
                  <a:gd name="connsiteY24" fmla="*/ 20955 h 1038510"/>
                  <a:gd name="connsiteX25" fmla="*/ 544544 w 1203864"/>
                  <a:gd name="connsiteY25" fmla="*/ 20955 h 1038510"/>
                  <a:gd name="connsiteX26" fmla="*/ 544544 w 1203864"/>
                  <a:gd name="connsiteY26" fmla="*/ 62960 h 1038510"/>
                  <a:gd name="connsiteX27" fmla="*/ 555022 w 1203864"/>
                  <a:gd name="connsiteY27" fmla="*/ 73438 h 1038510"/>
                  <a:gd name="connsiteX28" fmla="*/ 555022 w 1203864"/>
                  <a:gd name="connsiteY28" fmla="*/ 104870 h 1038510"/>
                  <a:gd name="connsiteX29" fmla="*/ 544544 w 1203864"/>
                  <a:gd name="connsiteY29" fmla="*/ 115348 h 1038510"/>
                  <a:gd name="connsiteX30" fmla="*/ 513112 w 1203864"/>
                  <a:gd name="connsiteY30" fmla="*/ 125825 h 1038510"/>
                  <a:gd name="connsiteX31" fmla="*/ 481679 w 1203864"/>
                  <a:gd name="connsiteY31" fmla="*/ 125825 h 1038510"/>
                  <a:gd name="connsiteX32" fmla="*/ 429387 w 1203864"/>
                  <a:gd name="connsiteY32" fmla="*/ 167830 h 1038510"/>
                  <a:gd name="connsiteX33" fmla="*/ 450342 w 1203864"/>
                  <a:gd name="connsiteY33" fmla="*/ 178308 h 1038510"/>
                  <a:gd name="connsiteX34" fmla="*/ 429387 w 1203864"/>
                  <a:gd name="connsiteY34" fmla="*/ 178308 h 1038510"/>
                  <a:gd name="connsiteX35" fmla="*/ 397955 w 1203864"/>
                  <a:gd name="connsiteY35" fmla="*/ 199263 h 1038510"/>
                  <a:gd name="connsiteX36" fmla="*/ 356044 w 1203864"/>
                  <a:gd name="connsiteY36" fmla="*/ 199263 h 1038510"/>
                  <a:gd name="connsiteX37" fmla="*/ 345567 w 1203864"/>
                  <a:gd name="connsiteY37" fmla="*/ 188785 h 1038510"/>
                  <a:gd name="connsiteX38" fmla="*/ 314135 w 1203864"/>
                  <a:gd name="connsiteY38" fmla="*/ 157353 h 1038510"/>
                  <a:gd name="connsiteX39" fmla="*/ 303657 w 1203864"/>
                  <a:gd name="connsiteY39" fmla="*/ 157353 h 1038510"/>
                  <a:gd name="connsiteX40" fmla="*/ 293180 w 1203864"/>
                  <a:gd name="connsiteY40" fmla="*/ 146875 h 1038510"/>
                  <a:gd name="connsiteX41" fmla="*/ 272225 w 1203864"/>
                  <a:gd name="connsiteY41" fmla="*/ 146875 h 1038510"/>
                  <a:gd name="connsiteX42" fmla="*/ 272225 w 1203864"/>
                  <a:gd name="connsiteY42" fmla="*/ 178308 h 1038510"/>
                  <a:gd name="connsiteX43" fmla="*/ 282702 w 1203864"/>
                  <a:gd name="connsiteY43" fmla="*/ 178308 h 1038510"/>
                  <a:gd name="connsiteX44" fmla="*/ 293180 w 1203864"/>
                  <a:gd name="connsiteY44" fmla="*/ 199263 h 1038510"/>
                  <a:gd name="connsiteX45" fmla="*/ 303657 w 1203864"/>
                  <a:gd name="connsiteY45" fmla="*/ 209740 h 1038510"/>
                  <a:gd name="connsiteX46" fmla="*/ 303657 w 1203864"/>
                  <a:gd name="connsiteY46" fmla="*/ 241268 h 1038510"/>
                  <a:gd name="connsiteX47" fmla="*/ 293180 w 1203864"/>
                  <a:gd name="connsiteY47" fmla="*/ 251746 h 1038510"/>
                  <a:gd name="connsiteX48" fmla="*/ 198977 w 1203864"/>
                  <a:gd name="connsiteY48" fmla="*/ 251746 h 1038510"/>
                  <a:gd name="connsiteX49" fmla="*/ 198977 w 1203864"/>
                  <a:gd name="connsiteY49" fmla="*/ 283178 h 1038510"/>
                  <a:gd name="connsiteX50" fmla="*/ 188500 w 1203864"/>
                  <a:gd name="connsiteY50" fmla="*/ 272701 h 1038510"/>
                  <a:gd name="connsiteX51" fmla="*/ 178022 w 1203864"/>
                  <a:gd name="connsiteY51" fmla="*/ 251746 h 1038510"/>
                  <a:gd name="connsiteX52" fmla="*/ 167545 w 1203864"/>
                  <a:gd name="connsiteY52" fmla="*/ 251746 h 1038510"/>
                  <a:gd name="connsiteX53" fmla="*/ 157067 w 1203864"/>
                  <a:gd name="connsiteY53" fmla="*/ 241268 h 1038510"/>
                  <a:gd name="connsiteX54" fmla="*/ 136112 w 1203864"/>
                  <a:gd name="connsiteY54" fmla="*/ 241268 h 1038510"/>
                  <a:gd name="connsiteX55" fmla="*/ 125635 w 1203864"/>
                  <a:gd name="connsiteY55" fmla="*/ 251746 h 1038510"/>
                  <a:gd name="connsiteX56" fmla="*/ 83725 w 1203864"/>
                  <a:gd name="connsiteY56" fmla="*/ 251746 h 1038510"/>
                  <a:gd name="connsiteX57" fmla="*/ 62770 w 1203864"/>
                  <a:gd name="connsiteY57" fmla="*/ 262223 h 1038510"/>
                  <a:gd name="connsiteX58" fmla="*/ 41815 w 1203864"/>
                  <a:gd name="connsiteY58" fmla="*/ 262223 h 1038510"/>
                  <a:gd name="connsiteX59" fmla="*/ 31337 w 1203864"/>
                  <a:gd name="connsiteY59" fmla="*/ 272701 h 1038510"/>
                  <a:gd name="connsiteX60" fmla="*/ 20860 w 1203864"/>
                  <a:gd name="connsiteY60" fmla="*/ 283178 h 1038510"/>
                  <a:gd name="connsiteX61" fmla="*/ 31337 w 1203864"/>
                  <a:gd name="connsiteY61" fmla="*/ 293656 h 1038510"/>
                  <a:gd name="connsiteX62" fmla="*/ 41815 w 1203864"/>
                  <a:gd name="connsiteY62" fmla="*/ 293656 h 1038510"/>
                  <a:gd name="connsiteX63" fmla="*/ 52292 w 1203864"/>
                  <a:gd name="connsiteY63" fmla="*/ 304133 h 1038510"/>
                  <a:gd name="connsiteX64" fmla="*/ 52292 w 1203864"/>
                  <a:gd name="connsiteY64" fmla="*/ 314611 h 1038510"/>
                  <a:gd name="connsiteX65" fmla="*/ 0 w 1203864"/>
                  <a:gd name="connsiteY65" fmla="*/ 314611 h 1038510"/>
                  <a:gd name="connsiteX66" fmla="*/ 0 w 1203864"/>
                  <a:gd name="connsiteY66" fmla="*/ 325088 h 1038510"/>
                  <a:gd name="connsiteX67" fmla="*/ 31432 w 1203864"/>
                  <a:gd name="connsiteY67" fmla="*/ 346043 h 1038510"/>
                  <a:gd name="connsiteX68" fmla="*/ 62865 w 1203864"/>
                  <a:gd name="connsiteY68" fmla="*/ 346043 h 1038510"/>
                  <a:gd name="connsiteX69" fmla="*/ 62865 w 1203864"/>
                  <a:gd name="connsiteY69" fmla="*/ 335566 h 1038510"/>
                  <a:gd name="connsiteX70" fmla="*/ 136112 w 1203864"/>
                  <a:gd name="connsiteY70" fmla="*/ 377571 h 1038510"/>
                  <a:gd name="connsiteX71" fmla="*/ 167545 w 1203864"/>
                  <a:gd name="connsiteY71" fmla="*/ 377571 h 1038510"/>
                  <a:gd name="connsiteX72" fmla="*/ 198882 w 1203864"/>
                  <a:gd name="connsiteY72" fmla="*/ 398526 h 1038510"/>
                  <a:gd name="connsiteX73" fmla="*/ 251174 w 1203864"/>
                  <a:gd name="connsiteY73" fmla="*/ 398526 h 1038510"/>
                  <a:gd name="connsiteX74" fmla="*/ 209264 w 1203864"/>
                  <a:gd name="connsiteY74" fmla="*/ 419481 h 1038510"/>
                  <a:gd name="connsiteX75" fmla="*/ 219742 w 1203864"/>
                  <a:gd name="connsiteY75" fmla="*/ 440436 h 1038510"/>
                  <a:gd name="connsiteX76" fmla="*/ 230219 w 1203864"/>
                  <a:gd name="connsiteY76" fmla="*/ 450913 h 1038510"/>
                  <a:gd name="connsiteX77" fmla="*/ 240697 w 1203864"/>
                  <a:gd name="connsiteY77" fmla="*/ 482346 h 1038510"/>
                  <a:gd name="connsiteX78" fmla="*/ 272129 w 1203864"/>
                  <a:gd name="connsiteY78" fmla="*/ 503301 h 1038510"/>
                  <a:gd name="connsiteX79" fmla="*/ 303467 w 1203864"/>
                  <a:gd name="connsiteY79" fmla="*/ 503301 h 1038510"/>
                  <a:gd name="connsiteX80" fmla="*/ 303467 w 1203864"/>
                  <a:gd name="connsiteY80" fmla="*/ 555784 h 1038510"/>
                  <a:gd name="connsiteX81" fmla="*/ 324421 w 1203864"/>
                  <a:gd name="connsiteY81" fmla="*/ 597789 h 1038510"/>
                  <a:gd name="connsiteX82" fmla="*/ 345377 w 1203864"/>
                  <a:gd name="connsiteY82" fmla="*/ 650272 h 1038510"/>
                  <a:gd name="connsiteX83" fmla="*/ 303467 w 1203864"/>
                  <a:gd name="connsiteY83" fmla="*/ 597789 h 1038510"/>
                  <a:gd name="connsiteX84" fmla="*/ 303467 w 1203864"/>
                  <a:gd name="connsiteY84" fmla="*/ 618744 h 1038510"/>
                  <a:gd name="connsiteX85" fmla="*/ 292989 w 1203864"/>
                  <a:gd name="connsiteY85" fmla="*/ 629222 h 1038510"/>
                  <a:gd name="connsiteX86" fmla="*/ 292989 w 1203864"/>
                  <a:gd name="connsiteY86" fmla="*/ 692182 h 1038510"/>
                  <a:gd name="connsiteX87" fmla="*/ 282512 w 1203864"/>
                  <a:gd name="connsiteY87" fmla="*/ 702659 h 1038510"/>
                  <a:gd name="connsiteX88" fmla="*/ 272034 w 1203864"/>
                  <a:gd name="connsiteY88" fmla="*/ 755142 h 1038510"/>
                  <a:gd name="connsiteX89" fmla="*/ 272034 w 1203864"/>
                  <a:gd name="connsiteY89" fmla="*/ 765620 h 1038510"/>
                  <a:gd name="connsiteX90" fmla="*/ 261556 w 1203864"/>
                  <a:gd name="connsiteY90" fmla="*/ 786574 h 1038510"/>
                  <a:gd name="connsiteX91" fmla="*/ 261556 w 1203864"/>
                  <a:gd name="connsiteY91" fmla="*/ 797052 h 1038510"/>
                  <a:gd name="connsiteX92" fmla="*/ 251079 w 1203864"/>
                  <a:gd name="connsiteY92" fmla="*/ 797052 h 1038510"/>
                  <a:gd name="connsiteX93" fmla="*/ 251079 w 1203864"/>
                  <a:gd name="connsiteY93" fmla="*/ 807530 h 1038510"/>
                  <a:gd name="connsiteX94" fmla="*/ 240602 w 1203864"/>
                  <a:gd name="connsiteY94" fmla="*/ 818007 h 1038510"/>
                  <a:gd name="connsiteX95" fmla="*/ 230124 w 1203864"/>
                  <a:gd name="connsiteY95" fmla="*/ 828484 h 1038510"/>
                  <a:gd name="connsiteX96" fmla="*/ 240602 w 1203864"/>
                  <a:gd name="connsiteY96" fmla="*/ 838962 h 1038510"/>
                  <a:gd name="connsiteX97" fmla="*/ 240602 w 1203864"/>
                  <a:gd name="connsiteY97" fmla="*/ 828484 h 1038510"/>
                  <a:gd name="connsiteX98" fmla="*/ 251079 w 1203864"/>
                  <a:gd name="connsiteY98" fmla="*/ 828484 h 1038510"/>
                  <a:gd name="connsiteX99" fmla="*/ 272034 w 1203864"/>
                  <a:gd name="connsiteY99" fmla="*/ 838962 h 1038510"/>
                  <a:gd name="connsiteX100" fmla="*/ 272034 w 1203864"/>
                  <a:gd name="connsiteY100" fmla="*/ 849439 h 1038510"/>
                  <a:gd name="connsiteX101" fmla="*/ 261556 w 1203864"/>
                  <a:gd name="connsiteY101" fmla="*/ 859917 h 1038510"/>
                  <a:gd name="connsiteX102" fmla="*/ 313849 w 1203864"/>
                  <a:gd name="connsiteY102" fmla="*/ 859917 h 1038510"/>
                  <a:gd name="connsiteX103" fmla="*/ 334804 w 1203864"/>
                  <a:gd name="connsiteY103" fmla="*/ 880872 h 1038510"/>
                  <a:gd name="connsiteX104" fmla="*/ 345281 w 1203864"/>
                  <a:gd name="connsiteY104" fmla="*/ 870395 h 1038510"/>
                  <a:gd name="connsiteX105" fmla="*/ 355759 w 1203864"/>
                  <a:gd name="connsiteY105" fmla="*/ 870395 h 1038510"/>
                  <a:gd name="connsiteX106" fmla="*/ 376714 w 1203864"/>
                  <a:gd name="connsiteY106" fmla="*/ 891349 h 1038510"/>
                  <a:gd name="connsiteX107" fmla="*/ 408051 w 1203864"/>
                  <a:gd name="connsiteY107" fmla="*/ 891349 h 1038510"/>
                  <a:gd name="connsiteX108" fmla="*/ 408051 w 1203864"/>
                  <a:gd name="connsiteY108" fmla="*/ 901827 h 1038510"/>
                  <a:gd name="connsiteX109" fmla="*/ 439484 w 1203864"/>
                  <a:gd name="connsiteY109" fmla="*/ 901827 h 1038510"/>
                  <a:gd name="connsiteX110" fmla="*/ 439484 w 1203864"/>
                  <a:gd name="connsiteY110" fmla="*/ 880872 h 1038510"/>
                  <a:gd name="connsiteX111" fmla="*/ 449961 w 1203864"/>
                  <a:gd name="connsiteY111" fmla="*/ 870395 h 1038510"/>
                  <a:gd name="connsiteX112" fmla="*/ 470916 w 1203864"/>
                  <a:gd name="connsiteY112" fmla="*/ 870395 h 1038510"/>
                  <a:gd name="connsiteX113" fmla="*/ 481394 w 1203864"/>
                  <a:gd name="connsiteY113" fmla="*/ 880872 h 1038510"/>
                  <a:gd name="connsiteX114" fmla="*/ 481394 w 1203864"/>
                  <a:gd name="connsiteY114" fmla="*/ 891349 h 1038510"/>
                  <a:gd name="connsiteX115" fmla="*/ 502348 w 1203864"/>
                  <a:gd name="connsiteY115" fmla="*/ 891349 h 1038510"/>
                  <a:gd name="connsiteX116" fmla="*/ 502348 w 1203864"/>
                  <a:gd name="connsiteY116" fmla="*/ 901827 h 1038510"/>
                  <a:gd name="connsiteX117" fmla="*/ 544259 w 1203864"/>
                  <a:gd name="connsiteY117" fmla="*/ 901827 h 1038510"/>
                  <a:gd name="connsiteX118" fmla="*/ 544259 w 1203864"/>
                  <a:gd name="connsiteY118" fmla="*/ 922782 h 1038510"/>
                  <a:gd name="connsiteX119" fmla="*/ 586073 w 1203864"/>
                  <a:gd name="connsiteY119" fmla="*/ 922782 h 1038510"/>
                  <a:gd name="connsiteX120" fmla="*/ 586073 w 1203864"/>
                  <a:gd name="connsiteY120" fmla="*/ 933259 h 1038510"/>
                  <a:gd name="connsiteX121" fmla="*/ 617506 w 1203864"/>
                  <a:gd name="connsiteY121" fmla="*/ 933259 h 1038510"/>
                  <a:gd name="connsiteX122" fmla="*/ 617506 w 1203864"/>
                  <a:gd name="connsiteY122" fmla="*/ 912305 h 1038510"/>
                  <a:gd name="connsiteX123" fmla="*/ 638461 w 1203864"/>
                  <a:gd name="connsiteY123" fmla="*/ 912305 h 1038510"/>
                  <a:gd name="connsiteX124" fmla="*/ 638461 w 1203864"/>
                  <a:gd name="connsiteY124" fmla="*/ 891349 h 1038510"/>
                  <a:gd name="connsiteX125" fmla="*/ 659416 w 1203864"/>
                  <a:gd name="connsiteY125" fmla="*/ 859917 h 1038510"/>
                  <a:gd name="connsiteX126" fmla="*/ 680371 w 1203864"/>
                  <a:gd name="connsiteY126" fmla="*/ 838962 h 1038510"/>
                  <a:gd name="connsiteX127" fmla="*/ 690848 w 1203864"/>
                  <a:gd name="connsiteY127" fmla="*/ 828484 h 1038510"/>
                  <a:gd name="connsiteX128" fmla="*/ 701326 w 1203864"/>
                  <a:gd name="connsiteY128" fmla="*/ 818007 h 1038510"/>
                  <a:gd name="connsiteX129" fmla="*/ 722281 w 1203864"/>
                  <a:gd name="connsiteY129" fmla="*/ 807530 h 1038510"/>
                  <a:gd name="connsiteX130" fmla="*/ 732758 w 1203864"/>
                  <a:gd name="connsiteY130" fmla="*/ 797052 h 1038510"/>
                  <a:gd name="connsiteX131" fmla="*/ 753713 w 1203864"/>
                  <a:gd name="connsiteY131" fmla="*/ 797052 h 1038510"/>
                  <a:gd name="connsiteX132" fmla="*/ 764191 w 1203864"/>
                  <a:gd name="connsiteY132" fmla="*/ 807530 h 1038510"/>
                  <a:gd name="connsiteX133" fmla="*/ 785146 w 1203864"/>
                  <a:gd name="connsiteY133" fmla="*/ 807530 h 1038510"/>
                  <a:gd name="connsiteX134" fmla="*/ 795623 w 1203864"/>
                  <a:gd name="connsiteY134" fmla="*/ 818007 h 1038510"/>
                  <a:gd name="connsiteX135" fmla="*/ 847916 w 1203864"/>
                  <a:gd name="connsiteY135" fmla="*/ 818007 h 1038510"/>
                  <a:gd name="connsiteX136" fmla="*/ 868871 w 1203864"/>
                  <a:gd name="connsiteY136" fmla="*/ 838962 h 1038510"/>
                  <a:gd name="connsiteX137" fmla="*/ 868871 w 1203864"/>
                  <a:gd name="connsiteY137" fmla="*/ 849439 h 1038510"/>
                  <a:gd name="connsiteX138" fmla="*/ 889826 w 1203864"/>
                  <a:gd name="connsiteY138" fmla="*/ 849439 h 1038510"/>
                  <a:gd name="connsiteX139" fmla="*/ 900303 w 1203864"/>
                  <a:gd name="connsiteY139" fmla="*/ 859917 h 1038510"/>
                  <a:gd name="connsiteX140" fmla="*/ 931736 w 1203864"/>
                  <a:gd name="connsiteY140" fmla="*/ 859917 h 1038510"/>
                  <a:gd name="connsiteX141" fmla="*/ 952691 w 1203864"/>
                  <a:gd name="connsiteY141" fmla="*/ 849439 h 1038510"/>
                  <a:gd name="connsiteX142" fmla="*/ 963168 w 1203864"/>
                  <a:gd name="connsiteY142" fmla="*/ 838962 h 1038510"/>
                  <a:gd name="connsiteX143" fmla="*/ 973646 w 1203864"/>
                  <a:gd name="connsiteY143" fmla="*/ 807530 h 1038510"/>
                  <a:gd name="connsiteX144" fmla="*/ 1004983 w 1203864"/>
                  <a:gd name="connsiteY144" fmla="*/ 786574 h 1038510"/>
                  <a:gd name="connsiteX145" fmla="*/ 1025938 w 1203864"/>
                  <a:gd name="connsiteY145" fmla="*/ 786574 h 1038510"/>
                  <a:gd name="connsiteX146" fmla="*/ 1025938 w 1203864"/>
                  <a:gd name="connsiteY146" fmla="*/ 776097 h 1038510"/>
                  <a:gd name="connsiteX147" fmla="*/ 1046893 w 1203864"/>
                  <a:gd name="connsiteY147" fmla="*/ 755142 h 1038510"/>
                  <a:gd name="connsiteX148" fmla="*/ 1046893 w 1203864"/>
                  <a:gd name="connsiteY148" fmla="*/ 744664 h 1038510"/>
                  <a:gd name="connsiteX149" fmla="*/ 1036415 w 1203864"/>
                  <a:gd name="connsiteY149" fmla="*/ 734187 h 1038510"/>
                  <a:gd name="connsiteX150" fmla="*/ 1004983 w 1203864"/>
                  <a:gd name="connsiteY150" fmla="*/ 734187 h 1038510"/>
                  <a:gd name="connsiteX151" fmla="*/ 984028 w 1203864"/>
                  <a:gd name="connsiteY151" fmla="*/ 723709 h 1038510"/>
                  <a:gd name="connsiteX152" fmla="*/ 973550 w 1203864"/>
                  <a:gd name="connsiteY152" fmla="*/ 713232 h 1038510"/>
                  <a:gd name="connsiteX153" fmla="*/ 973550 w 1203864"/>
                  <a:gd name="connsiteY153" fmla="*/ 702755 h 1038510"/>
                  <a:gd name="connsiteX154" fmla="*/ 984028 w 1203864"/>
                  <a:gd name="connsiteY154" fmla="*/ 692277 h 1038510"/>
                  <a:gd name="connsiteX155" fmla="*/ 994505 w 1203864"/>
                  <a:gd name="connsiteY155" fmla="*/ 681799 h 1038510"/>
                  <a:gd name="connsiteX156" fmla="*/ 994505 w 1203864"/>
                  <a:gd name="connsiteY156" fmla="*/ 660845 h 1038510"/>
                  <a:gd name="connsiteX157" fmla="*/ 963073 w 1203864"/>
                  <a:gd name="connsiteY157" fmla="*/ 660845 h 1038510"/>
                  <a:gd name="connsiteX158" fmla="*/ 952595 w 1203864"/>
                  <a:gd name="connsiteY158" fmla="*/ 629412 h 1038510"/>
                  <a:gd name="connsiteX159" fmla="*/ 984028 w 1203864"/>
                  <a:gd name="connsiteY159" fmla="*/ 629412 h 1038510"/>
                  <a:gd name="connsiteX160" fmla="*/ 1004983 w 1203864"/>
                  <a:gd name="connsiteY160" fmla="*/ 608457 h 1038510"/>
                  <a:gd name="connsiteX161" fmla="*/ 1004983 w 1203864"/>
                  <a:gd name="connsiteY161" fmla="*/ 597980 h 1038510"/>
                  <a:gd name="connsiteX162" fmla="*/ 973646 w 1203864"/>
                  <a:gd name="connsiteY162" fmla="*/ 566547 h 1038510"/>
                  <a:gd name="connsiteX163" fmla="*/ 984123 w 1203864"/>
                  <a:gd name="connsiteY163" fmla="*/ 556070 h 1038510"/>
                  <a:gd name="connsiteX164" fmla="*/ 994601 w 1203864"/>
                  <a:gd name="connsiteY164" fmla="*/ 556070 h 1038510"/>
                  <a:gd name="connsiteX165" fmla="*/ 994601 w 1203864"/>
                  <a:gd name="connsiteY165" fmla="*/ 545592 h 1038510"/>
                  <a:gd name="connsiteX166" fmla="*/ 973646 w 1203864"/>
                  <a:gd name="connsiteY166" fmla="*/ 524637 h 1038510"/>
                  <a:gd name="connsiteX167" fmla="*/ 984123 w 1203864"/>
                  <a:gd name="connsiteY167" fmla="*/ 493205 h 1038510"/>
                  <a:gd name="connsiteX168" fmla="*/ 952691 w 1203864"/>
                  <a:gd name="connsiteY168" fmla="*/ 493205 h 1038510"/>
                  <a:gd name="connsiteX169" fmla="*/ 921353 w 1203864"/>
                  <a:gd name="connsiteY169" fmla="*/ 524637 h 1038510"/>
                  <a:gd name="connsiteX170" fmla="*/ 910876 w 1203864"/>
                  <a:gd name="connsiteY170" fmla="*/ 524637 h 1038510"/>
                  <a:gd name="connsiteX171" fmla="*/ 910876 w 1203864"/>
                  <a:gd name="connsiteY171" fmla="*/ 514159 h 1038510"/>
                  <a:gd name="connsiteX172" fmla="*/ 921353 w 1203864"/>
                  <a:gd name="connsiteY172" fmla="*/ 503682 h 1038510"/>
                  <a:gd name="connsiteX173" fmla="*/ 910876 w 1203864"/>
                  <a:gd name="connsiteY173" fmla="*/ 493205 h 1038510"/>
                  <a:gd name="connsiteX174" fmla="*/ 931831 w 1203864"/>
                  <a:gd name="connsiteY174" fmla="*/ 482727 h 1038510"/>
                  <a:gd name="connsiteX175" fmla="*/ 931831 w 1203864"/>
                  <a:gd name="connsiteY175" fmla="*/ 461772 h 1038510"/>
                  <a:gd name="connsiteX176" fmla="*/ 952786 w 1203864"/>
                  <a:gd name="connsiteY176" fmla="*/ 451295 h 1038510"/>
                  <a:gd name="connsiteX177" fmla="*/ 952786 w 1203864"/>
                  <a:gd name="connsiteY177" fmla="*/ 430339 h 1038510"/>
                  <a:gd name="connsiteX178" fmla="*/ 973741 w 1203864"/>
                  <a:gd name="connsiteY178" fmla="*/ 430339 h 1038510"/>
                  <a:gd name="connsiteX179" fmla="*/ 984218 w 1203864"/>
                  <a:gd name="connsiteY179" fmla="*/ 419862 h 1038510"/>
                  <a:gd name="connsiteX180" fmla="*/ 994696 w 1203864"/>
                  <a:gd name="connsiteY180" fmla="*/ 409384 h 1038510"/>
                  <a:gd name="connsiteX181" fmla="*/ 1005173 w 1203864"/>
                  <a:gd name="connsiteY181" fmla="*/ 398907 h 1038510"/>
                  <a:gd name="connsiteX182" fmla="*/ 1005173 w 1203864"/>
                  <a:gd name="connsiteY182" fmla="*/ 388430 h 1038510"/>
                  <a:gd name="connsiteX183" fmla="*/ 1036606 w 1203864"/>
                  <a:gd name="connsiteY183" fmla="*/ 398907 h 1038510"/>
                  <a:gd name="connsiteX184" fmla="*/ 1036606 w 1203864"/>
                  <a:gd name="connsiteY184" fmla="*/ 314992 h 1038510"/>
                  <a:gd name="connsiteX185" fmla="*/ 1047083 w 1203864"/>
                  <a:gd name="connsiteY185" fmla="*/ 304514 h 1038510"/>
                  <a:gd name="connsiteX186" fmla="*/ 1057561 w 1203864"/>
                  <a:gd name="connsiteY186" fmla="*/ 294037 h 1038510"/>
                  <a:gd name="connsiteX187" fmla="*/ 1068038 w 1203864"/>
                  <a:gd name="connsiteY187" fmla="*/ 283559 h 1038510"/>
                  <a:gd name="connsiteX188" fmla="*/ 1068038 w 1203864"/>
                  <a:gd name="connsiteY188" fmla="*/ 262604 h 1038510"/>
                  <a:gd name="connsiteX189" fmla="*/ 1088993 w 1203864"/>
                  <a:gd name="connsiteY189" fmla="*/ 241649 h 1038510"/>
                  <a:gd name="connsiteX190" fmla="*/ 1099471 w 1203864"/>
                  <a:gd name="connsiteY190" fmla="*/ 220694 h 1038510"/>
                  <a:gd name="connsiteX191" fmla="*/ 1068038 w 1203864"/>
                  <a:gd name="connsiteY191" fmla="*/ 210217 h 1038510"/>
                  <a:gd name="connsiteX192" fmla="*/ 1036701 w 1203864"/>
                  <a:gd name="connsiteY192" fmla="*/ 210217 h 1038510"/>
                  <a:gd name="connsiteX193" fmla="*/ 1203865 w 1203864"/>
                  <a:gd name="connsiteY193" fmla="*/ 902208 h 1038510"/>
                  <a:gd name="connsiteX194" fmla="*/ 1203865 w 1203864"/>
                  <a:gd name="connsiteY194" fmla="*/ 902208 h 1038510"/>
                  <a:gd name="connsiteX195" fmla="*/ 1203865 w 1203864"/>
                  <a:gd name="connsiteY195" fmla="*/ 870775 h 1038510"/>
                  <a:gd name="connsiteX196" fmla="*/ 1193387 w 1203864"/>
                  <a:gd name="connsiteY196" fmla="*/ 870775 h 1038510"/>
                  <a:gd name="connsiteX197" fmla="*/ 1172432 w 1203864"/>
                  <a:gd name="connsiteY197" fmla="*/ 881253 h 1038510"/>
                  <a:gd name="connsiteX198" fmla="*/ 1172432 w 1203864"/>
                  <a:gd name="connsiteY198" fmla="*/ 891730 h 1038510"/>
                  <a:gd name="connsiteX199" fmla="*/ 1151477 w 1203864"/>
                  <a:gd name="connsiteY199" fmla="*/ 902208 h 1038510"/>
                  <a:gd name="connsiteX200" fmla="*/ 1141000 w 1203864"/>
                  <a:gd name="connsiteY200" fmla="*/ 912686 h 1038510"/>
                  <a:gd name="connsiteX201" fmla="*/ 1130522 w 1203864"/>
                  <a:gd name="connsiteY201" fmla="*/ 933640 h 1038510"/>
                  <a:gd name="connsiteX202" fmla="*/ 1130522 w 1203864"/>
                  <a:gd name="connsiteY202" fmla="*/ 954596 h 1038510"/>
                  <a:gd name="connsiteX203" fmla="*/ 1141000 w 1203864"/>
                  <a:gd name="connsiteY203" fmla="*/ 975550 h 1038510"/>
                  <a:gd name="connsiteX204" fmla="*/ 1141000 w 1203864"/>
                  <a:gd name="connsiteY204" fmla="*/ 1017556 h 1038510"/>
                  <a:gd name="connsiteX205" fmla="*/ 1161955 w 1203864"/>
                  <a:gd name="connsiteY205" fmla="*/ 1028033 h 1038510"/>
                  <a:gd name="connsiteX206" fmla="*/ 1172432 w 1203864"/>
                  <a:gd name="connsiteY206" fmla="*/ 1038511 h 1038510"/>
                  <a:gd name="connsiteX207" fmla="*/ 1203865 w 1203864"/>
                  <a:gd name="connsiteY207" fmla="*/ 1007078 h 1038510"/>
                  <a:gd name="connsiteX208" fmla="*/ 1203865 w 1203864"/>
                  <a:gd name="connsiteY208" fmla="*/ 975550 h 1038510"/>
                  <a:gd name="connsiteX209" fmla="*/ 1193387 w 1203864"/>
                  <a:gd name="connsiteY209" fmla="*/ 975550 h 1038510"/>
                  <a:gd name="connsiteX210" fmla="*/ 1203865 w 1203864"/>
                  <a:gd name="connsiteY210" fmla="*/ 965073 h 1038510"/>
                  <a:gd name="connsiteX211" fmla="*/ 1203865 w 1203864"/>
                  <a:gd name="connsiteY211" fmla="*/ 902113 h 1038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203864" h="1038510">
                    <a:moveTo>
                      <a:pt x="1036415" y="209645"/>
                    </a:moveTo>
                    <a:lnTo>
                      <a:pt x="963168" y="209645"/>
                    </a:lnTo>
                    <a:lnTo>
                      <a:pt x="963168" y="178213"/>
                    </a:lnTo>
                    <a:lnTo>
                      <a:pt x="952691" y="178213"/>
                    </a:lnTo>
                    <a:lnTo>
                      <a:pt x="952691" y="167735"/>
                    </a:lnTo>
                    <a:lnTo>
                      <a:pt x="931736" y="157258"/>
                    </a:lnTo>
                    <a:lnTo>
                      <a:pt x="910780" y="178213"/>
                    </a:lnTo>
                    <a:lnTo>
                      <a:pt x="900303" y="167735"/>
                    </a:lnTo>
                    <a:lnTo>
                      <a:pt x="868966" y="167735"/>
                    </a:lnTo>
                    <a:lnTo>
                      <a:pt x="858488" y="146780"/>
                    </a:lnTo>
                    <a:lnTo>
                      <a:pt x="816578" y="146780"/>
                    </a:lnTo>
                    <a:lnTo>
                      <a:pt x="816578" y="115348"/>
                    </a:lnTo>
                    <a:lnTo>
                      <a:pt x="795623" y="125825"/>
                    </a:lnTo>
                    <a:lnTo>
                      <a:pt x="764286" y="125825"/>
                    </a:lnTo>
                    <a:lnTo>
                      <a:pt x="764286" y="94393"/>
                    </a:lnTo>
                    <a:lnTo>
                      <a:pt x="753809" y="83915"/>
                    </a:lnTo>
                    <a:lnTo>
                      <a:pt x="743331" y="73438"/>
                    </a:lnTo>
                    <a:lnTo>
                      <a:pt x="711994" y="73438"/>
                    </a:lnTo>
                    <a:lnTo>
                      <a:pt x="691039" y="62960"/>
                    </a:lnTo>
                    <a:lnTo>
                      <a:pt x="659702" y="52483"/>
                    </a:lnTo>
                    <a:lnTo>
                      <a:pt x="659702" y="0"/>
                    </a:lnTo>
                    <a:lnTo>
                      <a:pt x="617792" y="0"/>
                    </a:lnTo>
                    <a:lnTo>
                      <a:pt x="596837" y="10477"/>
                    </a:lnTo>
                    <a:lnTo>
                      <a:pt x="586359" y="10477"/>
                    </a:lnTo>
                    <a:lnTo>
                      <a:pt x="575882" y="20955"/>
                    </a:lnTo>
                    <a:lnTo>
                      <a:pt x="544544" y="20955"/>
                    </a:lnTo>
                    <a:lnTo>
                      <a:pt x="544544" y="62960"/>
                    </a:lnTo>
                    <a:lnTo>
                      <a:pt x="555022" y="73438"/>
                    </a:lnTo>
                    <a:lnTo>
                      <a:pt x="555022" y="104870"/>
                    </a:lnTo>
                    <a:lnTo>
                      <a:pt x="544544" y="115348"/>
                    </a:lnTo>
                    <a:lnTo>
                      <a:pt x="513112" y="125825"/>
                    </a:lnTo>
                    <a:lnTo>
                      <a:pt x="481679" y="125825"/>
                    </a:lnTo>
                    <a:lnTo>
                      <a:pt x="429387" y="167830"/>
                    </a:lnTo>
                    <a:lnTo>
                      <a:pt x="450342" y="178308"/>
                    </a:lnTo>
                    <a:lnTo>
                      <a:pt x="429387" y="178308"/>
                    </a:lnTo>
                    <a:lnTo>
                      <a:pt x="397955" y="199263"/>
                    </a:lnTo>
                    <a:lnTo>
                      <a:pt x="356044" y="199263"/>
                    </a:lnTo>
                    <a:lnTo>
                      <a:pt x="345567" y="188785"/>
                    </a:lnTo>
                    <a:lnTo>
                      <a:pt x="314135" y="157353"/>
                    </a:lnTo>
                    <a:lnTo>
                      <a:pt x="303657" y="157353"/>
                    </a:lnTo>
                    <a:lnTo>
                      <a:pt x="293180" y="146875"/>
                    </a:lnTo>
                    <a:lnTo>
                      <a:pt x="272225" y="146875"/>
                    </a:lnTo>
                    <a:lnTo>
                      <a:pt x="272225" y="178308"/>
                    </a:lnTo>
                    <a:lnTo>
                      <a:pt x="282702" y="178308"/>
                    </a:lnTo>
                    <a:lnTo>
                      <a:pt x="293180" y="199263"/>
                    </a:lnTo>
                    <a:lnTo>
                      <a:pt x="303657" y="209740"/>
                    </a:lnTo>
                    <a:lnTo>
                      <a:pt x="303657" y="241268"/>
                    </a:lnTo>
                    <a:lnTo>
                      <a:pt x="293180" y="251746"/>
                    </a:lnTo>
                    <a:lnTo>
                      <a:pt x="198977" y="251746"/>
                    </a:lnTo>
                    <a:lnTo>
                      <a:pt x="198977" y="283178"/>
                    </a:lnTo>
                    <a:lnTo>
                      <a:pt x="188500" y="272701"/>
                    </a:lnTo>
                    <a:lnTo>
                      <a:pt x="178022" y="251746"/>
                    </a:lnTo>
                    <a:lnTo>
                      <a:pt x="167545" y="251746"/>
                    </a:lnTo>
                    <a:lnTo>
                      <a:pt x="157067" y="241268"/>
                    </a:lnTo>
                    <a:lnTo>
                      <a:pt x="136112" y="241268"/>
                    </a:lnTo>
                    <a:lnTo>
                      <a:pt x="125635" y="251746"/>
                    </a:lnTo>
                    <a:lnTo>
                      <a:pt x="83725" y="251746"/>
                    </a:lnTo>
                    <a:lnTo>
                      <a:pt x="62770" y="262223"/>
                    </a:lnTo>
                    <a:lnTo>
                      <a:pt x="41815" y="262223"/>
                    </a:lnTo>
                    <a:lnTo>
                      <a:pt x="31337" y="272701"/>
                    </a:lnTo>
                    <a:lnTo>
                      <a:pt x="20860" y="283178"/>
                    </a:lnTo>
                    <a:lnTo>
                      <a:pt x="31337" y="293656"/>
                    </a:lnTo>
                    <a:lnTo>
                      <a:pt x="41815" y="293656"/>
                    </a:lnTo>
                    <a:lnTo>
                      <a:pt x="52292" y="304133"/>
                    </a:lnTo>
                    <a:lnTo>
                      <a:pt x="52292" y="314611"/>
                    </a:lnTo>
                    <a:lnTo>
                      <a:pt x="0" y="314611"/>
                    </a:lnTo>
                    <a:lnTo>
                      <a:pt x="0" y="325088"/>
                    </a:lnTo>
                    <a:lnTo>
                      <a:pt x="31432" y="346043"/>
                    </a:lnTo>
                    <a:lnTo>
                      <a:pt x="62865" y="346043"/>
                    </a:lnTo>
                    <a:lnTo>
                      <a:pt x="62865" y="335566"/>
                    </a:lnTo>
                    <a:lnTo>
                      <a:pt x="136112" y="377571"/>
                    </a:lnTo>
                    <a:lnTo>
                      <a:pt x="167545" y="377571"/>
                    </a:lnTo>
                    <a:lnTo>
                      <a:pt x="198882" y="398526"/>
                    </a:lnTo>
                    <a:lnTo>
                      <a:pt x="251174" y="398526"/>
                    </a:lnTo>
                    <a:lnTo>
                      <a:pt x="209264" y="419481"/>
                    </a:lnTo>
                    <a:lnTo>
                      <a:pt x="219742" y="440436"/>
                    </a:lnTo>
                    <a:lnTo>
                      <a:pt x="230219" y="450913"/>
                    </a:lnTo>
                    <a:lnTo>
                      <a:pt x="240697" y="482346"/>
                    </a:lnTo>
                    <a:lnTo>
                      <a:pt x="272129" y="503301"/>
                    </a:lnTo>
                    <a:lnTo>
                      <a:pt x="303467" y="503301"/>
                    </a:lnTo>
                    <a:lnTo>
                      <a:pt x="303467" y="555784"/>
                    </a:lnTo>
                    <a:lnTo>
                      <a:pt x="324421" y="597789"/>
                    </a:lnTo>
                    <a:lnTo>
                      <a:pt x="345377" y="650272"/>
                    </a:lnTo>
                    <a:lnTo>
                      <a:pt x="303467" y="597789"/>
                    </a:lnTo>
                    <a:lnTo>
                      <a:pt x="303467" y="618744"/>
                    </a:lnTo>
                    <a:lnTo>
                      <a:pt x="292989" y="629222"/>
                    </a:lnTo>
                    <a:lnTo>
                      <a:pt x="292989" y="692182"/>
                    </a:lnTo>
                    <a:lnTo>
                      <a:pt x="282512" y="702659"/>
                    </a:lnTo>
                    <a:lnTo>
                      <a:pt x="272034" y="755142"/>
                    </a:lnTo>
                    <a:lnTo>
                      <a:pt x="272034" y="765620"/>
                    </a:lnTo>
                    <a:lnTo>
                      <a:pt x="261556" y="786574"/>
                    </a:lnTo>
                    <a:lnTo>
                      <a:pt x="261556" y="797052"/>
                    </a:lnTo>
                    <a:lnTo>
                      <a:pt x="251079" y="797052"/>
                    </a:lnTo>
                    <a:lnTo>
                      <a:pt x="251079" y="807530"/>
                    </a:lnTo>
                    <a:lnTo>
                      <a:pt x="240602" y="818007"/>
                    </a:lnTo>
                    <a:lnTo>
                      <a:pt x="230124" y="828484"/>
                    </a:lnTo>
                    <a:lnTo>
                      <a:pt x="240602" y="838962"/>
                    </a:lnTo>
                    <a:lnTo>
                      <a:pt x="240602" y="828484"/>
                    </a:lnTo>
                    <a:lnTo>
                      <a:pt x="251079" y="828484"/>
                    </a:lnTo>
                    <a:lnTo>
                      <a:pt x="272034" y="838962"/>
                    </a:lnTo>
                    <a:lnTo>
                      <a:pt x="272034" y="849439"/>
                    </a:lnTo>
                    <a:lnTo>
                      <a:pt x="261556" y="859917"/>
                    </a:lnTo>
                    <a:lnTo>
                      <a:pt x="313849" y="859917"/>
                    </a:lnTo>
                    <a:lnTo>
                      <a:pt x="334804" y="880872"/>
                    </a:lnTo>
                    <a:lnTo>
                      <a:pt x="345281" y="870395"/>
                    </a:lnTo>
                    <a:lnTo>
                      <a:pt x="355759" y="870395"/>
                    </a:lnTo>
                    <a:lnTo>
                      <a:pt x="376714" y="891349"/>
                    </a:lnTo>
                    <a:lnTo>
                      <a:pt x="408051" y="891349"/>
                    </a:lnTo>
                    <a:lnTo>
                      <a:pt x="408051" y="901827"/>
                    </a:lnTo>
                    <a:lnTo>
                      <a:pt x="439484" y="901827"/>
                    </a:lnTo>
                    <a:lnTo>
                      <a:pt x="439484" y="880872"/>
                    </a:lnTo>
                    <a:lnTo>
                      <a:pt x="449961" y="870395"/>
                    </a:lnTo>
                    <a:lnTo>
                      <a:pt x="470916" y="870395"/>
                    </a:lnTo>
                    <a:lnTo>
                      <a:pt x="481394" y="880872"/>
                    </a:lnTo>
                    <a:lnTo>
                      <a:pt x="481394" y="891349"/>
                    </a:lnTo>
                    <a:lnTo>
                      <a:pt x="502348" y="891349"/>
                    </a:lnTo>
                    <a:lnTo>
                      <a:pt x="502348" y="901827"/>
                    </a:lnTo>
                    <a:lnTo>
                      <a:pt x="544259" y="901827"/>
                    </a:lnTo>
                    <a:lnTo>
                      <a:pt x="544259" y="922782"/>
                    </a:lnTo>
                    <a:lnTo>
                      <a:pt x="586073" y="922782"/>
                    </a:lnTo>
                    <a:lnTo>
                      <a:pt x="586073" y="933259"/>
                    </a:lnTo>
                    <a:lnTo>
                      <a:pt x="617506" y="933259"/>
                    </a:lnTo>
                    <a:lnTo>
                      <a:pt x="617506" y="912305"/>
                    </a:lnTo>
                    <a:lnTo>
                      <a:pt x="638461" y="912305"/>
                    </a:lnTo>
                    <a:lnTo>
                      <a:pt x="638461" y="891349"/>
                    </a:lnTo>
                    <a:lnTo>
                      <a:pt x="659416" y="859917"/>
                    </a:lnTo>
                    <a:lnTo>
                      <a:pt x="680371" y="838962"/>
                    </a:lnTo>
                    <a:lnTo>
                      <a:pt x="690848" y="828484"/>
                    </a:lnTo>
                    <a:lnTo>
                      <a:pt x="701326" y="818007"/>
                    </a:lnTo>
                    <a:lnTo>
                      <a:pt x="722281" y="807530"/>
                    </a:lnTo>
                    <a:lnTo>
                      <a:pt x="732758" y="797052"/>
                    </a:lnTo>
                    <a:lnTo>
                      <a:pt x="753713" y="797052"/>
                    </a:lnTo>
                    <a:lnTo>
                      <a:pt x="764191" y="807530"/>
                    </a:lnTo>
                    <a:lnTo>
                      <a:pt x="785146" y="807530"/>
                    </a:lnTo>
                    <a:lnTo>
                      <a:pt x="795623" y="818007"/>
                    </a:lnTo>
                    <a:lnTo>
                      <a:pt x="847916" y="818007"/>
                    </a:lnTo>
                    <a:lnTo>
                      <a:pt x="868871" y="838962"/>
                    </a:lnTo>
                    <a:lnTo>
                      <a:pt x="868871" y="849439"/>
                    </a:lnTo>
                    <a:lnTo>
                      <a:pt x="889826" y="849439"/>
                    </a:lnTo>
                    <a:lnTo>
                      <a:pt x="900303" y="859917"/>
                    </a:lnTo>
                    <a:lnTo>
                      <a:pt x="931736" y="859917"/>
                    </a:lnTo>
                    <a:lnTo>
                      <a:pt x="952691" y="849439"/>
                    </a:lnTo>
                    <a:lnTo>
                      <a:pt x="963168" y="838962"/>
                    </a:lnTo>
                    <a:lnTo>
                      <a:pt x="973646" y="807530"/>
                    </a:lnTo>
                    <a:lnTo>
                      <a:pt x="1004983" y="786574"/>
                    </a:lnTo>
                    <a:lnTo>
                      <a:pt x="1025938" y="786574"/>
                    </a:lnTo>
                    <a:lnTo>
                      <a:pt x="1025938" y="776097"/>
                    </a:lnTo>
                    <a:lnTo>
                      <a:pt x="1046893" y="755142"/>
                    </a:lnTo>
                    <a:lnTo>
                      <a:pt x="1046893" y="744664"/>
                    </a:lnTo>
                    <a:lnTo>
                      <a:pt x="1036415" y="734187"/>
                    </a:lnTo>
                    <a:lnTo>
                      <a:pt x="1004983" y="734187"/>
                    </a:lnTo>
                    <a:lnTo>
                      <a:pt x="984028" y="723709"/>
                    </a:lnTo>
                    <a:lnTo>
                      <a:pt x="973550" y="713232"/>
                    </a:lnTo>
                    <a:lnTo>
                      <a:pt x="973550" y="702755"/>
                    </a:lnTo>
                    <a:lnTo>
                      <a:pt x="984028" y="692277"/>
                    </a:lnTo>
                    <a:lnTo>
                      <a:pt x="994505" y="681799"/>
                    </a:lnTo>
                    <a:lnTo>
                      <a:pt x="994505" y="660845"/>
                    </a:lnTo>
                    <a:lnTo>
                      <a:pt x="963073" y="660845"/>
                    </a:lnTo>
                    <a:lnTo>
                      <a:pt x="952595" y="629412"/>
                    </a:lnTo>
                    <a:lnTo>
                      <a:pt x="984028" y="629412"/>
                    </a:lnTo>
                    <a:lnTo>
                      <a:pt x="1004983" y="608457"/>
                    </a:lnTo>
                    <a:lnTo>
                      <a:pt x="1004983" y="597980"/>
                    </a:lnTo>
                    <a:lnTo>
                      <a:pt x="973646" y="566547"/>
                    </a:lnTo>
                    <a:lnTo>
                      <a:pt x="984123" y="556070"/>
                    </a:lnTo>
                    <a:lnTo>
                      <a:pt x="994601" y="556070"/>
                    </a:lnTo>
                    <a:lnTo>
                      <a:pt x="994601" y="545592"/>
                    </a:lnTo>
                    <a:lnTo>
                      <a:pt x="973646" y="524637"/>
                    </a:lnTo>
                    <a:lnTo>
                      <a:pt x="984123" y="493205"/>
                    </a:lnTo>
                    <a:lnTo>
                      <a:pt x="952691" y="493205"/>
                    </a:lnTo>
                    <a:lnTo>
                      <a:pt x="921353" y="524637"/>
                    </a:lnTo>
                    <a:lnTo>
                      <a:pt x="910876" y="524637"/>
                    </a:lnTo>
                    <a:lnTo>
                      <a:pt x="910876" y="514159"/>
                    </a:lnTo>
                    <a:lnTo>
                      <a:pt x="921353" y="503682"/>
                    </a:lnTo>
                    <a:lnTo>
                      <a:pt x="910876" y="493205"/>
                    </a:lnTo>
                    <a:lnTo>
                      <a:pt x="931831" y="482727"/>
                    </a:lnTo>
                    <a:lnTo>
                      <a:pt x="931831" y="461772"/>
                    </a:lnTo>
                    <a:lnTo>
                      <a:pt x="952786" y="451295"/>
                    </a:lnTo>
                    <a:lnTo>
                      <a:pt x="952786" y="430339"/>
                    </a:lnTo>
                    <a:lnTo>
                      <a:pt x="973741" y="430339"/>
                    </a:lnTo>
                    <a:lnTo>
                      <a:pt x="984218" y="419862"/>
                    </a:lnTo>
                    <a:lnTo>
                      <a:pt x="994696" y="409384"/>
                    </a:lnTo>
                    <a:lnTo>
                      <a:pt x="1005173" y="398907"/>
                    </a:lnTo>
                    <a:lnTo>
                      <a:pt x="1005173" y="388430"/>
                    </a:lnTo>
                    <a:lnTo>
                      <a:pt x="1036606" y="398907"/>
                    </a:lnTo>
                    <a:lnTo>
                      <a:pt x="1036606" y="314992"/>
                    </a:lnTo>
                    <a:lnTo>
                      <a:pt x="1047083" y="304514"/>
                    </a:lnTo>
                    <a:lnTo>
                      <a:pt x="1057561" y="294037"/>
                    </a:lnTo>
                    <a:lnTo>
                      <a:pt x="1068038" y="283559"/>
                    </a:lnTo>
                    <a:lnTo>
                      <a:pt x="1068038" y="262604"/>
                    </a:lnTo>
                    <a:lnTo>
                      <a:pt x="1088993" y="241649"/>
                    </a:lnTo>
                    <a:lnTo>
                      <a:pt x="1099471" y="220694"/>
                    </a:lnTo>
                    <a:lnTo>
                      <a:pt x="1068038" y="210217"/>
                    </a:lnTo>
                    <a:lnTo>
                      <a:pt x="1036701" y="210217"/>
                    </a:lnTo>
                    <a:close/>
                    <a:moveTo>
                      <a:pt x="1203865" y="902208"/>
                    </a:moveTo>
                    <a:lnTo>
                      <a:pt x="1203865" y="902208"/>
                    </a:lnTo>
                    <a:lnTo>
                      <a:pt x="1203865" y="870775"/>
                    </a:lnTo>
                    <a:lnTo>
                      <a:pt x="1193387" y="870775"/>
                    </a:lnTo>
                    <a:lnTo>
                      <a:pt x="1172432" y="881253"/>
                    </a:lnTo>
                    <a:lnTo>
                      <a:pt x="1172432" y="891730"/>
                    </a:lnTo>
                    <a:lnTo>
                      <a:pt x="1151477" y="902208"/>
                    </a:lnTo>
                    <a:lnTo>
                      <a:pt x="1141000" y="912686"/>
                    </a:lnTo>
                    <a:lnTo>
                      <a:pt x="1130522" y="933640"/>
                    </a:lnTo>
                    <a:lnTo>
                      <a:pt x="1130522" y="954596"/>
                    </a:lnTo>
                    <a:lnTo>
                      <a:pt x="1141000" y="975550"/>
                    </a:lnTo>
                    <a:lnTo>
                      <a:pt x="1141000" y="1017556"/>
                    </a:lnTo>
                    <a:lnTo>
                      <a:pt x="1161955" y="1028033"/>
                    </a:lnTo>
                    <a:lnTo>
                      <a:pt x="1172432" y="1038511"/>
                    </a:lnTo>
                    <a:lnTo>
                      <a:pt x="1203865" y="1007078"/>
                    </a:lnTo>
                    <a:lnTo>
                      <a:pt x="1203865" y="975550"/>
                    </a:lnTo>
                    <a:lnTo>
                      <a:pt x="1193387" y="975550"/>
                    </a:lnTo>
                    <a:lnTo>
                      <a:pt x="1203865" y="965073"/>
                    </a:lnTo>
                    <a:lnTo>
                      <a:pt x="1203865" y="902113"/>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122" name="Freeform: Shape 121">
                <a:extLst>
                  <a:ext uri="{FF2B5EF4-FFF2-40B4-BE49-F238E27FC236}">
                    <a16:creationId xmlns:a16="http://schemas.microsoft.com/office/drawing/2014/main" id="{E5E9049E-DE11-32D7-5F9E-4A816467D279}"/>
                  </a:ext>
                </a:extLst>
              </p:cNvPr>
              <p:cNvSpPr/>
              <p:nvPr/>
            </p:nvSpPr>
            <p:spPr>
              <a:xfrm>
                <a:off x="4874418" y="3649312"/>
                <a:ext cx="1203864" cy="1038510"/>
              </a:xfrm>
              <a:custGeom>
                <a:avLst/>
                <a:gdLst>
                  <a:gd name="connsiteX0" fmla="*/ 1036415 w 1203864"/>
                  <a:gd name="connsiteY0" fmla="*/ 209645 h 1038510"/>
                  <a:gd name="connsiteX1" fmla="*/ 963168 w 1203864"/>
                  <a:gd name="connsiteY1" fmla="*/ 209645 h 1038510"/>
                  <a:gd name="connsiteX2" fmla="*/ 963168 w 1203864"/>
                  <a:gd name="connsiteY2" fmla="*/ 178213 h 1038510"/>
                  <a:gd name="connsiteX3" fmla="*/ 952691 w 1203864"/>
                  <a:gd name="connsiteY3" fmla="*/ 178213 h 1038510"/>
                  <a:gd name="connsiteX4" fmla="*/ 952691 w 1203864"/>
                  <a:gd name="connsiteY4" fmla="*/ 167735 h 1038510"/>
                  <a:gd name="connsiteX5" fmla="*/ 931736 w 1203864"/>
                  <a:gd name="connsiteY5" fmla="*/ 157258 h 1038510"/>
                  <a:gd name="connsiteX6" fmla="*/ 910780 w 1203864"/>
                  <a:gd name="connsiteY6" fmla="*/ 178213 h 1038510"/>
                  <a:gd name="connsiteX7" fmla="*/ 900303 w 1203864"/>
                  <a:gd name="connsiteY7" fmla="*/ 167735 h 1038510"/>
                  <a:gd name="connsiteX8" fmla="*/ 868966 w 1203864"/>
                  <a:gd name="connsiteY8" fmla="*/ 167735 h 1038510"/>
                  <a:gd name="connsiteX9" fmla="*/ 858488 w 1203864"/>
                  <a:gd name="connsiteY9" fmla="*/ 146780 h 1038510"/>
                  <a:gd name="connsiteX10" fmla="*/ 816578 w 1203864"/>
                  <a:gd name="connsiteY10" fmla="*/ 146780 h 1038510"/>
                  <a:gd name="connsiteX11" fmla="*/ 816578 w 1203864"/>
                  <a:gd name="connsiteY11" fmla="*/ 115348 h 1038510"/>
                  <a:gd name="connsiteX12" fmla="*/ 795623 w 1203864"/>
                  <a:gd name="connsiteY12" fmla="*/ 125825 h 1038510"/>
                  <a:gd name="connsiteX13" fmla="*/ 764286 w 1203864"/>
                  <a:gd name="connsiteY13" fmla="*/ 125825 h 1038510"/>
                  <a:gd name="connsiteX14" fmla="*/ 764286 w 1203864"/>
                  <a:gd name="connsiteY14" fmla="*/ 94393 h 1038510"/>
                  <a:gd name="connsiteX15" fmla="*/ 753809 w 1203864"/>
                  <a:gd name="connsiteY15" fmla="*/ 83915 h 1038510"/>
                  <a:gd name="connsiteX16" fmla="*/ 743331 w 1203864"/>
                  <a:gd name="connsiteY16" fmla="*/ 73438 h 1038510"/>
                  <a:gd name="connsiteX17" fmla="*/ 711994 w 1203864"/>
                  <a:gd name="connsiteY17" fmla="*/ 73438 h 1038510"/>
                  <a:gd name="connsiteX18" fmla="*/ 691039 w 1203864"/>
                  <a:gd name="connsiteY18" fmla="*/ 62960 h 1038510"/>
                  <a:gd name="connsiteX19" fmla="*/ 659702 w 1203864"/>
                  <a:gd name="connsiteY19" fmla="*/ 52483 h 1038510"/>
                  <a:gd name="connsiteX20" fmla="*/ 659702 w 1203864"/>
                  <a:gd name="connsiteY20" fmla="*/ 0 h 1038510"/>
                  <a:gd name="connsiteX21" fmla="*/ 617792 w 1203864"/>
                  <a:gd name="connsiteY21" fmla="*/ 0 h 1038510"/>
                  <a:gd name="connsiteX22" fmla="*/ 596837 w 1203864"/>
                  <a:gd name="connsiteY22" fmla="*/ 10477 h 1038510"/>
                  <a:gd name="connsiteX23" fmla="*/ 586359 w 1203864"/>
                  <a:gd name="connsiteY23" fmla="*/ 10477 h 1038510"/>
                  <a:gd name="connsiteX24" fmla="*/ 575882 w 1203864"/>
                  <a:gd name="connsiteY24" fmla="*/ 20955 h 1038510"/>
                  <a:gd name="connsiteX25" fmla="*/ 544544 w 1203864"/>
                  <a:gd name="connsiteY25" fmla="*/ 20955 h 1038510"/>
                  <a:gd name="connsiteX26" fmla="*/ 544544 w 1203864"/>
                  <a:gd name="connsiteY26" fmla="*/ 62960 h 1038510"/>
                  <a:gd name="connsiteX27" fmla="*/ 555022 w 1203864"/>
                  <a:gd name="connsiteY27" fmla="*/ 73438 h 1038510"/>
                  <a:gd name="connsiteX28" fmla="*/ 555022 w 1203864"/>
                  <a:gd name="connsiteY28" fmla="*/ 104870 h 1038510"/>
                  <a:gd name="connsiteX29" fmla="*/ 544544 w 1203864"/>
                  <a:gd name="connsiteY29" fmla="*/ 115348 h 1038510"/>
                  <a:gd name="connsiteX30" fmla="*/ 513112 w 1203864"/>
                  <a:gd name="connsiteY30" fmla="*/ 125825 h 1038510"/>
                  <a:gd name="connsiteX31" fmla="*/ 481679 w 1203864"/>
                  <a:gd name="connsiteY31" fmla="*/ 125825 h 1038510"/>
                  <a:gd name="connsiteX32" fmla="*/ 429387 w 1203864"/>
                  <a:gd name="connsiteY32" fmla="*/ 167830 h 1038510"/>
                  <a:gd name="connsiteX33" fmla="*/ 450342 w 1203864"/>
                  <a:gd name="connsiteY33" fmla="*/ 178308 h 1038510"/>
                  <a:gd name="connsiteX34" fmla="*/ 429387 w 1203864"/>
                  <a:gd name="connsiteY34" fmla="*/ 178308 h 1038510"/>
                  <a:gd name="connsiteX35" fmla="*/ 397955 w 1203864"/>
                  <a:gd name="connsiteY35" fmla="*/ 199263 h 1038510"/>
                  <a:gd name="connsiteX36" fmla="*/ 356044 w 1203864"/>
                  <a:gd name="connsiteY36" fmla="*/ 199263 h 1038510"/>
                  <a:gd name="connsiteX37" fmla="*/ 345567 w 1203864"/>
                  <a:gd name="connsiteY37" fmla="*/ 188785 h 1038510"/>
                  <a:gd name="connsiteX38" fmla="*/ 314135 w 1203864"/>
                  <a:gd name="connsiteY38" fmla="*/ 157353 h 1038510"/>
                  <a:gd name="connsiteX39" fmla="*/ 303657 w 1203864"/>
                  <a:gd name="connsiteY39" fmla="*/ 157353 h 1038510"/>
                  <a:gd name="connsiteX40" fmla="*/ 293180 w 1203864"/>
                  <a:gd name="connsiteY40" fmla="*/ 146875 h 1038510"/>
                  <a:gd name="connsiteX41" fmla="*/ 272225 w 1203864"/>
                  <a:gd name="connsiteY41" fmla="*/ 146875 h 1038510"/>
                  <a:gd name="connsiteX42" fmla="*/ 272225 w 1203864"/>
                  <a:gd name="connsiteY42" fmla="*/ 178308 h 1038510"/>
                  <a:gd name="connsiteX43" fmla="*/ 282702 w 1203864"/>
                  <a:gd name="connsiteY43" fmla="*/ 178308 h 1038510"/>
                  <a:gd name="connsiteX44" fmla="*/ 293180 w 1203864"/>
                  <a:gd name="connsiteY44" fmla="*/ 199263 h 1038510"/>
                  <a:gd name="connsiteX45" fmla="*/ 303657 w 1203864"/>
                  <a:gd name="connsiteY45" fmla="*/ 209740 h 1038510"/>
                  <a:gd name="connsiteX46" fmla="*/ 303657 w 1203864"/>
                  <a:gd name="connsiteY46" fmla="*/ 241268 h 1038510"/>
                  <a:gd name="connsiteX47" fmla="*/ 293180 w 1203864"/>
                  <a:gd name="connsiteY47" fmla="*/ 251746 h 1038510"/>
                  <a:gd name="connsiteX48" fmla="*/ 198977 w 1203864"/>
                  <a:gd name="connsiteY48" fmla="*/ 251746 h 1038510"/>
                  <a:gd name="connsiteX49" fmla="*/ 198977 w 1203864"/>
                  <a:gd name="connsiteY49" fmla="*/ 283178 h 1038510"/>
                  <a:gd name="connsiteX50" fmla="*/ 188500 w 1203864"/>
                  <a:gd name="connsiteY50" fmla="*/ 272701 h 1038510"/>
                  <a:gd name="connsiteX51" fmla="*/ 178022 w 1203864"/>
                  <a:gd name="connsiteY51" fmla="*/ 251746 h 1038510"/>
                  <a:gd name="connsiteX52" fmla="*/ 167545 w 1203864"/>
                  <a:gd name="connsiteY52" fmla="*/ 251746 h 1038510"/>
                  <a:gd name="connsiteX53" fmla="*/ 157067 w 1203864"/>
                  <a:gd name="connsiteY53" fmla="*/ 241268 h 1038510"/>
                  <a:gd name="connsiteX54" fmla="*/ 136112 w 1203864"/>
                  <a:gd name="connsiteY54" fmla="*/ 241268 h 1038510"/>
                  <a:gd name="connsiteX55" fmla="*/ 125635 w 1203864"/>
                  <a:gd name="connsiteY55" fmla="*/ 251746 h 1038510"/>
                  <a:gd name="connsiteX56" fmla="*/ 83725 w 1203864"/>
                  <a:gd name="connsiteY56" fmla="*/ 251746 h 1038510"/>
                  <a:gd name="connsiteX57" fmla="*/ 62770 w 1203864"/>
                  <a:gd name="connsiteY57" fmla="*/ 262223 h 1038510"/>
                  <a:gd name="connsiteX58" fmla="*/ 41815 w 1203864"/>
                  <a:gd name="connsiteY58" fmla="*/ 262223 h 1038510"/>
                  <a:gd name="connsiteX59" fmla="*/ 31337 w 1203864"/>
                  <a:gd name="connsiteY59" fmla="*/ 272701 h 1038510"/>
                  <a:gd name="connsiteX60" fmla="*/ 20860 w 1203864"/>
                  <a:gd name="connsiteY60" fmla="*/ 283178 h 1038510"/>
                  <a:gd name="connsiteX61" fmla="*/ 31337 w 1203864"/>
                  <a:gd name="connsiteY61" fmla="*/ 293656 h 1038510"/>
                  <a:gd name="connsiteX62" fmla="*/ 41815 w 1203864"/>
                  <a:gd name="connsiteY62" fmla="*/ 293656 h 1038510"/>
                  <a:gd name="connsiteX63" fmla="*/ 52292 w 1203864"/>
                  <a:gd name="connsiteY63" fmla="*/ 304133 h 1038510"/>
                  <a:gd name="connsiteX64" fmla="*/ 52292 w 1203864"/>
                  <a:gd name="connsiteY64" fmla="*/ 314611 h 1038510"/>
                  <a:gd name="connsiteX65" fmla="*/ 0 w 1203864"/>
                  <a:gd name="connsiteY65" fmla="*/ 314611 h 1038510"/>
                  <a:gd name="connsiteX66" fmla="*/ 0 w 1203864"/>
                  <a:gd name="connsiteY66" fmla="*/ 325088 h 1038510"/>
                  <a:gd name="connsiteX67" fmla="*/ 31432 w 1203864"/>
                  <a:gd name="connsiteY67" fmla="*/ 346043 h 1038510"/>
                  <a:gd name="connsiteX68" fmla="*/ 62865 w 1203864"/>
                  <a:gd name="connsiteY68" fmla="*/ 346043 h 1038510"/>
                  <a:gd name="connsiteX69" fmla="*/ 62865 w 1203864"/>
                  <a:gd name="connsiteY69" fmla="*/ 335566 h 1038510"/>
                  <a:gd name="connsiteX70" fmla="*/ 136112 w 1203864"/>
                  <a:gd name="connsiteY70" fmla="*/ 377571 h 1038510"/>
                  <a:gd name="connsiteX71" fmla="*/ 167545 w 1203864"/>
                  <a:gd name="connsiteY71" fmla="*/ 377571 h 1038510"/>
                  <a:gd name="connsiteX72" fmla="*/ 198882 w 1203864"/>
                  <a:gd name="connsiteY72" fmla="*/ 398526 h 1038510"/>
                  <a:gd name="connsiteX73" fmla="*/ 251174 w 1203864"/>
                  <a:gd name="connsiteY73" fmla="*/ 398526 h 1038510"/>
                  <a:gd name="connsiteX74" fmla="*/ 209264 w 1203864"/>
                  <a:gd name="connsiteY74" fmla="*/ 419481 h 1038510"/>
                  <a:gd name="connsiteX75" fmla="*/ 219742 w 1203864"/>
                  <a:gd name="connsiteY75" fmla="*/ 440436 h 1038510"/>
                  <a:gd name="connsiteX76" fmla="*/ 230219 w 1203864"/>
                  <a:gd name="connsiteY76" fmla="*/ 450913 h 1038510"/>
                  <a:gd name="connsiteX77" fmla="*/ 240697 w 1203864"/>
                  <a:gd name="connsiteY77" fmla="*/ 482346 h 1038510"/>
                  <a:gd name="connsiteX78" fmla="*/ 272129 w 1203864"/>
                  <a:gd name="connsiteY78" fmla="*/ 503301 h 1038510"/>
                  <a:gd name="connsiteX79" fmla="*/ 303467 w 1203864"/>
                  <a:gd name="connsiteY79" fmla="*/ 503301 h 1038510"/>
                  <a:gd name="connsiteX80" fmla="*/ 303467 w 1203864"/>
                  <a:gd name="connsiteY80" fmla="*/ 555784 h 1038510"/>
                  <a:gd name="connsiteX81" fmla="*/ 324421 w 1203864"/>
                  <a:gd name="connsiteY81" fmla="*/ 597789 h 1038510"/>
                  <a:gd name="connsiteX82" fmla="*/ 345377 w 1203864"/>
                  <a:gd name="connsiteY82" fmla="*/ 650272 h 1038510"/>
                  <a:gd name="connsiteX83" fmla="*/ 303467 w 1203864"/>
                  <a:gd name="connsiteY83" fmla="*/ 597789 h 1038510"/>
                  <a:gd name="connsiteX84" fmla="*/ 303467 w 1203864"/>
                  <a:gd name="connsiteY84" fmla="*/ 618744 h 1038510"/>
                  <a:gd name="connsiteX85" fmla="*/ 292989 w 1203864"/>
                  <a:gd name="connsiteY85" fmla="*/ 629222 h 1038510"/>
                  <a:gd name="connsiteX86" fmla="*/ 292989 w 1203864"/>
                  <a:gd name="connsiteY86" fmla="*/ 692182 h 1038510"/>
                  <a:gd name="connsiteX87" fmla="*/ 282512 w 1203864"/>
                  <a:gd name="connsiteY87" fmla="*/ 702659 h 1038510"/>
                  <a:gd name="connsiteX88" fmla="*/ 272034 w 1203864"/>
                  <a:gd name="connsiteY88" fmla="*/ 755142 h 1038510"/>
                  <a:gd name="connsiteX89" fmla="*/ 272034 w 1203864"/>
                  <a:gd name="connsiteY89" fmla="*/ 765620 h 1038510"/>
                  <a:gd name="connsiteX90" fmla="*/ 261556 w 1203864"/>
                  <a:gd name="connsiteY90" fmla="*/ 786574 h 1038510"/>
                  <a:gd name="connsiteX91" fmla="*/ 261556 w 1203864"/>
                  <a:gd name="connsiteY91" fmla="*/ 797052 h 1038510"/>
                  <a:gd name="connsiteX92" fmla="*/ 251079 w 1203864"/>
                  <a:gd name="connsiteY92" fmla="*/ 797052 h 1038510"/>
                  <a:gd name="connsiteX93" fmla="*/ 251079 w 1203864"/>
                  <a:gd name="connsiteY93" fmla="*/ 807530 h 1038510"/>
                  <a:gd name="connsiteX94" fmla="*/ 240602 w 1203864"/>
                  <a:gd name="connsiteY94" fmla="*/ 818007 h 1038510"/>
                  <a:gd name="connsiteX95" fmla="*/ 230124 w 1203864"/>
                  <a:gd name="connsiteY95" fmla="*/ 828484 h 1038510"/>
                  <a:gd name="connsiteX96" fmla="*/ 240602 w 1203864"/>
                  <a:gd name="connsiteY96" fmla="*/ 838962 h 1038510"/>
                  <a:gd name="connsiteX97" fmla="*/ 240602 w 1203864"/>
                  <a:gd name="connsiteY97" fmla="*/ 828484 h 1038510"/>
                  <a:gd name="connsiteX98" fmla="*/ 251079 w 1203864"/>
                  <a:gd name="connsiteY98" fmla="*/ 828484 h 1038510"/>
                  <a:gd name="connsiteX99" fmla="*/ 272034 w 1203864"/>
                  <a:gd name="connsiteY99" fmla="*/ 838962 h 1038510"/>
                  <a:gd name="connsiteX100" fmla="*/ 272034 w 1203864"/>
                  <a:gd name="connsiteY100" fmla="*/ 849439 h 1038510"/>
                  <a:gd name="connsiteX101" fmla="*/ 261556 w 1203864"/>
                  <a:gd name="connsiteY101" fmla="*/ 859917 h 1038510"/>
                  <a:gd name="connsiteX102" fmla="*/ 313849 w 1203864"/>
                  <a:gd name="connsiteY102" fmla="*/ 859917 h 1038510"/>
                  <a:gd name="connsiteX103" fmla="*/ 334804 w 1203864"/>
                  <a:gd name="connsiteY103" fmla="*/ 880872 h 1038510"/>
                  <a:gd name="connsiteX104" fmla="*/ 345281 w 1203864"/>
                  <a:gd name="connsiteY104" fmla="*/ 870395 h 1038510"/>
                  <a:gd name="connsiteX105" fmla="*/ 355759 w 1203864"/>
                  <a:gd name="connsiteY105" fmla="*/ 870395 h 1038510"/>
                  <a:gd name="connsiteX106" fmla="*/ 376714 w 1203864"/>
                  <a:gd name="connsiteY106" fmla="*/ 891349 h 1038510"/>
                  <a:gd name="connsiteX107" fmla="*/ 408051 w 1203864"/>
                  <a:gd name="connsiteY107" fmla="*/ 891349 h 1038510"/>
                  <a:gd name="connsiteX108" fmla="*/ 408051 w 1203864"/>
                  <a:gd name="connsiteY108" fmla="*/ 901827 h 1038510"/>
                  <a:gd name="connsiteX109" fmla="*/ 439484 w 1203864"/>
                  <a:gd name="connsiteY109" fmla="*/ 901827 h 1038510"/>
                  <a:gd name="connsiteX110" fmla="*/ 439484 w 1203864"/>
                  <a:gd name="connsiteY110" fmla="*/ 880872 h 1038510"/>
                  <a:gd name="connsiteX111" fmla="*/ 449961 w 1203864"/>
                  <a:gd name="connsiteY111" fmla="*/ 870395 h 1038510"/>
                  <a:gd name="connsiteX112" fmla="*/ 470916 w 1203864"/>
                  <a:gd name="connsiteY112" fmla="*/ 870395 h 1038510"/>
                  <a:gd name="connsiteX113" fmla="*/ 481394 w 1203864"/>
                  <a:gd name="connsiteY113" fmla="*/ 880872 h 1038510"/>
                  <a:gd name="connsiteX114" fmla="*/ 481394 w 1203864"/>
                  <a:gd name="connsiteY114" fmla="*/ 891349 h 1038510"/>
                  <a:gd name="connsiteX115" fmla="*/ 502348 w 1203864"/>
                  <a:gd name="connsiteY115" fmla="*/ 891349 h 1038510"/>
                  <a:gd name="connsiteX116" fmla="*/ 502348 w 1203864"/>
                  <a:gd name="connsiteY116" fmla="*/ 901827 h 1038510"/>
                  <a:gd name="connsiteX117" fmla="*/ 544259 w 1203864"/>
                  <a:gd name="connsiteY117" fmla="*/ 901827 h 1038510"/>
                  <a:gd name="connsiteX118" fmla="*/ 544259 w 1203864"/>
                  <a:gd name="connsiteY118" fmla="*/ 922782 h 1038510"/>
                  <a:gd name="connsiteX119" fmla="*/ 586073 w 1203864"/>
                  <a:gd name="connsiteY119" fmla="*/ 922782 h 1038510"/>
                  <a:gd name="connsiteX120" fmla="*/ 586073 w 1203864"/>
                  <a:gd name="connsiteY120" fmla="*/ 933259 h 1038510"/>
                  <a:gd name="connsiteX121" fmla="*/ 617506 w 1203864"/>
                  <a:gd name="connsiteY121" fmla="*/ 933259 h 1038510"/>
                  <a:gd name="connsiteX122" fmla="*/ 617506 w 1203864"/>
                  <a:gd name="connsiteY122" fmla="*/ 912305 h 1038510"/>
                  <a:gd name="connsiteX123" fmla="*/ 638461 w 1203864"/>
                  <a:gd name="connsiteY123" fmla="*/ 912305 h 1038510"/>
                  <a:gd name="connsiteX124" fmla="*/ 638461 w 1203864"/>
                  <a:gd name="connsiteY124" fmla="*/ 891349 h 1038510"/>
                  <a:gd name="connsiteX125" fmla="*/ 659416 w 1203864"/>
                  <a:gd name="connsiteY125" fmla="*/ 859917 h 1038510"/>
                  <a:gd name="connsiteX126" fmla="*/ 680371 w 1203864"/>
                  <a:gd name="connsiteY126" fmla="*/ 838962 h 1038510"/>
                  <a:gd name="connsiteX127" fmla="*/ 690848 w 1203864"/>
                  <a:gd name="connsiteY127" fmla="*/ 828484 h 1038510"/>
                  <a:gd name="connsiteX128" fmla="*/ 701326 w 1203864"/>
                  <a:gd name="connsiteY128" fmla="*/ 818007 h 1038510"/>
                  <a:gd name="connsiteX129" fmla="*/ 722281 w 1203864"/>
                  <a:gd name="connsiteY129" fmla="*/ 807530 h 1038510"/>
                  <a:gd name="connsiteX130" fmla="*/ 732758 w 1203864"/>
                  <a:gd name="connsiteY130" fmla="*/ 797052 h 1038510"/>
                  <a:gd name="connsiteX131" fmla="*/ 753713 w 1203864"/>
                  <a:gd name="connsiteY131" fmla="*/ 797052 h 1038510"/>
                  <a:gd name="connsiteX132" fmla="*/ 764191 w 1203864"/>
                  <a:gd name="connsiteY132" fmla="*/ 807530 h 1038510"/>
                  <a:gd name="connsiteX133" fmla="*/ 785146 w 1203864"/>
                  <a:gd name="connsiteY133" fmla="*/ 807530 h 1038510"/>
                  <a:gd name="connsiteX134" fmla="*/ 795623 w 1203864"/>
                  <a:gd name="connsiteY134" fmla="*/ 818007 h 1038510"/>
                  <a:gd name="connsiteX135" fmla="*/ 847916 w 1203864"/>
                  <a:gd name="connsiteY135" fmla="*/ 818007 h 1038510"/>
                  <a:gd name="connsiteX136" fmla="*/ 868871 w 1203864"/>
                  <a:gd name="connsiteY136" fmla="*/ 838962 h 1038510"/>
                  <a:gd name="connsiteX137" fmla="*/ 868871 w 1203864"/>
                  <a:gd name="connsiteY137" fmla="*/ 849439 h 1038510"/>
                  <a:gd name="connsiteX138" fmla="*/ 889826 w 1203864"/>
                  <a:gd name="connsiteY138" fmla="*/ 849439 h 1038510"/>
                  <a:gd name="connsiteX139" fmla="*/ 900303 w 1203864"/>
                  <a:gd name="connsiteY139" fmla="*/ 859917 h 1038510"/>
                  <a:gd name="connsiteX140" fmla="*/ 931736 w 1203864"/>
                  <a:gd name="connsiteY140" fmla="*/ 859917 h 1038510"/>
                  <a:gd name="connsiteX141" fmla="*/ 952691 w 1203864"/>
                  <a:gd name="connsiteY141" fmla="*/ 849439 h 1038510"/>
                  <a:gd name="connsiteX142" fmla="*/ 963168 w 1203864"/>
                  <a:gd name="connsiteY142" fmla="*/ 838962 h 1038510"/>
                  <a:gd name="connsiteX143" fmla="*/ 973646 w 1203864"/>
                  <a:gd name="connsiteY143" fmla="*/ 807530 h 1038510"/>
                  <a:gd name="connsiteX144" fmla="*/ 1004983 w 1203864"/>
                  <a:gd name="connsiteY144" fmla="*/ 786574 h 1038510"/>
                  <a:gd name="connsiteX145" fmla="*/ 1025938 w 1203864"/>
                  <a:gd name="connsiteY145" fmla="*/ 786574 h 1038510"/>
                  <a:gd name="connsiteX146" fmla="*/ 1025938 w 1203864"/>
                  <a:gd name="connsiteY146" fmla="*/ 776097 h 1038510"/>
                  <a:gd name="connsiteX147" fmla="*/ 1046893 w 1203864"/>
                  <a:gd name="connsiteY147" fmla="*/ 755142 h 1038510"/>
                  <a:gd name="connsiteX148" fmla="*/ 1046893 w 1203864"/>
                  <a:gd name="connsiteY148" fmla="*/ 744664 h 1038510"/>
                  <a:gd name="connsiteX149" fmla="*/ 1036415 w 1203864"/>
                  <a:gd name="connsiteY149" fmla="*/ 734187 h 1038510"/>
                  <a:gd name="connsiteX150" fmla="*/ 1004983 w 1203864"/>
                  <a:gd name="connsiteY150" fmla="*/ 734187 h 1038510"/>
                  <a:gd name="connsiteX151" fmla="*/ 984028 w 1203864"/>
                  <a:gd name="connsiteY151" fmla="*/ 723709 h 1038510"/>
                  <a:gd name="connsiteX152" fmla="*/ 973550 w 1203864"/>
                  <a:gd name="connsiteY152" fmla="*/ 713232 h 1038510"/>
                  <a:gd name="connsiteX153" fmla="*/ 973550 w 1203864"/>
                  <a:gd name="connsiteY153" fmla="*/ 702755 h 1038510"/>
                  <a:gd name="connsiteX154" fmla="*/ 984028 w 1203864"/>
                  <a:gd name="connsiteY154" fmla="*/ 692277 h 1038510"/>
                  <a:gd name="connsiteX155" fmla="*/ 994505 w 1203864"/>
                  <a:gd name="connsiteY155" fmla="*/ 681799 h 1038510"/>
                  <a:gd name="connsiteX156" fmla="*/ 994505 w 1203864"/>
                  <a:gd name="connsiteY156" fmla="*/ 660845 h 1038510"/>
                  <a:gd name="connsiteX157" fmla="*/ 963073 w 1203864"/>
                  <a:gd name="connsiteY157" fmla="*/ 660845 h 1038510"/>
                  <a:gd name="connsiteX158" fmla="*/ 952595 w 1203864"/>
                  <a:gd name="connsiteY158" fmla="*/ 629412 h 1038510"/>
                  <a:gd name="connsiteX159" fmla="*/ 984028 w 1203864"/>
                  <a:gd name="connsiteY159" fmla="*/ 629412 h 1038510"/>
                  <a:gd name="connsiteX160" fmla="*/ 1004983 w 1203864"/>
                  <a:gd name="connsiteY160" fmla="*/ 608457 h 1038510"/>
                  <a:gd name="connsiteX161" fmla="*/ 1004983 w 1203864"/>
                  <a:gd name="connsiteY161" fmla="*/ 597980 h 1038510"/>
                  <a:gd name="connsiteX162" fmla="*/ 973646 w 1203864"/>
                  <a:gd name="connsiteY162" fmla="*/ 566547 h 1038510"/>
                  <a:gd name="connsiteX163" fmla="*/ 984123 w 1203864"/>
                  <a:gd name="connsiteY163" fmla="*/ 556070 h 1038510"/>
                  <a:gd name="connsiteX164" fmla="*/ 994601 w 1203864"/>
                  <a:gd name="connsiteY164" fmla="*/ 556070 h 1038510"/>
                  <a:gd name="connsiteX165" fmla="*/ 994601 w 1203864"/>
                  <a:gd name="connsiteY165" fmla="*/ 545592 h 1038510"/>
                  <a:gd name="connsiteX166" fmla="*/ 973646 w 1203864"/>
                  <a:gd name="connsiteY166" fmla="*/ 524637 h 1038510"/>
                  <a:gd name="connsiteX167" fmla="*/ 984123 w 1203864"/>
                  <a:gd name="connsiteY167" fmla="*/ 493205 h 1038510"/>
                  <a:gd name="connsiteX168" fmla="*/ 952691 w 1203864"/>
                  <a:gd name="connsiteY168" fmla="*/ 493205 h 1038510"/>
                  <a:gd name="connsiteX169" fmla="*/ 921353 w 1203864"/>
                  <a:gd name="connsiteY169" fmla="*/ 524637 h 1038510"/>
                  <a:gd name="connsiteX170" fmla="*/ 910876 w 1203864"/>
                  <a:gd name="connsiteY170" fmla="*/ 524637 h 1038510"/>
                  <a:gd name="connsiteX171" fmla="*/ 910876 w 1203864"/>
                  <a:gd name="connsiteY171" fmla="*/ 514159 h 1038510"/>
                  <a:gd name="connsiteX172" fmla="*/ 921353 w 1203864"/>
                  <a:gd name="connsiteY172" fmla="*/ 503682 h 1038510"/>
                  <a:gd name="connsiteX173" fmla="*/ 910876 w 1203864"/>
                  <a:gd name="connsiteY173" fmla="*/ 493205 h 1038510"/>
                  <a:gd name="connsiteX174" fmla="*/ 931831 w 1203864"/>
                  <a:gd name="connsiteY174" fmla="*/ 482727 h 1038510"/>
                  <a:gd name="connsiteX175" fmla="*/ 931831 w 1203864"/>
                  <a:gd name="connsiteY175" fmla="*/ 461772 h 1038510"/>
                  <a:gd name="connsiteX176" fmla="*/ 952786 w 1203864"/>
                  <a:gd name="connsiteY176" fmla="*/ 451295 h 1038510"/>
                  <a:gd name="connsiteX177" fmla="*/ 952786 w 1203864"/>
                  <a:gd name="connsiteY177" fmla="*/ 430339 h 1038510"/>
                  <a:gd name="connsiteX178" fmla="*/ 973741 w 1203864"/>
                  <a:gd name="connsiteY178" fmla="*/ 430339 h 1038510"/>
                  <a:gd name="connsiteX179" fmla="*/ 984218 w 1203864"/>
                  <a:gd name="connsiteY179" fmla="*/ 419862 h 1038510"/>
                  <a:gd name="connsiteX180" fmla="*/ 994696 w 1203864"/>
                  <a:gd name="connsiteY180" fmla="*/ 409384 h 1038510"/>
                  <a:gd name="connsiteX181" fmla="*/ 1005173 w 1203864"/>
                  <a:gd name="connsiteY181" fmla="*/ 398907 h 1038510"/>
                  <a:gd name="connsiteX182" fmla="*/ 1005173 w 1203864"/>
                  <a:gd name="connsiteY182" fmla="*/ 388430 h 1038510"/>
                  <a:gd name="connsiteX183" fmla="*/ 1036606 w 1203864"/>
                  <a:gd name="connsiteY183" fmla="*/ 398907 h 1038510"/>
                  <a:gd name="connsiteX184" fmla="*/ 1036606 w 1203864"/>
                  <a:gd name="connsiteY184" fmla="*/ 314992 h 1038510"/>
                  <a:gd name="connsiteX185" fmla="*/ 1047083 w 1203864"/>
                  <a:gd name="connsiteY185" fmla="*/ 304514 h 1038510"/>
                  <a:gd name="connsiteX186" fmla="*/ 1057561 w 1203864"/>
                  <a:gd name="connsiteY186" fmla="*/ 294037 h 1038510"/>
                  <a:gd name="connsiteX187" fmla="*/ 1068038 w 1203864"/>
                  <a:gd name="connsiteY187" fmla="*/ 283559 h 1038510"/>
                  <a:gd name="connsiteX188" fmla="*/ 1068038 w 1203864"/>
                  <a:gd name="connsiteY188" fmla="*/ 262604 h 1038510"/>
                  <a:gd name="connsiteX189" fmla="*/ 1088993 w 1203864"/>
                  <a:gd name="connsiteY189" fmla="*/ 241649 h 1038510"/>
                  <a:gd name="connsiteX190" fmla="*/ 1099471 w 1203864"/>
                  <a:gd name="connsiteY190" fmla="*/ 220694 h 1038510"/>
                  <a:gd name="connsiteX191" fmla="*/ 1068038 w 1203864"/>
                  <a:gd name="connsiteY191" fmla="*/ 210217 h 1038510"/>
                  <a:gd name="connsiteX192" fmla="*/ 1036701 w 1203864"/>
                  <a:gd name="connsiteY192" fmla="*/ 210217 h 1038510"/>
                  <a:gd name="connsiteX193" fmla="*/ 1203865 w 1203864"/>
                  <a:gd name="connsiteY193" fmla="*/ 902208 h 1038510"/>
                  <a:gd name="connsiteX194" fmla="*/ 1203865 w 1203864"/>
                  <a:gd name="connsiteY194" fmla="*/ 902208 h 1038510"/>
                  <a:gd name="connsiteX195" fmla="*/ 1203865 w 1203864"/>
                  <a:gd name="connsiteY195" fmla="*/ 870775 h 1038510"/>
                  <a:gd name="connsiteX196" fmla="*/ 1193387 w 1203864"/>
                  <a:gd name="connsiteY196" fmla="*/ 870775 h 1038510"/>
                  <a:gd name="connsiteX197" fmla="*/ 1172432 w 1203864"/>
                  <a:gd name="connsiteY197" fmla="*/ 881253 h 1038510"/>
                  <a:gd name="connsiteX198" fmla="*/ 1172432 w 1203864"/>
                  <a:gd name="connsiteY198" fmla="*/ 891730 h 1038510"/>
                  <a:gd name="connsiteX199" fmla="*/ 1151477 w 1203864"/>
                  <a:gd name="connsiteY199" fmla="*/ 902208 h 1038510"/>
                  <a:gd name="connsiteX200" fmla="*/ 1141000 w 1203864"/>
                  <a:gd name="connsiteY200" fmla="*/ 912686 h 1038510"/>
                  <a:gd name="connsiteX201" fmla="*/ 1130522 w 1203864"/>
                  <a:gd name="connsiteY201" fmla="*/ 933640 h 1038510"/>
                  <a:gd name="connsiteX202" fmla="*/ 1130522 w 1203864"/>
                  <a:gd name="connsiteY202" fmla="*/ 954596 h 1038510"/>
                  <a:gd name="connsiteX203" fmla="*/ 1141000 w 1203864"/>
                  <a:gd name="connsiteY203" fmla="*/ 975550 h 1038510"/>
                  <a:gd name="connsiteX204" fmla="*/ 1141000 w 1203864"/>
                  <a:gd name="connsiteY204" fmla="*/ 1017556 h 1038510"/>
                  <a:gd name="connsiteX205" fmla="*/ 1161955 w 1203864"/>
                  <a:gd name="connsiteY205" fmla="*/ 1028033 h 1038510"/>
                  <a:gd name="connsiteX206" fmla="*/ 1172432 w 1203864"/>
                  <a:gd name="connsiteY206" fmla="*/ 1038511 h 1038510"/>
                  <a:gd name="connsiteX207" fmla="*/ 1203865 w 1203864"/>
                  <a:gd name="connsiteY207" fmla="*/ 1007078 h 1038510"/>
                  <a:gd name="connsiteX208" fmla="*/ 1203865 w 1203864"/>
                  <a:gd name="connsiteY208" fmla="*/ 975550 h 1038510"/>
                  <a:gd name="connsiteX209" fmla="*/ 1193387 w 1203864"/>
                  <a:gd name="connsiteY209" fmla="*/ 975550 h 1038510"/>
                  <a:gd name="connsiteX210" fmla="*/ 1203865 w 1203864"/>
                  <a:gd name="connsiteY210" fmla="*/ 965073 h 1038510"/>
                  <a:gd name="connsiteX211" fmla="*/ 1203865 w 1203864"/>
                  <a:gd name="connsiteY211" fmla="*/ 902113 h 1038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203864" h="1038510">
                    <a:moveTo>
                      <a:pt x="1036415" y="209645"/>
                    </a:moveTo>
                    <a:lnTo>
                      <a:pt x="963168" y="209645"/>
                    </a:lnTo>
                    <a:lnTo>
                      <a:pt x="963168" y="178213"/>
                    </a:lnTo>
                    <a:lnTo>
                      <a:pt x="952691" y="178213"/>
                    </a:lnTo>
                    <a:lnTo>
                      <a:pt x="952691" y="167735"/>
                    </a:lnTo>
                    <a:lnTo>
                      <a:pt x="931736" y="157258"/>
                    </a:lnTo>
                    <a:lnTo>
                      <a:pt x="910780" y="178213"/>
                    </a:lnTo>
                    <a:lnTo>
                      <a:pt x="900303" y="167735"/>
                    </a:lnTo>
                    <a:lnTo>
                      <a:pt x="868966" y="167735"/>
                    </a:lnTo>
                    <a:lnTo>
                      <a:pt x="858488" y="146780"/>
                    </a:lnTo>
                    <a:lnTo>
                      <a:pt x="816578" y="146780"/>
                    </a:lnTo>
                    <a:lnTo>
                      <a:pt x="816578" y="115348"/>
                    </a:lnTo>
                    <a:lnTo>
                      <a:pt x="795623" y="125825"/>
                    </a:lnTo>
                    <a:lnTo>
                      <a:pt x="764286" y="125825"/>
                    </a:lnTo>
                    <a:lnTo>
                      <a:pt x="764286" y="94393"/>
                    </a:lnTo>
                    <a:lnTo>
                      <a:pt x="753809" y="83915"/>
                    </a:lnTo>
                    <a:lnTo>
                      <a:pt x="743331" y="73438"/>
                    </a:lnTo>
                    <a:lnTo>
                      <a:pt x="711994" y="73438"/>
                    </a:lnTo>
                    <a:lnTo>
                      <a:pt x="691039" y="62960"/>
                    </a:lnTo>
                    <a:lnTo>
                      <a:pt x="659702" y="52483"/>
                    </a:lnTo>
                    <a:lnTo>
                      <a:pt x="659702" y="0"/>
                    </a:lnTo>
                    <a:lnTo>
                      <a:pt x="617792" y="0"/>
                    </a:lnTo>
                    <a:lnTo>
                      <a:pt x="596837" y="10477"/>
                    </a:lnTo>
                    <a:lnTo>
                      <a:pt x="586359" y="10477"/>
                    </a:lnTo>
                    <a:lnTo>
                      <a:pt x="575882" y="20955"/>
                    </a:lnTo>
                    <a:lnTo>
                      <a:pt x="544544" y="20955"/>
                    </a:lnTo>
                    <a:lnTo>
                      <a:pt x="544544" y="62960"/>
                    </a:lnTo>
                    <a:lnTo>
                      <a:pt x="555022" y="73438"/>
                    </a:lnTo>
                    <a:lnTo>
                      <a:pt x="555022" y="104870"/>
                    </a:lnTo>
                    <a:lnTo>
                      <a:pt x="544544" y="115348"/>
                    </a:lnTo>
                    <a:lnTo>
                      <a:pt x="513112" y="125825"/>
                    </a:lnTo>
                    <a:lnTo>
                      <a:pt x="481679" y="125825"/>
                    </a:lnTo>
                    <a:lnTo>
                      <a:pt x="429387" y="167830"/>
                    </a:lnTo>
                    <a:lnTo>
                      <a:pt x="450342" y="178308"/>
                    </a:lnTo>
                    <a:lnTo>
                      <a:pt x="429387" y="178308"/>
                    </a:lnTo>
                    <a:lnTo>
                      <a:pt x="397955" y="199263"/>
                    </a:lnTo>
                    <a:lnTo>
                      <a:pt x="356044" y="199263"/>
                    </a:lnTo>
                    <a:lnTo>
                      <a:pt x="345567" y="188785"/>
                    </a:lnTo>
                    <a:lnTo>
                      <a:pt x="314135" y="157353"/>
                    </a:lnTo>
                    <a:lnTo>
                      <a:pt x="303657" y="157353"/>
                    </a:lnTo>
                    <a:lnTo>
                      <a:pt x="293180" y="146875"/>
                    </a:lnTo>
                    <a:lnTo>
                      <a:pt x="272225" y="146875"/>
                    </a:lnTo>
                    <a:lnTo>
                      <a:pt x="272225" y="178308"/>
                    </a:lnTo>
                    <a:lnTo>
                      <a:pt x="282702" y="178308"/>
                    </a:lnTo>
                    <a:lnTo>
                      <a:pt x="293180" y="199263"/>
                    </a:lnTo>
                    <a:lnTo>
                      <a:pt x="303657" y="209740"/>
                    </a:lnTo>
                    <a:lnTo>
                      <a:pt x="303657" y="241268"/>
                    </a:lnTo>
                    <a:lnTo>
                      <a:pt x="293180" y="251746"/>
                    </a:lnTo>
                    <a:lnTo>
                      <a:pt x="198977" y="251746"/>
                    </a:lnTo>
                    <a:lnTo>
                      <a:pt x="198977" y="283178"/>
                    </a:lnTo>
                    <a:lnTo>
                      <a:pt x="188500" y="272701"/>
                    </a:lnTo>
                    <a:lnTo>
                      <a:pt x="178022" y="251746"/>
                    </a:lnTo>
                    <a:lnTo>
                      <a:pt x="167545" y="251746"/>
                    </a:lnTo>
                    <a:lnTo>
                      <a:pt x="157067" y="241268"/>
                    </a:lnTo>
                    <a:lnTo>
                      <a:pt x="136112" y="241268"/>
                    </a:lnTo>
                    <a:lnTo>
                      <a:pt x="125635" y="251746"/>
                    </a:lnTo>
                    <a:lnTo>
                      <a:pt x="83725" y="251746"/>
                    </a:lnTo>
                    <a:lnTo>
                      <a:pt x="62770" y="262223"/>
                    </a:lnTo>
                    <a:lnTo>
                      <a:pt x="41815" y="262223"/>
                    </a:lnTo>
                    <a:lnTo>
                      <a:pt x="31337" y="272701"/>
                    </a:lnTo>
                    <a:lnTo>
                      <a:pt x="20860" y="283178"/>
                    </a:lnTo>
                    <a:lnTo>
                      <a:pt x="31337" y="293656"/>
                    </a:lnTo>
                    <a:lnTo>
                      <a:pt x="41815" y="293656"/>
                    </a:lnTo>
                    <a:lnTo>
                      <a:pt x="52292" y="304133"/>
                    </a:lnTo>
                    <a:lnTo>
                      <a:pt x="52292" y="314611"/>
                    </a:lnTo>
                    <a:lnTo>
                      <a:pt x="0" y="314611"/>
                    </a:lnTo>
                    <a:lnTo>
                      <a:pt x="0" y="325088"/>
                    </a:lnTo>
                    <a:lnTo>
                      <a:pt x="31432" y="346043"/>
                    </a:lnTo>
                    <a:lnTo>
                      <a:pt x="62865" y="346043"/>
                    </a:lnTo>
                    <a:lnTo>
                      <a:pt x="62865" y="335566"/>
                    </a:lnTo>
                    <a:lnTo>
                      <a:pt x="136112" y="377571"/>
                    </a:lnTo>
                    <a:lnTo>
                      <a:pt x="167545" y="377571"/>
                    </a:lnTo>
                    <a:lnTo>
                      <a:pt x="198882" y="398526"/>
                    </a:lnTo>
                    <a:lnTo>
                      <a:pt x="251174" y="398526"/>
                    </a:lnTo>
                    <a:lnTo>
                      <a:pt x="209264" y="419481"/>
                    </a:lnTo>
                    <a:lnTo>
                      <a:pt x="219742" y="440436"/>
                    </a:lnTo>
                    <a:lnTo>
                      <a:pt x="230219" y="450913"/>
                    </a:lnTo>
                    <a:lnTo>
                      <a:pt x="240697" y="482346"/>
                    </a:lnTo>
                    <a:lnTo>
                      <a:pt x="272129" y="503301"/>
                    </a:lnTo>
                    <a:lnTo>
                      <a:pt x="303467" y="503301"/>
                    </a:lnTo>
                    <a:lnTo>
                      <a:pt x="303467" y="555784"/>
                    </a:lnTo>
                    <a:lnTo>
                      <a:pt x="324421" y="597789"/>
                    </a:lnTo>
                    <a:lnTo>
                      <a:pt x="345377" y="650272"/>
                    </a:lnTo>
                    <a:lnTo>
                      <a:pt x="303467" y="597789"/>
                    </a:lnTo>
                    <a:lnTo>
                      <a:pt x="303467" y="618744"/>
                    </a:lnTo>
                    <a:lnTo>
                      <a:pt x="292989" y="629222"/>
                    </a:lnTo>
                    <a:lnTo>
                      <a:pt x="292989" y="692182"/>
                    </a:lnTo>
                    <a:lnTo>
                      <a:pt x="282512" y="702659"/>
                    </a:lnTo>
                    <a:lnTo>
                      <a:pt x="272034" y="755142"/>
                    </a:lnTo>
                    <a:lnTo>
                      <a:pt x="272034" y="765620"/>
                    </a:lnTo>
                    <a:lnTo>
                      <a:pt x="261556" y="786574"/>
                    </a:lnTo>
                    <a:lnTo>
                      <a:pt x="261556" y="797052"/>
                    </a:lnTo>
                    <a:lnTo>
                      <a:pt x="251079" y="797052"/>
                    </a:lnTo>
                    <a:lnTo>
                      <a:pt x="251079" y="807530"/>
                    </a:lnTo>
                    <a:lnTo>
                      <a:pt x="240602" y="818007"/>
                    </a:lnTo>
                    <a:lnTo>
                      <a:pt x="230124" y="828484"/>
                    </a:lnTo>
                    <a:lnTo>
                      <a:pt x="240602" y="838962"/>
                    </a:lnTo>
                    <a:lnTo>
                      <a:pt x="240602" y="828484"/>
                    </a:lnTo>
                    <a:lnTo>
                      <a:pt x="251079" y="828484"/>
                    </a:lnTo>
                    <a:lnTo>
                      <a:pt x="272034" y="838962"/>
                    </a:lnTo>
                    <a:lnTo>
                      <a:pt x="272034" y="849439"/>
                    </a:lnTo>
                    <a:lnTo>
                      <a:pt x="261556" y="859917"/>
                    </a:lnTo>
                    <a:lnTo>
                      <a:pt x="313849" y="859917"/>
                    </a:lnTo>
                    <a:lnTo>
                      <a:pt x="334804" y="880872"/>
                    </a:lnTo>
                    <a:lnTo>
                      <a:pt x="345281" y="870395"/>
                    </a:lnTo>
                    <a:lnTo>
                      <a:pt x="355759" y="870395"/>
                    </a:lnTo>
                    <a:lnTo>
                      <a:pt x="376714" y="891349"/>
                    </a:lnTo>
                    <a:lnTo>
                      <a:pt x="408051" y="891349"/>
                    </a:lnTo>
                    <a:lnTo>
                      <a:pt x="408051" y="901827"/>
                    </a:lnTo>
                    <a:lnTo>
                      <a:pt x="439484" y="901827"/>
                    </a:lnTo>
                    <a:lnTo>
                      <a:pt x="439484" y="880872"/>
                    </a:lnTo>
                    <a:lnTo>
                      <a:pt x="449961" y="870395"/>
                    </a:lnTo>
                    <a:lnTo>
                      <a:pt x="470916" y="870395"/>
                    </a:lnTo>
                    <a:lnTo>
                      <a:pt x="481394" y="880872"/>
                    </a:lnTo>
                    <a:lnTo>
                      <a:pt x="481394" y="891349"/>
                    </a:lnTo>
                    <a:lnTo>
                      <a:pt x="502348" y="891349"/>
                    </a:lnTo>
                    <a:lnTo>
                      <a:pt x="502348" y="901827"/>
                    </a:lnTo>
                    <a:lnTo>
                      <a:pt x="544259" y="901827"/>
                    </a:lnTo>
                    <a:lnTo>
                      <a:pt x="544259" y="922782"/>
                    </a:lnTo>
                    <a:lnTo>
                      <a:pt x="586073" y="922782"/>
                    </a:lnTo>
                    <a:lnTo>
                      <a:pt x="586073" y="933259"/>
                    </a:lnTo>
                    <a:lnTo>
                      <a:pt x="617506" y="933259"/>
                    </a:lnTo>
                    <a:lnTo>
                      <a:pt x="617506" y="912305"/>
                    </a:lnTo>
                    <a:lnTo>
                      <a:pt x="638461" y="912305"/>
                    </a:lnTo>
                    <a:lnTo>
                      <a:pt x="638461" y="891349"/>
                    </a:lnTo>
                    <a:lnTo>
                      <a:pt x="659416" y="859917"/>
                    </a:lnTo>
                    <a:lnTo>
                      <a:pt x="680371" y="838962"/>
                    </a:lnTo>
                    <a:lnTo>
                      <a:pt x="690848" y="828484"/>
                    </a:lnTo>
                    <a:lnTo>
                      <a:pt x="701326" y="818007"/>
                    </a:lnTo>
                    <a:lnTo>
                      <a:pt x="722281" y="807530"/>
                    </a:lnTo>
                    <a:lnTo>
                      <a:pt x="732758" y="797052"/>
                    </a:lnTo>
                    <a:lnTo>
                      <a:pt x="753713" y="797052"/>
                    </a:lnTo>
                    <a:lnTo>
                      <a:pt x="764191" y="807530"/>
                    </a:lnTo>
                    <a:lnTo>
                      <a:pt x="785146" y="807530"/>
                    </a:lnTo>
                    <a:lnTo>
                      <a:pt x="795623" y="818007"/>
                    </a:lnTo>
                    <a:lnTo>
                      <a:pt x="847916" y="818007"/>
                    </a:lnTo>
                    <a:lnTo>
                      <a:pt x="868871" y="838962"/>
                    </a:lnTo>
                    <a:lnTo>
                      <a:pt x="868871" y="849439"/>
                    </a:lnTo>
                    <a:lnTo>
                      <a:pt x="889826" y="849439"/>
                    </a:lnTo>
                    <a:lnTo>
                      <a:pt x="900303" y="859917"/>
                    </a:lnTo>
                    <a:lnTo>
                      <a:pt x="931736" y="859917"/>
                    </a:lnTo>
                    <a:lnTo>
                      <a:pt x="952691" y="849439"/>
                    </a:lnTo>
                    <a:lnTo>
                      <a:pt x="963168" y="838962"/>
                    </a:lnTo>
                    <a:lnTo>
                      <a:pt x="973646" y="807530"/>
                    </a:lnTo>
                    <a:lnTo>
                      <a:pt x="1004983" y="786574"/>
                    </a:lnTo>
                    <a:lnTo>
                      <a:pt x="1025938" y="786574"/>
                    </a:lnTo>
                    <a:lnTo>
                      <a:pt x="1025938" y="776097"/>
                    </a:lnTo>
                    <a:lnTo>
                      <a:pt x="1046893" y="755142"/>
                    </a:lnTo>
                    <a:lnTo>
                      <a:pt x="1046893" y="744664"/>
                    </a:lnTo>
                    <a:lnTo>
                      <a:pt x="1036415" y="734187"/>
                    </a:lnTo>
                    <a:lnTo>
                      <a:pt x="1004983" y="734187"/>
                    </a:lnTo>
                    <a:lnTo>
                      <a:pt x="984028" y="723709"/>
                    </a:lnTo>
                    <a:lnTo>
                      <a:pt x="973550" y="713232"/>
                    </a:lnTo>
                    <a:lnTo>
                      <a:pt x="973550" y="702755"/>
                    </a:lnTo>
                    <a:lnTo>
                      <a:pt x="984028" y="692277"/>
                    </a:lnTo>
                    <a:lnTo>
                      <a:pt x="994505" y="681799"/>
                    </a:lnTo>
                    <a:lnTo>
                      <a:pt x="994505" y="660845"/>
                    </a:lnTo>
                    <a:lnTo>
                      <a:pt x="963073" y="660845"/>
                    </a:lnTo>
                    <a:lnTo>
                      <a:pt x="952595" y="629412"/>
                    </a:lnTo>
                    <a:lnTo>
                      <a:pt x="984028" y="629412"/>
                    </a:lnTo>
                    <a:lnTo>
                      <a:pt x="1004983" y="608457"/>
                    </a:lnTo>
                    <a:lnTo>
                      <a:pt x="1004983" y="597980"/>
                    </a:lnTo>
                    <a:lnTo>
                      <a:pt x="973646" y="566547"/>
                    </a:lnTo>
                    <a:lnTo>
                      <a:pt x="984123" y="556070"/>
                    </a:lnTo>
                    <a:lnTo>
                      <a:pt x="994601" y="556070"/>
                    </a:lnTo>
                    <a:lnTo>
                      <a:pt x="994601" y="545592"/>
                    </a:lnTo>
                    <a:lnTo>
                      <a:pt x="973646" y="524637"/>
                    </a:lnTo>
                    <a:lnTo>
                      <a:pt x="984123" y="493205"/>
                    </a:lnTo>
                    <a:lnTo>
                      <a:pt x="952691" y="493205"/>
                    </a:lnTo>
                    <a:lnTo>
                      <a:pt x="921353" y="524637"/>
                    </a:lnTo>
                    <a:lnTo>
                      <a:pt x="910876" y="524637"/>
                    </a:lnTo>
                    <a:lnTo>
                      <a:pt x="910876" y="514159"/>
                    </a:lnTo>
                    <a:lnTo>
                      <a:pt x="921353" y="503682"/>
                    </a:lnTo>
                    <a:lnTo>
                      <a:pt x="910876" y="493205"/>
                    </a:lnTo>
                    <a:lnTo>
                      <a:pt x="931831" y="482727"/>
                    </a:lnTo>
                    <a:lnTo>
                      <a:pt x="931831" y="461772"/>
                    </a:lnTo>
                    <a:lnTo>
                      <a:pt x="952786" y="451295"/>
                    </a:lnTo>
                    <a:lnTo>
                      <a:pt x="952786" y="430339"/>
                    </a:lnTo>
                    <a:lnTo>
                      <a:pt x="973741" y="430339"/>
                    </a:lnTo>
                    <a:lnTo>
                      <a:pt x="984218" y="419862"/>
                    </a:lnTo>
                    <a:lnTo>
                      <a:pt x="994696" y="409384"/>
                    </a:lnTo>
                    <a:lnTo>
                      <a:pt x="1005173" y="398907"/>
                    </a:lnTo>
                    <a:lnTo>
                      <a:pt x="1005173" y="388430"/>
                    </a:lnTo>
                    <a:lnTo>
                      <a:pt x="1036606" y="398907"/>
                    </a:lnTo>
                    <a:lnTo>
                      <a:pt x="1036606" y="314992"/>
                    </a:lnTo>
                    <a:lnTo>
                      <a:pt x="1047083" y="304514"/>
                    </a:lnTo>
                    <a:lnTo>
                      <a:pt x="1057561" y="294037"/>
                    </a:lnTo>
                    <a:lnTo>
                      <a:pt x="1068038" y="283559"/>
                    </a:lnTo>
                    <a:lnTo>
                      <a:pt x="1068038" y="262604"/>
                    </a:lnTo>
                    <a:lnTo>
                      <a:pt x="1088993" y="241649"/>
                    </a:lnTo>
                    <a:lnTo>
                      <a:pt x="1099471" y="220694"/>
                    </a:lnTo>
                    <a:lnTo>
                      <a:pt x="1068038" y="210217"/>
                    </a:lnTo>
                    <a:lnTo>
                      <a:pt x="1036701" y="210217"/>
                    </a:lnTo>
                    <a:close/>
                    <a:moveTo>
                      <a:pt x="1203865" y="902208"/>
                    </a:moveTo>
                    <a:lnTo>
                      <a:pt x="1203865" y="902208"/>
                    </a:lnTo>
                    <a:lnTo>
                      <a:pt x="1203865" y="870775"/>
                    </a:lnTo>
                    <a:lnTo>
                      <a:pt x="1193387" y="870775"/>
                    </a:lnTo>
                    <a:lnTo>
                      <a:pt x="1172432" y="881253"/>
                    </a:lnTo>
                    <a:lnTo>
                      <a:pt x="1172432" y="891730"/>
                    </a:lnTo>
                    <a:lnTo>
                      <a:pt x="1151477" y="902208"/>
                    </a:lnTo>
                    <a:lnTo>
                      <a:pt x="1141000" y="912686"/>
                    </a:lnTo>
                    <a:lnTo>
                      <a:pt x="1130522" y="933640"/>
                    </a:lnTo>
                    <a:lnTo>
                      <a:pt x="1130522" y="954596"/>
                    </a:lnTo>
                    <a:lnTo>
                      <a:pt x="1141000" y="975550"/>
                    </a:lnTo>
                    <a:lnTo>
                      <a:pt x="1141000" y="1017556"/>
                    </a:lnTo>
                    <a:lnTo>
                      <a:pt x="1161955" y="1028033"/>
                    </a:lnTo>
                    <a:lnTo>
                      <a:pt x="1172432" y="1038511"/>
                    </a:lnTo>
                    <a:lnTo>
                      <a:pt x="1203865" y="1007078"/>
                    </a:lnTo>
                    <a:lnTo>
                      <a:pt x="1203865" y="975550"/>
                    </a:lnTo>
                    <a:lnTo>
                      <a:pt x="1193387" y="975550"/>
                    </a:lnTo>
                    <a:lnTo>
                      <a:pt x="1203865" y="965073"/>
                    </a:lnTo>
                    <a:lnTo>
                      <a:pt x="1203865" y="902113"/>
                    </a:lnTo>
                    <a:close/>
                  </a:path>
                </a:pathLst>
              </a:custGeom>
              <a:noFill/>
              <a:ln w="4763" cap="flat">
                <a:noFill/>
                <a:prstDash val="solid"/>
                <a:miter/>
              </a:ln>
            </p:spPr>
            <p:txBody>
              <a:bodyPr rtlCol="0" anchor="ctr"/>
              <a:lstStyle/>
              <a:p>
                <a:endParaRPr lang="en-GB"/>
              </a:p>
            </p:txBody>
          </p:sp>
          <p:sp>
            <p:nvSpPr>
              <p:cNvPr id="123" name="Freeform: Shape 122">
                <a:extLst>
                  <a:ext uri="{FF2B5EF4-FFF2-40B4-BE49-F238E27FC236}">
                    <a16:creationId xmlns:a16="http://schemas.microsoft.com/office/drawing/2014/main" id="{4370BD63-E4D4-4A0C-1003-96F47B23D329}"/>
                  </a:ext>
                </a:extLst>
              </p:cNvPr>
              <p:cNvSpPr/>
              <p:nvPr/>
            </p:nvSpPr>
            <p:spPr>
              <a:xfrm>
                <a:off x="6847427" y="1831847"/>
                <a:ext cx="831532" cy="944498"/>
              </a:xfrm>
              <a:custGeom>
                <a:avLst/>
                <a:gdLst>
                  <a:gd name="connsiteX0" fmla="*/ 213836 w 831532"/>
                  <a:gd name="connsiteY0" fmla="*/ 111062 h 944498"/>
                  <a:gd name="connsiteX1" fmla="*/ 205931 w 831532"/>
                  <a:gd name="connsiteY1" fmla="*/ 119063 h 944498"/>
                  <a:gd name="connsiteX2" fmla="*/ 190024 w 831532"/>
                  <a:gd name="connsiteY2" fmla="*/ 126968 h 944498"/>
                  <a:gd name="connsiteX3" fmla="*/ 174212 w 831532"/>
                  <a:gd name="connsiteY3" fmla="*/ 126968 h 944498"/>
                  <a:gd name="connsiteX4" fmla="*/ 166307 w 831532"/>
                  <a:gd name="connsiteY4" fmla="*/ 119063 h 944498"/>
                  <a:gd name="connsiteX5" fmla="*/ 142589 w 831532"/>
                  <a:gd name="connsiteY5" fmla="*/ 119063 h 944498"/>
                  <a:gd name="connsiteX6" fmla="*/ 126683 w 831532"/>
                  <a:gd name="connsiteY6" fmla="*/ 111062 h 944498"/>
                  <a:gd name="connsiteX7" fmla="*/ 110871 w 831532"/>
                  <a:gd name="connsiteY7" fmla="*/ 111062 h 944498"/>
                  <a:gd name="connsiteX8" fmla="*/ 95059 w 831532"/>
                  <a:gd name="connsiteY8" fmla="*/ 95250 h 944498"/>
                  <a:gd name="connsiteX9" fmla="*/ 79153 w 831532"/>
                  <a:gd name="connsiteY9" fmla="*/ 87249 h 944498"/>
                  <a:gd name="connsiteX10" fmla="*/ 71247 w 831532"/>
                  <a:gd name="connsiteY10" fmla="*/ 71438 h 944498"/>
                  <a:gd name="connsiteX11" fmla="*/ 63341 w 831532"/>
                  <a:gd name="connsiteY11" fmla="*/ 63437 h 944498"/>
                  <a:gd name="connsiteX12" fmla="*/ 39624 w 831532"/>
                  <a:gd name="connsiteY12" fmla="*/ 63437 h 944498"/>
                  <a:gd name="connsiteX13" fmla="*/ 31718 w 831532"/>
                  <a:gd name="connsiteY13" fmla="*/ 71438 h 944498"/>
                  <a:gd name="connsiteX14" fmla="*/ 31718 w 831532"/>
                  <a:gd name="connsiteY14" fmla="*/ 87249 h 944498"/>
                  <a:gd name="connsiteX15" fmla="*/ 7906 w 831532"/>
                  <a:gd name="connsiteY15" fmla="*/ 79343 h 944498"/>
                  <a:gd name="connsiteX16" fmla="*/ 0 w 831532"/>
                  <a:gd name="connsiteY16" fmla="*/ 87249 h 944498"/>
                  <a:gd name="connsiteX17" fmla="*/ 7906 w 831532"/>
                  <a:gd name="connsiteY17" fmla="*/ 95250 h 944498"/>
                  <a:gd name="connsiteX18" fmla="*/ 23717 w 831532"/>
                  <a:gd name="connsiteY18" fmla="*/ 103156 h 944498"/>
                  <a:gd name="connsiteX19" fmla="*/ 31718 w 831532"/>
                  <a:gd name="connsiteY19" fmla="*/ 111062 h 944498"/>
                  <a:gd name="connsiteX20" fmla="*/ 47530 w 831532"/>
                  <a:gd name="connsiteY20" fmla="*/ 119063 h 944498"/>
                  <a:gd name="connsiteX21" fmla="*/ 63341 w 831532"/>
                  <a:gd name="connsiteY21" fmla="*/ 119063 h 944498"/>
                  <a:gd name="connsiteX22" fmla="*/ 71247 w 831532"/>
                  <a:gd name="connsiteY22" fmla="*/ 126968 h 944498"/>
                  <a:gd name="connsiteX23" fmla="*/ 79153 w 831532"/>
                  <a:gd name="connsiteY23" fmla="*/ 126968 h 944498"/>
                  <a:gd name="connsiteX24" fmla="*/ 95059 w 831532"/>
                  <a:gd name="connsiteY24" fmla="*/ 142875 h 944498"/>
                  <a:gd name="connsiteX25" fmla="*/ 142589 w 831532"/>
                  <a:gd name="connsiteY25" fmla="*/ 142875 h 944498"/>
                  <a:gd name="connsiteX26" fmla="*/ 182118 w 831532"/>
                  <a:gd name="connsiteY26" fmla="*/ 166688 h 944498"/>
                  <a:gd name="connsiteX27" fmla="*/ 198025 w 831532"/>
                  <a:gd name="connsiteY27" fmla="*/ 166688 h 944498"/>
                  <a:gd name="connsiteX28" fmla="*/ 205931 w 831532"/>
                  <a:gd name="connsiteY28" fmla="*/ 174593 h 944498"/>
                  <a:gd name="connsiteX29" fmla="*/ 213836 w 831532"/>
                  <a:gd name="connsiteY29" fmla="*/ 174593 h 944498"/>
                  <a:gd name="connsiteX30" fmla="*/ 213836 w 831532"/>
                  <a:gd name="connsiteY30" fmla="*/ 206312 h 944498"/>
                  <a:gd name="connsiteX31" fmla="*/ 205931 w 831532"/>
                  <a:gd name="connsiteY31" fmla="*/ 214313 h 944498"/>
                  <a:gd name="connsiteX32" fmla="*/ 205931 w 831532"/>
                  <a:gd name="connsiteY32" fmla="*/ 222218 h 944498"/>
                  <a:gd name="connsiteX33" fmla="*/ 221742 w 831532"/>
                  <a:gd name="connsiteY33" fmla="*/ 230124 h 944498"/>
                  <a:gd name="connsiteX34" fmla="*/ 213836 w 831532"/>
                  <a:gd name="connsiteY34" fmla="*/ 261842 h 944498"/>
                  <a:gd name="connsiteX35" fmla="*/ 245459 w 831532"/>
                  <a:gd name="connsiteY35" fmla="*/ 277749 h 944498"/>
                  <a:gd name="connsiteX36" fmla="*/ 237553 w 831532"/>
                  <a:gd name="connsiteY36" fmla="*/ 293656 h 944498"/>
                  <a:gd name="connsiteX37" fmla="*/ 229648 w 831532"/>
                  <a:gd name="connsiteY37" fmla="*/ 301562 h 944498"/>
                  <a:gd name="connsiteX38" fmla="*/ 221742 w 831532"/>
                  <a:gd name="connsiteY38" fmla="*/ 317468 h 944498"/>
                  <a:gd name="connsiteX39" fmla="*/ 221742 w 831532"/>
                  <a:gd name="connsiteY39" fmla="*/ 325374 h 944498"/>
                  <a:gd name="connsiteX40" fmla="*/ 237553 w 831532"/>
                  <a:gd name="connsiteY40" fmla="*/ 341281 h 944498"/>
                  <a:gd name="connsiteX41" fmla="*/ 253460 w 831532"/>
                  <a:gd name="connsiteY41" fmla="*/ 349187 h 944498"/>
                  <a:gd name="connsiteX42" fmla="*/ 261366 w 831532"/>
                  <a:gd name="connsiteY42" fmla="*/ 357188 h 944498"/>
                  <a:gd name="connsiteX43" fmla="*/ 277177 w 831532"/>
                  <a:gd name="connsiteY43" fmla="*/ 404717 h 944498"/>
                  <a:gd name="connsiteX44" fmla="*/ 292989 w 831532"/>
                  <a:gd name="connsiteY44" fmla="*/ 388906 h 944498"/>
                  <a:gd name="connsiteX45" fmla="*/ 300990 w 831532"/>
                  <a:gd name="connsiteY45" fmla="*/ 388906 h 944498"/>
                  <a:gd name="connsiteX46" fmla="*/ 308896 w 831532"/>
                  <a:gd name="connsiteY46" fmla="*/ 396812 h 944498"/>
                  <a:gd name="connsiteX47" fmla="*/ 324707 w 831532"/>
                  <a:gd name="connsiteY47" fmla="*/ 396812 h 944498"/>
                  <a:gd name="connsiteX48" fmla="*/ 356425 w 831532"/>
                  <a:gd name="connsiteY48" fmla="*/ 428530 h 944498"/>
                  <a:gd name="connsiteX49" fmla="*/ 356425 w 831532"/>
                  <a:gd name="connsiteY49" fmla="*/ 444437 h 944498"/>
                  <a:gd name="connsiteX50" fmla="*/ 364331 w 831532"/>
                  <a:gd name="connsiteY50" fmla="*/ 460343 h 944498"/>
                  <a:gd name="connsiteX51" fmla="*/ 364331 w 831532"/>
                  <a:gd name="connsiteY51" fmla="*/ 468249 h 944498"/>
                  <a:gd name="connsiteX52" fmla="*/ 348425 w 831532"/>
                  <a:gd name="connsiteY52" fmla="*/ 460343 h 944498"/>
                  <a:gd name="connsiteX53" fmla="*/ 324707 w 831532"/>
                  <a:gd name="connsiteY53" fmla="*/ 460343 h 944498"/>
                  <a:gd name="connsiteX54" fmla="*/ 316801 w 831532"/>
                  <a:gd name="connsiteY54" fmla="*/ 468249 h 944498"/>
                  <a:gd name="connsiteX55" fmla="*/ 308896 w 831532"/>
                  <a:gd name="connsiteY55" fmla="*/ 484156 h 944498"/>
                  <a:gd name="connsiteX56" fmla="*/ 300990 w 831532"/>
                  <a:gd name="connsiteY56" fmla="*/ 492062 h 944498"/>
                  <a:gd name="connsiteX57" fmla="*/ 292989 w 831532"/>
                  <a:gd name="connsiteY57" fmla="*/ 507968 h 944498"/>
                  <a:gd name="connsiteX58" fmla="*/ 285083 w 831532"/>
                  <a:gd name="connsiteY58" fmla="*/ 515874 h 944498"/>
                  <a:gd name="connsiteX59" fmla="*/ 237553 w 831532"/>
                  <a:gd name="connsiteY59" fmla="*/ 555593 h 944498"/>
                  <a:gd name="connsiteX60" fmla="*/ 190024 w 831532"/>
                  <a:gd name="connsiteY60" fmla="*/ 571405 h 944498"/>
                  <a:gd name="connsiteX61" fmla="*/ 182118 w 831532"/>
                  <a:gd name="connsiteY61" fmla="*/ 579406 h 944498"/>
                  <a:gd name="connsiteX62" fmla="*/ 166307 w 831532"/>
                  <a:gd name="connsiteY62" fmla="*/ 587312 h 944498"/>
                  <a:gd name="connsiteX63" fmla="*/ 158401 w 831532"/>
                  <a:gd name="connsiteY63" fmla="*/ 603218 h 944498"/>
                  <a:gd name="connsiteX64" fmla="*/ 158401 w 831532"/>
                  <a:gd name="connsiteY64" fmla="*/ 611124 h 944498"/>
                  <a:gd name="connsiteX65" fmla="*/ 142589 w 831532"/>
                  <a:gd name="connsiteY65" fmla="*/ 627031 h 944498"/>
                  <a:gd name="connsiteX66" fmla="*/ 118777 w 831532"/>
                  <a:gd name="connsiteY66" fmla="*/ 627031 h 944498"/>
                  <a:gd name="connsiteX67" fmla="*/ 87154 w 831532"/>
                  <a:gd name="connsiteY67" fmla="*/ 666655 h 944498"/>
                  <a:gd name="connsiteX68" fmla="*/ 87154 w 831532"/>
                  <a:gd name="connsiteY68" fmla="*/ 706374 h 944498"/>
                  <a:gd name="connsiteX69" fmla="*/ 95059 w 831532"/>
                  <a:gd name="connsiteY69" fmla="*/ 714280 h 944498"/>
                  <a:gd name="connsiteX70" fmla="*/ 95059 w 831532"/>
                  <a:gd name="connsiteY70" fmla="*/ 753999 h 944498"/>
                  <a:gd name="connsiteX71" fmla="*/ 126683 w 831532"/>
                  <a:gd name="connsiteY71" fmla="*/ 777812 h 944498"/>
                  <a:gd name="connsiteX72" fmla="*/ 126683 w 831532"/>
                  <a:gd name="connsiteY72" fmla="*/ 785717 h 944498"/>
                  <a:gd name="connsiteX73" fmla="*/ 118777 w 831532"/>
                  <a:gd name="connsiteY73" fmla="*/ 793623 h 944498"/>
                  <a:gd name="connsiteX74" fmla="*/ 118777 w 831532"/>
                  <a:gd name="connsiteY74" fmla="*/ 809530 h 944498"/>
                  <a:gd name="connsiteX75" fmla="*/ 110871 w 831532"/>
                  <a:gd name="connsiteY75" fmla="*/ 833342 h 944498"/>
                  <a:gd name="connsiteX76" fmla="*/ 110871 w 831532"/>
                  <a:gd name="connsiteY76" fmla="*/ 857155 h 944498"/>
                  <a:gd name="connsiteX77" fmla="*/ 118777 w 831532"/>
                  <a:gd name="connsiteY77" fmla="*/ 865156 h 944498"/>
                  <a:gd name="connsiteX78" fmla="*/ 126683 w 831532"/>
                  <a:gd name="connsiteY78" fmla="*/ 880967 h 944498"/>
                  <a:gd name="connsiteX79" fmla="*/ 142589 w 831532"/>
                  <a:gd name="connsiteY79" fmla="*/ 896874 h 944498"/>
                  <a:gd name="connsiteX80" fmla="*/ 174212 w 831532"/>
                  <a:gd name="connsiteY80" fmla="*/ 912686 h 944498"/>
                  <a:gd name="connsiteX81" fmla="*/ 229648 w 831532"/>
                  <a:gd name="connsiteY81" fmla="*/ 912686 h 944498"/>
                  <a:gd name="connsiteX82" fmla="*/ 229648 w 831532"/>
                  <a:gd name="connsiteY82" fmla="*/ 920686 h 944498"/>
                  <a:gd name="connsiteX83" fmla="*/ 221742 w 831532"/>
                  <a:gd name="connsiteY83" fmla="*/ 928592 h 944498"/>
                  <a:gd name="connsiteX84" fmla="*/ 221742 w 831532"/>
                  <a:gd name="connsiteY84" fmla="*/ 936498 h 944498"/>
                  <a:gd name="connsiteX85" fmla="*/ 229648 w 831532"/>
                  <a:gd name="connsiteY85" fmla="*/ 944499 h 944498"/>
                  <a:gd name="connsiteX86" fmla="*/ 316801 w 831532"/>
                  <a:gd name="connsiteY86" fmla="*/ 944499 h 944498"/>
                  <a:gd name="connsiteX87" fmla="*/ 332613 w 831532"/>
                  <a:gd name="connsiteY87" fmla="*/ 936498 h 944498"/>
                  <a:gd name="connsiteX88" fmla="*/ 356425 w 831532"/>
                  <a:gd name="connsiteY88" fmla="*/ 936498 h 944498"/>
                  <a:gd name="connsiteX89" fmla="*/ 395954 w 831532"/>
                  <a:gd name="connsiteY89" fmla="*/ 920686 h 944498"/>
                  <a:gd name="connsiteX90" fmla="*/ 443484 w 831532"/>
                  <a:gd name="connsiteY90" fmla="*/ 920686 h 944498"/>
                  <a:gd name="connsiteX91" fmla="*/ 506825 w 831532"/>
                  <a:gd name="connsiteY91" fmla="*/ 888968 h 944498"/>
                  <a:gd name="connsiteX92" fmla="*/ 609791 w 831532"/>
                  <a:gd name="connsiteY92" fmla="*/ 888968 h 944498"/>
                  <a:gd name="connsiteX93" fmla="*/ 601885 w 831532"/>
                  <a:gd name="connsiteY93" fmla="*/ 873062 h 944498"/>
                  <a:gd name="connsiteX94" fmla="*/ 681133 w 831532"/>
                  <a:gd name="connsiteY94" fmla="*/ 833342 h 944498"/>
                  <a:gd name="connsiteX95" fmla="*/ 760285 w 831532"/>
                  <a:gd name="connsiteY95" fmla="*/ 753999 h 944498"/>
                  <a:gd name="connsiteX96" fmla="*/ 768191 w 831532"/>
                  <a:gd name="connsiteY96" fmla="*/ 753999 h 944498"/>
                  <a:gd name="connsiteX97" fmla="*/ 815721 w 831532"/>
                  <a:gd name="connsiteY97" fmla="*/ 706374 h 944498"/>
                  <a:gd name="connsiteX98" fmla="*/ 823627 w 831532"/>
                  <a:gd name="connsiteY98" fmla="*/ 690467 h 944498"/>
                  <a:gd name="connsiteX99" fmla="*/ 831533 w 831532"/>
                  <a:gd name="connsiteY99" fmla="*/ 682562 h 944498"/>
                  <a:gd name="connsiteX100" fmla="*/ 831533 w 831532"/>
                  <a:gd name="connsiteY100" fmla="*/ 666655 h 944498"/>
                  <a:gd name="connsiteX101" fmla="*/ 823627 w 831532"/>
                  <a:gd name="connsiteY101" fmla="*/ 650843 h 944498"/>
                  <a:gd name="connsiteX102" fmla="*/ 815721 w 831532"/>
                  <a:gd name="connsiteY102" fmla="*/ 642842 h 944498"/>
                  <a:gd name="connsiteX103" fmla="*/ 807815 w 831532"/>
                  <a:gd name="connsiteY103" fmla="*/ 627031 h 944498"/>
                  <a:gd name="connsiteX104" fmla="*/ 712756 w 831532"/>
                  <a:gd name="connsiteY104" fmla="*/ 579406 h 944498"/>
                  <a:gd name="connsiteX105" fmla="*/ 720661 w 831532"/>
                  <a:gd name="connsiteY105" fmla="*/ 579406 h 944498"/>
                  <a:gd name="connsiteX106" fmla="*/ 752380 w 831532"/>
                  <a:gd name="connsiteY106" fmla="*/ 547592 h 944498"/>
                  <a:gd name="connsiteX107" fmla="*/ 752380 w 831532"/>
                  <a:gd name="connsiteY107" fmla="*/ 539687 h 944498"/>
                  <a:gd name="connsiteX108" fmla="*/ 744474 w 831532"/>
                  <a:gd name="connsiteY108" fmla="*/ 531781 h 944498"/>
                  <a:gd name="connsiteX109" fmla="*/ 728663 w 831532"/>
                  <a:gd name="connsiteY109" fmla="*/ 523780 h 944498"/>
                  <a:gd name="connsiteX110" fmla="*/ 696944 w 831532"/>
                  <a:gd name="connsiteY110" fmla="*/ 515874 h 944498"/>
                  <a:gd name="connsiteX111" fmla="*/ 704850 w 831532"/>
                  <a:gd name="connsiteY111" fmla="*/ 499967 h 944498"/>
                  <a:gd name="connsiteX112" fmla="*/ 712756 w 831532"/>
                  <a:gd name="connsiteY112" fmla="*/ 492062 h 944498"/>
                  <a:gd name="connsiteX113" fmla="*/ 712756 w 831532"/>
                  <a:gd name="connsiteY113" fmla="*/ 484156 h 944498"/>
                  <a:gd name="connsiteX114" fmla="*/ 704850 w 831532"/>
                  <a:gd name="connsiteY114" fmla="*/ 476250 h 944498"/>
                  <a:gd name="connsiteX115" fmla="*/ 696944 w 831532"/>
                  <a:gd name="connsiteY115" fmla="*/ 476250 h 944498"/>
                  <a:gd name="connsiteX116" fmla="*/ 689039 w 831532"/>
                  <a:gd name="connsiteY116" fmla="*/ 468249 h 944498"/>
                  <a:gd name="connsiteX117" fmla="*/ 673227 w 831532"/>
                  <a:gd name="connsiteY117" fmla="*/ 468249 h 944498"/>
                  <a:gd name="connsiteX118" fmla="*/ 673227 w 831532"/>
                  <a:gd name="connsiteY118" fmla="*/ 452438 h 944498"/>
                  <a:gd name="connsiteX119" fmla="*/ 657320 w 831532"/>
                  <a:gd name="connsiteY119" fmla="*/ 436531 h 944498"/>
                  <a:gd name="connsiteX120" fmla="*/ 665226 w 831532"/>
                  <a:gd name="connsiteY120" fmla="*/ 396812 h 944498"/>
                  <a:gd name="connsiteX121" fmla="*/ 673227 w 831532"/>
                  <a:gd name="connsiteY121" fmla="*/ 396812 h 944498"/>
                  <a:gd name="connsiteX122" fmla="*/ 689039 w 831532"/>
                  <a:gd name="connsiteY122" fmla="*/ 404717 h 944498"/>
                  <a:gd name="connsiteX123" fmla="*/ 704850 w 831532"/>
                  <a:gd name="connsiteY123" fmla="*/ 404717 h 944498"/>
                  <a:gd name="connsiteX124" fmla="*/ 712756 w 831532"/>
                  <a:gd name="connsiteY124" fmla="*/ 396812 h 944498"/>
                  <a:gd name="connsiteX125" fmla="*/ 712756 w 831532"/>
                  <a:gd name="connsiteY125" fmla="*/ 388906 h 944498"/>
                  <a:gd name="connsiteX126" fmla="*/ 704850 w 831532"/>
                  <a:gd name="connsiteY126" fmla="*/ 380905 h 944498"/>
                  <a:gd name="connsiteX127" fmla="*/ 689039 w 831532"/>
                  <a:gd name="connsiteY127" fmla="*/ 372999 h 944498"/>
                  <a:gd name="connsiteX128" fmla="*/ 657320 w 831532"/>
                  <a:gd name="connsiteY128" fmla="*/ 341281 h 944498"/>
                  <a:gd name="connsiteX129" fmla="*/ 641509 w 831532"/>
                  <a:gd name="connsiteY129" fmla="*/ 333375 h 944498"/>
                  <a:gd name="connsiteX130" fmla="*/ 633603 w 831532"/>
                  <a:gd name="connsiteY130" fmla="*/ 317468 h 944498"/>
                  <a:gd name="connsiteX131" fmla="*/ 617792 w 831532"/>
                  <a:gd name="connsiteY131" fmla="*/ 309563 h 944498"/>
                  <a:gd name="connsiteX132" fmla="*/ 593979 w 831532"/>
                  <a:gd name="connsiteY132" fmla="*/ 285750 h 944498"/>
                  <a:gd name="connsiteX133" fmla="*/ 601885 w 831532"/>
                  <a:gd name="connsiteY133" fmla="*/ 277749 h 944498"/>
                  <a:gd name="connsiteX134" fmla="*/ 617792 w 831532"/>
                  <a:gd name="connsiteY134" fmla="*/ 269843 h 944498"/>
                  <a:gd name="connsiteX135" fmla="*/ 625697 w 831532"/>
                  <a:gd name="connsiteY135" fmla="*/ 269843 h 944498"/>
                  <a:gd name="connsiteX136" fmla="*/ 625697 w 831532"/>
                  <a:gd name="connsiteY136" fmla="*/ 253937 h 944498"/>
                  <a:gd name="connsiteX137" fmla="*/ 633603 w 831532"/>
                  <a:gd name="connsiteY137" fmla="*/ 253937 h 944498"/>
                  <a:gd name="connsiteX138" fmla="*/ 649415 w 831532"/>
                  <a:gd name="connsiteY138" fmla="*/ 246031 h 944498"/>
                  <a:gd name="connsiteX139" fmla="*/ 657320 w 831532"/>
                  <a:gd name="connsiteY139" fmla="*/ 246031 h 944498"/>
                  <a:gd name="connsiteX140" fmla="*/ 657320 w 831532"/>
                  <a:gd name="connsiteY140" fmla="*/ 230124 h 944498"/>
                  <a:gd name="connsiteX141" fmla="*/ 593979 w 831532"/>
                  <a:gd name="connsiteY141" fmla="*/ 166688 h 944498"/>
                  <a:gd name="connsiteX142" fmla="*/ 570167 w 831532"/>
                  <a:gd name="connsiteY142" fmla="*/ 166688 h 944498"/>
                  <a:gd name="connsiteX143" fmla="*/ 562356 w 831532"/>
                  <a:gd name="connsiteY143" fmla="*/ 174593 h 944498"/>
                  <a:gd name="connsiteX144" fmla="*/ 554355 w 831532"/>
                  <a:gd name="connsiteY144" fmla="*/ 174593 h 944498"/>
                  <a:gd name="connsiteX145" fmla="*/ 546449 w 831532"/>
                  <a:gd name="connsiteY145" fmla="*/ 166688 h 944498"/>
                  <a:gd name="connsiteX146" fmla="*/ 546449 w 831532"/>
                  <a:gd name="connsiteY146" fmla="*/ 158687 h 944498"/>
                  <a:gd name="connsiteX147" fmla="*/ 538543 w 831532"/>
                  <a:gd name="connsiteY147" fmla="*/ 142875 h 944498"/>
                  <a:gd name="connsiteX148" fmla="*/ 538543 w 831532"/>
                  <a:gd name="connsiteY148" fmla="*/ 126968 h 944498"/>
                  <a:gd name="connsiteX149" fmla="*/ 562356 w 831532"/>
                  <a:gd name="connsiteY149" fmla="*/ 126968 h 944498"/>
                  <a:gd name="connsiteX150" fmla="*/ 562356 w 831532"/>
                  <a:gd name="connsiteY150" fmla="*/ 119063 h 944498"/>
                  <a:gd name="connsiteX151" fmla="*/ 546449 w 831532"/>
                  <a:gd name="connsiteY151" fmla="*/ 103156 h 944498"/>
                  <a:gd name="connsiteX152" fmla="*/ 554355 w 831532"/>
                  <a:gd name="connsiteY152" fmla="*/ 71438 h 944498"/>
                  <a:gd name="connsiteX153" fmla="*/ 562356 w 831532"/>
                  <a:gd name="connsiteY153" fmla="*/ 71438 h 944498"/>
                  <a:gd name="connsiteX154" fmla="*/ 562356 w 831532"/>
                  <a:gd name="connsiteY154" fmla="*/ 79343 h 944498"/>
                  <a:gd name="connsiteX155" fmla="*/ 570167 w 831532"/>
                  <a:gd name="connsiteY155" fmla="*/ 79343 h 944498"/>
                  <a:gd name="connsiteX156" fmla="*/ 570167 w 831532"/>
                  <a:gd name="connsiteY156" fmla="*/ 55531 h 944498"/>
                  <a:gd name="connsiteX157" fmla="*/ 562356 w 831532"/>
                  <a:gd name="connsiteY157" fmla="*/ 39719 h 944498"/>
                  <a:gd name="connsiteX158" fmla="*/ 546449 w 831532"/>
                  <a:gd name="connsiteY158" fmla="*/ 23813 h 944498"/>
                  <a:gd name="connsiteX159" fmla="*/ 538543 w 831532"/>
                  <a:gd name="connsiteY159" fmla="*/ 23813 h 944498"/>
                  <a:gd name="connsiteX160" fmla="*/ 491014 w 831532"/>
                  <a:gd name="connsiteY160" fmla="*/ 15811 h 944498"/>
                  <a:gd name="connsiteX161" fmla="*/ 491014 w 831532"/>
                  <a:gd name="connsiteY161" fmla="*/ 0 h 944498"/>
                  <a:gd name="connsiteX162" fmla="*/ 443484 w 831532"/>
                  <a:gd name="connsiteY162" fmla="*/ 0 h 944498"/>
                  <a:gd name="connsiteX163" fmla="*/ 427673 w 831532"/>
                  <a:gd name="connsiteY163" fmla="*/ 7906 h 944498"/>
                  <a:gd name="connsiteX164" fmla="*/ 388049 w 831532"/>
                  <a:gd name="connsiteY164" fmla="*/ 7906 h 944498"/>
                  <a:gd name="connsiteX165" fmla="*/ 372237 w 831532"/>
                  <a:gd name="connsiteY165" fmla="*/ 15811 h 944498"/>
                  <a:gd name="connsiteX166" fmla="*/ 364331 w 831532"/>
                  <a:gd name="connsiteY166" fmla="*/ 15811 h 944498"/>
                  <a:gd name="connsiteX167" fmla="*/ 348425 w 831532"/>
                  <a:gd name="connsiteY167" fmla="*/ 23813 h 944498"/>
                  <a:gd name="connsiteX168" fmla="*/ 348425 w 831532"/>
                  <a:gd name="connsiteY168" fmla="*/ 39719 h 944498"/>
                  <a:gd name="connsiteX169" fmla="*/ 340519 w 831532"/>
                  <a:gd name="connsiteY169" fmla="*/ 47625 h 944498"/>
                  <a:gd name="connsiteX170" fmla="*/ 340519 w 831532"/>
                  <a:gd name="connsiteY170" fmla="*/ 95250 h 944498"/>
                  <a:gd name="connsiteX171" fmla="*/ 308896 w 831532"/>
                  <a:gd name="connsiteY171" fmla="*/ 95250 h 944498"/>
                  <a:gd name="connsiteX172" fmla="*/ 308896 w 831532"/>
                  <a:gd name="connsiteY172" fmla="*/ 103156 h 944498"/>
                  <a:gd name="connsiteX173" fmla="*/ 300990 w 831532"/>
                  <a:gd name="connsiteY173" fmla="*/ 111062 h 944498"/>
                  <a:gd name="connsiteX174" fmla="*/ 300990 w 831532"/>
                  <a:gd name="connsiteY174" fmla="*/ 126968 h 944498"/>
                  <a:gd name="connsiteX175" fmla="*/ 277177 w 831532"/>
                  <a:gd name="connsiteY175" fmla="*/ 126968 h 944498"/>
                  <a:gd name="connsiteX176" fmla="*/ 269272 w 831532"/>
                  <a:gd name="connsiteY176" fmla="*/ 119063 h 944498"/>
                  <a:gd name="connsiteX177" fmla="*/ 253460 w 831532"/>
                  <a:gd name="connsiteY177" fmla="*/ 111062 h 944498"/>
                  <a:gd name="connsiteX178" fmla="*/ 213836 w 831532"/>
                  <a:gd name="connsiteY178" fmla="*/ 111062 h 94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831532" h="944498">
                    <a:moveTo>
                      <a:pt x="213836" y="111062"/>
                    </a:moveTo>
                    <a:lnTo>
                      <a:pt x="205931" y="119063"/>
                    </a:lnTo>
                    <a:lnTo>
                      <a:pt x="190024" y="126968"/>
                    </a:lnTo>
                    <a:lnTo>
                      <a:pt x="174212" y="126968"/>
                    </a:lnTo>
                    <a:lnTo>
                      <a:pt x="166307" y="119063"/>
                    </a:lnTo>
                    <a:lnTo>
                      <a:pt x="142589" y="119063"/>
                    </a:lnTo>
                    <a:lnTo>
                      <a:pt x="126683" y="111062"/>
                    </a:lnTo>
                    <a:lnTo>
                      <a:pt x="110871" y="111062"/>
                    </a:lnTo>
                    <a:lnTo>
                      <a:pt x="95059" y="95250"/>
                    </a:lnTo>
                    <a:lnTo>
                      <a:pt x="79153" y="87249"/>
                    </a:lnTo>
                    <a:lnTo>
                      <a:pt x="71247" y="71438"/>
                    </a:lnTo>
                    <a:lnTo>
                      <a:pt x="63341" y="63437"/>
                    </a:lnTo>
                    <a:lnTo>
                      <a:pt x="39624" y="63437"/>
                    </a:lnTo>
                    <a:lnTo>
                      <a:pt x="31718" y="71438"/>
                    </a:lnTo>
                    <a:lnTo>
                      <a:pt x="31718" y="87249"/>
                    </a:lnTo>
                    <a:lnTo>
                      <a:pt x="7906" y="79343"/>
                    </a:lnTo>
                    <a:lnTo>
                      <a:pt x="0" y="87249"/>
                    </a:lnTo>
                    <a:lnTo>
                      <a:pt x="7906" y="95250"/>
                    </a:lnTo>
                    <a:lnTo>
                      <a:pt x="23717" y="103156"/>
                    </a:lnTo>
                    <a:lnTo>
                      <a:pt x="31718" y="111062"/>
                    </a:lnTo>
                    <a:lnTo>
                      <a:pt x="47530" y="119063"/>
                    </a:lnTo>
                    <a:lnTo>
                      <a:pt x="63341" y="119063"/>
                    </a:lnTo>
                    <a:lnTo>
                      <a:pt x="71247" y="126968"/>
                    </a:lnTo>
                    <a:lnTo>
                      <a:pt x="79153" y="126968"/>
                    </a:lnTo>
                    <a:lnTo>
                      <a:pt x="95059" y="142875"/>
                    </a:lnTo>
                    <a:lnTo>
                      <a:pt x="142589" y="142875"/>
                    </a:lnTo>
                    <a:lnTo>
                      <a:pt x="182118" y="166688"/>
                    </a:lnTo>
                    <a:lnTo>
                      <a:pt x="198025" y="166688"/>
                    </a:lnTo>
                    <a:lnTo>
                      <a:pt x="205931" y="174593"/>
                    </a:lnTo>
                    <a:lnTo>
                      <a:pt x="213836" y="174593"/>
                    </a:lnTo>
                    <a:lnTo>
                      <a:pt x="213836" y="206312"/>
                    </a:lnTo>
                    <a:lnTo>
                      <a:pt x="205931" y="214313"/>
                    </a:lnTo>
                    <a:lnTo>
                      <a:pt x="205931" y="222218"/>
                    </a:lnTo>
                    <a:lnTo>
                      <a:pt x="221742" y="230124"/>
                    </a:lnTo>
                    <a:lnTo>
                      <a:pt x="213836" y="261842"/>
                    </a:lnTo>
                    <a:lnTo>
                      <a:pt x="245459" y="277749"/>
                    </a:lnTo>
                    <a:lnTo>
                      <a:pt x="237553" y="293656"/>
                    </a:lnTo>
                    <a:lnTo>
                      <a:pt x="229648" y="301562"/>
                    </a:lnTo>
                    <a:lnTo>
                      <a:pt x="221742" y="317468"/>
                    </a:lnTo>
                    <a:lnTo>
                      <a:pt x="221742" y="325374"/>
                    </a:lnTo>
                    <a:lnTo>
                      <a:pt x="237553" y="341281"/>
                    </a:lnTo>
                    <a:lnTo>
                      <a:pt x="253460" y="349187"/>
                    </a:lnTo>
                    <a:lnTo>
                      <a:pt x="261366" y="357188"/>
                    </a:lnTo>
                    <a:lnTo>
                      <a:pt x="277177" y="404717"/>
                    </a:lnTo>
                    <a:lnTo>
                      <a:pt x="292989" y="388906"/>
                    </a:lnTo>
                    <a:lnTo>
                      <a:pt x="300990" y="388906"/>
                    </a:lnTo>
                    <a:lnTo>
                      <a:pt x="308896" y="396812"/>
                    </a:lnTo>
                    <a:lnTo>
                      <a:pt x="324707" y="396812"/>
                    </a:lnTo>
                    <a:lnTo>
                      <a:pt x="356425" y="428530"/>
                    </a:lnTo>
                    <a:lnTo>
                      <a:pt x="356425" y="444437"/>
                    </a:lnTo>
                    <a:lnTo>
                      <a:pt x="364331" y="460343"/>
                    </a:lnTo>
                    <a:lnTo>
                      <a:pt x="364331" y="468249"/>
                    </a:lnTo>
                    <a:lnTo>
                      <a:pt x="348425" y="460343"/>
                    </a:lnTo>
                    <a:lnTo>
                      <a:pt x="324707" y="460343"/>
                    </a:lnTo>
                    <a:lnTo>
                      <a:pt x="316801" y="468249"/>
                    </a:lnTo>
                    <a:lnTo>
                      <a:pt x="308896" y="484156"/>
                    </a:lnTo>
                    <a:lnTo>
                      <a:pt x="300990" y="492062"/>
                    </a:lnTo>
                    <a:lnTo>
                      <a:pt x="292989" y="507968"/>
                    </a:lnTo>
                    <a:lnTo>
                      <a:pt x="285083" y="515874"/>
                    </a:lnTo>
                    <a:lnTo>
                      <a:pt x="237553" y="555593"/>
                    </a:lnTo>
                    <a:lnTo>
                      <a:pt x="190024" y="571405"/>
                    </a:lnTo>
                    <a:lnTo>
                      <a:pt x="182118" y="579406"/>
                    </a:lnTo>
                    <a:lnTo>
                      <a:pt x="166307" y="587312"/>
                    </a:lnTo>
                    <a:lnTo>
                      <a:pt x="158401" y="603218"/>
                    </a:lnTo>
                    <a:lnTo>
                      <a:pt x="158401" y="611124"/>
                    </a:lnTo>
                    <a:lnTo>
                      <a:pt x="142589" y="627031"/>
                    </a:lnTo>
                    <a:lnTo>
                      <a:pt x="118777" y="627031"/>
                    </a:lnTo>
                    <a:lnTo>
                      <a:pt x="87154" y="666655"/>
                    </a:lnTo>
                    <a:lnTo>
                      <a:pt x="87154" y="706374"/>
                    </a:lnTo>
                    <a:lnTo>
                      <a:pt x="95059" y="714280"/>
                    </a:lnTo>
                    <a:lnTo>
                      <a:pt x="95059" y="753999"/>
                    </a:lnTo>
                    <a:lnTo>
                      <a:pt x="126683" y="777812"/>
                    </a:lnTo>
                    <a:lnTo>
                      <a:pt x="126683" y="785717"/>
                    </a:lnTo>
                    <a:lnTo>
                      <a:pt x="118777" y="793623"/>
                    </a:lnTo>
                    <a:lnTo>
                      <a:pt x="118777" y="809530"/>
                    </a:lnTo>
                    <a:lnTo>
                      <a:pt x="110871" y="833342"/>
                    </a:lnTo>
                    <a:lnTo>
                      <a:pt x="110871" y="857155"/>
                    </a:lnTo>
                    <a:lnTo>
                      <a:pt x="118777" y="865156"/>
                    </a:lnTo>
                    <a:lnTo>
                      <a:pt x="126683" y="880967"/>
                    </a:lnTo>
                    <a:lnTo>
                      <a:pt x="142589" y="896874"/>
                    </a:lnTo>
                    <a:lnTo>
                      <a:pt x="174212" y="912686"/>
                    </a:lnTo>
                    <a:lnTo>
                      <a:pt x="229648" y="912686"/>
                    </a:lnTo>
                    <a:lnTo>
                      <a:pt x="229648" y="920686"/>
                    </a:lnTo>
                    <a:lnTo>
                      <a:pt x="221742" y="928592"/>
                    </a:lnTo>
                    <a:lnTo>
                      <a:pt x="221742" y="936498"/>
                    </a:lnTo>
                    <a:lnTo>
                      <a:pt x="229648" y="944499"/>
                    </a:lnTo>
                    <a:lnTo>
                      <a:pt x="316801" y="944499"/>
                    </a:lnTo>
                    <a:lnTo>
                      <a:pt x="332613" y="936498"/>
                    </a:lnTo>
                    <a:lnTo>
                      <a:pt x="356425" y="936498"/>
                    </a:lnTo>
                    <a:lnTo>
                      <a:pt x="395954" y="920686"/>
                    </a:lnTo>
                    <a:lnTo>
                      <a:pt x="443484" y="920686"/>
                    </a:lnTo>
                    <a:lnTo>
                      <a:pt x="506825" y="888968"/>
                    </a:lnTo>
                    <a:lnTo>
                      <a:pt x="609791" y="888968"/>
                    </a:lnTo>
                    <a:lnTo>
                      <a:pt x="601885" y="873062"/>
                    </a:lnTo>
                    <a:lnTo>
                      <a:pt x="681133" y="833342"/>
                    </a:lnTo>
                    <a:lnTo>
                      <a:pt x="760285" y="753999"/>
                    </a:lnTo>
                    <a:lnTo>
                      <a:pt x="768191" y="753999"/>
                    </a:lnTo>
                    <a:lnTo>
                      <a:pt x="815721" y="706374"/>
                    </a:lnTo>
                    <a:lnTo>
                      <a:pt x="823627" y="690467"/>
                    </a:lnTo>
                    <a:lnTo>
                      <a:pt x="831533" y="682562"/>
                    </a:lnTo>
                    <a:lnTo>
                      <a:pt x="831533" y="666655"/>
                    </a:lnTo>
                    <a:lnTo>
                      <a:pt x="823627" y="650843"/>
                    </a:lnTo>
                    <a:lnTo>
                      <a:pt x="815721" y="642842"/>
                    </a:lnTo>
                    <a:lnTo>
                      <a:pt x="807815" y="627031"/>
                    </a:lnTo>
                    <a:lnTo>
                      <a:pt x="712756" y="579406"/>
                    </a:lnTo>
                    <a:lnTo>
                      <a:pt x="720661" y="579406"/>
                    </a:lnTo>
                    <a:lnTo>
                      <a:pt x="752380" y="547592"/>
                    </a:lnTo>
                    <a:lnTo>
                      <a:pt x="752380" y="539687"/>
                    </a:lnTo>
                    <a:lnTo>
                      <a:pt x="744474" y="531781"/>
                    </a:lnTo>
                    <a:lnTo>
                      <a:pt x="728663" y="523780"/>
                    </a:lnTo>
                    <a:lnTo>
                      <a:pt x="696944" y="515874"/>
                    </a:lnTo>
                    <a:lnTo>
                      <a:pt x="704850" y="499967"/>
                    </a:lnTo>
                    <a:lnTo>
                      <a:pt x="712756" y="492062"/>
                    </a:lnTo>
                    <a:lnTo>
                      <a:pt x="712756" y="484156"/>
                    </a:lnTo>
                    <a:lnTo>
                      <a:pt x="704850" y="476250"/>
                    </a:lnTo>
                    <a:lnTo>
                      <a:pt x="696944" y="476250"/>
                    </a:lnTo>
                    <a:lnTo>
                      <a:pt x="689039" y="468249"/>
                    </a:lnTo>
                    <a:lnTo>
                      <a:pt x="673227" y="468249"/>
                    </a:lnTo>
                    <a:lnTo>
                      <a:pt x="673227" y="452438"/>
                    </a:lnTo>
                    <a:lnTo>
                      <a:pt x="657320" y="436531"/>
                    </a:lnTo>
                    <a:lnTo>
                      <a:pt x="665226" y="396812"/>
                    </a:lnTo>
                    <a:lnTo>
                      <a:pt x="673227" y="396812"/>
                    </a:lnTo>
                    <a:lnTo>
                      <a:pt x="689039" y="404717"/>
                    </a:lnTo>
                    <a:lnTo>
                      <a:pt x="704850" y="404717"/>
                    </a:lnTo>
                    <a:lnTo>
                      <a:pt x="712756" y="396812"/>
                    </a:lnTo>
                    <a:lnTo>
                      <a:pt x="712756" y="388906"/>
                    </a:lnTo>
                    <a:lnTo>
                      <a:pt x="704850" y="380905"/>
                    </a:lnTo>
                    <a:lnTo>
                      <a:pt x="689039" y="372999"/>
                    </a:lnTo>
                    <a:lnTo>
                      <a:pt x="657320" y="341281"/>
                    </a:lnTo>
                    <a:lnTo>
                      <a:pt x="641509" y="333375"/>
                    </a:lnTo>
                    <a:lnTo>
                      <a:pt x="633603" y="317468"/>
                    </a:lnTo>
                    <a:lnTo>
                      <a:pt x="617792" y="309563"/>
                    </a:lnTo>
                    <a:lnTo>
                      <a:pt x="593979" y="285750"/>
                    </a:lnTo>
                    <a:lnTo>
                      <a:pt x="601885" y="277749"/>
                    </a:lnTo>
                    <a:lnTo>
                      <a:pt x="617792" y="269843"/>
                    </a:lnTo>
                    <a:lnTo>
                      <a:pt x="625697" y="269843"/>
                    </a:lnTo>
                    <a:lnTo>
                      <a:pt x="625697" y="253937"/>
                    </a:lnTo>
                    <a:lnTo>
                      <a:pt x="633603" y="253937"/>
                    </a:lnTo>
                    <a:lnTo>
                      <a:pt x="649415" y="246031"/>
                    </a:lnTo>
                    <a:lnTo>
                      <a:pt x="657320" y="246031"/>
                    </a:lnTo>
                    <a:lnTo>
                      <a:pt x="657320" y="230124"/>
                    </a:lnTo>
                    <a:lnTo>
                      <a:pt x="593979" y="166688"/>
                    </a:lnTo>
                    <a:lnTo>
                      <a:pt x="570167" y="166688"/>
                    </a:lnTo>
                    <a:lnTo>
                      <a:pt x="562356" y="174593"/>
                    </a:lnTo>
                    <a:lnTo>
                      <a:pt x="554355" y="174593"/>
                    </a:lnTo>
                    <a:lnTo>
                      <a:pt x="546449" y="166688"/>
                    </a:lnTo>
                    <a:lnTo>
                      <a:pt x="546449" y="158687"/>
                    </a:lnTo>
                    <a:lnTo>
                      <a:pt x="538543" y="142875"/>
                    </a:lnTo>
                    <a:lnTo>
                      <a:pt x="538543" y="126968"/>
                    </a:lnTo>
                    <a:lnTo>
                      <a:pt x="562356" y="126968"/>
                    </a:lnTo>
                    <a:lnTo>
                      <a:pt x="562356" y="119063"/>
                    </a:lnTo>
                    <a:lnTo>
                      <a:pt x="546449" y="103156"/>
                    </a:lnTo>
                    <a:lnTo>
                      <a:pt x="554355" y="71438"/>
                    </a:lnTo>
                    <a:lnTo>
                      <a:pt x="562356" y="71438"/>
                    </a:lnTo>
                    <a:lnTo>
                      <a:pt x="562356" y="79343"/>
                    </a:lnTo>
                    <a:lnTo>
                      <a:pt x="570167" y="79343"/>
                    </a:lnTo>
                    <a:lnTo>
                      <a:pt x="570167" y="55531"/>
                    </a:lnTo>
                    <a:lnTo>
                      <a:pt x="562356" y="39719"/>
                    </a:lnTo>
                    <a:lnTo>
                      <a:pt x="546449" y="23813"/>
                    </a:lnTo>
                    <a:lnTo>
                      <a:pt x="538543" y="23813"/>
                    </a:lnTo>
                    <a:lnTo>
                      <a:pt x="491014" y="15811"/>
                    </a:lnTo>
                    <a:lnTo>
                      <a:pt x="491014" y="0"/>
                    </a:lnTo>
                    <a:lnTo>
                      <a:pt x="443484" y="0"/>
                    </a:lnTo>
                    <a:lnTo>
                      <a:pt x="427673" y="7906"/>
                    </a:lnTo>
                    <a:lnTo>
                      <a:pt x="388049" y="7906"/>
                    </a:lnTo>
                    <a:lnTo>
                      <a:pt x="372237" y="15811"/>
                    </a:lnTo>
                    <a:lnTo>
                      <a:pt x="364331" y="15811"/>
                    </a:lnTo>
                    <a:lnTo>
                      <a:pt x="348425" y="23813"/>
                    </a:lnTo>
                    <a:lnTo>
                      <a:pt x="348425" y="39719"/>
                    </a:lnTo>
                    <a:lnTo>
                      <a:pt x="340519" y="47625"/>
                    </a:lnTo>
                    <a:lnTo>
                      <a:pt x="340519" y="95250"/>
                    </a:lnTo>
                    <a:lnTo>
                      <a:pt x="308896" y="95250"/>
                    </a:lnTo>
                    <a:lnTo>
                      <a:pt x="308896" y="103156"/>
                    </a:lnTo>
                    <a:lnTo>
                      <a:pt x="300990" y="111062"/>
                    </a:lnTo>
                    <a:lnTo>
                      <a:pt x="300990" y="126968"/>
                    </a:lnTo>
                    <a:lnTo>
                      <a:pt x="277177" y="126968"/>
                    </a:lnTo>
                    <a:lnTo>
                      <a:pt x="269272" y="119063"/>
                    </a:lnTo>
                    <a:lnTo>
                      <a:pt x="253460" y="111062"/>
                    </a:lnTo>
                    <a:lnTo>
                      <a:pt x="213836" y="111062"/>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124" name="Freeform: Shape 123">
                <a:extLst>
                  <a:ext uri="{FF2B5EF4-FFF2-40B4-BE49-F238E27FC236}">
                    <a16:creationId xmlns:a16="http://schemas.microsoft.com/office/drawing/2014/main" id="{A1B343C9-B355-B394-E0F4-7AB9745D0883}"/>
                  </a:ext>
                </a:extLst>
              </p:cNvPr>
              <p:cNvSpPr/>
              <p:nvPr/>
            </p:nvSpPr>
            <p:spPr>
              <a:xfrm>
                <a:off x="6847427" y="1831847"/>
                <a:ext cx="831532" cy="944498"/>
              </a:xfrm>
              <a:custGeom>
                <a:avLst/>
                <a:gdLst>
                  <a:gd name="connsiteX0" fmla="*/ 213836 w 831532"/>
                  <a:gd name="connsiteY0" fmla="*/ 111062 h 944498"/>
                  <a:gd name="connsiteX1" fmla="*/ 205931 w 831532"/>
                  <a:gd name="connsiteY1" fmla="*/ 119063 h 944498"/>
                  <a:gd name="connsiteX2" fmla="*/ 190024 w 831532"/>
                  <a:gd name="connsiteY2" fmla="*/ 126968 h 944498"/>
                  <a:gd name="connsiteX3" fmla="*/ 174212 w 831532"/>
                  <a:gd name="connsiteY3" fmla="*/ 126968 h 944498"/>
                  <a:gd name="connsiteX4" fmla="*/ 166307 w 831532"/>
                  <a:gd name="connsiteY4" fmla="*/ 119063 h 944498"/>
                  <a:gd name="connsiteX5" fmla="*/ 142589 w 831532"/>
                  <a:gd name="connsiteY5" fmla="*/ 119063 h 944498"/>
                  <a:gd name="connsiteX6" fmla="*/ 126683 w 831532"/>
                  <a:gd name="connsiteY6" fmla="*/ 111062 h 944498"/>
                  <a:gd name="connsiteX7" fmla="*/ 110871 w 831532"/>
                  <a:gd name="connsiteY7" fmla="*/ 111062 h 944498"/>
                  <a:gd name="connsiteX8" fmla="*/ 95059 w 831532"/>
                  <a:gd name="connsiteY8" fmla="*/ 95250 h 944498"/>
                  <a:gd name="connsiteX9" fmla="*/ 79153 w 831532"/>
                  <a:gd name="connsiteY9" fmla="*/ 87249 h 944498"/>
                  <a:gd name="connsiteX10" fmla="*/ 71247 w 831532"/>
                  <a:gd name="connsiteY10" fmla="*/ 71438 h 944498"/>
                  <a:gd name="connsiteX11" fmla="*/ 63341 w 831532"/>
                  <a:gd name="connsiteY11" fmla="*/ 63437 h 944498"/>
                  <a:gd name="connsiteX12" fmla="*/ 39624 w 831532"/>
                  <a:gd name="connsiteY12" fmla="*/ 63437 h 944498"/>
                  <a:gd name="connsiteX13" fmla="*/ 31718 w 831532"/>
                  <a:gd name="connsiteY13" fmla="*/ 71438 h 944498"/>
                  <a:gd name="connsiteX14" fmla="*/ 31718 w 831532"/>
                  <a:gd name="connsiteY14" fmla="*/ 87249 h 944498"/>
                  <a:gd name="connsiteX15" fmla="*/ 7906 w 831532"/>
                  <a:gd name="connsiteY15" fmla="*/ 79343 h 944498"/>
                  <a:gd name="connsiteX16" fmla="*/ 0 w 831532"/>
                  <a:gd name="connsiteY16" fmla="*/ 87249 h 944498"/>
                  <a:gd name="connsiteX17" fmla="*/ 7906 w 831532"/>
                  <a:gd name="connsiteY17" fmla="*/ 95250 h 944498"/>
                  <a:gd name="connsiteX18" fmla="*/ 23717 w 831532"/>
                  <a:gd name="connsiteY18" fmla="*/ 103156 h 944498"/>
                  <a:gd name="connsiteX19" fmla="*/ 31718 w 831532"/>
                  <a:gd name="connsiteY19" fmla="*/ 111062 h 944498"/>
                  <a:gd name="connsiteX20" fmla="*/ 47530 w 831532"/>
                  <a:gd name="connsiteY20" fmla="*/ 119063 h 944498"/>
                  <a:gd name="connsiteX21" fmla="*/ 63341 w 831532"/>
                  <a:gd name="connsiteY21" fmla="*/ 119063 h 944498"/>
                  <a:gd name="connsiteX22" fmla="*/ 71247 w 831532"/>
                  <a:gd name="connsiteY22" fmla="*/ 126968 h 944498"/>
                  <a:gd name="connsiteX23" fmla="*/ 79153 w 831532"/>
                  <a:gd name="connsiteY23" fmla="*/ 126968 h 944498"/>
                  <a:gd name="connsiteX24" fmla="*/ 95059 w 831532"/>
                  <a:gd name="connsiteY24" fmla="*/ 142875 h 944498"/>
                  <a:gd name="connsiteX25" fmla="*/ 142589 w 831532"/>
                  <a:gd name="connsiteY25" fmla="*/ 142875 h 944498"/>
                  <a:gd name="connsiteX26" fmla="*/ 182118 w 831532"/>
                  <a:gd name="connsiteY26" fmla="*/ 166688 h 944498"/>
                  <a:gd name="connsiteX27" fmla="*/ 198025 w 831532"/>
                  <a:gd name="connsiteY27" fmla="*/ 166688 h 944498"/>
                  <a:gd name="connsiteX28" fmla="*/ 205931 w 831532"/>
                  <a:gd name="connsiteY28" fmla="*/ 174593 h 944498"/>
                  <a:gd name="connsiteX29" fmla="*/ 213836 w 831532"/>
                  <a:gd name="connsiteY29" fmla="*/ 174593 h 944498"/>
                  <a:gd name="connsiteX30" fmla="*/ 213836 w 831532"/>
                  <a:gd name="connsiteY30" fmla="*/ 206312 h 944498"/>
                  <a:gd name="connsiteX31" fmla="*/ 205931 w 831532"/>
                  <a:gd name="connsiteY31" fmla="*/ 214313 h 944498"/>
                  <a:gd name="connsiteX32" fmla="*/ 205931 w 831532"/>
                  <a:gd name="connsiteY32" fmla="*/ 222218 h 944498"/>
                  <a:gd name="connsiteX33" fmla="*/ 221742 w 831532"/>
                  <a:gd name="connsiteY33" fmla="*/ 230124 h 944498"/>
                  <a:gd name="connsiteX34" fmla="*/ 213836 w 831532"/>
                  <a:gd name="connsiteY34" fmla="*/ 261842 h 944498"/>
                  <a:gd name="connsiteX35" fmla="*/ 245555 w 831532"/>
                  <a:gd name="connsiteY35" fmla="*/ 277749 h 944498"/>
                  <a:gd name="connsiteX36" fmla="*/ 237553 w 831532"/>
                  <a:gd name="connsiteY36" fmla="*/ 293656 h 944498"/>
                  <a:gd name="connsiteX37" fmla="*/ 229648 w 831532"/>
                  <a:gd name="connsiteY37" fmla="*/ 301562 h 944498"/>
                  <a:gd name="connsiteX38" fmla="*/ 221742 w 831532"/>
                  <a:gd name="connsiteY38" fmla="*/ 317468 h 944498"/>
                  <a:gd name="connsiteX39" fmla="*/ 221742 w 831532"/>
                  <a:gd name="connsiteY39" fmla="*/ 325374 h 944498"/>
                  <a:gd name="connsiteX40" fmla="*/ 237553 w 831532"/>
                  <a:gd name="connsiteY40" fmla="*/ 341281 h 944498"/>
                  <a:gd name="connsiteX41" fmla="*/ 253460 w 831532"/>
                  <a:gd name="connsiteY41" fmla="*/ 349187 h 944498"/>
                  <a:gd name="connsiteX42" fmla="*/ 261366 w 831532"/>
                  <a:gd name="connsiteY42" fmla="*/ 357188 h 944498"/>
                  <a:gd name="connsiteX43" fmla="*/ 277177 w 831532"/>
                  <a:gd name="connsiteY43" fmla="*/ 404717 h 944498"/>
                  <a:gd name="connsiteX44" fmla="*/ 292989 w 831532"/>
                  <a:gd name="connsiteY44" fmla="*/ 388906 h 944498"/>
                  <a:gd name="connsiteX45" fmla="*/ 300990 w 831532"/>
                  <a:gd name="connsiteY45" fmla="*/ 388906 h 944498"/>
                  <a:gd name="connsiteX46" fmla="*/ 308896 w 831532"/>
                  <a:gd name="connsiteY46" fmla="*/ 396812 h 944498"/>
                  <a:gd name="connsiteX47" fmla="*/ 324707 w 831532"/>
                  <a:gd name="connsiteY47" fmla="*/ 396812 h 944498"/>
                  <a:gd name="connsiteX48" fmla="*/ 356425 w 831532"/>
                  <a:gd name="connsiteY48" fmla="*/ 428530 h 944498"/>
                  <a:gd name="connsiteX49" fmla="*/ 356425 w 831532"/>
                  <a:gd name="connsiteY49" fmla="*/ 444437 h 944498"/>
                  <a:gd name="connsiteX50" fmla="*/ 364331 w 831532"/>
                  <a:gd name="connsiteY50" fmla="*/ 460343 h 944498"/>
                  <a:gd name="connsiteX51" fmla="*/ 364331 w 831532"/>
                  <a:gd name="connsiteY51" fmla="*/ 468249 h 944498"/>
                  <a:gd name="connsiteX52" fmla="*/ 348425 w 831532"/>
                  <a:gd name="connsiteY52" fmla="*/ 460343 h 944498"/>
                  <a:gd name="connsiteX53" fmla="*/ 324707 w 831532"/>
                  <a:gd name="connsiteY53" fmla="*/ 460343 h 944498"/>
                  <a:gd name="connsiteX54" fmla="*/ 316801 w 831532"/>
                  <a:gd name="connsiteY54" fmla="*/ 468249 h 944498"/>
                  <a:gd name="connsiteX55" fmla="*/ 308896 w 831532"/>
                  <a:gd name="connsiteY55" fmla="*/ 484156 h 944498"/>
                  <a:gd name="connsiteX56" fmla="*/ 300990 w 831532"/>
                  <a:gd name="connsiteY56" fmla="*/ 492062 h 944498"/>
                  <a:gd name="connsiteX57" fmla="*/ 292989 w 831532"/>
                  <a:gd name="connsiteY57" fmla="*/ 507968 h 944498"/>
                  <a:gd name="connsiteX58" fmla="*/ 285083 w 831532"/>
                  <a:gd name="connsiteY58" fmla="*/ 515874 h 944498"/>
                  <a:gd name="connsiteX59" fmla="*/ 237553 w 831532"/>
                  <a:gd name="connsiteY59" fmla="*/ 555593 h 944498"/>
                  <a:gd name="connsiteX60" fmla="*/ 190024 w 831532"/>
                  <a:gd name="connsiteY60" fmla="*/ 571405 h 944498"/>
                  <a:gd name="connsiteX61" fmla="*/ 182118 w 831532"/>
                  <a:gd name="connsiteY61" fmla="*/ 579406 h 944498"/>
                  <a:gd name="connsiteX62" fmla="*/ 166307 w 831532"/>
                  <a:gd name="connsiteY62" fmla="*/ 587312 h 944498"/>
                  <a:gd name="connsiteX63" fmla="*/ 158401 w 831532"/>
                  <a:gd name="connsiteY63" fmla="*/ 603218 h 944498"/>
                  <a:gd name="connsiteX64" fmla="*/ 158401 w 831532"/>
                  <a:gd name="connsiteY64" fmla="*/ 611124 h 944498"/>
                  <a:gd name="connsiteX65" fmla="*/ 142589 w 831532"/>
                  <a:gd name="connsiteY65" fmla="*/ 627031 h 944498"/>
                  <a:gd name="connsiteX66" fmla="*/ 118777 w 831532"/>
                  <a:gd name="connsiteY66" fmla="*/ 627031 h 944498"/>
                  <a:gd name="connsiteX67" fmla="*/ 87154 w 831532"/>
                  <a:gd name="connsiteY67" fmla="*/ 666655 h 944498"/>
                  <a:gd name="connsiteX68" fmla="*/ 87154 w 831532"/>
                  <a:gd name="connsiteY68" fmla="*/ 706374 h 944498"/>
                  <a:gd name="connsiteX69" fmla="*/ 95059 w 831532"/>
                  <a:gd name="connsiteY69" fmla="*/ 714280 h 944498"/>
                  <a:gd name="connsiteX70" fmla="*/ 95059 w 831532"/>
                  <a:gd name="connsiteY70" fmla="*/ 753999 h 944498"/>
                  <a:gd name="connsiteX71" fmla="*/ 126683 w 831532"/>
                  <a:gd name="connsiteY71" fmla="*/ 777812 h 944498"/>
                  <a:gd name="connsiteX72" fmla="*/ 126683 w 831532"/>
                  <a:gd name="connsiteY72" fmla="*/ 785717 h 944498"/>
                  <a:gd name="connsiteX73" fmla="*/ 118777 w 831532"/>
                  <a:gd name="connsiteY73" fmla="*/ 793623 h 944498"/>
                  <a:gd name="connsiteX74" fmla="*/ 118777 w 831532"/>
                  <a:gd name="connsiteY74" fmla="*/ 809530 h 944498"/>
                  <a:gd name="connsiteX75" fmla="*/ 110871 w 831532"/>
                  <a:gd name="connsiteY75" fmla="*/ 833342 h 944498"/>
                  <a:gd name="connsiteX76" fmla="*/ 110871 w 831532"/>
                  <a:gd name="connsiteY76" fmla="*/ 857155 h 944498"/>
                  <a:gd name="connsiteX77" fmla="*/ 118777 w 831532"/>
                  <a:gd name="connsiteY77" fmla="*/ 865156 h 944498"/>
                  <a:gd name="connsiteX78" fmla="*/ 126683 w 831532"/>
                  <a:gd name="connsiteY78" fmla="*/ 880967 h 944498"/>
                  <a:gd name="connsiteX79" fmla="*/ 142589 w 831532"/>
                  <a:gd name="connsiteY79" fmla="*/ 896874 h 944498"/>
                  <a:gd name="connsiteX80" fmla="*/ 174212 w 831532"/>
                  <a:gd name="connsiteY80" fmla="*/ 912686 h 944498"/>
                  <a:gd name="connsiteX81" fmla="*/ 229648 w 831532"/>
                  <a:gd name="connsiteY81" fmla="*/ 912686 h 944498"/>
                  <a:gd name="connsiteX82" fmla="*/ 229648 w 831532"/>
                  <a:gd name="connsiteY82" fmla="*/ 920686 h 944498"/>
                  <a:gd name="connsiteX83" fmla="*/ 221742 w 831532"/>
                  <a:gd name="connsiteY83" fmla="*/ 928592 h 944498"/>
                  <a:gd name="connsiteX84" fmla="*/ 221742 w 831532"/>
                  <a:gd name="connsiteY84" fmla="*/ 936498 h 944498"/>
                  <a:gd name="connsiteX85" fmla="*/ 229648 w 831532"/>
                  <a:gd name="connsiteY85" fmla="*/ 944499 h 944498"/>
                  <a:gd name="connsiteX86" fmla="*/ 316801 w 831532"/>
                  <a:gd name="connsiteY86" fmla="*/ 944499 h 944498"/>
                  <a:gd name="connsiteX87" fmla="*/ 332613 w 831532"/>
                  <a:gd name="connsiteY87" fmla="*/ 936498 h 944498"/>
                  <a:gd name="connsiteX88" fmla="*/ 356425 w 831532"/>
                  <a:gd name="connsiteY88" fmla="*/ 936498 h 944498"/>
                  <a:gd name="connsiteX89" fmla="*/ 395954 w 831532"/>
                  <a:gd name="connsiteY89" fmla="*/ 920686 h 944498"/>
                  <a:gd name="connsiteX90" fmla="*/ 443484 w 831532"/>
                  <a:gd name="connsiteY90" fmla="*/ 920686 h 944498"/>
                  <a:gd name="connsiteX91" fmla="*/ 506825 w 831532"/>
                  <a:gd name="connsiteY91" fmla="*/ 888968 h 944498"/>
                  <a:gd name="connsiteX92" fmla="*/ 609791 w 831532"/>
                  <a:gd name="connsiteY92" fmla="*/ 888968 h 944498"/>
                  <a:gd name="connsiteX93" fmla="*/ 601885 w 831532"/>
                  <a:gd name="connsiteY93" fmla="*/ 873062 h 944498"/>
                  <a:gd name="connsiteX94" fmla="*/ 681133 w 831532"/>
                  <a:gd name="connsiteY94" fmla="*/ 833342 h 944498"/>
                  <a:gd name="connsiteX95" fmla="*/ 760285 w 831532"/>
                  <a:gd name="connsiteY95" fmla="*/ 753999 h 944498"/>
                  <a:gd name="connsiteX96" fmla="*/ 768191 w 831532"/>
                  <a:gd name="connsiteY96" fmla="*/ 753999 h 944498"/>
                  <a:gd name="connsiteX97" fmla="*/ 815721 w 831532"/>
                  <a:gd name="connsiteY97" fmla="*/ 706374 h 944498"/>
                  <a:gd name="connsiteX98" fmla="*/ 823627 w 831532"/>
                  <a:gd name="connsiteY98" fmla="*/ 690467 h 944498"/>
                  <a:gd name="connsiteX99" fmla="*/ 831533 w 831532"/>
                  <a:gd name="connsiteY99" fmla="*/ 682562 h 944498"/>
                  <a:gd name="connsiteX100" fmla="*/ 831533 w 831532"/>
                  <a:gd name="connsiteY100" fmla="*/ 666655 h 944498"/>
                  <a:gd name="connsiteX101" fmla="*/ 823627 w 831532"/>
                  <a:gd name="connsiteY101" fmla="*/ 650843 h 944498"/>
                  <a:gd name="connsiteX102" fmla="*/ 815721 w 831532"/>
                  <a:gd name="connsiteY102" fmla="*/ 642842 h 944498"/>
                  <a:gd name="connsiteX103" fmla="*/ 807815 w 831532"/>
                  <a:gd name="connsiteY103" fmla="*/ 627031 h 944498"/>
                  <a:gd name="connsiteX104" fmla="*/ 712756 w 831532"/>
                  <a:gd name="connsiteY104" fmla="*/ 579406 h 944498"/>
                  <a:gd name="connsiteX105" fmla="*/ 720661 w 831532"/>
                  <a:gd name="connsiteY105" fmla="*/ 579406 h 944498"/>
                  <a:gd name="connsiteX106" fmla="*/ 752380 w 831532"/>
                  <a:gd name="connsiteY106" fmla="*/ 547592 h 944498"/>
                  <a:gd name="connsiteX107" fmla="*/ 752380 w 831532"/>
                  <a:gd name="connsiteY107" fmla="*/ 539687 h 944498"/>
                  <a:gd name="connsiteX108" fmla="*/ 744474 w 831532"/>
                  <a:gd name="connsiteY108" fmla="*/ 531781 h 944498"/>
                  <a:gd name="connsiteX109" fmla="*/ 728663 w 831532"/>
                  <a:gd name="connsiteY109" fmla="*/ 523780 h 944498"/>
                  <a:gd name="connsiteX110" fmla="*/ 696944 w 831532"/>
                  <a:gd name="connsiteY110" fmla="*/ 515874 h 944498"/>
                  <a:gd name="connsiteX111" fmla="*/ 704850 w 831532"/>
                  <a:gd name="connsiteY111" fmla="*/ 499967 h 944498"/>
                  <a:gd name="connsiteX112" fmla="*/ 712756 w 831532"/>
                  <a:gd name="connsiteY112" fmla="*/ 492062 h 944498"/>
                  <a:gd name="connsiteX113" fmla="*/ 712756 w 831532"/>
                  <a:gd name="connsiteY113" fmla="*/ 484156 h 944498"/>
                  <a:gd name="connsiteX114" fmla="*/ 704850 w 831532"/>
                  <a:gd name="connsiteY114" fmla="*/ 476250 h 944498"/>
                  <a:gd name="connsiteX115" fmla="*/ 696944 w 831532"/>
                  <a:gd name="connsiteY115" fmla="*/ 476250 h 944498"/>
                  <a:gd name="connsiteX116" fmla="*/ 689039 w 831532"/>
                  <a:gd name="connsiteY116" fmla="*/ 468249 h 944498"/>
                  <a:gd name="connsiteX117" fmla="*/ 673227 w 831532"/>
                  <a:gd name="connsiteY117" fmla="*/ 468249 h 944498"/>
                  <a:gd name="connsiteX118" fmla="*/ 673227 w 831532"/>
                  <a:gd name="connsiteY118" fmla="*/ 452438 h 944498"/>
                  <a:gd name="connsiteX119" fmla="*/ 657320 w 831532"/>
                  <a:gd name="connsiteY119" fmla="*/ 436531 h 944498"/>
                  <a:gd name="connsiteX120" fmla="*/ 665226 w 831532"/>
                  <a:gd name="connsiteY120" fmla="*/ 396812 h 944498"/>
                  <a:gd name="connsiteX121" fmla="*/ 673227 w 831532"/>
                  <a:gd name="connsiteY121" fmla="*/ 396812 h 944498"/>
                  <a:gd name="connsiteX122" fmla="*/ 689039 w 831532"/>
                  <a:gd name="connsiteY122" fmla="*/ 404717 h 944498"/>
                  <a:gd name="connsiteX123" fmla="*/ 704850 w 831532"/>
                  <a:gd name="connsiteY123" fmla="*/ 404717 h 944498"/>
                  <a:gd name="connsiteX124" fmla="*/ 712756 w 831532"/>
                  <a:gd name="connsiteY124" fmla="*/ 396812 h 944498"/>
                  <a:gd name="connsiteX125" fmla="*/ 712756 w 831532"/>
                  <a:gd name="connsiteY125" fmla="*/ 388906 h 944498"/>
                  <a:gd name="connsiteX126" fmla="*/ 704850 w 831532"/>
                  <a:gd name="connsiteY126" fmla="*/ 380905 h 944498"/>
                  <a:gd name="connsiteX127" fmla="*/ 689039 w 831532"/>
                  <a:gd name="connsiteY127" fmla="*/ 372999 h 944498"/>
                  <a:gd name="connsiteX128" fmla="*/ 657320 w 831532"/>
                  <a:gd name="connsiteY128" fmla="*/ 341281 h 944498"/>
                  <a:gd name="connsiteX129" fmla="*/ 641509 w 831532"/>
                  <a:gd name="connsiteY129" fmla="*/ 333375 h 944498"/>
                  <a:gd name="connsiteX130" fmla="*/ 633603 w 831532"/>
                  <a:gd name="connsiteY130" fmla="*/ 317468 h 944498"/>
                  <a:gd name="connsiteX131" fmla="*/ 617792 w 831532"/>
                  <a:gd name="connsiteY131" fmla="*/ 309563 h 944498"/>
                  <a:gd name="connsiteX132" fmla="*/ 593979 w 831532"/>
                  <a:gd name="connsiteY132" fmla="*/ 285750 h 944498"/>
                  <a:gd name="connsiteX133" fmla="*/ 601885 w 831532"/>
                  <a:gd name="connsiteY133" fmla="*/ 277749 h 944498"/>
                  <a:gd name="connsiteX134" fmla="*/ 617792 w 831532"/>
                  <a:gd name="connsiteY134" fmla="*/ 269843 h 944498"/>
                  <a:gd name="connsiteX135" fmla="*/ 625697 w 831532"/>
                  <a:gd name="connsiteY135" fmla="*/ 269843 h 944498"/>
                  <a:gd name="connsiteX136" fmla="*/ 625697 w 831532"/>
                  <a:gd name="connsiteY136" fmla="*/ 253937 h 944498"/>
                  <a:gd name="connsiteX137" fmla="*/ 633603 w 831532"/>
                  <a:gd name="connsiteY137" fmla="*/ 253937 h 944498"/>
                  <a:gd name="connsiteX138" fmla="*/ 649415 w 831532"/>
                  <a:gd name="connsiteY138" fmla="*/ 246031 h 944498"/>
                  <a:gd name="connsiteX139" fmla="*/ 657320 w 831532"/>
                  <a:gd name="connsiteY139" fmla="*/ 246031 h 944498"/>
                  <a:gd name="connsiteX140" fmla="*/ 657320 w 831532"/>
                  <a:gd name="connsiteY140" fmla="*/ 230124 h 944498"/>
                  <a:gd name="connsiteX141" fmla="*/ 593979 w 831532"/>
                  <a:gd name="connsiteY141" fmla="*/ 166688 h 944498"/>
                  <a:gd name="connsiteX142" fmla="*/ 570167 w 831532"/>
                  <a:gd name="connsiteY142" fmla="*/ 166688 h 944498"/>
                  <a:gd name="connsiteX143" fmla="*/ 562356 w 831532"/>
                  <a:gd name="connsiteY143" fmla="*/ 174593 h 944498"/>
                  <a:gd name="connsiteX144" fmla="*/ 554355 w 831532"/>
                  <a:gd name="connsiteY144" fmla="*/ 174593 h 944498"/>
                  <a:gd name="connsiteX145" fmla="*/ 546449 w 831532"/>
                  <a:gd name="connsiteY145" fmla="*/ 166688 h 944498"/>
                  <a:gd name="connsiteX146" fmla="*/ 546449 w 831532"/>
                  <a:gd name="connsiteY146" fmla="*/ 158687 h 944498"/>
                  <a:gd name="connsiteX147" fmla="*/ 538543 w 831532"/>
                  <a:gd name="connsiteY147" fmla="*/ 142875 h 944498"/>
                  <a:gd name="connsiteX148" fmla="*/ 538543 w 831532"/>
                  <a:gd name="connsiteY148" fmla="*/ 126968 h 944498"/>
                  <a:gd name="connsiteX149" fmla="*/ 562356 w 831532"/>
                  <a:gd name="connsiteY149" fmla="*/ 126968 h 944498"/>
                  <a:gd name="connsiteX150" fmla="*/ 562356 w 831532"/>
                  <a:gd name="connsiteY150" fmla="*/ 119063 h 944498"/>
                  <a:gd name="connsiteX151" fmla="*/ 546449 w 831532"/>
                  <a:gd name="connsiteY151" fmla="*/ 103156 h 944498"/>
                  <a:gd name="connsiteX152" fmla="*/ 554355 w 831532"/>
                  <a:gd name="connsiteY152" fmla="*/ 71438 h 944498"/>
                  <a:gd name="connsiteX153" fmla="*/ 562356 w 831532"/>
                  <a:gd name="connsiteY153" fmla="*/ 71438 h 944498"/>
                  <a:gd name="connsiteX154" fmla="*/ 562356 w 831532"/>
                  <a:gd name="connsiteY154" fmla="*/ 79343 h 944498"/>
                  <a:gd name="connsiteX155" fmla="*/ 570167 w 831532"/>
                  <a:gd name="connsiteY155" fmla="*/ 79343 h 944498"/>
                  <a:gd name="connsiteX156" fmla="*/ 570167 w 831532"/>
                  <a:gd name="connsiteY156" fmla="*/ 55531 h 944498"/>
                  <a:gd name="connsiteX157" fmla="*/ 562356 w 831532"/>
                  <a:gd name="connsiteY157" fmla="*/ 39719 h 944498"/>
                  <a:gd name="connsiteX158" fmla="*/ 546449 w 831532"/>
                  <a:gd name="connsiteY158" fmla="*/ 23813 h 944498"/>
                  <a:gd name="connsiteX159" fmla="*/ 538543 w 831532"/>
                  <a:gd name="connsiteY159" fmla="*/ 23813 h 944498"/>
                  <a:gd name="connsiteX160" fmla="*/ 491014 w 831532"/>
                  <a:gd name="connsiteY160" fmla="*/ 15811 h 944498"/>
                  <a:gd name="connsiteX161" fmla="*/ 491014 w 831532"/>
                  <a:gd name="connsiteY161" fmla="*/ 0 h 944498"/>
                  <a:gd name="connsiteX162" fmla="*/ 443484 w 831532"/>
                  <a:gd name="connsiteY162" fmla="*/ 0 h 944498"/>
                  <a:gd name="connsiteX163" fmla="*/ 427673 w 831532"/>
                  <a:gd name="connsiteY163" fmla="*/ 7906 h 944498"/>
                  <a:gd name="connsiteX164" fmla="*/ 388049 w 831532"/>
                  <a:gd name="connsiteY164" fmla="*/ 7906 h 944498"/>
                  <a:gd name="connsiteX165" fmla="*/ 372237 w 831532"/>
                  <a:gd name="connsiteY165" fmla="*/ 15811 h 944498"/>
                  <a:gd name="connsiteX166" fmla="*/ 364331 w 831532"/>
                  <a:gd name="connsiteY166" fmla="*/ 15811 h 944498"/>
                  <a:gd name="connsiteX167" fmla="*/ 348425 w 831532"/>
                  <a:gd name="connsiteY167" fmla="*/ 23813 h 944498"/>
                  <a:gd name="connsiteX168" fmla="*/ 348425 w 831532"/>
                  <a:gd name="connsiteY168" fmla="*/ 39719 h 944498"/>
                  <a:gd name="connsiteX169" fmla="*/ 340519 w 831532"/>
                  <a:gd name="connsiteY169" fmla="*/ 47625 h 944498"/>
                  <a:gd name="connsiteX170" fmla="*/ 340519 w 831532"/>
                  <a:gd name="connsiteY170" fmla="*/ 95250 h 944498"/>
                  <a:gd name="connsiteX171" fmla="*/ 308896 w 831532"/>
                  <a:gd name="connsiteY171" fmla="*/ 95250 h 944498"/>
                  <a:gd name="connsiteX172" fmla="*/ 308896 w 831532"/>
                  <a:gd name="connsiteY172" fmla="*/ 103156 h 944498"/>
                  <a:gd name="connsiteX173" fmla="*/ 300990 w 831532"/>
                  <a:gd name="connsiteY173" fmla="*/ 111062 h 944498"/>
                  <a:gd name="connsiteX174" fmla="*/ 300990 w 831532"/>
                  <a:gd name="connsiteY174" fmla="*/ 126968 h 944498"/>
                  <a:gd name="connsiteX175" fmla="*/ 277177 w 831532"/>
                  <a:gd name="connsiteY175" fmla="*/ 126968 h 944498"/>
                  <a:gd name="connsiteX176" fmla="*/ 269272 w 831532"/>
                  <a:gd name="connsiteY176" fmla="*/ 119063 h 944498"/>
                  <a:gd name="connsiteX177" fmla="*/ 253460 w 831532"/>
                  <a:gd name="connsiteY177" fmla="*/ 111062 h 944498"/>
                  <a:gd name="connsiteX178" fmla="*/ 213836 w 831532"/>
                  <a:gd name="connsiteY178" fmla="*/ 111062 h 94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831532" h="944498">
                    <a:moveTo>
                      <a:pt x="213836" y="111062"/>
                    </a:moveTo>
                    <a:lnTo>
                      <a:pt x="205931" y="119063"/>
                    </a:lnTo>
                    <a:lnTo>
                      <a:pt x="190024" y="126968"/>
                    </a:lnTo>
                    <a:lnTo>
                      <a:pt x="174212" y="126968"/>
                    </a:lnTo>
                    <a:lnTo>
                      <a:pt x="166307" y="119063"/>
                    </a:lnTo>
                    <a:lnTo>
                      <a:pt x="142589" y="119063"/>
                    </a:lnTo>
                    <a:lnTo>
                      <a:pt x="126683" y="111062"/>
                    </a:lnTo>
                    <a:lnTo>
                      <a:pt x="110871" y="111062"/>
                    </a:lnTo>
                    <a:lnTo>
                      <a:pt x="95059" y="95250"/>
                    </a:lnTo>
                    <a:lnTo>
                      <a:pt x="79153" y="87249"/>
                    </a:lnTo>
                    <a:lnTo>
                      <a:pt x="71247" y="71438"/>
                    </a:lnTo>
                    <a:lnTo>
                      <a:pt x="63341" y="63437"/>
                    </a:lnTo>
                    <a:lnTo>
                      <a:pt x="39624" y="63437"/>
                    </a:lnTo>
                    <a:lnTo>
                      <a:pt x="31718" y="71438"/>
                    </a:lnTo>
                    <a:lnTo>
                      <a:pt x="31718" y="87249"/>
                    </a:lnTo>
                    <a:lnTo>
                      <a:pt x="7906" y="79343"/>
                    </a:lnTo>
                    <a:lnTo>
                      <a:pt x="0" y="87249"/>
                    </a:lnTo>
                    <a:lnTo>
                      <a:pt x="7906" y="95250"/>
                    </a:lnTo>
                    <a:lnTo>
                      <a:pt x="23717" y="103156"/>
                    </a:lnTo>
                    <a:lnTo>
                      <a:pt x="31718" y="111062"/>
                    </a:lnTo>
                    <a:lnTo>
                      <a:pt x="47530" y="119063"/>
                    </a:lnTo>
                    <a:lnTo>
                      <a:pt x="63341" y="119063"/>
                    </a:lnTo>
                    <a:lnTo>
                      <a:pt x="71247" y="126968"/>
                    </a:lnTo>
                    <a:lnTo>
                      <a:pt x="79153" y="126968"/>
                    </a:lnTo>
                    <a:lnTo>
                      <a:pt x="95059" y="142875"/>
                    </a:lnTo>
                    <a:lnTo>
                      <a:pt x="142589" y="142875"/>
                    </a:lnTo>
                    <a:lnTo>
                      <a:pt x="182118" y="166688"/>
                    </a:lnTo>
                    <a:lnTo>
                      <a:pt x="198025" y="166688"/>
                    </a:lnTo>
                    <a:lnTo>
                      <a:pt x="205931" y="174593"/>
                    </a:lnTo>
                    <a:lnTo>
                      <a:pt x="213836" y="174593"/>
                    </a:lnTo>
                    <a:lnTo>
                      <a:pt x="213836" y="206312"/>
                    </a:lnTo>
                    <a:lnTo>
                      <a:pt x="205931" y="214313"/>
                    </a:lnTo>
                    <a:lnTo>
                      <a:pt x="205931" y="222218"/>
                    </a:lnTo>
                    <a:lnTo>
                      <a:pt x="221742" y="230124"/>
                    </a:lnTo>
                    <a:lnTo>
                      <a:pt x="213836" y="261842"/>
                    </a:lnTo>
                    <a:lnTo>
                      <a:pt x="245555" y="277749"/>
                    </a:lnTo>
                    <a:lnTo>
                      <a:pt x="237553" y="293656"/>
                    </a:lnTo>
                    <a:lnTo>
                      <a:pt x="229648" y="301562"/>
                    </a:lnTo>
                    <a:lnTo>
                      <a:pt x="221742" y="317468"/>
                    </a:lnTo>
                    <a:lnTo>
                      <a:pt x="221742" y="325374"/>
                    </a:lnTo>
                    <a:lnTo>
                      <a:pt x="237553" y="341281"/>
                    </a:lnTo>
                    <a:lnTo>
                      <a:pt x="253460" y="349187"/>
                    </a:lnTo>
                    <a:lnTo>
                      <a:pt x="261366" y="357188"/>
                    </a:lnTo>
                    <a:lnTo>
                      <a:pt x="277177" y="404717"/>
                    </a:lnTo>
                    <a:lnTo>
                      <a:pt x="292989" y="388906"/>
                    </a:lnTo>
                    <a:lnTo>
                      <a:pt x="300990" y="388906"/>
                    </a:lnTo>
                    <a:lnTo>
                      <a:pt x="308896" y="396812"/>
                    </a:lnTo>
                    <a:lnTo>
                      <a:pt x="324707" y="396812"/>
                    </a:lnTo>
                    <a:lnTo>
                      <a:pt x="356425" y="428530"/>
                    </a:lnTo>
                    <a:lnTo>
                      <a:pt x="356425" y="444437"/>
                    </a:lnTo>
                    <a:lnTo>
                      <a:pt x="364331" y="460343"/>
                    </a:lnTo>
                    <a:lnTo>
                      <a:pt x="364331" y="468249"/>
                    </a:lnTo>
                    <a:lnTo>
                      <a:pt x="348425" y="460343"/>
                    </a:lnTo>
                    <a:lnTo>
                      <a:pt x="324707" y="460343"/>
                    </a:lnTo>
                    <a:lnTo>
                      <a:pt x="316801" y="468249"/>
                    </a:lnTo>
                    <a:lnTo>
                      <a:pt x="308896" y="484156"/>
                    </a:lnTo>
                    <a:lnTo>
                      <a:pt x="300990" y="492062"/>
                    </a:lnTo>
                    <a:lnTo>
                      <a:pt x="292989" y="507968"/>
                    </a:lnTo>
                    <a:lnTo>
                      <a:pt x="285083" y="515874"/>
                    </a:lnTo>
                    <a:lnTo>
                      <a:pt x="237553" y="555593"/>
                    </a:lnTo>
                    <a:lnTo>
                      <a:pt x="190024" y="571405"/>
                    </a:lnTo>
                    <a:lnTo>
                      <a:pt x="182118" y="579406"/>
                    </a:lnTo>
                    <a:lnTo>
                      <a:pt x="166307" y="587312"/>
                    </a:lnTo>
                    <a:lnTo>
                      <a:pt x="158401" y="603218"/>
                    </a:lnTo>
                    <a:lnTo>
                      <a:pt x="158401" y="611124"/>
                    </a:lnTo>
                    <a:lnTo>
                      <a:pt x="142589" y="627031"/>
                    </a:lnTo>
                    <a:lnTo>
                      <a:pt x="118777" y="627031"/>
                    </a:lnTo>
                    <a:lnTo>
                      <a:pt x="87154" y="666655"/>
                    </a:lnTo>
                    <a:lnTo>
                      <a:pt x="87154" y="706374"/>
                    </a:lnTo>
                    <a:lnTo>
                      <a:pt x="95059" y="714280"/>
                    </a:lnTo>
                    <a:lnTo>
                      <a:pt x="95059" y="753999"/>
                    </a:lnTo>
                    <a:lnTo>
                      <a:pt x="126683" y="777812"/>
                    </a:lnTo>
                    <a:lnTo>
                      <a:pt x="126683" y="785717"/>
                    </a:lnTo>
                    <a:lnTo>
                      <a:pt x="118777" y="793623"/>
                    </a:lnTo>
                    <a:lnTo>
                      <a:pt x="118777" y="809530"/>
                    </a:lnTo>
                    <a:lnTo>
                      <a:pt x="110871" y="833342"/>
                    </a:lnTo>
                    <a:lnTo>
                      <a:pt x="110871" y="857155"/>
                    </a:lnTo>
                    <a:lnTo>
                      <a:pt x="118777" y="865156"/>
                    </a:lnTo>
                    <a:lnTo>
                      <a:pt x="126683" y="880967"/>
                    </a:lnTo>
                    <a:lnTo>
                      <a:pt x="142589" y="896874"/>
                    </a:lnTo>
                    <a:lnTo>
                      <a:pt x="174212" y="912686"/>
                    </a:lnTo>
                    <a:lnTo>
                      <a:pt x="229648" y="912686"/>
                    </a:lnTo>
                    <a:lnTo>
                      <a:pt x="229648" y="920686"/>
                    </a:lnTo>
                    <a:lnTo>
                      <a:pt x="221742" y="928592"/>
                    </a:lnTo>
                    <a:lnTo>
                      <a:pt x="221742" y="936498"/>
                    </a:lnTo>
                    <a:lnTo>
                      <a:pt x="229648" y="944499"/>
                    </a:lnTo>
                    <a:lnTo>
                      <a:pt x="316801" y="944499"/>
                    </a:lnTo>
                    <a:lnTo>
                      <a:pt x="332613" y="936498"/>
                    </a:lnTo>
                    <a:lnTo>
                      <a:pt x="356425" y="936498"/>
                    </a:lnTo>
                    <a:lnTo>
                      <a:pt x="395954" y="920686"/>
                    </a:lnTo>
                    <a:lnTo>
                      <a:pt x="443484" y="920686"/>
                    </a:lnTo>
                    <a:lnTo>
                      <a:pt x="506825" y="888968"/>
                    </a:lnTo>
                    <a:lnTo>
                      <a:pt x="609791" y="888968"/>
                    </a:lnTo>
                    <a:lnTo>
                      <a:pt x="601885" y="873062"/>
                    </a:lnTo>
                    <a:lnTo>
                      <a:pt x="681133" y="833342"/>
                    </a:lnTo>
                    <a:lnTo>
                      <a:pt x="760285" y="753999"/>
                    </a:lnTo>
                    <a:lnTo>
                      <a:pt x="768191" y="753999"/>
                    </a:lnTo>
                    <a:lnTo>
                      <a:pt x="815721" y="706374"/>
                    </a:lnTo>
                    <a:lnTo>
                      <a:pt x="823627" y="690467"/>
                    </a:lnTo>
                    <a:lnTo>
                      <a:pt x="831533" y="682562"/>
                    </a:lnTo>
                    <a:lnTo>
                      <a:pt x="831533" y="666655"/>
                    </a:lnTo>
                    <a:lnTo>
                      <a:pt x="823627" y="650843"/>
                    </a:lnTo>
                    <a:lnTo>
                      <a:pt x="815721" y="642842"/>
                    </a:lnTo>
                    <a:lnTo>
                      <a:pt x="807815" y="627031"/>
                    </a:lnTo>
                    <a:lnTo>
                      <a:pt x="712756" y="579406"/>
                    </a:lnTo>
                    <a:lnTo>
                      <a:pt x="720661" y="579406"/>
                    </a:lnTo>
                    <a:lnTo>
                      <a:pt x="752380" y="547592"/>
                    </a:lnTo>
                    <a:lnTo>
                      <a:pt x="752380" y="539687"/>
                    </a:lnTo>
                    <a:lnTo>
                      <a:pt x="744474" y="531781"/>
                    </a:lnTo>
                    <a:lnTo>
                      <a:pt x="728663" y="523780"/>
                    </a:lnTo>
                    <a:lnTo>
                      <a:pt x="696944" y="515874"/>
                    </a:lnTo>
                    <a:lnTo>
                      <a:pt x="704850" y="499967"/>
                    </a:lnTo>
                    <a:lnTo>
                      <a:pt x="712756" y="492062"/>
                    </a:lnTo>
                    <a:lnTo>
                      <a:pt x="712756" y="484156"/>
                    </a:lnTo>
                    <a:lnTo>
                      <a:pt x="704850" y="476250"/>
                    </a:lnTo>
                    <a:lnTo>
                      <a:pt x="696944" y="476250"/>
                    </a:lnTo>
                    <a:lnTo>
                      <a:pt x="689039" y="468249"/>
                    </a:lnTo>
                    <a:lnTo>
                      <a:pt x="673227" y="468249"/>
                    </a:lnTo>
                    <a:lnTo>
                      <a:pt x="673227" y="452438"/>
                    </a:lnTo>
                    <a:lnTo>
                      <a:pt x="657320" y="436531"/>
                    </a:lnTo>
                    <a:lnTo>
                      <a:pt x="665226" y="396812"/>
                    </a:lnTo>
                    <a:lnTo>
                      <a:pt x="673227" y="396812"/>
                    </a:lnTo>
                    <a:lnTo>
                      <a:pt x="689039" y="404717"/>
                    </a:lnTo>
                    <a:lnTo>
                      <a:pt x="704850" y="404717"/>
                    </a:lnTo>
                    <a:lnTo>
                      <a:pt x="712756" y="396812"/>
                    </a:lnTo>
                    <a:lnTo>
                      <a:pt x="712756" y="388906"/>
                    </a:lnTo>
                    <a:lnTo>
                      <a:pt x="704850" y="380905"/>
                    </a:lnTo>
                    <a:lnTo>
                      <a:pt x="689039" y="372999"/>
                    </a:lnTo>
                    <a:lnTo>
                      <a:pt x="657320" y="341281"/>
                    </a:lnTo>
                    <a:lnTo>
                      <a:pt x="641509" y="333375"/>
                    </a:lnTo>
                    <a:lnTo>
                      <a:pt x="633603" y="317468"/>
                    </a:lnTo>
                    <a:lnTo>
                      <a:pt x="617792" y="309563"/>
                    </a:lnTo>
                    <a:lnTo>
                      <a:pt x="593979" y="285750"/>
                    </a:lnTo>
                    <a:lnTo>
                      <a:pt x="601885" y="277749"/>
                    </a:lnTo>
                    <a:lnTo>
                      <a:pt x="617792" y="269843"/>
                    </a:lnTo>
                    <a:lnTo>
                      <a:pt x="625697" y="269843"/>
                    </a:lnTo>
                    <a:lnTo>
                      <a:pt x="625697" y="253937"/>
                    </a:lnTo>
                    <a:lnTo>
                      <a:pt x="633603" y="253937"/>
                    </a:lnTo>
                    <a:lnTo>
                      <a:pt x="649415" y="246031"/>
                    </a:lnTo>
                    <a:lnTo>
                      <a:pt x="657320" y="246031"/>
                    </a:lnTo>
                    <a:lnTo>
                      <a:pt x="657320" y="230124"/>
                    </a:lnTo>
                    <a:lnTo>
                      <a:pt x="593979" y="166688"/>
                    </a:lnTo>
                    <a:lnTo>
                      <a:pt x="570167" y="166688"/>
                    </a:lnTo>
                    <a:lnTo>
                      <a:pt x="562356" y="174593"/>
                    </a:lnTo>
                    <a:lnTo>
                      <a:pt x="554355" y="174593"/>
                    </a:lnTo>
                    <a:lnTo>
                      <a:pt x="546449" y="166688"/>
                    </a:lnTo>
                    <a:lnTo>
                      <a:pt x="546449" y="158687"/>
                    </a:lnTo>
                    <a:lnTo>
                      <a:pt x="538543" y="142875"/>
                    </a:lnTo>
                    <a:lnTo>
                      <a:pt x="538543" y="126968"/>
                    </a:lnTo>
                    <a:lnTo>
                      <a:pt x="562356" y="126968"/>
                    </a:lnTo>
                    <a:lnTo>
                      <a:pt x="562356" y="119063"/>
                    </a:lnTo>
                    <a:lnTo>
                      <a:pt x="546449" y="103156"/>
                    </a:lnTo>
                    <a:lnTo>
                      <a:pt x="554355" y="71438"/>
                    </a:lnTo>
                    <a:lnTo>
                      <a:pt x="562356" y="71438"/>
                    </a:lnTo>
                    <a:lnTo>
                      <a:pt x="562356" y="79343"/>
                    </a:lnTo>
                    <a:lnTo>
                      <a:pt x="570167" y="79343"/>
                    </a:lnTo>
                    <a:lnTo>
                      <a:pt x="570167" y="55531"/>
                    </a:lnTo>
                    <a:lnTo>
                      <a:pt x="562356" y="39719"/>
                    </a:lnTo>
                    <a:lnTo>
                      <a:pt x="546449" y="23813"/>
                    </a:lnTo>
                    <a:lnTo>
                      <a:pt x="538543" y="23813"/>
                    </a:lnTo>
                    <a:lnTo>
                      <a:pt x="491014" y="15811"/>
                    </a:lnTo>
                    <a:lnTo>
                      <a:pt x="491014" y="0"/>
                    </a:lnTo>
                    <a:lnTo>
                      <a:pt x="443484" y="0"/>
                    </a:lnTo>
                    <a:lnTo>
                      <a:pt x="427673" y="7906"/>
                    </a:lnTo>
                    <a:lnTo>
                      <a:pt x="388049" y="7906"/>
                    </a:lnTo>
                    <a:lnTo>
                      <a:pt x="372237" y="15811"/>
                    </a:lnTo>
                    <a:lnTo>
                      <a:pt x="364331" y="15811"/>
                    </a:lnTo>
                    <a:lnTo>
                      <a:pt x="348425" y="23813"/>
                    </a:lnTo>
                    <a:lnTo>
                      <a:pt x="348425" y="39719"/>
                    </a:lnTo>
                    <a:lnTo>
                      <a:pt x="340519" y="47625"/>
                    </a:lnTo>
                    <a:lnTo>
                      <a:pt x="340519" y="95250"/>
                    </a:lnTo>
                    <a:lnTo>
                      <a:pt x="308896" y="95250"/>
                    </a:lnTo>
                    <a:lnTo>
                      <a:pt x="308896" y="103156"/>
                    </a:lnTo>
                    <a:lnTo>
                      <a:pt x="300990" y="111062"/>
                    </a:lnTo>
                    <a:lnTo>
                      <a:pt x="300990" y="126968"/>
                    </a:lnTo>
                    <a:lnTo>
                      <a:pt x="277177" y="126968"/>
                    </a:lnTo>
                    <a:lnTo>
                      <a:pt x="269272" y="119063"/>
                    </a:lnTo>
                    <a:lnTo>
                      <a:pt x="253460" y="111062"/>
                    </a:lnTo>
                    <a:lnTo>
                      <a:pt x="213836" y="111062"/>
                    </a:lnTo>
                    <a:close/>
                  </a:path>
                </a:pathLst>
              </a:custGeom>
              <a:noFill/>
              <a:ln w="4763" cap="flat">
                <a:noFill/>
                <a:prstDash val="solid"/>
                <a:miter/>
              </a:ln>
            </p:spPr>
            <p:txBody>
              <a:bodyPr rtlCol="0" anchor="ctr"/>
              <a:lstStyle/>
              <a:p>
                <a:endParaRPr lang="en-GB"/>
              </a:p>
            </p:txBody>
          </p:sp>
          <p:sp>
            <p:nvSpPr>
              <p:cNvPr id="125" name="Freeform: Shape 124">
                <a:extLst>
                  <a:ext uri="{FF2B5EF4-FFF2-40B4-BE49-F238E27FC236}">
                    <a16:creationId xmlns:a16="http://schemas.microsoft.com/office/drawing/2014/main" id="{BBED97DA-09B9-C0C5-DDFB-FBB909D1A0E6}"/>
                  </a:ext>
                </a:extLst>
              </p:cNvPr>
              <p:cNvSpPr/>
              <p:nvPr/>
            </p:nvSpPr>
            <p:spPr>
              <a:xfrm>
                <a:off x="7013448" y="2808350"/>
                <a:ext cx="459580" cy="205740"/>
              </a:xfrm>
              <a:custGeom>
                <a:avLst/>
                <a:gdLst>
                  <a:gd name="connsiteX0" fmla="*/ 47530 w 459581"/>
                  <a:gd name="connsiteY0" fmla="*/ 86963 h 205740"/>
                  <a:gd name="connsiteX1" fmla="*/ 63341 w 459581"/>
                  <a:gd name="connsiteY1" fmla="*/ 86963 h 205740"/>
                  <a:gd name="connsiteX2" fmla="*/ 71247 w 459581"/>
                  <a:gd name="connsiteY2" fmla="*/ 71152 h 205740"/>
                  <a:gd name="connsiteX3" fmla="*/ 79153 w 459581"/>
                  <a:gd name="connsiteY3" fmla="*/ 63246 h 205740"/>
                  <a:gd name="connsiteX4" fmla="*/ 79153 w 459581"/>
                  <a:gd name="connsiteY4" fmla="*/ 55340 h 205740"/>
                  <a:gd name="connsiteX5" fmla="*/ 71247 w 459581"/>
                  <a:gd name="connsiteY5" fmla="*/ 47435 h 205740"/>
                  <a:gd name="connsiteX6" fmla="*/ 63341 w 459581"/>
                  <a:gd name="connsiteY6" fmla="*/ 47435 h 205740"/>
                  <a:gd name="connsiteX7" fmla="*/ 47530 w 459581"/>
                  <a:gd name="connsiteY7" fmla="*/ 55340 h 205740"/>
                  <a:gd name="connsiteX8" fmla="*/ 39624 w 459581"/>
                  <a:gd name="connsiteY8" fmla="*/ 63246 h 205740"/>
                  <a:gd name="connsiteX9" fmla="*/ 31718 w 459581"/>
                  <a:gd name="connsiteY9" fmla="*/ 79058 h 205740"/>
                  <a:gd name="connsiteX10" fmla="*/ 39624 w 459581"/>
                  <a:gd name="connsiteY10" fmla="*/ 86963 h 205740"/>
                  <a:gd name="connsiteX11" fmla="*/ 47530 w 459581"/>
                  <a:gd name="connsiteY11" fmla="*/ 86963 h 205740"/>
                  <a:gd name="connsiteX12" fmla="*/ 47530 w 459581"/>
                  <a:gd name="connsiteY12" fmla="*/ 102775 h 205740"/>
                  <a:gd name="connsiteX13" fmla="*/ 7906 w 459581"/>
                  <a:gd name="connsiteY13" fmla="*/ 102775 h 205740"/>
                  <a:gd name="connsiteX14" fmla="*/ 0 w 459581"/>
                  <a:gd name="connsiteY14" fmla="*/ 110681 h 205740"/>
                  <a:gd name="connsiteX15" fmla="*/ 0 w 459581"/>
                  <a:gd name="connsiteY15" fmla="*/ 134398 h 205740"/>
                  <a:gd name="connsiteX16" fmla="*/ 7906 w 459581"/>
                  <a:gd name="connsiteY16" fmla="*/ 142304 h 205740"/>
                  <a:gd name="connsiteX17" fmla="*/ 23717 w 459581"/>
                  <a:gd name="connsiteY17" fmla="*/ 174022 h 205740"/>
                  <a:gd name="connsiteX18" fmla="*/ 31623 w 459581"/>
                  <a:gd name="connsiteY18" fmla="*/ 166116 h 205740"/>
                  <a:gd name="connsiteX19" fmla="*/ 39529 w 459581"/>
                  <a:gd name="connsiteY19" fmla="*/ 150304 h 205740"/>
                  <a:gd name="connsiteX20" fmla="*/ 55340 w 459581"/>
                  <a:gd name="connsiteY20" fmla="*/ 142399 h 205740"/>
                  <a:gd name="connsiteX21" fmla="*/ 71152 w 459581"/>
                  <a:gd name="connsiteY21" fmla="*/ 142399 h 205740"/>
                  <a:gd name="connsiteX22" fmla="*/ 79057 w 459581"/>
                  <a:gd name="connsiteY22" fmla="*/ 134493 h 205740"/>
                  <a:gd name="connsiteX23" fmla="*/ 94964 w 459581"/>
                  <a:gd name="connsiteY23" fmla="*/ 126587 h 205740"/>
                  <a:gd name="connsiteX24" fmla="*/ 102870 w 459581"/>
                  <a:gd name="connsiteY24" fmla="*/ 118682 h 205740"/>
                  <a:gd name="connsiteX25" fmla="*/ 94964 w 459581"/>
                  <a:gd name="connsiteY25" fmla="*/ 94869 h 205740"/>
                  <a:gd name="connsiteX26" fmla="*/ 47434 w 459581"/>
                  <a:gd name="connsiteY26" fmla="*/ 102775 h 205740"/>
                  <a:gd name="connsiteX27" fmla="*/ 443770 w 459581"/>
                  <a:gd name="connsiteY27" fmla="*/ 150304 h 205740"/>
                  <a:gd name="connsiteX28" fmla="*/ 427958 w 459581"/>
                  <a:gd name="connsiteY28" fmla="*/ 142399 h 205740"/>
                  <a:gd name="connsiteX29" fmla="*/ 443770 w 459581"/>
                  <a:gd name="connsiteY29" fmla="*/ 110776 h 205740"/>
                  <a:gd name="connsiteX30" fmla="*/ 419957 w 459581"/>
                  <a:gd name="connsiteY30" fmla="*/ 102870 h 205740"/>
                  <a:gd name="connsiteX31" fmla="*/ 419957 w 459581"/>
                  <a:gd name="connsiteY31" fmla="*/ 79058 h 205740"/>
                  <a:gd name="connsiteX32" fmla="*/ 435769 w 459581"/>
                  <a:gd name="connsiteY32" fmla="*/ 63246 h 205740"/>
                  <a:gd name="connsiteX33" fmla="*/ 443674 w 459581"/>
                  <a:gd name="connsiteY33" fmla="*/ 63246 h 205740"/>
                  <a:gd name="connsiteX34" fmla="*/ 451580 w 459581"/>
                  <a:gd name="connsiteY34" fmla="*/ 55340 h 205740"/>
                  <a:gd name="connsiteX35" fmla="*/ 443674 w 459581"/>
                  <a:gd name="connsiteY35" fmla="*/ 39529 h 205740"/>
                  <a:gd name="connsiteX36" fmla="*/ 451580 w 459581"/>
                  <a:gd name="connsiteY36" fmla="*/ 23717 h 205740"/>
                  <a:gd name="connsiteX37" fmla="*/ 435769 w 459581"/>
                  <a:gd name="connsiteY37" fmla="*/ 15812 h 205740"/>
                  <a:gd name="connsiteX38" fmla="*/ 411956 w 459581"/>
                  <a:gd name="connsiteY38" fmla="*/ 15812 h 205740"/>
                  <a:gd name="connsiteX39" fmla="*/ 388144 w 459581"/>
                  <a:gd name="connsiteY39" fmla="*/ 7906 h 205740"/>
                  <a:gd name="connsiteX40" fmla="*/ 364331 w 459581"/>
                  <a:gd name="connsiteY40" fmla="*/ 7906 h 205740"/>
                  <a:gd name="connsiteX41" fmla="*/ 348520 w 459581"/>
                  <a:gd name="connsiteY41" fmla="*/ 0 h 205740"/>
                  <a:gd name="connsiteX42" fmla="*/ 269272 w 459581"/>
                  <a:gd name="connsiteY42" fmla="*/ 0 h 205740"/>
                  <a:gd name="connsiteX43" fmla="*/ 253460 w 459581"/>
                  <a:gd name="connsiteY43" fmla="*/ 7906 h 205740"/>
                  <a:gd name="connsiteX44" fmla="*/ 205930 w 459581"/>
                  <a:gd name="connsiteY44" fmla="*/ 7906 h 205740"/>
                  <a:gd name="connsiteX45" fmla="*/ 198025 w 459581"/>
                  <a:gd name="connsiteY45" fmla="*/ 15812 h 205740"/>
                  <a:gd name="connsiteX46" fmla="*/ 166306 w 459581"/>
                  <a:gd name="connsiteY46" fmla="*/ 31623 h 205740"/>
                  <a:gd name="connsiteX47" fmla="*/ 142494 w 459581"/>
                  <a:gd name="connsiteY47" fmla="*/ 39529 h 205740"/>
                  <a:gd name="connsiteX48" fmla="*/ 126682 w 459581"/>
                  <a:gd name="connsiteY48" fmla="*/ 47435 h 205740"/>
                  <a:gd name="connsiteX49" fmla="*/ 118777 w 459581"/>
                  <a:gd name="connsiteY49" fmla="*/ 47435 h 205740"/>
                  <a:gd name="connsiteX50" fmla="*/ 110871 w 459581"/>
                  <a:gd name="connsiteY50" fmla="*/ 55340 h 205740"/>
                  <a:gd name="connsiteX51" fmla="*/ 110871 w 459581"/>
                  <a:gd name="connsiteY51" fmla="*/ 63246 h 205740"/>
                  <a:gd name="connsiteX52" fmla="*/ 118777 w 459581"/>
                  <a:gd name="connsiteY52" fmla="*/ 79058 h 205740"/>
                  <a:gd name="connsiteX53" fmla="*/ 118777 w 459581"/>
                  <a:gd name="connsiteY53" fmla="*/ 94869 h 205740"/>
                  <a:gd name="connsiteX54" fmla="*/ 126682 w 459581"/>
                  <a:gd name="connsiteY54" fmla="*/ 102775 h 205740"/>
                  <a:gd name="connsiteX55" fmla="*/ 126682 w 459581"/>
                  <a:gd name="connsiteY55" fmla="*/ 110681 h 205740"/>
                  <a:gd name="connsiteX56" fmla="*/ 198025 w 459581"/>
                  <a:gd name="connsiteY56" fmla="*/ 118586 h 205740"/>
                  <a:gd name="connsiteX57" fmla="*/ 182118 w 459581"/>
                  <a:gd name="connsiteY57" fmla="*/ 166116 h 205740"/>
                  <a:gd name="connsiteX58" fmla="*/ 198025 w 459581"/>
                  <a:gd name="connsiteY58" fmla="*/ 166116 h 205740"/>
                  <a:gd name="connsiteX59" fmla="*/ 237649 w 459581"/>
                  <a:gd name="connsiteY59" fmla="*/ 150304 h 205740"/>
                  <a:gd name="connsiteX60" fmla="*/ 277273 w 459581"/>
                  <a:gd name="connsiteY60" fmla="*/ 150304 h 205740"/>
                  <a:gd name="connsiteX61" fmla="*/ 308991 w 459581"/>
                  <a:gd name="connsiteY61" fmla="*/ 166116 h 205740"/>
                  <a:gd name="connsiteX62" fmla="*/ 316897 w 459581"/>
                  <a:gd name="connsiteY62" fmla="*/ 174022 h 205740"/>
                  <a:gd name="connsiteX63" fmla="*/ 332708 w 459581"/>
                  <a:gd name="connsiteY63" fmla="*/ 181928 h 205740"/>
                  <a:gd name="connsiteX64" fmla="*/ 356521 w 459581"/>
                  <a:gd name="connsiteY64" fmla="*/ 205740 h 205740"/>
                  <a:gd name="connsiteX65" fmla="*/ 380333 w 459581"/>
                  <a:gd name="connsiteY65" fmla="*/ 205740 h 205740"/>
                  <a:gd name="connsiteX66" fmla="*/ 388239 w 459581"/>
                  <a:gd name="connsiteY66" fmla="*/ 197834 h 205740"/>
                  <a:gd name="connsiteX67" fmla="*/ 412051 w 459581"/>
                  <a:gd name="connsiteY67" fmla="*/ 197834 h 205740"/>
                  <a:gd name="connsiteX68" fmla="*/ 419957 w 459581"/>
                  <a:gd name="connsiteY68" fmla="*/ 205740 h 205740"/>
                  <a:gd name="connsiteX69" fmla="*/ 435769 w 459581"/>
                  <a:gd name="connsiteY69" fmla="*/ 205740 h 205740"/>
                  <a:gd name="connsiteX70" fmla="*/ 435769 w 459581"/>
                  <a:gd name="connsiteY70" fmla="*/ 189929 h 205740"/>
                  <a:gd name="connsiteX71" fmla="*/ 459581 w 459581"/>
                  <a:gd name="connsiteY71" fmla="*/ 174117 h 205740"/>
                  <a:gd name="connsiteX72" fmla="*/ 443770 w 459581"/>
                  <a:gd name="connsiteY72" fmla="*/ 150304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59581" h="205740">
                    <a:moveTo>
                      <a:pt x="47530" y="86963"/>
                    </a:moveTo>
                    <a:lnTo>
                      <a:pt x="63341" y="86963"/>
                    </a:lnTo>
                    <a:lnTo>
                      <a:pt x="71247" y="71152"/>
                    </a:lnTo>
                    <a:lnTo>
                      <a:pt x="79153" y="63246"/>
                    </a:lnTo>
                    <a:lnTo>
                      <a:pt x="79153" y="55340"/>
                    </a:lnTo>
                    <a:lnTo>
                      <a:pt x="71247" y="47435"/>
                    </a:lnTo>
                    <a:lnTo>
                      <a:pt x="63341" y="47435"/>
                    </a:lnTo>
                    <a:lnTo>
                      <a:pt x="47530" y="55340"/>
                    </a:lnTo>
                    <a:lnTo>
                      <a:pt x="39624" y="63246"/>
                    </a:lnTo>
                    <a:lnTo>
                      <a:pt x="31718" y="79058"/>
                    </a:lnTo>
                    <a:lnTo>
                      <a:pt x="39624" y="86963"/>
                    </a:lnTo>
                    <a:lnTo>
                      <a:pt x="47530" y="86963"/>
                    </a:lnTo>
                    <a:close/>
                    <a:moveTo>
                      <a:pt x="47530" y="102775"/>
                    </a:moveTo>
                    <a:lnTo>
                      <a:pt x="7906" y="102775"/>
                    </a:lnTo>
                    <a:lnTo>
                      <a:pt x="0" y="110681"/>
                    </a:lnTo>
                    <a:lnTo>
                      <a:pt x="0" y="134398"/>
                    </a:lnTo>
                    <a:lnTo>
                      <a:pt x="7906" y="142304"/>
                    </a:lnTo>
                    <a:lnTo>
                      <a:pt x="23717" y="174022"/>
                    </a:lnTo>
                    <a:lnTo>
                      <a:pt x="31623" y="166116"/>
                    </a:lnTo>
                    <a:lnTo>
                      <a:pt x="39529" y="150304"/>
                    </a:lnTo>
                    <a:lnTo>
                      <a:pt x="55340" y="142399"/>
                    </a:lnTo>
                    <a:lnTo>
                      <a:pt x="71152" y="142399"/>
                    </a:lnTo>
                    <a:lnTo>
                      <a:pt x="79057" y="134493"/>
                    </a:lnTo>
                    <a:lnTo>
                      <a:pt x="94964" y="126587"/>
                    </a:lnTo>
                    <a:lnTo>
                      <a:pt x="102870" y="118682"/>
                    </a:lnTo>
                    <a:lnTo>
                      <a:pt x="94964" y="94869"/>
                    </a:lnTo>
                    <a:lnTo>
                      <a:pt x="47434" y="102775"/>
                    </a:lnTo>
                    <a:close/>
                    <a:moveTo>
                      <a:pt x="443770" y="150304"/>
                    </a:moveTo>
                    <a:lnTo>
                      <a:pt x="427958" y="142399"/>
                    </a:lnTo>
                    <a:lnTo>
                      <a:pt x="443770" y="110776"/>
                    </a:lnTo>
                    <a:lnTo>
                      <a:pt x="419957" y="102870"/>
                    </a:lnTo>
                    <a:lnTo>
                      <a:pt x="419957" y="79058"/>
                    </a:lnTo>
                    <a:lnTo>
                      <a:pt x="435769" y="63246"/>
                    </a:lnTo>
                    <a:lnTo>
                      <a:pt x="443674" y="63246"/>
                    </a:lnTo>
                    <a:lnTo>
                      <a:pt x="451580" y="55340"/>
                    </a:lnTo>
                    <a:lnTo>
                      <a:pt x="443674" y="39529"/>
                    </a:lnTo>
                    <a:lnTo>
                      <a:pt x="451580" y="23717"/>
                    </a:lnTo>
                    <a:lnTo>
                      <a:pt x="435769" y="15812"/>
                    </a:lnTo>
                    <a:lnTo>
                      <a:pt x="411956" y="15812"/>
                    </a:lnTo>
                    <a:lnTo>
                      <a:pt x="388144" y="7906"/>
                    </a:lnTo>
                    <a:lnTo>
                      <a:pt x="364331" y="7906"/>
                    </a:lnTo>
                    <a:lnTo>
                      <a:pt x="348520" y="0"/>
                    </a:lnTo>
                    <a:lnTo>
                      <a:pt x="269272" y="0"/>
                    </a:lnTo>
                    <a:lnTo>
                      <a:pt x="253460" y="7906"/>
                    </a:lnTo>
                    <a:lnTo>
                      <a:pt x="205930" y="7906"/>
                    </a:lnTo>
                    <a:lnTo>
                      <a:pt x="198025" y="15812"/>
                    </a:lnTo>
                    <a:lnTo>
                      <a:pt x="166306" y="31623"/>
                    </a:lnTo>
                    <a:lnTo>
                      <a:pt x="142494" y="39529"/>
                    </a:lnTo>
                    <a:lnTo>
                      <a:pt x="126682" y="47435"/>
                    </a:lnTo>
                    <a:lnTo>
                      <a:pt x="118777" y="47435"/>
                    </a:lnTo>
                    <a:lnTo>
                      <a:pt x="110871" y="55340"/>
                    </a:lnTo>
                    <a:lnTo>
                      <a:pt x="110871" y="63246"/>
                    </a:lnTo>
                    <a:lnTo>
                      <a:pt x="118777" y="79058"/>
                    </a:lnTo>
                    <a:lnTo>
                      <a:pt x="118777" y="94869"/>
                    </a:lnTo>
                    <a:lnTo>
                      <a:pt x="126682" y="102775"/>
                    </a:lnTo>
                    <a:lnTo>
                      <a:pt x="126682" y="110681"/>
                    </a:lnTo>
                    <a:lnTo>
                      <a:pt x="198025" y="118586"/>
                    </a:lnTo>
                    <a:lnTo>
                      <a:pt x="182118" y="166116"/>
                    </a:lnTo>
                    <a:lnTo>
                      <a:pt x="198025" y="166116"/>
                    </a:lnTo>
                    <a:lnTo>
                      <a:pt x="237649" y="150304"/>
                    </a:lnTo>
                    <a:lnTo>
                      <a:pt x="277273" y="150304"/>
                    </a:lnTo>
                    <a:lnTo>
                      <a:pt x="308991" y="166116"/>
                    </a:lnTo>
                    <a:lnTo>
                      <a:pt x="316897" y="174022"/>
                    </a:lnTo>
                    <a:lnTo>
                      <a:pt x="332708" y="181928"/>
                    </a:lnTo>
                    <a:lnTo>
                      <a:pt x="356521" y="205740"/>
                    </a:lnTo>
                    <a:lnTo>
                      <a:pt x="380333" y="205740"/>
                    </a:lnTo>
                    <a:lnTo>
                      <a:pt x="388239" y="197834"/>
                    </a:lnTo>
                    <a:lnTo>
                      <a:pt x="412051" y="197834"/>
                    </a:lnTo>
                    <a:lnTo>
                      <a:pt x="419957" y="205740"/>
                    </a:lnTo>
                    <a:lnTo>
                      <a:pt x="435769" y="205740"/>
                    </a:lnTo>
                    <a:lnTo>
                      <a:pt x="435769" y="189929"/>
                    </a:lnTo>
                    <a:lnTo>
                      <a:pt x="459581" y="174117"/>
                    </a:lnTo>
                    <a:lnTo>
                      <a:pt x="443770" y="150304"/>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126" name="Freeform: Shape 125">
                <a:extLst>
                  <a:ext uri="{FF2B5EF4-FFF2-40B4-BE49-F238E27FC236}">
                    <a16:creationId xmlns:a16="http://schemas.microsoft.com/office/drawing/2014/main" id="{537D8579-7C6A-98CF-AD0F-AB921188C1DE}"/>
                  </a:ext>
                </a:extLst>
              </p:cNvPr>
              <p:cNvSpPr/>
              <p:nvPr/>
            </p:nvSpPr>
            <p:spPr>
              <a:xfrm>
                <a:off x="7013448" y="2808350"/>
                <a:ext cx="459581" cy="205740"/>
              </a:xfrm>
              <a:custGeom>
                <a:avLst/>
                <a:gdLst>
                  <a:gd name="connsiteX0" fmla="*/ 47530 w 459581"/>
                  <a:gd name="connsiteY0" fmla="*/ 86963 h 205740"/>
                  <a:gd name="connsiteX1" fmla="*/ 63341 w 459581"/>
                  <a:gd name="connsiteY1" fmla="*/ 86963 h 205740"/>
                  <a:gd name="connsiteX2" fmla="*/ 71247 w 459581"/>
                  <a:gd name="connsiteY2" fmla="*/ 71152 h 205740"/>
                  <a:gd name="connsiteX3" fmla="*/ 79153 w 459581"/>
                  <a:gd name="connsiteY3" fmla="*/ 63246 h 205740"/>
                  <a:gd name="connsiteX4" fmla="*/ 79153 w 459581"/>
                  <a:gd name="connsiteY4" fmla="*/ 55340 h 205740"/>
                  <a:gd name="connsiteX5" fmla="*/ 71247 w 459581"/>
                  <a:gd name="connsiteY5" fmla="*/ 47435 h 205740"/>
                  <a:gd name="connsiteX6" fmla="*/ 63341 w 459581"/>
                  <a:gd name="connsiteY6" fmla="*/ 47435 h 205740"/>
                  <a:gd name="connsiteX7" fmla="*/ 47530 w 459581"/>
                  <a:gd name="connsiteY7" fmla="*/ 55340 h 205740"/>
                  <a:gd name="connsiteX8" fmla="*/ 39624 w 459581"/>
                  <a:gd name="connsiteY8" fmla="*/ 63246 h 205740"/>
                  <a:gd name="connsiteX9" fmla="*/ 31718 w 459581"/>
                  <a:gd name="connsiteY9" fmla="*/ 79058 h 205740"/>
                  <a:gd name="connsiteX10" fmla="*/ 39624 w 459581"/>
                  <a:gd name="connsiteY10" fmla="*/ 86963 h 205740"/>
                  <a:gd name="connsiteX11" fmla="*/ 47530 w 459581"/>
                  <a:gd name="connsiteY11" fmla="*/ 86963 h 205740"/>
                  <a:gd name="connsiteX12" fmla="*/ 47530 w 459581"/>
                  <a:gd name="connsiteY12" fmla="*/ 102775 h 205740"/>
                  <a:gd name="connsiteX13" fmla="*/ 7906 w 459581"/>
                  <a:gd name="connsiteY13" fmla="*/ 102775 h 205740"/>
                  <a:gd name="connsiteX14" fmla="*/ 0 w 459581"/>
                  <a:gd name="connsiteY14" fmla="*/ 110681 h 205740"/>
                  <a:gd name="connsiteX15" fmla="*/ 0 w 459581"/>
                  <a:gd name="connsiteY15" fmla="*/ 134398 h 205740"/>
                  <a:gd name="connsiteX16" fmla="*/ 7906 w 459581"/>
                  <a:gd name="connsiteY16" fmla="*/ 142304 h 205740"/>
                  <a:gd name="connsiteX17" fmla="*/ 23717 w 459581"/>
                  <a:gd name="connsiteY17" fmla="*/ 174022 h 205740"/>
                  <a:gd name="connsiteX18" fmla="*/ 31623 w 459581"/>
                  <a:gd name="connsiteY18" fmla="*/ 166116 h 205740"/>
                  <a:gd name="connsiteX19" fmla="*/ 39529 w 459581"/>
                  <a:gd name="connsiteY19" fmla="*/ 150304 h 205740"/>
                  <a:gd name="connsiteX20" fmla="*/ 55340 w 459581"/>
                  <a:gd name="connsiteY20" fmla="*/ 142399 h 205740"/>
                  <a:gd name="connsiteX21" fmla="*/ 71152 w 459581"/>
                  <a:gd name="connsiteY21" fmla="*/ 142399 h 205740"/>
                  <a:gd name="connsiteX22" fmla="*/ 79057 w 459581"/>
                  <a:gd name="connsiteY22" fmla="*/ 134493 h 205740"/>
                  <a:gd name="connsiteX23" fmla="*/ 94964 w 459581"/>
                  <a:gd name="connsiteY23" fmla="*/ 126587 h 205740"/>
                  <a:gd name="connsiteX24" fmla="*/ 102870 w 459581"/>
                  <a:gd name="connsiteY24" fmla="*/ 118682 h 205740"/>
                  <a:gd name="connsiteX25" fmla="*/ 94964 w 459581"/>
                  <a:gd name="connsiteY25" fmla="*/ 94869 h 205740"/>
                  <a:gd name="connsiteX26" fmla="*/ 47434 w 459581"/>
                  <a:gd name="connsiteY26" fmla="*/ 102775 h 205740"/>
                  <a:gd name="connsiteX27" fmla="*/ 443770 w 459581"/>
                  <a:gd name="connsiteY27" fmla="*/ 150304 h 205740"/>
                  <a:gd name="connsiteX28" fmla="*/ 427958 w 459581"/>
                  <a:gd name="connsiteY28" fmla="*/ 142399 h 205740"/>
                  <a:gd name="connsiteX29" fmla="*/ 443770 w 459581"/>
                  <a:gd name="connsiteY29" fmla="*/ 110776 h 205740"/>
                  <a:gd name="connsiteX30" fmla="*/ 419957 w 459581"/>
                  <a:gd name="connsiteY30" fmla="*/ 102870 h 205740"/>
                  <a:gd name="connsiteX31" fmla="*/ 419957 w 459581"/>
                  <a:gd name="connsiteY31" fmla="*/ 79058 h 205740"/>
                  <a:gd name="connsiteX32" fmla="*/ 435769 w 459581"/>
                  <a:gd name="connsiteY32" fmla="*/ 63246 h 205740"/>
                  <a:gd name="connsiteX33" fmla="*/ 443674 w 459581"/>
                  <a:gd name="connsiteY33" fmla="*/ 63246 h 205740"/>
                  <a:gd name="connsiteX34" fmla="*/ 451580 w 459581"/>
                  <a:gd name="connsiteY34" fmla="*/ 55340 h 205740"/>
                  <a:gd name="connsiteX35" fmla="*/ 443674 w 459581"/>
                  <a:gd name="connsiteY35" fmla="*/ 39529 h 205740"/>
                  <a:gd name="connsiteX36" fmla="*/ 451580 w 459581"/>
                  <a:gd name="connsiteY36" fmla="*/ 23717 h 205740"/>
                  <a:gd name="connsiteX37" fmla="*/ 435769 w 459581"/>
                  <a:gd name="connsiteY37" fmla="*/ 15812 h 205740"/>
                  <a:gd name="connsiteX38" fmla="*/ 411956 w 459581"/>
                  <a:gd name="connsiteY38" fmla="*/ 15812 h 205740"/>
                  <a:gd name="connsiteX39" fmla="*/ 388144 w 459581"/>
                  <a:gd name="connsiteY39" fmla="*/ 7906 h 205740"/>
                  <a:gd name="connsiteX40" fmla="*/ 364331 w 459581"/>
                  <a:gd name="connsiteY40" fmla="*/ 7906 h 205740"/>
                  <a:gd name="connsiteX41" fmla="*/ 348520 w 459581"/>
                  <a:gd name="connsiteY41" fmla="*/ 0 h 205740"/>
                  <a:gd name="connsiteX42" fmla="*/ 269272 w 459581"/>
                  <a:gd name="connsiteY42" fmla="*/ 0 h 205740"/>
                  <a:gd name="connsiteX43" fmla="*/ 253460 w 459581"/>
                  <a:gd name="connsiteY43" fmla="*/ 7906 h 205740"/>
                  <a:gd name="connsiteX44" fmla="*/ 205930 w 459581"/>
                  <a:gd name="connsiteY44" fmla="*/ 7906 h 205740"/>
                  <a:gd name="connsiteX45" fmla="*/ 198025 w 459581"/>
                  <a:gd name="connsiteY45" fmla="*/ 15812 h 205740"/>
                  <a:gd name="connsiteX46" fmla="*/ 166306 w 459581"/>
                  <a:gd name="connsiteY46" fmla="*/ 31623 h 205740"/>
                  <a:gd name="connsiteX47" fmla="*/ 142494 w 459581"/>
                  <a:gd name="connsiteY47" fmla="*/ 39529 h 205740"/>
                  <a:gd name="connsiteX48" fmla="*/ 126682 w 459581"/>
                  <a:gd name="connsiteY48" fmla="*/ 47435 h 205740"/>
                  <a:gd name="connsiteX49" fmla="*/ 118777 w 459581"/>
                  <a:gd name="connsiteY49" fmla="*/ 47435 h 205740"/>
                  <a:gd name="connsiteX50" fmla="*/ 110871 w 459581"/>
                  <a:gd name="connsiteY50" fmla="*/ 55340 h 205740"/>
                  <a:gd name="connsiteX51" fmla="*/ 110871 w 459581"/>
                  <a:gd name="connsiteY51" fmla="*/ 63246 h 205740"/>
                  <a:gd name="connsiteX52" fmla="*/ 118777 w 459581"/>
                  <a:gd name="connsiteY52" fmla="*/ 79058 h 205740"/>
                  <a:gd name="connsiteX53" fmla="*/ 118777 w 459581"/>
                  <a:gd name="connsiteY53" fmla="*/ 94869 h 205740"/>
                  <a:gd name="connsiteX54" fmla="*/ 126682 w 459581"/>
                  <a:gd name="connsiteY54" fmla="*/ 102775 h 205740"/>
                  <a:gd name="connsiteX55" fmla="*/ 126682 w 459581"/>
                  <a:gd name="connsiteY55" fmla="*/ 110681 h 205740"/>
                  <a:gd name="connsiteX56" fmla="*/ 198025 w 459581"/>
                  <a:gd name="connsiteY56" fmla="*/ 118586 h 205740"/>
                  <a:gd name="connsiteX57" fmla="*/ 182118 w 459581"/>
                  <a:gd name="connsiteY57" fmla="*/ 166116 h 205740"/>
                  <a:gd name="connsiteX58" fmla="*/ 198025 w 459581"/>
                  <a:gd name="connsiteY58" fmla="*/ 166116 h 205740"/>
                  <a:gd name="connsiteX59" fmla="*/ 237649 w 459581"/>
                  <a:gd name="connsiteY59" fmla="*/ 150304 h 205740"/>
                  <a:gd name="connsiteX60" fmla="*/ 277273 w 459581"/>
                  <a:gd name="connsiteY60" fmla="*/ 150304 h 205740"/>
                  <a:gd name="connsiteX61" fmla="*/ 308991 w 459581"/>
                  <a:gd name="connsiteY61" fmla="*/ 166116 h 205740"/>
                  <a:gd name="connsiteX62" fmla="*/ 316897 w 459581"/>
                  <a:gd name="connsiteY62" fmla="*/ 174022 h 205740"/>
                  <a:gd name="connsiteX63" fmla="*/ 332708 w 459581"/>
                  <a:gd name="connsiteY63" fmla="*/ 181928 h 205740"/>
                  <a:gd name="connsiteX64" fmla="*/ 356521 w 459581"/>
                  <a:gd name="connsiteY64" fmla="*/ 205740 h 205740"/>
                  <a:gd name="connsiteX65" fmla="*/ 380333 w 459581"/>
                  <a:gd name="connsiteY65" fmla="*/ 205740 h 205740"/>
                  <a:gd name="connsiteX66" fmla="*/ 388239 w 459581"/>
                  <a:gd name="connsiteY66" fmla="*/ 197834 h 205740"/>
                  <a:gd name="connsiteX67" fmla="*/ 412051 w 459581"/>
                  <a:gd name="connsiteY67" fmla="*/ 197834 h 205740"/>
                  <a:gd name="connsiteX68" fmla="*/ 419957 w 459581"/>
                  <a:gd name="connsiteY68" fmla="*/ 205740 h 205740"/>
                  <a:gd name="connsiteX69" fmla="*/ 435769 w 459581"/>
                  <a:gd name="connsiteY69" fmla="*/ 205740 h 205740"/>
                  <a:gd name="connsiteX70" fmla="*/ 435769 w 459581"/>
                  <a:gd name="connsiteY70" fmla="*/ 189929 h 205740"/>
                  <a:gd name="connsiteX71" fmla="*/ 459581 w 459581"/>
                  <a:gd name="connsiteY71" fmla="*/ 174117 h 205740"/>
                  <a:gd name="connsiteX72" fmla="*/ 443770 w 459581"/>
                  <a:gd name="connsiteY72" fmla="*/ 150304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59581" h="205740">
                    <a:moveTo>
                      <a:pt x="47530" y="86963"/>
                    </a:moveTo>
                    <a:lnTo>
                      <a:pt x="63341" y="86963"/>
                    </a:lnTo>
                    <a:lnTo>
                      <a:pt x="71247" y="71152"/>
                    </a:lnTo>
                    <a:lnTo>
                      <a:pt x="79153" y="63246"/>
                    </a:lnTo>
                    <a:lnTo>
                      <a:pt x="79153" y="55340"/>
                    </a:lnTo>
                    <a:lnTo>
                      <a:pt x="71247" y="47435"/>
                    </a:lnTo>
                    <a:lnTo>
                      <a:pt x="63341" y="47435"/>
                    </a:lnTo>
                    <a:lnTo>
                      <a:pt x="47530" y="55340"/>
                    </a:lnTo>
                    <a:lnTo>
                      <a:pt x="39624" y="63246"/>
                    </a:lnTo>
                    <a:lnTo>
                      <a:pt x="31718" y="79058"/>
                    </a:lnTo>
                    <a:lnTo>
                      <a:pt x="39624" y="86963"/>
                    </a:lnTo>
                    <a:lnTo>
                      <a:pt x="47530" y="86963"/>
                    </a:lnTo>
                    <a:close/>
                    <a:moveTo>
                      <a:pt x="47530" y="102775"/>
                    </a:moveTo>
                    <a:lnTo>
                      <a:pt x="7906" y="102775"/>
                    </a:lnTo>
                    <a:lnTo>
                      <a:pt x="0" y="110681"/>
                    </a:lnTo>
                    <a:lnTo>
                      <a:pt x="0" y="134398"/>
                    </a:lnTo>
                    <a:lnTo>
                      <a:pt x="7906" y="142304"/>
                    </a:lnTo>
                    <a:lnTo>
                      <a:pt x="23717" y="174022"/>
                    </a:lnTo>
                    <a:lnTo>
                      <a:pt x="31623" y="166116"/>
                    </a:lnTo>
                    <a:lnTo>
                      <a:pt x="39529" y="150304"/>
                    </a:lnTo>
                    <a:lnTo>
                      <a:pt x="55340" y="142399"/>
                    </a:lnTo>
                    <a:lnTo>
                      <a:pt x="71152" y="142399"/>
                    </a:lnTo>
                    <a:lnTo>
                      <a:pt x="79057" y="134493"/>
                    </a:lnTo>
                    <a:lnTo>
                      <a:pt x="94964" y="126587"/>
                    </a:lnTo>
                    <a:lnTo>
                      <a:pt x="102870" y="118682"/>
                    </a:lnTo>
                    <a:lnTo>
                      <a:pt x="94964" y="94869"/>
                    </a:lnTo>
                    <a:lnTo>
                      <a:pt x="47434" y="102775"/>
                    </a:lnTo>
                    <a:close/>
                    <a:moveTo>
                      <a:pt x="443770" y="150304"/>
                    </a:moveTo>
                    <a:lnTo>
                      <a:pt x="427958" y="142399"/>
                    </a:lnTo>
                    <a:lnTo>
                      <a:pt x="443770" y="110776"/>
                    </a:lnTo>
                    <a:lnTo>
                      <a:pt x="419957" y="102870"/>
                    </a:lnTo>
                    <a:lnTo>
                      <a:pt x="419957" y="79058"/>
                    </a:lnTo>
                    <a:lnTo>
                      <a:pt x="435769" y="63246"/>
                    </a:lnTo>
                    <a:lnTo>
                      <a:pt x="443674" y="63246"/>
                    </a:lnTo>
                    <a:lnTo>
                      <a:pt x="451580" y="55340"/>
                    </a:lnTo>
                    <a:lnTo>
                      <a:pt x="443674" y="39529"/>
                    </a:lnTo>
                    <a:lnTo>
                      <a:pt x="451580" y="23717"/>
                    </a:lnTo>
                    <a:lnTo>
                      <a:pt x="435769" y="15812"/>
                    </a:lnTo>
                    <a:lnTo>
                      <a:pt x="411956" y="15812"/>
                    </a:lnTo>
                    <a:lnTo>
                      <a:pt x="388144" y="7906"/>
                    </a:lnTo>
                    <a:lnTo>
                      <a:pt x="364331" y="7906"/>
                    </a:lnTo>
                    <a:lnTo>
                      <a:pt x="348520" y="0"/>
                    </a:lnTo>
                    <a:lnTo>
                      <a:pt x="269272" y="0"/>
                    </a:lnTo>
                    <a:lnTo>
                      <a:pt x="253460" y="7906"/>
                    </a:lnTo>
                    <a:lnTo>
                      <a:pt x="205930" y="7906"/>
                    </a:lnTo>
                    <a:lnTo>
                      <a:pt x="198025" y="15812"/>
                    </a:lnTo>
                    <a:lnTo>
                      <a:pt x="166306" y="31623"/>
                    </a:lnTo>
                    <a:lnTo>
                      <a:pt x="142494" y="39529"/>
                    </a:lnTo>
                    <a:lnTo>
                      <a:pt x="126682" y="47435"/>
                    </a:lnTo>
                    <a:lnTo>
                      <a:pt x="118777" y="47435"/>
                    </a:lnTo>
                    <a:lnTo>
                      <a:pt x="110871" y="55340"/>
                    </a:lnTo>
                    <a:lnTo>
                      <a:pt x="110871" y="63246"/>
                    </a:lnTo>
                    <a:lnTo>
                      <a:pt x="118777" y="79058"/>
                    </a:lnTo>
                    <a:lnTo>
                      <a:pt x="118777" y="94869"/>
                    </a:lnTo>
                    <a:lnTo>
                      <a:pt x="126682" y="102775"/>
                    </a:lnTo>
                    <a:lnTo>
                      <a:pt x="126682" y="110681"/>
                    </a:lnTo>
                    <a:lnTo>
                      <a:pt x="198025" y="118586"/>
                    </a:lnTo>
                    <a:lnTo>
                      <a:pt x="182118" y="166116"/>
                    </a:lnTo>
                    <a:lnTo>
                      <a:pt x="198025" y="166116"/>
                    </a:lnTo>
                    <a:lnTo>
                      <a:pt x="237649" y="150304"/>
                    </a:lnTo>
                    <a:lnTo>
                      <a:pt x="277273" y="150304"/>
                    </a:lnTo>
                    <a:lnTo>
                      <a:pt x="308991" y="166116"/>
                    </a:lnTo>
                    <a:lnTo>
                      <a:pt x="316897" y="174022"/>
                    </a:lnTo>
                    <a:lnTo>
                      <a:pt x="332708" y="181928"/>
                    </a:lnTo>
                    <a:lnTo>
                      <a:pt x="356521" y="205740"/>
                    </a:lnTo>
                    <a:lnTo>
                      <a:pt x="380333" y="205740"/>
                    </a:lnTo>
                    <a:lnTo>
                      <a:pt x="388239" y="197834"/>
                    </a:lnTo>
                    <a:lnTo>
                      <a:pt x="412051" y="197834"/>
                    </a:lnTo>
                    <a:lnTo>
                      <a:pt x="419957" y="205740"/>
                    </a:lnTo>
                    <a:lnTo>
                      <a:pt x="435769" y="205740"/>
                    </a:lnTo>
                    <a:lnTo>
                      <a:pt x="435769" y="189929"/>
                    </a:lnTo>
                    <a:lnTo>
                      <a:pt x="459581" y="174117"/>
                    </a:lnTo>
                    <a:lnTo>
                      <a:pt x="443770" y="150304"/>
                    </a:lnTo>
                    <a:close/>
                  </a:path>
                </a:pathLst>
              </a:custGeom>
              <a:noFill/>
              <a:ln w="4763" cap="flat">
                <a:noFill/>
                <a:prstDash val="solid"/>
                <a:miter/>
              </a:ln>
            </p:spPr>
            <p:txBody>
              <a:bodyPr rtlCol="0" anchor="ctr"/>
              <a:lstStyle/>
              <a:p>
                <a:endParaRPr lang="en-GB"/>
              </a:p>
            </p:txBody>
          </p:sp>
          <p:sp>
            <p:nvSpPr>
              <p:cNvPr id="127" name="Freeform: Shape 126">
                <a:extLst>
                  <a:ext uri="{FF2B5EF4-FFF2-40B4-BE49-F238E27FC236}">
                    <a16:creationId xmlns:a16="http://schemas.microsoft.com/office/drawing/2014/main" id="{2FAFD679-1AB0-B5D8-28C6-AC89249EDF51}"/>
                  </a:ext>
                </a:extLst>
              </p:cNvPr>
              <p:cNvSpPr/>
              <p:nvPr/>
            </p:nvSpPr>
            <p:spPr>
              <a:xfrm>
                <a:off x="5959983" y="3003422"/>
                <a:ext cx="366807" cy="310895"/>
              </a:xfrm>
              <a:custGeom>
                <a:avLst/>
                <a:gdLst>
                  <a:gd name="connsiteX0" fmla="*/ 149828 w 366807"/>
                  <a:gd name="connsiteY0" fmla="*/ 196882 h 310895"/>
                  <a:gd name="connsiteX1" fmla="*/ 160115 w 366807"/>
                  <a:gd name="connsiteY1" fmla="*/ 248698 h 310895"/>
                  <a:gd name="connsiteX2" fmla="*/ 185928 w 366807"/>
                  <a:gd name="connsiteY2" fmla="*/ 274606 h 310895"/>
                  <a:gd name="connsiteX3" fmla="*/ 196215 w 366807"/>
                  <a:gd name="connsiteY3" fmla="*/ 238315 h 310895"/>
                  <a:gd name="connsiteX4" fmla="*/ 170402 w 366807"/>
                  <a:gd name="connsiteY4" fmla="*/ 212407 h 310895"/>
                  <a:gd name="connsiteX5" fmla="*/ 149733 w 366807"/>
                  <a:gd name="connsiteY5" fmla="*/ 196882 h 310895"/>
                  <a:gd name="connsiteX6" fmla="*/ 160115 w 366807"/>
                  <a:gd name="connsiteY6" fmla="*/ 62198 h 310895"/>
                  <a:gd name="connsiteX7" fmla="*/ 185928 w 366807"/>
                  <a:gd name="connsiteY7" fmla="*/ 36290 h 310895"/>
                  <a:gd name="connsiteX8" fmla="*/ 185928 w 366807"/>
                  <a:gd name="connsiteY8" fmla="*/ 0 h 310895"/>
                  <a:gd name="connsiteX9" fmla="*/ 134303 w 366807"/>
                  <a:gd name="connsiteY9" fmla="*/ 0 h 310895"/>
                  <a:gd name="connsiteX10" fmla="*/ 134303 w 366807"/>
                  <a:gd name="connsiteY10" fmla="*/ 15526 h 310895"/>
                  <a:gd name="connsiteX11" fmla="*/ 108490 w 366807"/>
                  <a:gd name="connsiteY11" fmla="*/ 36195 h 310895"/>
                  <a:gd name="connsiteX12" fmla="*/ 108490 w 366807"/>
                  <a:gd name="connsiteY12" fmla="*/ 51721 h 310895"/>
                  <a:gd name="connsiteX13" fmla="*/ 98203 w 366807"/>
                  <a:gd name="connsiteY13" fmla="*/ 51721 h 310895"/>
                  <a:gd name="connsiteX14" fmla="*/ 98203 w 366807"/>
                  <a:gd name="connsiteY14" fmla="*/ 98298 h 310895"/>
                  <a:gd name="connsiteX15" fmla="*/ 72390 w 366807"/>
                  <a:gd name="connsiteY15" fmla="*/ 72390 h 310895"/>
                  <a:gd name="connsiteX16" fmla="*/ 62008 w 366807"/>
                  <a:gd name="connsiteY16" fmla="*/ 36100 h 310895"/>
                  <a:gd name="connsiteX17" fmla="*/ 36195 w 366807"/>
                  <a:gd name="connsiteY17" fmla="*/ 51625 h 310895"/>
                  <a:gd name="connsiteX18" fmla="*/ 25813 w 366807"/>
                  <a:gd name="connsiteY18" fmla="*/ 51625 h 310895"/>
                  <a:gd name="connsiteX19" fmla="*/ 25813 w 366807"/>
                  <a:gd name="connsiteY19" fmla="*/ 72295 h 310895"/>
                  <a:gd name="connsiteX20" fmla="*/ 36195 w 366807"/>
                  <a:gd name="connsiteY20" fmla="*/ 72295 h 310895"/>
                  <a:gd name="connsiteX21" fmla="*/ 62008 w 366807"/>
                  <a:gd name="connsiteY21" fmla="*/ 98203 h 310895"/>
                  <a:gd name="connsiteX22" fmla="*/ 62008 w 366807"/>
                  <a:gd name="connsiteY22" fmla="*/ 113728 h 310895"/>
                  <a:gd name="connsiteX23" fmla="*/ 25813 w 366807"/>
                  <a:gd name="connsiteY23" fmla="*/ 98203 h 310895"/>
                  <a:gd name="connsiteX24" fmla="*/ 10287 w 366807"/>
                  <a:gd name="connsiteY24" fmla="*/ 124111 h 310895"/>
                  <a:gd name="connsiteX25" fmla="*/ 0 w 366807"/>
                  <a:gd name="connsiteY25" fmla="*/ 124111 h 310895"/>
                  <a:gd name="connsiteX26" fmla="*/ 0 w 366807"/>
                  <a:gd name="connsiteY26" fmla="*/ 160401 h 310895"/>
                  <a:gd name="connsiteX27" fmla="*/ 25813 w 366807"/>
                  <a:gd name="connsiteY27" fmla="*/ 175927 h 310895"/>
                  <a:gd name="connsiteX28" fmla="*/ 36195 w 366807"/>
                  <a:gd name="connsiteY28" fmla="*/ 175927 h 310895"/>
                  <a:gd name="connsiteX29" fmla="*/ 10382 w 366807"/>
                  <a:gd name="connsiteY29" fmla="*/ 196691 h 310895"/>
                  <a:gd name="connsiteX30" fmla="*/ 10382 w 366807"/>
                  <a:gd name="connsiteY30" fmla="*/ 212217 h 310895"/>
                  <a:gd name="connsiteX31" fmla="*/ 25908 w 366807"/>
                  <a:gd name="connsiteY31" fmla="*/ 222599 h 310895"/>
                  <a:gd name="connsiteX32" fmla="*/ 36290 w 366807"/>
                  <a:gd name="connsiteY32" fmla="*/ 222599 h 310895"/>
                  <a:gd name="connsiteX33" fmla="*/ 36290 w 366807"/>
                  <a:gd name="connsiteY33" fmla="*/ 248507 h 310895"/>
                  <a:gd name="connsiteX34" fmla="*/ 25908 w 366807"/>
                  <a:gd name="connsiteY34" fmla="*/ 274415 h 310895"/>
                  <a:gd name="connsiteX35" fmla="*/ 87916 w 366807"/>
                  <a:gd name="connsiteY35" fmla="*/ 274415 h 310895"/>
                  <a:gd name="connsiteX36" fmla="*/ 87916 w 366807"/>
                  <a:gd name="connsiteY36" fmla="*/ 284797 h 310895"/>
                  <a:gd name="connsiteX37" fmla="*/ 124111 w 366807"/>
                  <a:gd name="connsiteY37" fmla="*/ 284797 h 310895"/>
                  <a:gd name="connsiteX38" fmla="*/ 134398 w 366807"/>
                  <a:gd name="connsiteY38" fmla="*/ 300323 h 310895"/>
                  <a:gd name="connsiteX39" fmla="*/ 134398 w 366807"/>
                  <a:gd name="connsiteY39" fmla="*/ 284797 h 310895"/>
                  <a:gd name="connsiteX40" fmla="*/ 124111 w 366807"/>
                  <a:gd name="connsiteY40" fmla="*/ 274415 h 310895"/>
                  <a:gd name="connsiteX41" fmla="*/ 124111 w 366807"/>
                  <a:gd name="connsiteY41" fmla="*/ 248507 h 310895"/>
                  <a:gd name="connsiteX42" fmla="*/ 134398 w 366807"/>
                  <a:gd name="connsiteY42" fmla="*/ 222599 h 310895"/>
                  <a:gd name="connsiteX43" fmla="*/ 124111 w 366807"/>
                  <a:gd name="connsiteY43" fmla="*/ 212217 h 310895"/>
                  <a:gd name="connsiteX44" fmla="*/ 124111 w 366807"/>
                  <a:gd name="connsiteY44" fmla="*/ 196691 h 310895"/>
                  <a:gd name="connsiteX45" fmla="*/ 108585 w 366807"/>
                  <a:gd name="connsiteY45" fmla="*/ 196691 h 310895"/>
                  <a:gd name="connsiteX46" fmla="*/ 124111 w 366807"/>
                  <a:gd name="connsiteY46" fmla="*/ 196691 h 310895"/>
                  <a:gd name="connsiteX47" fmla="*/ 160210 w 366807"/>
                  <a:gd name="connsiteY47" fmla="*/ 175927 h 310895"/>
                  <a:gd name="connsiteX48" fmla="*/ 170593 w 366807"/>
                  <a:gd name="connsiteY48" fmla="*/ 134493 h 310895"/>
                  <a:gd name="connsiteX49" fmla="*/ 196405 w 366807"/>
                  <a:gd name="connsiteY49" fmla="*/ 134493 h 310895"/>
                  <a:gd name="connsiteX50" fmla="*/ 211931 w 366807"/>
                  <a:gd name="connsiteY50" fmla="*/ 98203 h 310895"/>
                  <a:gd name="connsiteX51" fmla="*/ 160306 w 366807"/>
                  <a:gd name="connsiteY51" fmla="*/ 98203 h 310895"/>
                  <a:gd name="connsiteX52" fmla="*/ 160306 w 366807"/>
                  <a:gd name="connsiteY52" fmla="*/ 61913 h 310895"/>
                  <a:gd name="connsiteX53" fmla="*/ 366713 w 366807"/>
                  <a:gd name="connsiteY53" fmla="*/ 274606 h 310895"/>
                  <a:gd name="connsiteX54" fmla="*/ 320230 w 366807"/>
                  <a:gd name="connsiteY54" fmla="*/ 284988 h 310895"/>
                  <a:gd name="connsiteX55" fmla="*/ 309943 w 366807"/>
                  <a:gd name="connsiteY55" fmla="*/ 300514 h 310895"/>
                  <a:gd name="connsiteX56" fmla="*/ 294418 w 366807"/>
                  <a:gd name="connsiteY56" fmla="*/ 300514 h 310895"/>
                  <a:gd name="connsiteX57" fmla="*/ 294418 w 366807"/>
                  <a:gd name="connsiteY57" fmla="*/ 284988 h 310895"/>
                  <a:gd name="connsiteX58" fmla="*/ 284035 w 366807"/>
                  <a:gd name="connsiteY58" fmla="*/ 284988 h 310895"/>
                  <a:gd name="connsiteX59" fmla="*/ 258223 w 366807"/>
                  <a:gd name="connsiteY59" fmla="*/ 274606 h 310895"/>
                  <a:gd name="connsiteX60" fmla="*/ 232410 w 366807"/>
                  <a:gd name="connsiteY60" fmla="*/ 274606 h 310895"/>
                  <a:gd name="connsiteX61" fmla="*/ 232410 w 366807"/>
                  <a:gd name="connsiteY61" fmla="*/ 300514 h 310895"/>
                  <a:gd name="connsiteX62" fmla="*/ 268605 w 366807"/>
                  <a:gd name="connsiteY62" fmla="*/ 300514 h 310895"/>
                  <a:gd name="connsiteX63" fmla="*/ 284131 w 366807"/>
                  <a:gd name="connsiteY63" fmla="*/ 310896 h 310895"/>
                  <a:gd name="connsiteX64" fmla="*/ 320326 w 366807"/>
                  <a:gd name="connsiteY64" fmla="*/ 310896 h 310895"/>
                  <a:gd name="connsiteX65" fmla="*/ 356521 w 366807"/>
                  <a:gd name="connsiteY65" fmla="*/ 300514 h 310895"/>
                  <a:gd name="connsiteX66" fmla="*/ 366808 w 366807"/>
                  <a:gd name="connsiteY66" fmla="*/ 300514 h 310895"/>
                  <a:gd name="connsiteX67" fmla="*/ 366808 w 366807"/>
                  <a:gd name="connsiteY67" fmla="*/ 274606 h 310895"/>
                  <a:gd name="connsiteX68" fmla="*/ 320230 w 366807"/>
                  <a:gd name="connsiteY68" fmla="*/ 248698 h 310895"/>
                  <a:gd name="connsiteX69" fmla="*/ 346043 w 366807"/>
                  <a:gd name="connsiteY69" fmla="*/ 238315 h 310895"/>
                  <a:gd name="connsiteX70" fmla="*/ 356425 w 366807"/>
                  <a:gd name="connsiteY70" fmla="*/ 238315 h 310895"/>
                  <a:gd name="connsiteX71" fmla="*/ 356425 w 366807"/>
                  <a:gd name="connsiteY71" fmla="*/ 222790 h 310895"/>
                  <a:gd name="connsiteX72" fmla="*/ 346043 w 366807"/>
                  <a:gd name="connsiteY72" fmla="*/ 222790 h 310895"/>
                  <a:gd name="connsiteX73" fmla="*/ 320230 w 366807"/>
                  <a:gd name="connsiteY73" fmla="*/ 212407 h 310895"/>
                  <a:gd name="connsiteX74" fmla="*/ 320230 w 366807"/>
                  <a:gd name="connsiteY74" fmla="*/ 196882 h 310895"/>
                  <a:gd name="connsiteX75" fmla="*/ 330517 w 366807"/>
                  <a:gd name="connsiteY75" fmla="*/ 196882 h 310895"/>
                  <a:gd name="connsiteX76" fmla="*/ 330517 w 366807"/>
                  <a:gd name="connsiteY76" fmla="*/ 186499 h 310895"/>
                  <a:gd name="connsiteX77" fmla="*/ 346043 w 366807"/>
                  <a:gd name="connsiteY77" fmla="*/ 176117 h 310895"/>
                  <a:gd name="connsiteX78" fmla="*/ 346043 w 366807"/>
                  <a:gd name="connsiteY78" fmla="*/ 150209 h 310895"/>
                  <a:gd name="connsiteX79" fmla="*/ 320230 w 366807"/>
                  <a:gd name="connsiteY79" fmla="*/ 150209 h 310895"/>
                  <a:gd name="connsiteX80" fmla="*/ 309943 w 366807"/>
                  <a:gd name="connsiteY80" fmla="*/ 160591 h 310895"/>
                  <a:gd name="connsiteX81" fmla="*/ 309943 w 366807"/>
                  <a:gd name="connsiteY81" fmla="*/ 176117 h 310895"/>
                  <a:gd name="connsiteX82" fmla="*/ 294418 w 366807"/>
                  <a:gd name="connsiteY82" fmla="*/ 186499 h 310895"/>
                  <a:gd name="connsiteX83" fmla="*/ 294418 w 366807"/>
                  <a:gd name="connsiteY83" fmla="*/ 176117 h 310895"/>
                  <a:gd name="connsiteX84" fmla="*/ 284035 w 366807"/>
                  <a:gd name="connsiteY84" fmla="*/ 160591 h 310895"/>
                  <a:gd name="connsiteX85" fmla="*/ 268510 w 366807"/>
                  <a:gd name="connsiteY85" fmla="*/ 176117 h 310895"/>
                  <a:gd name="connsiteX86" fmla="*/ 232315 w 366807"/>
                  <a:gd name="connsiteY86" fmla="*/ 196882 h 310895"/>
                  <a:gd name="connsiteX87" fmla="*/ 247841 w 366807"/>
                  <a:gd name="connsiteY87" fmla="*/ 196882 h 310895"/>
                  <a:gd name="connsiteX88" fmla="*/ 258223 w 366807"/>
                  <a:gd name="connsiteY88" fmla="*/ 212407 h 310895"/>
                  <a:gd name="connsiteX89" fmla="*/ 258223 w 366807"/>
                  <a:gd name="connsiteY89" fmla="*/ 248698 h 310895"/>
                  <a:gd name="connsiteX90" fmla="*/ 247841 w 366807"/>
                  <a:gd name="connsiteY90" fmla="*/ 248698 h 310895"/>
                  <a:gd name="connsiteX91" fmla="*/ 258223 w 366807"/>
                  <a:gd name="connsiteY91" fmla="*/ 248698 h 310895"/>
                  <a:gd name="connsiteX92" fmla="*/ 258223 w 366807"/>
                  <a:gd name="connsiteY92" fmla="*/ 259080 h 310895"/>
                  <a:gd name="connsiteX93" fmla="*/ 284035 w 366807"/>
                  <a:gd name="connsiteY93" fmla="*/ 259080 h 310895"/>
                  <a:gd name="connsiteX94" fmla="*/ 284035 w 366807"/>
                  <a:gd name="connsiteY94" fmla="*/ 248698 h 310895"/>
                  <a:gd name="connsiteX95" fmla="*/ 294418 w 366807"/>
                  <a:gd name="connsiteY95" fmla="*/ 248698 h 310895"/>
                  <a:gd name="connsiteX96" fmla="*/ 294418 w 366807"/>
                  <a:gd name="connsiteY96" fmla="*/ 259080 h 310895"/>
                  <a:gd name="connsiteX97" fmla="*/ 309943 w 366807"/>
                  <a:gd name="connsiteY97" fmla="*/ 274606 h 310895"/>
                  <a:gd name="connsiteX98" fmla="*/ 309943 w 366807"/>
                  <a:gd name="connsiteY98" fmla="*/ 284988 h 310895"/>
                  <a:gd name="connsiteX99" fmla="*/ 320230 w 366807"/>
                  <a:gd name="connsiteY99" fmla="*/ 284988 h 310895"/>
                  <a:gd name="connsiteX100" fmla="*/ 320230 w 366807"/>
                  <a:gd name="connsiteY100" fmla="*/ 248698 h 31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66807" h="310895">
                    <a:moveTo>
                      <a:pt x="149828" y="196882"/>
                    </a:moveTo>
                    <a:lnTo>
                      <a:pt x="160115" y="248698"/>
                    </a:lnTo>
                    <a:lnTo>
                      <a:pt x="185928" y="274606"/>
                    </a:lnTo>
                    <a:lnTo>
                      <a:pt x="196215" y="238315"/>
                    </a:lnTo>
                    <a:lnTo>
                      <a:pt x="170402" y="212407"/>
                    </a:lnTo>
                    <a:lnTo>
                      <a:pt x="149733" y="196882"/>
                    </a:lnTo>
                    <a:close/>
                    <a:moveTo>
                      <a:pt x="160115" y="62198"/>
                    </a:moveTo>
                    <a:lnTo>
                      <a:pt x="185928" y="36290"/>
                    </a:lnTo>
                    <a:lnTo>
                      <a:pt x="185928" y="0"/>
                    </a:lnTo>
                    <a:lnTo>
                      <a:pt x="134303" y="0"/>
                    </a:lnTo>
                    <a:lnTo>
                      <a:pt x="134303" y="15526"/>
                    </a:lnTo>
                    <a:lnTo>
                      <a:pt x="108490" y="36195"/>
                    </a:lnTo>
                    <a:lnTo>
                      <a:pt x="108490" y="51721"/>
                    </a:lnTo>
                    <a:lnTo>
                      <a:pt x="98203" y="51721"/>
                    </a:lnTo>
                    <a:lnTo>
                      <a:pt x="98203" y="98298"/>
                    </a:lnTo>
                    <a:lnTo>
                      <a:pt x="72390" y="72390"/>
                    </a:lnTo>
                    <a:lnTo>
                      <a:pt x="62008" y="36100"/>
                    </a:lnTo>
                    <a:lnTo>
                      <a:pt x="36195" y="51625"/>
                    </a:lnTo>
                    <a:lnTo>
                      <a:pt x="25813" y="51625"/>
                    </a:lnTo>
                    <a:lnTo>
                      <a:pt x="25813" y="72295"/>
                    </a:lnTo>
                    <a:lnTo>
                      <a:pt x="36195" y="72295"/>
                    </a:lnTo>
                    <a:lnTo>
                      <a:pt x="62008" y="98203"/>
                    </a:lnTo>
                    <a:lnTo>
                      <a:pt x="62008" y="113728"/>
                    </a:lnTo>
                    <a:lnTo>
                      <a:pt x="25813" y="98203"/>
                    </a:lnTo>
                    <a:lnTo>
                      <a:pt x="10287" y="124111"/>
                    </a:lnTo>
                    <a:lnTo>
                      <a:pt x="0" y="124111"/>
                    </a:lnTo>
                    <a:lnTo>
                      <a:pt x="0" y="160401"/>
                    </a:lnTo>
                    <a:lnTo>
                      <a:pt x="25813" y="175927"/>
                    </a:lnTo>
                    <a:lnTo>
                      <a:pt x="36195" y="175927"/>
                    </a:lnTo>
                    <a:lnTo>
                      <a:pt x="10382" y="196691"/>
                    </a:lnTo>
                    <a:lnTo>
                      <a:pt x="10382" y="212217"/>
                    </a:lnTo>
                    <a:lnTo>
                      <a:pt x="25908" y="222599"/>
                    </a:lnTo>
                    <a:lnTo>
                      <a:pt x="36290" y="222599"/>
                    </a:lnTo>
                    <a:lnTo>
                      <a:pt x="36290" y="248507"/>
                    </a:lnTo>
                    <a:lnTo>
                      <a:pt x="25908" y="274415"/>
                    </a:lnTo>
                    <a:lnTo>
                      <a:pt x="87916" y="274415"/>
                    </a:lnTo>
                    <a:lnTo>
                      <a:pt x="87916" y="284797"/>
                    </a:lnTo>
                    <a:lnTo>
                      <a:pt x="124111" y="284797"/>
                    </a:lnTo>
                    <a:lnTo>
                      <a:pt x="134398" y="300323"/>
                    </a:lnTo>
                    <a:lnTo>
                      <a:pt x="134398" y="284797"/>
                    </a:lnTo>
                    <a:lnTo>
                      <a:pt x="124111" y="274415"/>
                    </a:lnTo>
                    <a:lnTo>
                      <a:pt x="124111" y="248507"/>
                    </a:lnTo>
                    <a:lnTo>
                      <a:pt x="134398" y="222599"/>
                    </a:lnTo>
                    <a:lnTo>
                      <a:pt x="124111" y="212217"/>
                    </a:lnTo>
                    <a:lnTo>
                      <a:pt x="124111" y="196691"/>
                    </a:lnTo>
                    <a:lnTo>
                      <a:pt x="108585" y="196691"/>
                    </a:lnTo>
                    <a:lnTo>
                      <a:pt x="124111" y="196691"/>
                    </a:lnTo>
                    <a:lnTo>
                      <a:pt x="160210" y="175927"/>
                    </a:lnTo>
                    <a:lnTo>
                      <a:pt x="170593" y="134493"/>
                    </a:lnTo>
                    <a:lnTo>
                      <a:pt x="196405" y="134493"/>
                    </a:lnTo>
                    <a:lnTo>
                      <a:pt x="211931" y="98203"/>
                    </a:lnTo>
                    <a:lnTo>
                      <a:pt x="160306" y="98203"/>
                    </a:lnTo>
                    <a:lnTo>
                      <a:pt x="160306" y="61913"/>
                    </a:lnTo>
                    <a:close/>
                    <a:moveTo>
                      <a:pt x="366713" y="274606"/>
                    </a:moveTo>
                    <a:lnTo>
                      <a:pt x="320230" y="284988"/>
                    </a:lnTo>
                    <a:lnTo>
                      <a:pt x="309943" y="300514"/>
                    </a:lnTo>
                    <a:lnTo>
                      <a:pt x="294418" y="300514"/>
                    </a:lnTo>
                    <a:lnTo>
                      <a:pt x="294418" y="284988"/>
                    </a:lnTo>
                    <a:lnTo>
                      <a:pt x="284035" y="284988"/>
                    </a:lnTo>
                    <a:lnTo>
                      <a:pt x="258223" y="274606"/>
                    </a:lnTo>
                    <a:lnTo>
                      <a:pt x="232410" y="274606"/>
                    </a:lnTo>
                    <a:lnTo>
                      <a:pt x="232410" y="300514"/>
                    </a:lnTo>
                    <a:lnTo>
                      <a:pt x="268605" y="300514"/>
                    </a:lnTo>
                    <a:lnTo>
                      <a:pt x="284131" y="310896"/>
                    </a:lnTo>
                    <a:lnTo>
                      <a:pt x="320326" y="310896"/>
                    </a:lnTo>
                    <a:lnTo>
                      <a:pt x="356521" y="300514"/>
                    </a:lnTo>
                    <a:lnTo>
                      <a:pt x="366808" y="300514"/>
                    </a:lnTo>
                    <a:lnTo>
                      <a:pt x="366808" y="274606"/>
                    </a:lnTo>
                    <a:close/>
                    <a:moveTo>
                      <a:pt x="320230" y="248698"/>
                    </a:moveTo>
                    <a:lnTo>
                      <a:pt x="346043" y="238315"/>
                    </a:lnTo>
                    <a:lnTo>
                      <a:pt x="356425" y="238315"/>
                    </a:lnTo>
                    <a:lnTo>
                      <a:pt x="356425" y="222790"/>
                    </a:lnTo>
                    <a:lnTo>
                      <a:pt x="346043" y="222790"/>
                    </a:lnTo>
                    <a:lnTo>
                      <a:pt x="320230" y="212407"/>
                    </a:lnTo>
                    <a:lnTo>
                      <a:pt x="320230" y="196882"/>
                    </a:lnTo>
                    <a:lnTo>
                      <a:pt x="330517" y="196882"/>
                    </a:lnTo>
                    <a:lnTo>
                      <a:pt x="330517" y="186499"/>
                    </a:lnTo>
                    <a:lnTo>
                      <a:pt x="346043" y="176117"/>
                    </a:lnTo>
                    <a:lnTo>
                      <a:pt x="346043" y="150209"/>
                    </a:lnTo>
                    <a:lnTo>
                      <a:pt x="320230" y="150209"/>
                    </a:lnTo>
                    <a:lnTo>
                      <a:pt x="309943" y="160591"/>
                    </a:lnTo>
                    <a:lnTo>
                      <a:pt x="309943" y="176117"/>
                    </a:lnTo>
                    <a:lnTo>
                      <a:pt x="294418" y="186499"/>
                    </a:lnTo>
                    <a:lnTo>
                      <a:pt x="294418" y="176117"/>
                    </a:lnTo>
                    <a:lnTo>
                      <a:pt x="284035" y="160591"/>
                    </a:lnTo>
                    <a:lnTo>
                      <a:pt x="268510" y="176117"/>
                    </a:lnTo>
                    <a:lnTo>
                      <a:pt x="232315" y="196882"/>
                    </a:lnTo>
                    <a:lnTo>
                      <a:pt x="247841" y="196882"/>
                    </a:lnTo>
                    <a:lnTo>
                      <a:pt x="258223" y="212407"/>
                    </a:lnTo>
                    <a:lnTo>
                      <a:pt x="258223" y="248698"/>
                    </a:lnTo>
                    <a:lnTo>
                      <a:pt x="247841" y="248698"/>
                    </a:lnTo>
                    <a:lnTo>
                      <a:pt x="258223" y="248698"/>
                    </a:lnTo>
                    <a:lnTo>
                      <a:pt x="258223" y="259080"/>
                    </a:lnTo>
                    <a:lnTo>
                      <a:pt x="284035" y="259080"/>
                    </a:lnTo>
                    <a:lnTo>
                      <a:pt x="284035" y="248698"/>
                    </a:lnTo>
                    <a:lnTo>
                      <a:pt x="294418" y="248698"/>
                    </a:lnTo>
                    <a:lnTo>
                      <a:pt x="294418" y="259080"/>
                    </a:lnTo>
                    <a:lnTo>
                      <a:pt x="309943" y="274606"/>
                    </a:lnTo>
                    <a:lnTo>
                      <a:pt x="309943" y="284988"/>
                    </a:lnTo>
                    <a:lnTo>
                      <a:pt x="320230" y="284988"/>
                    </a:lnTo>
                    <a:lnTo>
                      <a:pt x="320230" y="248698"/>
                    </a:lnTo>
                    <a:close/>
                  </a:path>
                </a:pathLst>
              </a:custGeom>
              <a:solidFill>
                <a:srgbClr val="00B0F0"/>
              </a:solidFill>
              <a:ln w="4763" cap="flat">
                <a:noFill/>
                <a:prstDash val="solid"/>
                <a:miter/>
              </a:ln>
            </p:spPr>
            <p:txBody>
              <a:bodyPr rtlCol="0" anchor="ctr"/>
              <a:lstStyle/>
              <a:p>
                <a:endParaRPr lang="en-GB"/>
              </a:p>
            </p:txBody>
          </p:sp>
          <p:sp>
            <p:nvSpPr>
              <p:cNvPr id="128" name="Freeform: Shape 127">
                <a:extLst>
                  <a:ext uri="{FF2B5EF4-FFF2-40B4-BE49-F238E27FC236}">
                    <a16:creationId xmlns:a16="http://schemas.microsoft.com/office/drawing/2014/main" id="{323FB5B3-0B08-D090-234C-57A29919A403}"/>
                  </a:ext>
                </a:extLst>
              </p:cNvPr>
              <p:cNvSpPr/>
              <p:nvPr/>
            </p:nvSpPr>
            <p:spPr>
              <a:xfrm>
                <a:off x="5959983" y="3003422"/>
                <a:ext cx="366807" cy="310895"/>
              </a:xfrm>
              <a:custGeom>
                <a:avLst/>
                <a:gdLst>
                  <a:gd name="connsiteX0" fmla="*/ 149828 w 366807"/>
                  <a:gd name="connsiteY0" fmla="*/ 196882 h 310895"/>
                  <a:gd name="connsiteX1" fmla="*/ 160115 w 366807"/>
                  <a:gd name="connsiteY1" fmla="*/ 248698 h 310895"/>
                  <a:gd name="connsiteX2" fmla="*/ 185928 w 366807"/>
                  <a:gd name="connsiteY2" fmla="*/ 274606 h 310895"/>
                  <a:gd name="connsiteX3" fmla="*/ 196215 w 366807"/>
                  <a:gd name="connsiteY3" fmla="*/ 238315 h 310895"/>
                  <a:gd name="connsiteX4" fmla="*/ 170402 w 366807"/>
                  <a:gd name="connsiteY4" fmla="*/ 212407 h 310895"/>
                  <a:gd name="connsiteX5" fmla="*/ 149733 w 366807"/>
                  <a:gd name="connsiteY5" fmla="*/ 196882 h 310895"/>
                  <a:gd name="connsiteX6" fmla="*/ 160115 w 366807"/>
                  <a:gd name="connsiteY6" fmla="*/ 62198 h 310895"/>
                  <a:gd name="connsiteX7" fmla="*/ 185928 w 366807"/>
                  <a:gd name="connsiteY7" fmla="*/ 36290 h 310895"/>
                  <a:gd name="connsiteX8" fmla="*/ 185928 w 366807"/>
                  <a:gd name="connsiteY8" fmla="*/ 0 h 310895"/>
                  <a:gd name="connsiteX9" fmla="*/ 134303 w 366807"/>
                  <a:gd name="connsiteY9" fmla="*/ 0 h 310895"/>
                  <a:gd name="connsiteX10" fmla="*/ 134303 w 366807"/>
                  <a:gd name="connsiteY10" fmla="*/ 15526 h 310895"/>
                  <a:gd name="connsiteX11" fmla="*/ 108490 w 366807"/>
                  <a:gd name="connsiteY11" fmla="*/ 36195 h 310895"/>
                  <a:gd name="connsiteX12" fmla="*/ 108490 w 366807"/>
                  <a:gd name="connsiteY12" fmla="*/ 51721 h 310895"/>
                  <a:gd name="connsiteX13" fmla="*/ 98203 w 366807"/>
                  <a:gd name="connsiteY13" fmla="*/ 51721 h 310895"/>
                  <a:gd name="connsiteX14" fmla="*/ 98203 w 366807"/>
                  <a:gd name="connsiteY14" fmla="*/ 98298 h 310895"/>
                  <a:gd name="connsiteX15" fmla="*/ 72390 w 366807"/>
                  <a:gd name="connsiteY15" fmla="*/ 72390 h 310895"/>
                  <a:gd name="connsiteX16" fmla="*/ 62008 w 366807"/>
                  <a:gd name="connsiteY16" fmla="*/ 36100 h 310895"/>
                  <a:gd name="connsiteX17" fmla="*/ 36195 w 366807"/>
                  <a:gd name="connsiteY17" fmla="*/ 51625 h 310895"/>
                  <a:gd name="connsiteX18" fmla="*/ 25813 w 366807"/>
                  <a:gd name="connsiteY18" fmla="*/ 51625 h 310895"/>
                  <a:gd name="connsiteX19" fmla="*/ 25813 w 366807"/>
                  <a:gd name="connsiteY19" fmla="*/ 72295 h 310895"/>
                  <a:gd name="connsiteX20" fmla="*/ 36195 w 366807"/>
                  <a:gd name="connsiteY20" fmla="*/ 72295 h 310895"/>
                  <a:gd name="connsiteX21" fmla="*/ 62008 w 366807"/>
                  <a:gd name="connsiteY21" fmla="*/ 98203 h 310895"/>
                  <a:gd name="connsiteX22" fmla="*/ 62008 w 366807"/>
                  <a:gd name="connsiteY22" fmla="*/ 113728 h 310895"/>
                  <a:gd name="connsiteX23" fmla="*/ 25813 w 366807"/>
                  <a:gd name="connsiteY23" fmla="*/ 98203 h 310895"/>
                  <a:gd name="connsiteX24" fmla="*/ 10287 w 366807"/>
                  <a:gd name="connsiteY24" fmla="*/ 124111 h 310895"/>
                  <a:gd name="connsiteX25" fmla="*/ 0 w 366807"/>
                  <a:gd name="connsiteY25" fmla="*/ 124111 h 310895"/>
                  <a:gd name="connsiteX26" fmla="*/ 0 w 366807"/>
                  <a:gd name="connsiteY26" fmla="*/ 160401 h 310895"/>
                  <a:gd name="connsiteX27" fmla="*/ 25813 w 366807"/>
                  <a:gd name="connsiteY27" fmla="*/ 175927 h 310895"/>
                  <a:gd name="connsiteX28" fmla="*/ 36195 w 366807"/>
                  <a:gd name="connsiteY28" fmla="*/ 175927 h 310895"/>
                  <a:gd name="connsiteX29" fmla="*/ 10382 w 366807"/>
                  <a:gd name="connsiteY29" fmla="*/ 196691 h 310895"/>
                  <a:gd name="connsiteX30" fmla="*/ 10382 w 366807"/>
                  <a:gd name="connsiteY30" fmla="*/ 212217 h 310895"/>
                  <a:gd name="connsiteX31" fmla="*/ 25908 w 366807"/>
                  <a:gd name="connsiteY31" fmla="*/ 222599 h 310895"/>
                  <a:gd name="connsiteX32" fmla="*/ 36290 w 366807"/>
                  <a:gd name="connsiteY32" fmla="*/ 222599 h 310895"/>
                  <a:gd name="connsiteX33" fmla="*/ 36290 w 366807"/>
                  <a:gd name="connsiteY33" fmla="*/ 248507 h 310895"/>
                  <a:gd name="connsiteX34" fmla="*/ 25908 w 366807"/>
                  <a:gd name="connsiteY34" fmla="*/ 274415 h 310895"/>
                  <a:gd name="connsiteX35" fmla="*/ 87916 w 366807"/>
                  <a:gd name="connsiteY35" fmla="*/ 274415 h 310895"/>
                  <a:gd name="connsiteX36" fmla="*/ 87916 w 366807"/>
                  <a:gd name="connsiteY36" fmla="*/ 284797 h 310895"/>
                  <a:gd name="connsiteX37" fmla="*/ 124111 w 366807"/>
                  <a:gd name="connsiteY37" fmla="*/ 284797 h 310895"/>
                  <a:gd name="connsiteX38" fmla="*/ 134398 w 366807"/>
                  <a:gd name="connsiteY38" fmla="*/ 300323 h 310895"/>
                  <a:gd name="connsiteX39" fmla="*/ 134398 w 366807"/>
                  <a:gd name="connsiteY39" fmla="*/ 284797 h 310895"/>
                  <a:gd name="connsiteX40" fmla="*/ 124111 w 366807"/>
                  <a:gd name="connsiteY40" fmla="*/ 274415 h 310895"/>
                  <a:gd name="connsiteX41" fmla="*/ 124111 w 366807"/>
                  <a:gd name="connsiteY41" fmla="*/ 248507 h 310895"/>
                  <a:gd name="connsiteX42" fmla="*/ 134398 w 366807"/>
                  <a:gd name="connsiteY42" fmla="*/ 222599 h 310895"/>
                  <a:gd name="connsiteX43" fmla="*/ 124111 w 366807"/>
                  <a:gd name="connsiteY43" fmla="*/ 212217 h 310895"/>
                  <a:gd name="connsiteX44" fmla="*/ 124111 w 366807"/>
                  <a:gd name="connsiteY44" fmla="*/ 196691 h 310895"/>
                  <a:gd name="connsiteX45" fmla="*/ 108585 w 366807"/>
                  <a:gd name="connsiteY45" fmla="*/ 196691 h 310895"/>
                  <a:gd name="connsiteX46" fmla="*/ 124111 w 366807"/>
                  <a:gd name="connsiteY46" fmla="*/ 196691 h 310895"/>
                  <a:gd name="connsiteX47" fmla="*/ 160210 w 366807"/>
                  <a:gd name="connsiteY47" fmla="*/ 175927 h 310895"/>
                  <a:gd name="connsiteX48" fmla="*/ 170593 w 366807"/>
                  <a:gd name="connsiteY48" fmla="*/ 134493 h 310895"/>
                  <a:gd name="connsiteX49" fmla="*/ 196405 w 366807"/>
                  <a:gd name="connsiteY49" fmla="*/ 134493 h 310895"/>
                  <a:gd name="connsiteX50" fmla="*/ 211931 w 366807"/>
                  <a:gd name="connsiteY50" fmla="*/ 98203 h 310895"/>
                  <a:gd name="connsiteX51" fmla="*/ 160306 w 366807"/>
                  <a:gd name="connsiteY51" fmla="*/ 98203 h 310895"/>
                  <a:gd name="connsiteX52" fmla="*/ 160306 w 366807"/>
                  <a:gd name="connsiteY52" fmla="*/ 61913 h 310895"/>
                  <a:gd name="connsiteX53" fmla="*/ 366713 w 366807"/>
                  <a:gd name="connsiteY53" fmla="*/ 274606 h 310895"/>
                  <a:gd name="connsiteX54" fmla="*/ 320230 w 366807"/>
                  <a:gd name="connsiteY54" fmla="*/ 284988 h 310895"/>
                  <a:gd name="connsiteX55" fmla="*/ 309943 w 366807"/>
                  <a:gd name="connsiteY55" fmla="*/ 300514 h 310895"/>
                  <a:gd name="connsiteX56" fmla="*/ 294418 w 366807"/>
                  <a:gd name="connsiteY56" fmla="*/ 300514 h 310895"/>
                  <a:gd name="connsiteX57" fmla="*/ 294418 w 366807"/>
                  <a:gd name="connsiteY57" fmla="*/ 284988 h 310895"/>
                  <a:gd name="connsiteX58" fmla="*/ 284035 w 366807"/>
                  <a:gd name="connsiteY58" fmla="*/ 284988 h 310895"/>
                  <a:gd name="connsiteX59" fmla="*/ 258223 w 366807"/>
                  <a:gd name="connsiteY59" fmla="*/ 274606 h 310895"/>
                  <a:gd name="connsiteX60" fmla="*/ 232410 w 366807"/>
                  <a:gd name="connsiteY60" fmla="*/ 274606 h 310895"/>
                  <a:gd name="connsiteX61" fmla="*/ 232410 w 366807"/>
                  <a:gd name="connsiteY61" fmla="*/ 300514 h 310895"/>
                  <a:gd name="connsiteX62" fmla="*/ 268605 w 366807"/>
                  <a:gd name="connsiteY62" fmla="*/ 300514 h 310895"/>
                  <a:gd name="connsiteX63" fmla="*/ 284131 w 366807"/>
                  <a:gd name="connsiteY63" fmla="*/ 310896 h 310895"/>
                  <a:gd name="connsiteX64" fmla="*/ 320326 w 366807"/>
                  <a:gd name="connsiteY64" fmla="*/ 310896 h 310895"/>
                  <a:gd name="connsiteX65" fmla="*/ 356521 w 366807"/>
                  <a:gd name="connsiteY65" fmla="*/ 300514 h 310895"/>
                  <a:gd name="connsiteX66" fmla="*/ 366808 w 366807"/>
                  <a:gd name="connsiteY66" fmla="*/ 300514 h 310895"/>
                  <a:gd name="connsiteX67" fmla="*/ 366808 w 366807"/>
                  <a:gd name="connsiteY67" fmla="*/ 274606 h 310895"/>
                  <a:gd name="connsiteX68" fmla="*/ 320230 w 366807"/>
                  <a:gd name="connsiteY68" fmla="*/ 248698 h 310895"/>
                  <a:gd name="connsiteX69" fmla="*/ 346043 w 366807"/>
                  <a:gd name="connsiteY69" fmla="*/ 238315 h 310895"/>
                  <a:gd name="connsiteX70" fmla="*/ 356425 w 366807"/>
                  <a:gd name="connsiteY70" fmla="*/ 238315 h 310895"/>
                  <a:gd name="connsiteX71" fmla="*/ 356425 w 366807"/>
                  <a:gd name="connsiteY71" fmla="*/ 222790 h 310895"/>
                  <a:gd name="connsiteX72" fmla="*/ 346043 w 366807"/>
                  <a:gd name="connsiteY72" fmla="*/ 222790 h 310895"/>
                  <a:gd name="connsiteX73" fmla="*/ 320230 w 366807"/>
                  <a:gd name="connsiteY73" fmla="*/ 212407 h 310895"/>
                  <a:gd name="connsiteX74" fmla="*/ 320230 w 366807"/>
                  <a:gd name="connsiteY74" fmla="*/ 196882 h 310895"/>
                  <a:gd name="connsiteX75" fmla="*/ 330517 w 366807"/>
                  <a:gd name="connsiteY75" fmla="*/ 196882 h 310895"/>
                  <a:gd name="connsiteX76" fmla="*/ 330517 w 366807"/>
                  <a:gd name="connsiteY76" fmla="*/ 186499 h 310895"/>
                  <a:gd name="connsiteX77" fmla="*/ 346043 w 366807"/>
                  <a:gd name="connsiteY77" fmla="*/ 176117 h 310895"/>
                  <a:gd name="connsiteX78" fmla="*/ 346043 w 366807"/>
                  <a:gd name="connsiteY78" fmla="*/ 150209 h 310895"/>
                  <a:gd name="connsiteX79" fmla="*/ 320230 w 366807"/>
                  <a:gd name="connsiteY79" fmla="*/ 150209 h 310895"/>
                  <a:gd name="connsiteX80" fmla="*/ 309943 w 366807"/>
                  <a:gd name="connsiteY80" fmla="*/ 160591 h 310895"/>
                  <a:gd name="connsiteX81" fmla="*/ 309943 w 366807"/>
                  <a:gd name="connsiteY81" fmla="*/ 176117 h 310895"/>
                  <a:gd name="connsiteX82" fmla="*/ 294418 w 366807"/>
                  <a:gd name="connsiteY82" fmla="*/ 186499 h 310895"/>
                  <a:gd name="connsiteX83" fmla="*/ 294418 w 366807"/>
                  <a:gd name="connsiteY83" fmla="*/ 176117 h 310895"/>
                  <a:gd name="connsiteX84" fmla="*/ 284035 w 366807"/>
                  <a:gd name="connsiteY84" fmla="*/ 160591 h 310895"/>
                  <a:gd name="connsiteX85" fmla="*/ 268510 w 366807"/>
                  <a:gd name="connsiteY85" fmla="*/ 176117 h 310895"/>
                  <a:gd name="connsiteX86" fmla="*/ 232315 w 366807"/>
                  <a:gd name="connsiteY86" fmla="*/ 196882 h 310895"/>
                  <a:gd name="connsiteX87" fmla="*/ 247841 w 366807"/>
                  <a:gd name="connsiteY87" fmla="*/ 196882 h 310895"/>
                  <a:gd name="connsiteX88" fmla="*/ 258223 w 366807"/>
                  <a:gd name="connsiteY88" fmla="*/ 212407 h 310895"/>
                  <a:gd name="connsiteX89" fmla="*/ 258223 w 366807"/>
                  <a:gd name="connsiteY89" fmla="*/ 248698 h 310895"/>
                  <a:gd name="connsiteX90" fmla="*/ 247841 w 366807"/>
                  <a:gd name="connsiteY90" fmla="*/ 248698 h 310895"/>
                  <a:gd name="connsiteX91" fmla="*/ 258223 w 366807"/>
                  <a:gd name="connsiteY91" fmla="*/ 248698 h 310895"/>
                  <a:gd name="connsiteX92" fmla="*/ 258223 w 366807"/>
                  <a:gd name="connsiteY92" fmla="*/ 259080 h 310895"/>
                  <a:gd name="connsiteX93" fmla="*/ 284035 w 366807"/>
                  <a:gd name="connsiteY93" fmla="*/ 259080 h 310895"/>
                  <a:gd name="connsiteX94" fmla="*/ 284035 w 366807"/>
                  <a:gd name="connsiteY94" fmla="*/ 248698 h 310895"/>
                  <a:gd name="connsiteX95" fmla="*/ 294418 w 366807"/>
                  <a:gd name="connsiteY95" fmla="*/ 248698 h 310895"/>
                  <a:gd name="connsiteX96" fmla="*/ 294418 w 366807"/>
                  <a:gd name="connsiteY96" fmla="*/ 259080 h 310895"/>
                  <a:gd name="connsiteX97" fmla="*/ 309943 w 366807"/>
                  <a:gd name="connsiteY97" fmla="*/ 274606 h 310895"/>
                  <a:gd name="connsiteX98" fmla="*/ 309943 w 366807"/>
                  <a:gd name="connsiteY98" fmla="*/ 284988 h 310895"/>
                  <a:gd name="connsiteX99" fmla="*/ 320230 w 366807"/>
                  <a:gd name="connsiteY99" fmla="*/ 284988 h 310895"/>
                  <a:gd name="connsiteX100" fmla="*/ 320230 w 366807"/>
                  <a:gd name="connsiteY100" fmla="*/ 248698 h 31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66807" h="310895">
                    <a:moveTo>
                      <a:pt x="149828" y="196882"/>
                    </a:moveTo>
                    <a:lnTo>
                      <a:pt x="160115" y="248698"/>
                    </a:lnTo>
                    <a:lnTo>
                      <a:pt x="185928" y="274606"/>
                    </a:lnTo>
                    <a:lnTo>
                      <a:pt x="196215" y="238315"/>
                    </a:lnTo>
                    <a:lnTo>
                      <a:pt x="170402" y="212407"/>
                    </a:lnTo>
                    <a:lnTo>
                      <a:pt x="149733" y="196882"/>
                    </a:lnTo>
                    <a:close/>
                    <a:moveTo>
                      <a:pt x="160115" y="62198"/>
                    </a:moveTo>
                    <a:lnTo>
                      <a:pt x="185928" y="36290"/>
                    </a:lnTo>
                    <a:lnTo>
                      <a:pt x="185928" y="0"/>
                    </a:lnTo>
                    <a:lnTo>
                      <a:pt x="134303" y="0"/>
                    </a:lnTo>
                    <a:lnTo>
                      <a:pt x="134303" y="15526"/>
                    </a:lnTo>
                    <a:lnTo>
                      <a:pt x="108490" y="36195"/>
                    </a:lnTo>
                    <a:lnTo>
                      <a:pt x="108490" y="51721"/>
                    </a:lnTo>
                    <a:lnTo>
                      <a:pt x="98203" y="51721"/>
                    </a:lnTo>
                    <a:lnTo>
                      <a:pt x="98203" y="98298"/>
                    </a:lnTo>
                    <a:lnTo>
                      <a:pt x="72390" y="72390"/>
                    </a:lnTo>
                    <a:lnTo>
                      <a:pt x="62008" y="36100"/>
                    </a:lnTo>
                    <a:lnTo>
                      <a:pt x="36195" y="51625"/>
                    </a:lnTo>
                    <a:lnTo>
                      <a:pt x="25813" y="51625"/>
                    </a:lnTo>
                    <a:lnTo>
                      <a:pt x="25813" y="72295"/>
                    </a:lnTo>
                    <a:lnTo>
                      <a:pt x="36195" y="72295"/>
                    </a:lnTo>
                    <a:lnTo>
                      <a:pt x="62008" y="98203"/>
                    </a:lnTo>
                    <a:lnTo>
                      <a:pt x="62008" y="113728"/>
                    </a:lnTo>
                    <a:lnTo>
                      <a:pt x="25813" y="98203"/>
                    </a:lnTo>
                    <a:lnTo>
                      <a:pt x="10287" y="124111"/>
                    </a:lnTo>
                    <a:lnTo>
                      <a:pt x="0" y="124111"/>
                    </a:lnTo>
                    <a:lnTo>
                      <a:pt x="0" y="160401"/>
                    </a:lnTo>
                    <a:lnTo>
                      <a:pt x="25813" y="175927"/>
                    </a:lnTo>
                    <a:lnTo>
                      <a:pt x="36195" y="175927"/>
                    </a:lnTo>
                    <a:lnTo>
                      <a:pt x="10382" y="196691"/>
                    </a:lnTo>
                    <a:lnTo>
                      <a:pt x="10382" y="212217"/>
                    </a:lnTo>
                    <a:lnTo>
                      <a:pt x="25908" y="222599"/>
                    </a:lnTo>
                    <a:lnTo>
                      <a:pt x="36290" y="222599"/>
                    </a:lnTo>
                    <a:lnTo>
                      <a:pt x="36290" y="248507"/>
                    </a:lnTo>
                    <a:lnTo>
                      <a:pt x="25908" y="274415"/>
                    </a:lnTo>
                    <a:lnTo>
                      <a:pt x="87916" y="274415"/>
                    </a:lnTo>
                    <a:lnTo>
                      <a:pt x="87916" y="284797"/>
                    </a:lnTo>
                    <a:lnTo>
                      <a:pt x="124111" y="284797"/>
                    </a:lnTo>
                    <a:lnTo>
                      <a:pt x="134398" y="300323"/>
                    </a:lnTo>
                    <a:lnTo>
                      <a:pt x="134398" y="284797"/>
                    </a:lnTo>
                    <a:lnTo>
                      <a:pt x="124111" y="274415"/>
                    </a:lnTo>
                    <a:lnTo>
                      <a:pt x="124111" y="248507"/>
                    </a:lnTo>
                    <a:lnTo>
                      <a:pt x="134398" y="222599"/>
                    </a:lnTo>
                    <a:lnTo>
                      <a:pt x="124111" y="212217"/>
                    </a:lnTo>
                    <a:lnTo>
                      <a:pt x="124111" y="196691"/>
                    </a:lnTo>
                    <a:lnTo>
                      <a:pt x="108585" y="196691"/>
                    </a:lnTo>
                    <a:lnTo>
                      <a:pt x="124111" y="196691"/>
                    </a:lnTo>
                    <a:lnTo>
                      <a:pt x="160210" y="175927"/>
                    </a:lnTo>
                    <a:lnTo>
                      <a:pt x="170593" y="134493"/>
                    </a:lnTo>
                    <a:lnTo>
                      <a:pt x="196405" y="134493"/>
                    </a:lnTo>
                    <a:lnTo>
                      <a:pt x="211931" y="98203"/>
                    </a:lnTo>
                    <a:lnTo>
                      <a:pt x="160306" y="98203"/>
                    </a:lnTo>
                    <a:lnTo>
                      <a:pt x="160306" y="61913"/>
                    </a:lnTo>
                    <a:close/>
                    <a:moveTo>
                      <a:pt x="366713" y="274606"/>
                    </a:moveTo>
                    <a:lnTo>
                      <a:pt x="320230" y="284988"/>
                    </a:lnTo>
                    <a:lnTo>
                      <a:pt x="309943" y="300514"/>
                    </a:lnTo>
                    <a:lnTo>
                      <a:pt x="294418" y="300514"/>
                    </a:lnTo>
                    <a:lnTo>
                      <a:pt x="294418" y="284988"/>
                    </a:lnTo>
                    <a:lnTo>
                      <a:pt x="284035" y="284988"/>
                    </a:lnTo>
                    <a:lnTo>
                      <a:pt x="258223" y="274606"/>
                    </a:lnTo>
                    <a:lnTo>
                      <a:pt x="232410" y="274606"/>
                    </a:lnTo>
                    <a:lnTo>
                      <a:pt x="232410" y="300514"/>
                    </a:lnTo>
                    <a:lnTo>
                      <a:pt x="268605" y="300514"/>
                    </a:lnTo>
                    <a:lnTo>
                      <a:pt x="284131" y="310896"/>
                    </a:lnTo>
                    <a:lnTo>
                      <a:pt x="320326" y="310896"/>
                    </a:lnTo>
                    <a:lnTo>
                      <a:pt x="356521" y="300514"/>
                    </a:lnTo>
                    <a:lnTo>
                      <a:pt x="366808" y="300514"/>
                    </a:lnTo>
                    <a:lnTo>
                      <a:pt x="366808" y="274606"/>
                    </a:lnTo>
                    <a:close/>
                    <a:moveTo>
                      <a:pt x="320230" y="248698"/>
                    </a:moveTo>
                    <a:lnTo>
                      <a:pt x="346043" y="238315"/>
                    </a:lnTo>
                    <a:lnTo>
                      <a:pt x="356425" y="238315"/>
                    </a:lnTo>
                    <a:lnTo>
                      <a:pt x="356425" y="222790"/>
                    </a:lnTo>
                    <a:lnTo>
                      <a:pt x="346043" y="222790"/>
                    </a:lnTo>
                    <a:lnTo>
                      <a:pt x="320230" y="212407"/>
                    </a:lnTo>
                    <a:lnTo>
                      <a:pt x="320230" y="196882"/>
                    </a:lnTo>
                    <a:lnTo>
                      <a:pt x="330517" y="196882"/>
                    </a:lnTo>
                    <a:lnTo>
                      <a:pt x="330517" y="186499"/>
                    </a:lnTo>
                    <a:lnTo>
                      <a:pt x="346043" y="176117"/>
                    </a:lnTo>
                    <a:lnTo>
                      <a:pt x="346043" y="150209"/>
                    </a:lnTo>
                    <a:lnTo>
                      <a:pt x="320230" y="150209"/>
                    </a:lnTo>
                    <a:lnTo>
                      <a:pt x="309943" y="160591"/>
                    </a:lnTo>
                    <a:lnTo>
                      <a:pt x="309943" y="176117"/>
                    </a:lnTo>
                    <a:lnTo>
                      <a:pt x="294418" y="186499"/>
                    </a:lnTo>
                    <a:lnTo>
                      <a:pt x="294418" y="176117"/>
                    </a:lnTo>
                    <a:lnTo>
                      <a:pt x="284035" y="160591"/>
                    </a:lnTo>
                    <a:lnTo>
                      <a:pt x="268510" y="176117"/>
                    </a:lnTo>
                    <a:lnTo>
                      <a:pt x="232315" y="196882"/>
                    </a:lnTo>
                    <a:lnTo>
                      <a:pt x="247841" y="196882"/>
                    </a:lnTo>
                    <a:lnTo>
                      <a:pt x="258223" y="212407"/>
                    </a:lnTo>
                    <a:lnTo>
                      <a:pt x="258223" y="248698"/>
                    </a:lnTo>
                    <a:lnTo>
                      <a:pt x="247841" y="248698"/>
                    </a:lnTo>
                    <a:lnTo>
                      <a:pt x="258223" y="248698"/>
                    </a:lnTo>
                    <a:lnTo>
                      <a:pt x="258223" y="259080"/>
                    </a:lnTo>
                    <a:lnTo>
                      <a:pt x="284035" y="259080"/>
                    </a:lnTo>
                    <a:lnTo>
                      <a:pt x="284035" y="248698"/>
                    </a:lnTo>
                    <a:lnTo>
                      <a:pt x="294418" y="248698"/>
                    </a:lnTo>
                    <a:lnTo>
                      <a:pt x="294418" y="259080"/>
                    </a:lnTo>
                    <a:lnTo>
                      <a:pt x="309943" y="274606"/>
                    </a:lnTo>
                    <a:lnTo>
                      <a:pt x="309943" y="284988"/>
                    </a:lnTo>
                    <a:lnTo>
                      <a:pt x="320230" y="284988"/>
                    </a:lnTo>
                    <a:lnTo>
                      <a:pt x="320230" y="248698"/>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A40D000C-E959-4390-983D-C08DCC107141}"/>
                  </a:ext>
                </a:extLst>
              </p:cNvPr>
              <p:cNvSpPr/>
              <p:nvPr/>
            </p:nvSpPr>
            <p:spPr>
              <a:xfrm>
                <a:off x="6284118" y="3670362"/>
                <a:ext cx="557974" cy="253745"/>
              </a:xfrm>
              <a:custGeom>
                <a:avLst/>
                <a:gdLst>
                  <a:gd name="connsiteX0" fmla="*/ 542068 w 557974"/>
                  <a:gd name="connsiteY0" fmla="*/ 142685 h 253745"/>
                  <a:gd name="connsiteX1" fmla="*/ 534067 w 557974"/>
                  <a:gd name="connsiteY1" fmla="*/ 126873 h 253745"/>
                  <a:gd name="connsiteX2" fmla="*/ 534067 w 557974"/>
                  <a:gd name="connsiteY2" fmla="*/ 118872 h 253745"/>
                  <a:gd name="connsiteX3" fmla="*/ 518160 w 557974"/>
                  <a:gd name="connsiteY3" fmla="*/ 110966 h 253745"/>
                  <a:gd name="connsiteX4" fmla="*/ 494252 w 557974"/>
                  <a:gd name="connsiteY4" fmla="*/ 110966 h 253745"/>
                  <a:gd name="connsiteX5" fmla="*/ 494252 w 557974"/>
                  <a:gd name="connsiteY5" fmla="*/ 103061 h 253745"/>
                  <a:gd name="connsiteX6" fmla="*/ 486251 w 557974"/>
                  <a:gd name="connsiteY6" fmla="*/ 95155 h 253745"/>
                  <a:gd name="connsiteX7" fmla="*/ 478250 w 557974"/>
                  <a:gd name="connsiteY7" fmla="*/ 110966 h 253745"/>
                  <a:gd name="connsiteX8" fmla="*/ 470345 w 557974"/>
                  <a:gd name="connsiteY8" fmla="*/ 103061 h 253745"/>
                  <a:gd name="connsiteX9" fmla="*/ 462343 w 557974"/>
                  <a:gd name="connsiteY9" fmla="*/ 87154 h 253745"/>
                  <a:gd name="connsiteX10" fmla="*/ 454342 w 557974"/>
                  <a:gd name="connsiteY10" fmla="*/ 79248 h 253745"/>
                  <a:gd name="connsiteX11" fmla="*/ 430435 w 557974"/>
                  <a:gd name="connsiteY11" fmla="*/ 79248 h 253745"/>
                  <a:gd name="connsiteX12" fmla="*/ 438436 w 557974"/>
                  <a:gd name="connsiteY12" fmla="*/ 71342 h 253745"/>
                  <a:gd name="connsiteX13" fmla="*/ 414528 w 557974"/>
                  <a:gd name="connsiteY13" fmla="*/ 71342 h 253745"/>
                  <a:gd name="connsiteX14" fmla="*/ 398621 w 557974"/>
                  <a:gd name="connsiteY14" fmla="*/ 79248 h 253745"/>
                  <a:gd name="connsiteX15" fmla="*/ 390620 w 557974"/>
                  <a:gd name="connsiteY15" fmla="*/ 79248 h 253745"/>
                  <a:gd name="connsiteX16" fmla="*/ 390620 w 557974"/>
                  <a:gd name="connsiteY16" fmla="*/ 87154 h 253745"/>
                  <a:gd name="connsiteX17" fmla="*/ 366713 w 557974"/>
                  <a:gd name="connsiteY17" fmla="*/ 87154 h 253745"/>
                  <a:gd name="connsiteX18" fmla="*/ 358712 w 557974"/>
                  <a:gd name="connsiteY18" fmla="*/ 79248 h 253745"/>
                  <a:gd name="connsiteX19" fmla="*/ 350806 w 557974"/>
                  <a:gd name="connsiteY19" fmla="*/ 79248 h 253745"/>
                  <a:gd name="connsiteX20" fmla="*/ 350806 w 557974"/>
                  <a:gd name="connsiteY20" fmla="*/ 63437 h 253745"/>
                  <a:gd name="connsiteX21" fmla="*/ 334804 w 557974"/>
                  <a:gd name="connsiteY21" fmla="*/ 55436 h 253745"/>
                  <a:gd name="connsiteX22" fmla="*/ 350806 w 557974"/>
                  <a:gd name="connsiteY22" fmla="*/ 47530 h 253745"/>
                  <a:gd name="connsiteX23" fmla="*/ 342805 w 557974"/>
                  <a:gd name="connsiteY23" fmla="*/ 39624 h 253745"/>
                  <a:gd name="connsiteX24" fmla="*/ 310896 w 557974"/>
                  <a:gd name="connsiteY24" fmla="*/ 39624 h 253745"/>
                  <a:gd name="connsiteX25" fmla="*/ 310896 w 557974"/>
                  <a:gd name="connsiteY25" fmla="*/ 31718 h 253745"/>
                  <a:gd name="connsiteX26" fmla="*/ 302895 w 557974"/>
                  <a:gd name="connsiteY26" fmla="*/ 31718 h 253745"/>
                  <a:gd name="connsiteX27" fmla="*/ 286988 w 557974"/>
                  <a:gd name="connsiteY27" fmla="*/ 23717 h 253745"/>
                  <a:gd name="connsiteX28" fmla="*/ 263080 w 557974"/>
                  <a:gd name="connsiteY28" fmla="*/ 23717 h 253745"/>
                  <a:gd name="connsiteX29" fmla="*/ 255079 w 557974"/>
                  <a:gd name="connsiteY29" fmla="*/ 0 h 253745"/>
                  <a:gd name="connsiteX30" fmla="*/ 231172 w 557974"/>
                  <a:gd name="connsiteY30" fmla="*/ 0 h 253745"/>
                  <a:gd name="connsiteX31" fmla="*/ 215265 w 557974"/>
                  <a:gd name="connsiteY31" fmla="*/ 15812 h 253745"/>
                  <a:gd name="connsiteX32" fmla="*/ 207264 w 557974"/>
                  <a:gd name="connsiteY32" fmla="*/ 15812 h 253745"/>
                  <a:gd name="connsiteX33" fmla="*/ 191357 w 557974"/>
                  <a:gd name="connsiteY33" fmla="*/ 0 h 253745"/>
                  <a:gd name="connsiteX34" fmla="*/ 183356 w 557974"/>
                  <a:gd name="connsiteY34" fmla="*/ 7906 h 253745"/>
                  <a:gd name="connsiteX35" fmla="*/ 175450 w 557974"/>
                  <a:gd name="connsiteY35" fmla="*/ 7906 h 253745"/>
                  <a:gd name="connsiteX36" fmla="*/ 167450 w 557974"/>
                  <a:gd name="connsiteY36" fmla="*/ 15812 h 253745"/>
                  <a:gd name="connsiteX37" fmla="*/ 167450 w 557974"/>
                  <a:gd name="connsiteY37" fmla="*/ 23717 h 253745"/>
                  <a:gd name="connsiteX38" fmla="*/ 143542 w 557974"/>
                  <a:gd name="connsiteY38" fmla="*/ 23717 h 253745"/>
                  <a:gd name="connsiteX39" fmla="*/ 143542 w 557974"/>
                  <a:gd name="connsiteY39" fmla="*/ 31718 h 253745"/>
                  <a:gd name="connsiteX40" fmla="*/ 111633 w 557974"/>
                  <a:gd name="connsiteY40" fmla="*/ 31718 h 253745"/>
                  <a:gd name="connsiteX41" fmla="*/ 111633 w 557974"/>
                  <a:gd name="connsiteY41" fmla="*/ 39624 h 253745"/>
                  <a:gd name="connsiteX42" fmla="*/ 87725 w 557974"/>
                  <a:gd name="connsiteY42" fmla="*/ 47530 h 253745"/>
                  <a:gd name="connsiteX43" fmla="*/ 71818 w 557974"/>
                  <a:gd name="connsiteY43" fmla="*/ 63437 h 253745"/>
                  <a:gd name="connsiteX44" fmla="*/ 55817 w 557974"/>
                  <a:gd name="connsiteY44" fmla="*/ 55436 h 253745"/>
                  <a:gd name="connsiteX45" fmla="*/ 47911 w 557974"/>
                  <a:gd name="connsiteY45" fmla="*/ 55436 h 253745"/>
                  <a:gd name="connsiteX46" fmla="*/ 39910 w 557974"/>
                  <a:gd name="connsiteY46" fmla="*/ 63437 h 253745"/>
                  <a:gd name="connsiteX47" fmla="*/ 39910 w 557974"/>
                  <a:gd name="connsiteY47" fmla="*/ 71342 h 253745"/>
                  <a:gd name="connsiteX48" fmla="*/ 24003 w 557974"/>
                  <a:gd name="connsiteY48" fmla="*/ 71342 h 253745"/>
                  <a:gd name="connsiteX49" fmla="*/ 24003 w 557974"/>
                  <a:gd name="connsiteY49" fmla="*/ 79248 h 253745"/>
                  <a:gd name="connsiteX50" fmla="*/ 8001 w 557974"/>
                  <a:gd name="connsiteY50" fmla="*/ 79248 h 253745"/>
                  <a:gd name="connsiteX51" fmla="*/ 8001 w 557974"/>
                  <a:gd name="connsiteY51" fmla="*/ 71342 h 253745"/>
                  <a:gd name="connsiteX52" fmla="*/ 0 w 557974"/>
                  <a:gd name="connsiteY52" fmla="*/ 71342 h 253745"/>
                  <a:gd name="connsiteX53" fmla="*/ 0 w 557974"/>
                  <a:gd name="connsiteY53" fmla="*/ 87154 h 253745"/>
                  <a:gd name="connsiteX54" fmla="*/ 8001 w 557974"/>
                  <a:gd name="connsiteY54" fmla="*/ 95155 h 253745"/>
                  <a:gd name="connsiteX55" fmla="*/ 16002 w 557974"/>
                  <a:gd name="connsiteY55" fmla="*/ 95155 h 253745"/>
                  <a:gd name="connsiteX56" fmla="*/ 31909 w 557974"/>
                  <a:gd name="connsiteY56" fmla="*/ 110966 h 253745"/>
                  <a:gd name="connsiteX57" fmla="*/ 24003 w 557974"/>
                  <a:gd name="connsiteY57" fmla="*/ 118872 h 253745"/>
                  <a:gd name="connsiteX58" fmla="*/ 16002 w 557974"/>
                  <a:gd name="connsiteY58" fmla="*/ 118872 h 253745"/>
                  <a:gd name="connsiteX59" fmla="*/ 16002 w 557974"/>
                  <a:gd name="connsiteY59" fmla="*/ 126873 h 253745"/>
                  <a:gd name="connsiteX60" fmla="*/ 31909 w 557974"/>
                  <a:gd name="connsiteY60" fmla="*/ 142685 h 253745"/>
                  <a:gd name="connsiteX61" fmla="*/ 39910 w 557974"/>
                  <a:gd name="connsiteY61" fmla="*/ 158591 h 253745"/>
                  <a:gd name="connsiteX62" fmla="*/ 47911 w 557974"/>
                  <a:gd name="connsiteY62" fmla="*/ 158591 h 253745"/>
                  <a:gd name="connsiteX63" fmla="*/ 47911 w 557974"/>
                  <a:gd name="connsiteY63" fmla="*/ 166497 h 253745"/>
                  <a:gd name="connsiteX64" fmla="*/ 63817 w 557974"/>
                  <a:gd name="connsiteY64" fmla="*/ 174403 h 253745"/>
                  <a:gd name="connsiteX65" fmla="*/ 79724 w 557974"/>
                  <a:gd name="connsiteY65" fmla="*/ 174403 h 253745"/>
                  <a:gd name="connsiteX66" fmla="*/ 87725 w 557974"/>
                  <a:gd name="connsiteY66" fmla="*/ 190310 h 253745"/>
                  <a:gd name="connsiteX67" fmla="*/ 95726 w 557974"/>
                  <a:gd name="connsiteY67" fmla="*/ 190310 h 253745"/>
                  <a:gd name="connsiteX68" fmla="*/ 103632 w 557974"/>
                  <a:gd name="connsiteY68" fmla="*/ 206121 h 253745"/>
                  <a:gd name="connsiteX69" fmla="*/ 119634 w 557974"/>
                  <a:gd name="connsiteY69" fmla="*/ 206121 h 253745"/>
                  <a:gd name="connsiteX70" fmla="*/ 127540 w 557974"/>
                  <a:gd name="connsiteY70" fmla="*/ 214027 h 253745"/>
                  <a:gd name="connsiteX71" fmla="*/ 135541 w 557974"/>
                  <a:gd name="connsiteY71" fmla="*/ 214027 h 253745"/>
                  <a:gd name="connsiteX72" fmla="*/ 135541 w 557974"/>
                  <a:gd name="connsiteY72" fmla="*/ 229934 h 253745"/>
                  <a:gd name="connsiteX73" fmla="*/ 159449 w 557974"/>
                  <a:gd name="connsiteY73" fmla="*/ 253746 h 253745"/>
                  <a:gd name="connsiteX74" fmla="*/ 175450 w 557974"/>
                  <a:gd name="connsiteY74" fmla="*/ 253746 h 253745"/>
                  <a:gd name="connsiteX75" fmla="*/ 191357 w 557974"/>
                  <a:gd name="connsiteY75" fmla="*/ 245745 h 253745"/>
                  <a:gd name="connsiteX76" fmla="*/ 199358 w 557974"/>
                  <a:gd name="connsiteY76" fmla="*/ 245745 h 253745"/>
                  <a:gd name="connsiteX77" fmla="*/ 215265 w 557974"/>
                  <a:gd name="connsiteY77" fmla="*/ 253746 h 253745"/>
                  <a:gd name="connsiteX78" fmla="*/ 215265 w 557974"/>
                  <a:gd name="connsiteY78" fmla="*/ 229934 h 253745"/>
                  <a:gd name="connsiteX79" fmla="*/ 223266 w 557974"/>
                  <a:gd name="connsiteY79" fmla="*/ 229934 h 253745"/>
                  <a:gd name="connsiteX80" fmla="*/ 231172 w 557974"/>
                  <a:gd name="connsiteY80" fmla="*/ 214027 h 253745"/>
                  <a:gd name="connsiteX81" fmla="*/ 239173 w 557974"/>
                  <a:gd name="connsiteY81" fmla="*/ 206121 h 253745"/>
                  <a:gd name="connsiteX82" fmla="*/ 263080 w 557974"/>
                  <a:gd name="connsiteY82" fmla="*/ 206121 h 253745"/>
                  <a:gd name="connsiteX83" fmla="*/ 278987 w 557974"/>
                  <a:gd name="connsiteY83" fmla="*/ 214027 h 253745"/>
                  <a:gd name="connsiteX84" fmla="*/ 294989 w 557974"/>
                  <a:gd name="connsiteY84" fmla="*/ 229934 h 253745"/>
                  <a:gd name="connsiteX85" fmla="*/ 310896 w 557974"/>
                  <a:gd name="connsiteY85" fmla="*/ 222028 h 253745"/>
                  <a:gd name="connsiteX86" fmla="*/ 326803 w 557974"/>
                  <a:gd name="connsiteY86" fmla="*/ 237839 h 253745"/>
                  <a:gd name="connsiteX87" fmla="*/ 342805 w 557974"/>
                  <a:gd name="connsiteY87" fmla="*/ 229934 h 253745"/>
                  <a:gd name="connsiteX88" fmla="*/ 350806 w 557974"/>
                  <a:gd name="connsiteY88" fmla="*/ 222028 h 253745"/>
                  <a:gd name="connsiteX89" fmla="*/ 366713 w 557974"/>
                  <a:gd name="connsiteY89" fmla="*/ 222028 h 253745"/>
                  <a:gd name="connsiteX90" fmla="*/ 374713 w 557974"/>
                  <a:gd name="connsiteY90" fmla="*/ 229934 h 253745"/>
                  <a:gd name="connsiteX91" fmla="*/ 382619 w 557974"/>
                  <a:gd name="connsiteY91" fmla="*/ 229934 h 253745"/>
                  <a:gd name="connsiteX92" fmla="*/ 398621 w 557974"/>
                  <a:gd name="connsiteY92" fmla="*/ 237839 h 253745"/>
                  <a:gd name="connsiteX93" fmla="*/ 406527 w 557974"/>
                  <a:gd name="connsiteY93" fmla="*/ 229934 h 253745"/>
                  <a:gd name="connsiteX94" fmla="*/ 430435 w 557974"/>
                  <a:gd name="connsiteY94" fmla="*/ 229934 h 253745"/>
                  <a:gd name="connsiteX95" fmla="*/ 438436 w 557974"/>
                  <a:gd name="connsiteY95" fmla="*/ 222028 h 253745"/>
                  <a:gd name="connsiteX96" fmla="*/ 438436 w 557974"/>
                  <a:gd name="connsiteY96" fmla="*/ 229934 h 253745"/>
                  <a:gd name="connsiteX97" fmla="*/ 462343 w 557974"/>
                  <a:gd name="connsiteY97" fmla="*/ 229934 h 253745"/>
                  <a:gd name="connsiteX98" fmla="*/ 478250 w 557974"/>
                  <a:gd name="connsiteY98" fmla="*/ 222028 h 253745"/>
                  <a:gd name="connsiteX99" fmla="*/ 486251 w 557974"/>
                  <a:gd name="connsiteY99" fmla="*/ 214027 h 253745"/>
                  <a:gd name="connsiteX100" fmla="*/ 502158 w 557974"/>
                  <a:gd name="connsiteY100" fmla="*/ 206121 h 253745"/>
                  <a:gd name="connsiteX101" fmla="*/ 502158 w 557974"/>
                  <a:gd name="connsiteY101" fmla="*/ 174403 h 253745"/>
                  <a:gd name="connsiteX102" fmla="*/ 534067 w 557974"/>
                  <a:gd name="connsiteY102" fmla="*/ 166497 h 253745"/>
                  <a:gd name="connsiteX103" fmla="*/ 557975 w 557974"/>
                  <a:gd name="connsiteY103" fmla="*/ 150590 h 253745"/>
                  <a:gd name="connsiteX104" fmla="*/ 549974 w 557974"/>
                  <a:gd name="connsiteY104" fmla="*/ 142685 h 253745"/>
                  <a:gd name="connsiteX105" fmla="*/ 542068 w 557974"/>
                  <a:gd name="connsiteY105" fmla="*/ 142685 h 25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57974" h="253745">
                    <a:moveTo>
                      <a:pt x="542068" y="142685"/>
                    </a:moveTo>
                    <a:lnTo>
                      <a:pt x="534067" y="126873"/>
                    </a:lnTo>
                    <a:lnTo>
                      <a:pt x="534067" y="118872"/>
                    </a:lnTo>
                    <a:lnTo>
                      <a:pt x="518160" y="110966"/>
                    </a:lnTo>
                    <a:lnTo>
                      <a:pt x="494252" y="110966"/>
                    </a:lnTo>
                    <a:lnTo>
                      <a:pt x="494252" y="103061"/>
                    </a:lnTo>
                    <a:lnTo>
                      <a:pt x="486251" y="95155"/>
                    </a:lnTo>
                    <a:lnTo>
                      <a:pt x="478250" y="110966"/>
                    </a:lnTo>
                    <a:lnTo>
                      <a:pt x="470345" y="103061"/>
                    </a:lnTo>
                    <a:lnTo>
                      <a:pt x="462343" y="87154"/>
                    </a:lnTo>
                    <a:lnTo>
                      <a:pt x="454342" y="79248"/>
                    </a:lnTo>
                    <a:lnTo>
                      <a:pt x="430435" y="79248"/>
                    </a:lnTo>
                    <a:lnTo>
                      <a:pt x="438436" y="71342"/>
                    </a:lnTo>
                    <a:lnTo>
                      <a:pt x="414528" y="71342"/>
                    </a:lnTo>
                    <a:lnTo>
                      <a:pt x="398621" y="79248"/>
                    </a:lnTo>
                    <a:lnTo>
                      <a:pt x="390620" y="79248"/>
                    </a:lnTo>
                    <a:lnTo>
                      <a:pt x="390620" y="87154"/>
                    </a:lnTo>
                    <a:lnTo>
                      <a:pt x="366713" y="87154"/>
                    </a:lnTo>
                    <a:lnTo>
                      <a:pt x="358712" y="79248"/>
                    </a:lnTo>
                    <a:lnTo>
                      <a:pt x="350806" y="79248"/>
                    </a:lnTo>
                    <a:lnTo>
                      <a:pt x="350806" y="63437"/>
                    </a:lnTo>
                    <a:lnTo>
                      <a:pt x="334804" y="55436"/>
                    </a:lnTo>
                    <a:lnTo>
                      <a:pt x="350806" y="47530"/>
                    </a:lnTo>
                    <a:lnTo>
                      <a:pt x="342805" y="39624"/>
                    </a:lnTo>
                    <a:lnTo>
                      <a:pt x="310896" y="39624"/>
                    </a:lnTo>
                    <a:lnTo>
                      <a:pt x="310896" y="31718"/>
                    </a:lnTo>
                    <a:lnTo>
                      <a:pt x="302895" y="31718"/>
                    </a:lnTo>
                    <a:lnTo>
                      <a:pt x="286988" y="23717"/>
                    </a:lnTo>
                    <a:lnTo>
                      <a:pt x="263080" y="23717"/>
                    </a:lnTo>
                    <a:lnTo>
                      <a:pt x="255079" y="0"/>
                    </a:lnTo>
                    <a:lnTo>
                      <a:pt x="231172" y="0"/>
                    </a:lnTo>
                    <a:lnTo>
                      <a:pt x="215265" y="15812"/>
                    </a:lnTo>
                    <a:lnTo>
                      <a:pt x="207264" y="15812"/>
                    </a:lnTo>
                    <a:lnTo>
                      <a:pt x="191357" y="0"/>
                    </a:lnTo>
                    <a:lnTo>
                      <a:pt x="183356" y="7906"/>
                    </a:lnTo>
                    <a:lnTo>
                      <a:pt x="175450" y="7906"/>
                    </a:lnTo>
                    <a:lnTo>
                      <a:pt x="167450" y="15812"/>
                    </a:lnTo>
                    <a:lnTo>
                      <a:pt x="167450" y="23717"/>
                    </a:lnTo>
                    <a:lnTo>
                      <a:pt x="143542" y="23717"/>
                    </a:lnTo>
                    <a:lnTo>
                      <a:pt x="143542" y="31718"/>
                    </a:lnTo>
                    <a:lnTo>
                      <a:pt x="111633" y="31718"/>
                    </a:lnTo>
                    <a:lnTo>
                      <a:pt x="111633" y="39624"/>
                    </a:lnTo>
                    <a:lnTo>
                      <a:pt x="87725" y="47530"/>
                    </a:lnTo>
                    <a:lnTo>
                      <a:pt x="71818" y="63437"/>
                    </a:lnTo>
                    <a:lnTo>
                      <a:pt x="55817" y="55436"/>
                    </a:lnTo>
                    <a:lnTo>
                      <a:pt x="47911" y="55436"/>
                    </a:lnTo>
                    <a:lnTo>
                      <a:pt x="39910" y="63437"/>
                    </a:lnTo>
                    <a:lnTo>
                      <a:pt x="39910" y="71342"/>
                    </a:lnTo>
                    <a:lnTo>
                      <a:pt x="24003" y="71342"/>
                    </a:lnTo>
                    <a:lnTo>
                      <a:pt x="24003" y="79248"/>
                    </a:lnTo>
                    <a:lnTo>
                      <a:pt x="8001" y="79248"/>
                    </a:lnTo>
                    <a:lnTo>
                      <a:pt x="8001" y="71342"/>
                    </a:lnTo>
                    <a:lnTo>
                      <a:pt x="0" y="71342"/>
                    </a:lnTo>
                    <a:lnTo>
                      <a:pt x="0" y="87154"/>
                    </a:lnTo>
                    <a:lnTo>
                      <a:pt x="8001" y="95155"/>
                    </a:lnTo>
                    <a:lnTo>
                      <a:pt x="16002" y="95155"/>
                    </a:lnTo>
                    <a:lnTo>
                      <a:pt x="31909" y="110966"/>
                    </a:lnTo>
                    <a:lnTo>
                      <a:pt x="24003" y="118872"/>
                    </a:lnTo>
                    <a:lnTo>
                      <a:pt x="16002" y="118872"/>
                    </a:lnTo>
                    <a:lnTo>
                      <a:pt x="16002" y="126873"/>
                    </a:lnTo>
                    <a:lnTo>
                      <a:pt x="31909" y="142685"/>
                    </a:lnTo>
                    <a:lnTo>
                      <a:pt x="39910" y="158591"/>
                    </a:lnTo>
                    <a:lnTo>
                      <a:pt x="47911" y="158591"/>
                    </a:lnTo>
                    <a:lnTo>
                      <a:pt x="47911" y="166497"/>
                    </a:lnTo>
                    <a:lnTo>
                      <a:pt x="63817" y="174403"/>
                    </a:lnTo>
                    <a:lnTo>
                      <a:pt x="79724" y="174403"/>
                    </a:lnTo>
                    <a:lnTo>
                      <a:pt x="87725" y="190310"/>
                    </a:lnTo>
                    <a:lnTo>
                      <a:pt x="95726" y="190310"/>
                    </a:lnTo>
                    <a:lnTo>
                      <a:pt x="103632" y="206121"/>
                    </a:lnTo>
                    <a:lnTo>
                      <a:pt x="119634" y="206121"/>
                    </a:lnTo>
                    <a:lnTo>
                      <a:pt x="127540" y="214027"/>
                    </a:lnTo>
                    <a:lnTo>
                      <a:pt x="135541" y="214027"/>
                    </a:lnTo>
                    <a:lnTo>
                      <a:pt x="135541" y="229934"/>
                    </a:lnTo>
                    <a:lnTo>
                      <a:pt x="159449" y="253746"/>
                    </a:lnTo>
                    <a:lnTo>
                      <a:pt x="175450" y="253746"/>
                    </a:lnTo>
                    <a:lnTo>
                      <a:pt x="191357" y="245745"/>
                    </a:lnTo>
                    <a:lnTo>
                      <a:pt x="199358" y="245745"/>
                    </a:lnTo>
                    <a:lnTo>
                      <a:pt x="215265" y="253746"/>
                    </a:lnTo>
                    <a:lnTo>
                      <a:pt x="215265" y="229934"/>
                    </a:lnTo>
                    <a:lnTo>
                      <a:pt x="223266" y="229934"/>
                    </a:lnTo>
                    <a:lnTo>
                      <a:pt x="231172" y="214027"/>
                    </a:lnTo>
                    <a:lnTo>
                      <a:pt x="239173" y="206121"/>
                    </a:lnTo>
                    <a:lnTo>
                      <a:pt x="263080" y="206121"/>
                    </a:lnTo>
                    <a:lnTo>
                      <a:pt x="278987" y="214027"/>
                    </a:lnTo>
                    <a:lnTo>
                      <a:pt x="294989" y="229934"/>
                    </a:lnTo>
                    <a:lnTo>
                      <a:pt x="310896" y="222028"/>
                    </a:lnTo>
                    <a:lnTo>
                      <a:pt x="326803" y="237839"/>
                    </a:lnTo>
                    <a:lnTo>
                      <a:pt x="342805" y="229934"/>
                    </a:lnTo>
                    <a:lnTo>
                      <a:pt x="350806" y="222028"/>
                    </a:lnTo>
                    <a:lnTo>
                      <a:pt x="366713" y="222028"/>
                    </a:lnTo>
                    <a:lnTo>
                      <a:pt x="374713" y="229934"/>
                    </a:lnTo>
                    <a:lnTo>
                      <a:pt x="382619" y="229934"/>
                    </a:lnTo>
                    <a:lnTo>
                      <a:pt x="398621" y="237839"/>
                    </a:lnTo>
                    <a:lnTo>
                      <a:pt x="406527" y="229934"/>
                    </a:lnTo>
                    <a:lnTo>
                      <a:pt x="430435" y="229934"/>
                    </a:lnTo>
                    <a:lnTo>
                      <a:pt x="438436" y="222028"/>
                    </a:lnTo>
                    <a:lnTo>
                      <a:pt x="438436" y="229934"/>
                    </a:lnTo>
                    <a:lnTo>
                      <a:pt x="462343" y="229934"/>
                    </a:lnTo>
                    <a:lnTo>
                      <a:pt x="478250" y="222028"/>
                    </a:lnTo>
                    <a:lnTo>
                      <a:pt x="486251" y="214027"/>
                    </a:lnTo>
                    <a:lnTo>
                      <a:pt x="502158" y="206121"/>
                    </a:lnTo>
                    <a:lnTo>
                      <a:pt x="502158" y="174403"/>
                    </a:lnTo>
                    <a:lnTo>
                      <a:pt x="534067" y="166497"/>
                    </a:lnTo>
                    <a:lnTo>
                      <a:pt x="557975" y="150590"/>
                    </a:lnTo>
                    <a:lnTo>
                      <a:pt x="549974" y="142685"/>
                    </a:lnTo>
                    <a:lnTo>
                      <a:pt x="542068" y="142685"/>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2D13B8C4-053A-CD17-E87D-F540D5D952AB}"/>
                  </a:ext>
                </a:extLst>
              </p:cNvPr>
              <p:cNvSpPr/>
              <p:nvPr/>
            </p:nvSpPr>
            <p:spPr>
              <a:xfrm>
                <a:off x="6284118" y="3670362"/>
                <a:ext cx="557974" cy="253745"/>
              </a:xfrm>
              <a:custGeom>
                <a:avLst/>
                <a:gdLst>
                  <a:gd name="connsiteX0" fmla="*/ 542068 w 557974"/>
                  <a:gd name="connsiteY0" fmla="*/ 142685 h 253745"/>
                  <a:gd name="connsiteX1" fmla="*/ 534067 w 557974"/>
                  <a:gd name="connsiteY1" fmla="*/ 126873 h 253745"/>
                  <a:gd name="connsiteX2" fmla="*/ 534067 w 557974"/>
                  <a:gd name="connsiteY2" fmla="*/ 118872 h 253745"/>
                  <a:gd name="connsiteX3" fmla="*/ 518160 w 557974"/>
                  <a:gd name="connsiteY3" fmla="*/ 110966 h 253745"/>
                  <a:gd name="connsiteX4" fmla="*/ 494252 w 557974"/>
                  <a:gd name="connsiteY4" fmla="*/ 110966 h 253745"/>
                  <a:gd name="connsiteX5" fmla="*/ 494252 w 557974"/>
                  <a:gd name="connsiteY5" fmla="*/ 103061 h 253745"/>
                  <a:gd name="connsiteX6" fmla="*/ 486251 w 557974"/>
                  <a:gd name="connsiteY6" fmla="*/ 95155 h 253745"/>
                  <a:gd name="connsiteX7" fmla="*/ 478250 w 557974"/>
                  <a:gd name="connsiteY7" fmla="*/ 110966 h 253745"/>
                  <a:gd name="connsiteX8" fmla="*/ 470345 w 557974"/>
                  <a:gd name="connsiteY8" fmla="*/ 103061 h 253745"/>
                  <a:gd name="connsiteX9" fmla="*/ 462343 w 557974"/>
                  <a:gd name="connsiteY9" fmla="*/ 87154 h 253745"/>
                  <a:gd name="connsiteX10" fmla="*/ 454342 w 557974"/>
                  <a:gd name="connsiteY10" fmla="*/ 79248 h 253745"/>
                  <a:gd name="connsiteX11" fmla="*/ 430435 w 557974"/>
                  <a:gd name="connsiteY11" fmla="*/ 79248 h 253745"/>
                  <a:gd name="connsiteX12" fmla="*/ 438436 w 557974"/>
                  <a:gd name="connsiteY12" fmla="*/ 71342 h 253745"/>
                  <a:gd name="connsiteX13" fmla="*/ 414528 w 557974"/>
                  <a:gd name="connsiteY13" fmla="*/ 71342 h 253745"/>
                  <a:gd name="connsiteX14" fmla="*/ 398621 w 557974"/>
                  <a:gd name="connsiteY14" fmla="*/ 79248 h 253745"/>
                  <a:gd name="connsiteX15" fmla="*/ 390620 w 557974"/>
                  <a:gd name="connsiteY15" fmla="*/ 79248 h 253745"/>
                  <a:gd name="connsiteX16" fmla="*/ 390620 w 557974"/>
                  <a:gd name="connsiteY16" fmla="*/ 87154 h 253745"/>
                  <a:gd name="connsiteX17" fmla="*/ 366713 w 557974"/>
                  <a:gd name="connsiteY17" fmla="*/ 87154 h 253745"/>
                  <a:gd name="connsiteX18" fmla="*/ 358712 w 557974"/>
                  <a:gd name="connsiteY18" fmla="*/ 79248 h 253745"/>
                  <a:gd name="connsiteX19" fmla="*/ 350806 w 557974"/>
                  <a:gd name="connsiteY19" fmla="*/ 79248 h 253745"/>
                  <a:gd name="connsiteX20" fmla="*/ 350806 w 557974"/>
                  <a:gd name="connsiteY20" fmla="*/ 63437 h 253745"/>
                  <a:gd name="connsiteX21" fmla="*/ 334804 w 557974"/>
                  <a:gd name="connsiteY21" fmla="*/ 55436 h 253745"/>
                  <a:gd name="connsiteX22" fmla="*/ 350806 w 557974"/>
                  <a:gd name="connsiteY22" fmla="*/ 47530 h 253745"/>
                  <a:gd name="connsiteX23" fmla="*/ 342805 w 557974"/>
                  <a:gd name="connsiteY23" fmla="*/ 39624 h 253745"/>
                  <a:gd name="connsiteX24" fmla="*/ 310896 w 557974"/>
                  <a:gd name="connsiteY24" fmla="*/ 39624 h 253745"/>
                  <a:gd name="connsiteX25" fmla="*/ 310896 w 557974"/>
                  <a:gd name="connsiteY25" fmla="*/ 31718 h 253745"/>
                  <a:gd name="connsiteX26" fmla="*/ 302895 w 557974"/>
                  <a:gd name="connsiteY26" fmla="*/ 31718 h 253745"/>
                  <a:gd name="connsiteX27" fmla="*/ 286988 w 557974"/>
                  <a:gd name="connsiteY27" fmla="*/ 23717 h 253745"/>
                  <a:gd name="connsiteX28" fmla="*/ 263080 w 557974"/>
                  <a:gd name="connsiteY28" fmla="*/ 23717 h 253745"/>
                  <a:gd name="connsiteX29" fmla="*/ 255079 w 557974"/>
                  <a:gd name="connsiteY29" fmla="*/ 0 h 253745"/>
                  <a:gd name="connsiteX30" fmla="*/ 231172 w 557974"/>
                  <a:gd name="connsiteY30" fmla="*/ 0 h 253745"/>
                  <a:gd name="connsiteX31" fmla="*/ 215265 w 557974"/>
                  <a:gd name="connsiteY31" fmla="*/ 15812 h 253745"/>
                  <a:gd name="connsiteX32" fmla="*/ 207264 w 557974"/>
                  <a:gd name="connsiteY32" fmla="*/ 15812 h 253745"/>
                  <a:gd name="connsiteX33" fmla="*/ 191357 w 557974"/>
                  <a:gd name="connsiteY33" fmla="*/ 0 h 253745"/>
                  <a:gd name="connsiteX34" fmla="*/ 183356 w 557974"/>
                  <a:gd name="connsiteY34" fmla="*/ 7906 h 253745"/>
                  <a:gd name="connsiteX35" fmla="*/ 175450 w 557974"/>
                  <a:gd name="connsiteY35" fmla="*/ 7906 h 253745"/>
                  <a:gd name="connsiteX36" fmla="*/ 167450 w 557974"/>
                  <a:gd name="connsiteY36" fmla="*/ 15812 h 253745"/>
                  <a:gd name="connsiteX37" fmla="*/ 167450 w 557974"/>
                  <a:gd name="connsiteY37" fmla="*/ 23717 h 253745"/>
                  <a:gd name="connsiteX38" fmla="*/ 143542 w 557974"/>
                  <a:gd name="connsiteY38" fmla="*/ 23717 h 253745"/>
                  <a:gd name="connsiteX39" fmla="*/ 143542 w 557974"/>
                  <a:gd name="connsiteY39" fmla="*/ 31718 h 253745"/>
                  <a:gd name="connsiteX40" fmla="*/ 111633 w 557974"/>
                  <a:gd name="connsiteY40" fmla="*/ 31718 h 253745"/>
                  <a:gd name="connsiteX41" fmla="*/ 111633 w 557974"/>
                  <a:gd name="connsiteY41" fmla="*/ 39624 h 253745"/>
                  <a:gd name="connsiteX42" fmla="*/ 87725 w 557974"/>
                  <a:gd name="connsiteY42" fmla="*/ 47530 h 253745"/>
                  <a:gd name="connsiteX43" fmla="*/ 71818 w 557974"/>
                  <a:gd name="connsiteY43" fmla="*/ 63437 h 253745"/>
                  <a:gd name="connsiteX44" fmla="*/ 55817 w 557974"/>
                  <a:gd name="connsiteY44" fmla="*/ 55436 h 253745"/>
                  <a:gd name="connsiteX45" fmla="*/ 47911 w 557974"/>
                  <a:gd name="connsiteY45" fmla="*/ 55436 h 253745"/>
                  <a:gd name="connsiteX46" fmla="*/ 39910 w 557974"/>
                  <a:gd name="connsiteY46" fmla="*/ 63437 h 253745"/>
                  <a:gd name="connsiteX47" fmla="*/ 39910 w 557974"/>
                  <a:gd name="connsiteY47" fmla="*/ 71342 h 253745"/>
                  <a:gd name="connsiteX48" fmla="*/ 24003 w 557974"/>
                  <a:gd name="connsiteY48" fmla="*/ 71342 h 253745"/>
                  <a:gd name="connsiteX49" fmla="*/ 24003 w 557974"/>
                  <a:gd name="connsiteY49" fmla="*/ 79248 h 253745"/>
                  <a:gd name="connsiteX50" fmla="*/ 8001 w 557974"/>
                  <a:gd name="connsiteY50" fmla="*/ 79248 h 253745"/>
                  <a:gd name="connsiteX51" fmla="*/ 8001 w 557974"/>
                  <a:gd name="connsiteY51" fmla="*/ 71342 h 253745"/>
                  <a:gd name="connsiteX52" fmla="*/ 0 w 557974"/>
                  <a:gd name="connsiteY52" fmla="*/ 71342 h 253745"/>
                  <a:gd name="connsiteX53" fmla="*/ 0 w 557974"/>
                  <a:gd name="connsiteY53" fmla="*/ 87154 h 253745"/>
                  <a:gd name="connsiteX54" fmla="*/ 8001 w 557974"/>
                  <a:gd name="connsiteY54" fmla="*/ 95155 h 253745"/>
                  <a:gd name="connsiteX55" fmla="*/ 16002 w 557974"/>
                  <a:gd name="connsiteY55" fmla="*/ 95155 h 253745"/>
                  <a:gd name="connsiteX56" fmla="*/ 31909 w 557974"/>
                  <a:gd name="connsiteY56" fmla="*/ 110966 h 253745"/>
                  <a:gd name="connsiteX57" fmla="*/ 24003 w 557974"/>
                  <a:gd name="connsiteY57" fmla="*/ 118872 h 253745"/>
                  <a:gd name="connsiteX58" fmla="*/ 16002 w 557974"/>
                  <a:gd name="connsiteY58" fmla="*/ 118872 h 253745"/>
                  <a:gd name="connsiteX59" fmla="*/ 16002 w 557974"/>
                  <a:gd name="connsiteY59" fmla="*/ 126873 h 253745"/>
                  <a:gd name="connsiteX60" fmla="*/ 31909 w 557974"/>
                  <a:gd name="connsiteY60" fmla="*/ 142685 h 253745"/>
                  <a:gd name="connsiteX61" fmla="*/ 39910 w 557974"/>
                  <a:gd name="connsiteY61" fmla="*/ 158591 h 253745"/>
                  <a:gd name="connsiteX62" fmla="*/ 47911 w 557974"/>
                  <a:gd name="connsiteY62" fmla="*/ 158591 h 253745"/>
                  <a:gd name="connsiteX63" fmla="*/ 47911 w 557974"/>
                  <a:gd name="connsiteY63" fmla="*/ 166497 h 253745"/>
                  <a:gd name="connsiteX64" fmla="*/ 63817 w 557974"/>
                  <a:gd name="connsiteY64" fmla="*/ 174403 h 253745"/>
                  <a:gd name="connsiteX65" fmla="*/ 79724 w 557974"/>
                  <a:gd name="connsiteY65" fmla="*/ 174403 h 253745"/>
                  <a:gd name="connsiteX66" fmla="*/ 87725 w 557974"/>
                  <a:gd name="connsiteY66" fmla="*/ 190310 h 253745"/>
                  <a:gd name="connsiteX67" fmla="*/ 95726 w 557974"/>
                  <a:gd name="connsiteY67" fmla="*/ 190310 h 253745"/>
                  <a:gd name="connsiteX68" fmla="*/ 103632 w 557974"/>
                  <a:gd name="connsiteY68" fmla="*/ 206121 h 253745"/>
                  <a:gd name="connsiteX69" fmla="*/ 119634 w 557974"/>
                  <a:gd name="connsiteY69" fmla="*/ 206121 h 253745"/>
                  <a:gd name="connsiteX70" fmla="*/ 127540 w 557974"/>
                  <a:gd name="connsiteY70" fmla="*/ 214027 h 253745"/>
                  <a:gd name="connsiteX71" fmla="*/ 135541 w 557974"/>
                  <a:gd name="connsiteY71" fmla="*/ 214027 h 253745"/>
                  <a:gd name="connsiteX72" fmla="*/ 135541 w 557974"/>
                  <a:gd name="connsiteY72" fmla="*/ 229934 h 253745"/>
                  <a:gd name="connsiteX73" fmla="*/ 159449 w 557974"/>
                  <a:gd name="connsiteY73" fmla="*/ 253746 h 253745"/>
                  <a:gd name="connsiteX74" fmla="*/ 175450 w 557974"/>
                  <a:gd name="connsiteY74" fmla="*/ 253746 h 253745"/>
                  <a:gd name="connsiteX75" fmla="*/ 191357 w 557974"/>
                  <a:gd name="connsiteY75" fmla="*/ 245745 h 253745"/>
                  <a:gd name="connsiteX76" fmla="*/ 199358 w 557974"/>
                  <a:gd name="connsiteY76" fmla="*/ 245745 h 253745"/>
                  <a:gd name="connsiteX77" fmla="*/ 215265 w 557974"/>
                  <a:gd name="connsiteY77" fmla="*/ 253746 h 253745"/>
                  <a:gd name="connsiteX78" fmla="*/ 215265 w 557974"/>
                  <a:gd name="connsiteY78" fmla="*/ 229934 h 253745"/>
                  <a:gd name="connsiteX79" fmla="*/ 223266 w 557974"/>
                  <a:gd name="connsiteY79" fmla="*/ 229934 h 253745"/>
                  <a:gd name="connsiteX80" fmla="*/ 231172 w 557974"/>
                  <a:gd name="connsiteY80" fmla="*/ 214027 h 253745"/>
                  <a:gd name="connsiteX81" fmla="*/ 239173 w 557974"/>
                  <a:gd name="connsiteY81" fmla="*/ 206121 h 253745"/>
                  <a:gd name="connsiteX82" fmla="*/ 263080 w 557974"/>
                  <a:gd name="connsiteY82" fmla="*/ 206121 h 253745"/>
                  <a:gd name="connsiteX83" fmla="*/ 278987 w 557974"/>
                  <a:gd name="connsiteY83" fmla="*/ 214027 h 253745"/>
                  <a:gd name="connsiteX84" fmla="*/ 294989 w 557974"/>
                  <a:gd name="connsiteY84" fmla="*/ 229934 h 253745"/>
                  <a:gd name="connsiteX85" fmla="*/ 310896 w 557974"/>
                  <a:gd name="connsiteY85" fmla="*/ 222028 h 253745"/>
                  <a:gd name="connsiteX86" fmla="*/ 326803 w 557974"/>
                  <a:gd name="connsiteY86" fmla="*/ 237839 h 253745"/>
                  <a:gd name="connsiteX87" fmla="*/ 342805 w 557974"/>
                  <a:gd name="connsiteY87" fmla="*/ 229934 h 253745"/>
                  <a:gd name="connsiteX88" fmla="*/ 350806 w 557974"/>
                  <a:gd name="connsiteY88" fmla="*/ 222028 h 253745"/>
                  <a:gd name="connsiteX89" fmla="*/ 366713 w 557974"/>
                  <a:gd name="connsiteY89" fmla="*/ 222028 h 253745"/>
                  <a:gd name="connsiteX90" fmla="*/ 374713 w 557974"/>
                  <a:gd name="connsiteY90" fmla="*/ 229934 h 253745"/>
                  <a:gd name="connsiteX91" fmla="*/ 382619 w 557974"/>
                  <a:gd name="connsiteY91" fmla="*/ 229934 h 253745"/>
                  <a:gd name="connsiteX92" fmla="*/ 398621 w 557974"/>
                  <a:gd name="connsiteY92" fmla="*/ 237839 h 253745"/>
                  <a:gd name="connsiteX93" fmla="*/ 406527 w 557974"/>
                  <a:gd name="connsiteY93" fmla="*/ 229934 h 253745"/>
                  <a:gd name="connsiteX94" fmla="*/ 430435 w 557974"/>
                  <a:gd name="connsiteY94" fmla="*/ 229934 h 253745"/>
                  <a:gd name="connsiteX95" fmla="*/ 438436 w 557974"/>
                  <a:gd name="connsiteY95" fmla="*/ 222028 h 253745"/>
                  <a:gd name="connsiteX96" fmla="*/ 438436 w 557974"/>
                  <a:gd name="connsiteY96" fmla="*/ 229934 h 253745"/>
                  <a:gd name="connsiteX97" fmla="*/ 462343 w 557974"/>
                  <a:gd name="connsiteY97" fmla="*/ 229934 h 253745"/>
                  <a:gd name="connsiteX98" fmla="*/ 478250 w 557974"/>
                  <a:gd name="connsiteY98" fmla="*/ 222028 h 253745"/>
                  <a:gd name="connsiteX99" fmla="*/ 486251 w 557974"/>
                  <a:gd name="connsiteY99" fmla="*/ 214027 h 253745"/>
                  <a:gd name="connsiteX100" fmla="*/ 502158 w 557974"/>
                  <a:gd name="connsiteY100" fmla="*/ 206121 h 253745"/>
                  <a:gd name="connsiteX101" fmla="*/ 502158 w 557974"/>
                  <a:gd name="connsiteY101" fmla="*/ 174403 h 253745"/>
                  <a:gd name="connsiteX102" fmla="*/ 534067 w 557974"/>
                  <a:gd name="connsiteY102" fmla="*/ 166497 h 253745"/>
                  <a:gd name="connsiteX103" fmla="*/ 557975 w 557974"/>
                  <a:gd name="connsiteY103" fmla="*/ 150590 h 253745"/>
                  <a:gd name="connsiteX104" fmla="*/ 549974 w 557974"/>
                  <a:gd name="connsiteY104" fmla="*/ 142685 h 253745"/>
                  <a:gd name="connsiteX105" fmla="*/ 542068 w 557974"/>
                  <a:gd name="connsiteY105" fmla="*/ 142685 h 25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57974" h="253745">
                    <a:moveTo>
                      <a:pt x="542068" y="142685"/>
                    </a:moveTo>
                    <a:lnTo>
                      <a:pt x="534067" y="126873"/>
                    </a:lnTo>
                    <a:lnTo>
                      <a:pt x="534067" y="118872"/>
                    </a:lnTo>
                    <a:lnTo>
                      <a:pt x="518160" y="110966"/>
                    </a:lnTo>
                    <a:lnTo>
                      <a:pt x="494252" y="110966"/>
                    </a:lnTo>
                    <a:lnTo>
                      <a:pt x="494252" y="103061"/>
                    </a:lnTo>
                    <a:lnTo>
                      <a:pt x="486251" y="95155"/>
                    </a:lnTo>
                    <a:lnTo>
                      <a:pt x="478250" y="110966"/>
                    </a:lnTo>
                    <a:lnTo>
                      <a:pt x="470345" y="103061"/>
                    </a:lnTo>
                    <a:lnTo>
                      <a:pt x="462343" y="87154"/>
                    </a:lnTo>
                    <a:lnTo>
                      <a:pt x="454342" y="79248"/>
                    </a:lnTo>
                    <a:lnTo>
                      <a:pt x="430435" y="79248"/>
                    </a:lnTo>
                    <a:lnTo>
                      <a:pt x="438436" y="71342"/>
                    </a:lnTo>
                    <a:lnTo>
                      <a:pt x="414528" y="71342"/>
                    </a:lnTo>
                    <a:lnTo>
                      <a:pt x="398621" y="79248"/>
                    </a:lnTo>
                    <a:lnTo>
                      <a:pt x="390620" y="79248"/>
                    </a:lnTo>
                    <a:lnTo>
                      <a:pt x="390620" y="87154"/>
                    </a:lnTo>
                    <a:lnTo>
                      <a:pt x="366713" y="87154"/>
                    </a:lnTo>
                    <a:lnTo>
                      <a:pt x="358712" y="79248"/>
                    </a:lnTo>
                    <a:lnTo>
                      <a:pt x="350806" y="79248"/>
                    </a:lnTo>
                    <a:lnTo>
                      <a:pt x="350806" y="63437"/>
                    </a:lnTo>
                    <a:lnTo>
                      <a:pt x="334804" y="55436"/>
                    </a:lnTo>
                    <a:lnTo>
                      <a:pt x="350806" y="47530"/>
                    </a:lnTo>
                    <a:lnTo>
                      <a:pt x="342805" y="39624"/>
                    </a:lnTo>
                    <a:lnTo>
                      <a:pt x="310896" y="39624"/>
                    </a:lnTo>
                    <a:lnTo>
                      <a:pt x="310896" y="31718"/>
                    </a:lnTo>
                    <a:lnTo>
                      <a:pt x="302895" y="31718"/>
                    </a:lnTo>
                    <a:lnTo>
                      <a:pt x="286988" y="23717"/>
                    </a:lnTo>
                    <a:lnTo>
                      <a:pt x="263080" y="23717"/>
                    </a:lnTo>
                    <a:lnTo>
                      <a:pt x="255079" y="0"/>
                    </a:lnTo>
                    <a:lnTo>
                      <a:pt x="231172" y="0"/>
                    </a:lnTo>
                    <a:lnTo>
                      <a:pt x="215265" y="15812"/>
                    </a:lnTo>
                    <a:lnTo>
                      <a:pt x="207264" y="15812"/>
                    </a:lnTo>
                    <a:lnTo>
                      <a:pt x="191357" y="0"/>
                    </a:lnTo>
                    <a:lnTo>
                      <a:pt x="183356" y="7906"/>
                    </a:lnTo>
                    <a:lnTo>
                      <a:pt x="175450" y="7906"/>
                    </a:lnTo>
                    <a:lnTo>
                      <a:pt x="167450" y="15812"/>
                    </a:lnTo>
                    <a:lnTo>
                      <a:pt x="167450" y="23717"/>
                    </a:lnTo>
                    <a:lnTo>
                      <a:pt x="143542" y="23717"/>
                    </a:lnTo>
                    <a:lnTo>
                      <a:pt x="143542" y="31718"/>
                    </a:lnTo>
                    <a:lnTo>
                      <a:pt x="111633" y="31718"/>
                    </a:lnTo>
                    <a:lnTo>
                      <a:pt x="111633" y="39624"/>
                    </a:lnTo>
                    <a:lnTo>
                      <a:pt x="87725" y="47530"/>
                    </a:lnTo>
                    <a:lnTo>
                      <a:pt x="71818" y="63437"/>
                    </a:lnTo>
                    <a:lnTo>
                      <a:pt x="55817" y="55436"/>
                    </a:lnTo>
                    <a:lnTo>
                      <a:pt x="47911" y="55436"/>
                    </a:lnTo>
                    <a:lnTo>
                      <a:pt x="39910" y="63437"/>
                    </a:lnTo>
                    <a:lnTo>
                      <a:pt x="39910" y="71342"/>
                    </a:lnTo>
                    <a:lnTo>
                      <a:pt x="24003" y="71342"/>
                    </a:lnTo>
                    <a:lnTo>
                      <a:pt x="24003" y="79248"/>
                    </a:lnTo>
                    <a:lnTo>
                      <a:pt x="8001" y="79248"/>
                    </a:lnTo>
                    <a:lnTo>
                      <a:pt x="8001" y="71342"/>
                    </a:lnTo>
                    <a:lnTo>
                      <a:pt x="0" y="71342"/>
                    </a:lnTo>
                    <a:lnTo>
                      <a:pt x="0" y="87154"/>
                    </a:lnTo>
                    <a:lnTo>
                      <a:pt x="8001" y="95155"/>
                    </a:lnTo>
                    <a:lnTo>
                      <a:pt x="16002" y="95155"/>
                    </a:lnTo>
                    <a:lnTo>
                      <a:pt x="31909" y="110966"/>
                    </a:lnTo>
                    <a:lnTo>
                      <a:pt x="24003" y="118872"/>
                    </a:lnTo>
                    <a:lnTo>
                      <a:pt x="16002" y="118872"/>
                    </a:lnTo>
                    <a:lnTo>
                      <a:pt x="16002" y="126873"/>
                    </a:lnTo>
                    <a:lnTo>
                      <a:pt x="31909" y="142685"/>
                    </a:lnTo>
                    <a:lnTo>
                      <a:pt x="39910" y="158591"/>
                    </a:lnTo>
                    <a:lnTo>
                      <a:pt x="47911" y="158591"/>
                    </a:lnTo>
                    <a:lnTo>
                      <a:pt x="47911" y="166497"/>
                    </a:lnTo>
                    <a:lnTo>
                      <a:pt x="63817" y="174403"/>
                    </a:lnTo>
                    <a:lnTo>
                      <a:pt x="79724" y="174403"/>
                    </a:lnTo>
                    <a:lnTo>
                      <a:pt x="87725" y="190310"/>
                    </a:lnTo>
                    <a:lnTo>
                      <a:pt x="95726" y="190310"/>
                    </a:lnTo>
                    <a:lnTo>
                      <a:pt x="103632" y="206121"/>
                    </a:lnTo>
                    <a:lnTo>
                      <a:pt x="119634" y="206121"/>
                    </a:lnTo>
                    <a:lnTo>
                      <a:pt x="127540" y="214027"/>
                    </a:lnTo>
                    <a:lnTo>
                      <a:pt x="135541" y="214027"/>
                    </a:lnTo>
                    <a:lnTo>
                      <a:pt x="135541" y="229934"/>
                    </a:lnTo>
                    <a:lnTo>
                      <a:pt x="159449" y="253746"/>
                    </a:lnTo>
                    <a:lnTo>
                      <a:pt x="175450" y="253746"/>
                    </a:lnTo>
                    <a:lnTo>
                      <a:pt x="191357" y="245745"/>
                    </a:lnTo>
                    <a:lnTo>
                      <a:pt x="199358" y="245745"/>
                    </a:lnTo>
                    <a:lnTo>
                      <a:pt x="215265" y="253746"/>
                    </a:lnTo>
                    <a:lnTo>
                      <a:pt x="215265" y="229934"/>
                    </a:lnTo>
                    <a:lnTo>
                      <a:pt x="223266" y="229934"/>
                    </a:lnTo>
                    <a:lnTo>
                      <a:pt x="231172" y="214027"/>
                    </a:lnTo>
                    <a:lnTo>
                      <a:pt x="239173" y="206121"/>
                    </a:lnTo>
                    <a:lnTo>
                      <a:pt x="263080" y="206121"/>
                    </a:lnTo>
                    <a:lnTo>
                      <a:pt x="278987" y="214027"/>
                    </a:lnTo>
                    <a:lnTo>
                      <a:pt x="294989" y="229934"/>
                    </a:lnTo>
                    <a:lnTo>
                      <a:pt x="310896" y="222028"/>
                    </a:lnTo>
                    <a:lnTo>
                      <a:pt x="326803" y="237839"/>
                    </a:lnTo>
                    <a:lnTo>
                      <a:pt x="342805" y="229934"/>
                    </a:lnTo>
                    <a:lnTo>
                      <a:pt x="350806" y="222028"/>
                    </a:lnTo>
                    <a:lnTo>
                      <a:pt x="366713" y="222028"/>
                    </a:lnTo>
                    <a:lnTo>
                      <a:pt x="374713" y="229934"/>
                    </a:lnTo>
                    <a:lnTo>
                      <a:pt x="382619" y="229934"/>
                    </a:lnTo>
                    <a:lnTo>
                      <a:pt x="398621" y="237839"/>
                    </a:lnTo>
                    <a:lnTo>
                      <a:pt x="406527" y="229934"/>
                    </a:lnTo>
                    <a:lnTo>
                      <a:pt x="430435" y="229934"/>
                    </a:lnTo>
                    <a:lnTo>
                      <a:pt x="438436" y="222028"/>
                    </a:lnTo>
                    <a:lnTo>
                      <a:pt x="438436" y="229934"/>
                    </a:lnTo>
                    <a:lnTo>
                      <a:pt x="462343" y="229934"/>
                    </a:lnTo>
                    <a:lnTo>
                      <a:pt x="478250" y="222028"/>
                    </a:lnTo>
                    <a:lnTo>
                      <a:pt x="486251" y="214027"/>
                    </a:lnTo>
                    <a:lnTo>
                      <a:pt x="502158" y="206121"/>
                    </a:lnTo>
                    <a:lnTo>
                      <a:pt x="502158" y="174403"/>
                    </a:lnTo>
                    <a:lnTo>
                      <a:pt x="534067" y="166497"/>
                    </a:lnTo>
                    <a:lnTo>
                      <a:pt x="557975" y="150590"/>
                    </a:lnTo>
                    <a:lnTo>
                      <a:pt x="549974" y="142685"/>
                    </a:lnTo>
                    <a:lnTo>
                      <a:pt x="542068" y="142685"/>
                    </a:lnTo>
                    <a:close/>
                  </a:path>
                </a:pathLst>
              </a:custGeom>
              <a:noFill/>
              <a:ln w="4763" cap="flat">
                <a:no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E3742966-5713-1028-BC2F-A59CE4987C97}"/>
                  </a:ext>
                </a:extLst>
              </p:cNvPr>
              <p:cNvSpPr/>
              <p:nvPr/>
            </p:nvSpPr>
            <p:spPr>
              <a:xfrm>
                <a:off x="6419659" y="4140612"/>
                <a:ext cx="484917" cy="361283"/>
              </a:xfrm>
              <a:custGeom>
                <a:avLst/>
                <a:gdLst>
                  <a:gd name="connsiteX0" fmla="*/ 453104 w 484917"/>
                  <a:gd name="connsiteY0" fmla="*/ 164973 h 361283"/>
                  <a:gd name="connsiteX1" fmla="*/ 453104 w 484917"/>
                  <a:gd name="connsiteY1" fmla="*/ 149257 h 361283"/>
                  <a:gd name="connsiteX2" fmla="*/ 461010 w 484917"/>
                  <a:gd name="connsiteY2" fmla="*/ 149257 h 361283"/>
                  <a:gd name="connsiteX3" fmla="*/ 469011 w 484917"/>
                  <a:gd name="connsiteY3" fmla="*/ 141351 h 361283"/>
                  <a:gd name="connsiteX4" fmla="*/ 476917 w 484917"/>
                  <a:gd name="connsiteY4" fmla="*/ 141351 h 361283"/>
                  <a:gd name="connsiteX5" fmla="*/ 484918 w 484917"/>
                  <a:gd name="connsiteY5" fmla="*/ 133541 h 361283"/>
                  <a:gd name="connsiteX6" fmla="*/ 476917 w 484917"/>
                  <a:gd name="connsiteY6" fmla="*/ 133541 h 361283"/>
                  <a:gd name="connsiteX7" fmla="*/ 461010 w 484917"/>
                  <a:gd name="connsiteY7" fmla="*/ 125635 h 361283"/>
                  <a:gd name="connsiteX8" fmla="*/ 445103 w 484917"/>
                  <a:gd name="connsiteY8" fmla="*/ 125635 h 361283"/>
                  <a:gd name="connsiteX9" fmla="*/ 453104 w 484917"/>
                  <a:gd name="connsiteY9" fmla="*/ 102108 h 361283"/>
                  <a:gd name="connsiteX10" fmla="*/ 445103 w 484917"/>
                  <a:gd name="connsiteY10" fmla="*/ 102108 h 361283"/>
                  <a:gd name="connsiteX11" fmla="*/ 437198 w 484917"/>
                  <a:gd name="connsiteY11" fmla="*/ 62865 h 361283"/>
                  <a:gd name="connsiteX12" fmla="*/ 429292 w 484917"/>
                  <a:gd name="connsiteY12" fmla="*/ 62865 h 361283"/>
                  <a:gd name="connsiteX13" fmla="*/ 413385 w 484917"/>
                  <a:gd name="connsiteY13" fmla="*/ 70676 h 361283"/>
                  <a:gd name="connsiteX14" fmla="*/ 357664 w 484917"/>
                  <a:gd name="connsiteY14" fmla="*/ 78486 h 361283"/>
                  <a:gd name="connsiteX15" fmla="*/ 349758 w 484917"/>
                  <a:gd name="connsiteY15" fmla="*/ 62865 h 361283"/>
                  <a:gd name="connsiteX16" fmla="*/ 325946 w 484917"/>
                  <a:gd name="connsiteY16" fmla="*/ 62865 h 361283"/>
                  <a:gd name="connsiteX17" fmla="*/ 310039 w 484917"/>
                  <a:gd name="connsiteY17" fmla="*/ 54959 h 361283"/>
                  <a:gd name="connsiteX18" fmla="*/ 302038 w 484917"/>
                  <a:gd name="connsiteY18" fmla="*/ 47149 h 361283"/>
                  <a:gd name="connsiteX19" fmla="*/ 286131 w 484917"/>
                  <a:gd name="connsiteY19" fmla="*/ 39243 h 361283"/>
                  <a:gd name="connsiteX20" fmla="*/ 270224 w 484917"/>
                  <a:gd name="connsiteY20" fmla="*/ 23527 h 361283"/>
                  <a:gd name="connsiteX21" fmla="*/ 270224 w 484917"/>
                  <a:gd name="connsiteY21" fmla="*/ 15716 h 361283"/>
                  <a:gd name="connsiteX22" fmla="*/ 262319 w 484917"/>
                  <a:gd name="connsiteY22" fmla="*/ 7811 h 361283"/>
                  <a:gd name="connsiteX23" fmla="*/ 246412 w 484917"/>
                  <a:gd name="connsiteY23" fmla="*/ 0 h 361283"/>
                  <a:gd name="connsiteX24" fmla="*/ 214598 w 484917"/>
                  <a:gd name="connsiteY24" fmla="*/ 0 h 361283"/>
                  <a:gd name="connsiteX25" fmla="*/ 214598 w 484917"/>
                  <a:gd name="connsiteY25" fmla="*/ 15716 h 361283"/>
                  <a:gd name="connsiteX26" fmla="*/ 198692 w 484917"/>
                  <a:gd name="connsiteY26" fmla="*/ 23527 h 361283"/>
                  <a:gd name="connsiteX27" fmla="*/ 158972 w 484917"/>
                  <a:gd name="connsiteY27" fmla="*/ 23527 h 361283"/>
                  <a:gd name="connsiteX28" fmla="*/ 158972 w 484917"/>
                  <a:gd name="connsiteY28" fmla="*/ 39243 h 361283"/>
                  <a:gd name="connsiteX29" fmla="*/ 166973 w 484917"/>
                  <a:gd name="connsiteY29" fmla="*/ 47149 h 361283"/>
                  <a:gd name="connsiteX30" fmla="*/ 166973 w 484917"/>
                  <a:gd name="connsiteY30" fmla="*/ 54959 h 361283"/>
                  <a:gd name="connsiteX31" fmla="*/ 151067 w 484917"/>
                  <a:gd name="connsiteY31" fmla="*/ 70676 h 361283"/>
                  <a:gd name="connsiteX32" fmla="*/ 135160 w 484917"/>
                  <a:gd name="connsiteY32" fmla="*/ 78486 h 361283"/>
                  <a:gd name="connsiteX33" fmla="*/ 135160 w 484917"/>
                  <a:gd name="connsiteY33" fmla="*/ 102108 h 361283"/>
                  <a:gd name="connsiteX34" fmla="*/ 79534 w 484917"/>
                  <a:gd name="connsiteY34" fmla="*/ 102108 h 361283"/>
                  <a:gd name="connsiteX35" fmla="*/ 71533 w 484917"/>
                  <a:gd name="connsiteY35" fmla="*/ 94202 h 361283"/>
                  <a:gd name="connsiteX36" fmla="*/ 71533 w 484917"/>
                  <a:gd name="connsiteY36" fmla="*/ 86392 h 361283"/>
                  <a:gd name="connsiteX37" fmla="*/ 63627 w 484917"/>
                  <a:gd name="connsiteY37" fmla="*/ 102108 h 361283"/>
                  <a:gd name="connsiteX38" fmla="*/ 39719 w 484917"/>
                  <a:gd name="connsiteY38" fmla="*/ 102108 h 361283"/>
                  <a:gd name="connsiteX39" fmla="*/ 23813 w 484917"/>
                  <a:gd name="connsiteY39" fmla="*/ 94202 h 361283"/>
                  <a:gd name="connsiteX40" fmla="*/ 23813 w 484917"/>
                  <a:gd name="connsiteY40" fmla="*/ 109919 h 361283"/>
                  <a:gd name="connsiteX41" fmla="*/ 0 w 484917"/>
                  <a:gd name="connsiteY41" fmla="*/ 109919 h 361283"/>
                  <a:gd name="connsiteX42" fmla="*/ 0 w 484917"/>
                  <a:gd name="connsiteY42" fmla="*/ 172784 h 361283"/>
                  <a:gd name="connsiteX43" fmla="*/ 8001 w 484917"/>
                  <a:gd name="connsiteY43" fmla="*/ 172784 h 361283"/>
                  <a:gd name="connsiteX44" fmla="*/ 15907 w 484917"/>
                  <a:gd name="connsiteY44" fmla="*/ 157067 h 361283"/>
                  <a:gd name="connsiteX45" fmla="*/ 31814 w 484917"/>
                  <a:gd name="connsiteY45" fmla="*/ 149257 h 361283"/>
                  <a:gd name="connsiteX46" fmla="*/ 39719 w 484917"/>
                  <a:gd name="connsiteY46" fmla="*/ 133541 h 361283"/>
                  <a:gd name="connsiteX47" fmla="*/ 55626 w 484917"/>
                  <a:gd name="connsiteY47" fmla="*/ 133541 h 361283"/>
                  <a:gd name="connsiteX48" fmla="*/ 63627 w 484917"/>
                  <a:gd name="connsiteY48" fmla="*/ 149257 h 361283"/>
                  <a:gd name="connsiteX49" fmla="*/ 63627 w 484917"/>
                  <a:gd name="connsiteY49" fmla="*/ 172784 h 361283"/>
                  <a:gd name="connsiteX50" fmla="*/ 103346 w 484917"/>
                  <a:gd name="connsiteY50" fmla="*/ 164973 h 361283"/>
                  <a:gd name="connsiteX51" fmla="*/ 103346 w 484917"/>
                  <a:gd name="connsiteY51" fmla="*/ 172784 h 361283"/>
                  <a:gd name="connsiteX52" fmla="*/ 95441 w 484917"/>
                  <a:gd name="connsiteY52" fmla="*/ 188500 h 361283"/>
                  <a:gd name="connsiteX53" fmla="*/ 95441 w 484917"/>
                  <a:gd name="connsiteY53" fmla="*/ 196405 h 361283"/>
                  <a:gd name="connsiteX54" fmla="*/ 111252 w 484917"/>
                  <a:gd name="connsiteY54" fmla="*/ 212027 h 361283"/>
                  <a:gd name="connsiteX55" fmla="*/ 127159 w 484917"/>
                  <a:gd name="connsiteY55" fmla="*/ 219932 h 361283"/>
                  <a:gd name="connsiteX56" fmla="*/ 127159 w 484917"/>
                  <a:gd name="connsiteY56" fmla="*/ 235649 h 361283"/>
                  <a:gd name="connsiteX57" fmla="*/ 190786 w 484917"/>
                  <a:gd name="connsiteY57" fmla="*/ 282797 h 361283"/>
                  <a:gd name="connsiteX58" fmla="*/ 190786 w 484917"/>
                  <a:gd name="connsiteY58" fmla="*/ 314230 h 361283"/>
                  <a:gd name="connsiteX59" fmla="*/ 262319 w 484917"/>
                  <a:gd name="connsiteY59" fmla="*/ 314230 h 361283"/>
                  <a:gd name="connsiteX60" fmla="*/ 278225 w 484917"/>
                  <a:gd name="connsiteY60" fmla="*/ 322040 h 361283"/>
                  <a:gd name="connsiteX61" fmla="*/ 286131 w 484917"/>
                  <a:gd name="connsiteY61" fmla="*/ 329851 h 361283"/>
                  <a:gd name="connsiteX62" fmla="*/ 286131 w 484917"/>
                  <a:gd name="connsiteY62" fmla="*/ 361283 h 361283"/>
                  <a:gd name="connsiteX63" fmla="*/ 325946 w 484917"/>
                  <a:gd name="connsiteY63" fmla="*/ 361283 h 361283"/>
                  <a:gd name="connsiteX64" fmla="*/ 333851 w 484917"/>
                  <a:gd name="connsiteY64" fmla="*/ 353473 h 361283"/>
                  <a:gd name="connsiteX65" fmla="*/ 333851 w 484917"/>
                  <a:gd name="connsiteY65" fmla="*/ 345567 h 361283"/>
                  <a:gd name="connsiteX66" fmla="*/ 325946 w 484917"/>
                  <a:gd name="connsiteY66" fmla="*/ 329851 h 361283"/>
                  <a:gd name="connsiteX67" fmla="*/ 310039 w 484917"/>
                  <a:gd name="connsiteY67" fmla="*/ 322040 h 361283"/>
                  <a:gd name="connsiteX68" fmla="*/ 286131 w 484917"/>
                  <a:gd name="connsiteY68" fmla="*/ 306324 h 361283"/>
                  <a:gd name="connsiteX69" fmla="*/ 270224 w 484917"/>
                  <a:gd name="connsiteY69" fmla="*/ 298418 h 361283"/>
                  <a:gd name="connsiteX70" fmla="*/ 254413 w 484917"/>
                  <a:gd name="connsiteY70" fmla="*/ 282797 h 361283"/>
                  <a:gd name="connsiteX71" fmla="*/ 238506 w 484917"/>
                  <a:gd name="connsiteY71" fmla="*/ 243459 h 361283"/>
                  <a:gd name="connsiteX72" fmla="*/ 214598 w 484917"/>
                  <a:gd name="connsiteY72" fmla="*/ 235649 h 361283"/>
                  <a:gd name="connsiteX73" fmla="*/ 214598 w 484917"/>
                  <a:gd name="connsiteY73" fmla="*/ 212027 h 361283"/>
                  <a:gd name="connsiteX74" fmla="*/ 206692 w 484917"/>
                  <a:gd name="connsiteY74" fmla="*/ 204216 h 361283"/>
                  <a:gd name="connsiteX75" fmla="*/ 198692 w 484917"/>
                  <a:gd name="connsiteY75" fmla="*/ 204216 h 361283"/>
                  <a:gd name="connsiteX76" fmla="*/ 198692 w 484917"/>
                  <a:gd name="connsiteY76" fmla="*/ 188500 h 361283"/>
                  <a:gd name="connsiteX77" fmla="*/ 174879 w 484917"/>
                  <a:gd name="connsiteY77" fmla="*/ 180594 h 361283"/>
                  <a:gd name="connsiteX78" fmla="*/ 158972 w 484917"/>
                  <a:gd name="connsiteY78" fmla="*/ 164973 h 361283"/>
                  <a:gd name="connsiteX79" fmla="*/ 182880 w 484917"/>
                  <a:gd name="connsiteY79" fmla="*/ 157067 h 361283"/>
                  <a:gd name="connsiteX80" fmla="*/ 182880 w 484917"/>
                  <a:gd name="connsiteY80" fmla="*/ 125635 h 361283"/>
                  <a:gd name="connsiteX81" fmla="*/ 190786 w 484917"/>
                  <a:gd name="connsiteY81" fmla="*/ 125635 h 361283"/>
                  <a:gd name="connsiteX82" fmla="*/ 198692 w 484917"/>
                  <a:gd name="connsiteY82" fmla="*/ 133541 h 361283"/>
                  <a:gd name="connsiteX83" fmla="*/ 214598 w 484917"/>
                  <a:gd name="connsiteY83" fmla="*/ 141351 h 361283"/>
                  <a:gd name="connsiteX84" fmla="*/ 246412 w 484917"/>
                  <a:gd name="connsiteY84" fmla="*/ 133541 h 361283"/>
                  <a:gd name="connsiteX85" fmla="*/ 278225 w 484917"/>
                  <a:gd name="connsiteY85" fmla="*/ 133541 h 361283"/>
                  <a:gd name="connsiteX86" fmla="*/ 302038 w 484917"/>
                  <a:gd name="connsiteY86" fmla="*/ 141351 h 361283"/>
                  <a:gd name="connsiteX87" fmla="*/ 317945 w 484917"/>
                  <a:gd name="connsiteY87" fmla="*/ 133541 h 361283"/>
                  <a:gd name="connsiteX88" fmla="*/ 333851 w 484917"/>
                  <a:gd name="connsiteY88" fmla="*/ 133541 h 361283"/>
                  <a:gd name="connsiteX89" fmla="*/ 341852 w 484917"/>
                  <a:gd name="connsiteY89" fmla="*/ 141351 h 361283"/>
                  <a:gd name="connsiteX90" fmla="*/ 413385 w 484917"/>
                  <a:gd name="connsiteY90" fmla="*/ 141351 h 361283"/>
                  <a:gd name="connsiteX91" fmla="*/ 429292 w 484917"/>
                  <a:gd name="connsiteY91" fmla="*/ 164973 h 361283"/>
                  <a:gd name="connsiteX92" fmla="*/ 453104 w 484917"/>
                  <a:gd name="connsiteY92" fmla="*/ 164973 h 3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84917" h="361283">
                    <a:moveTo>
                      <a:pt x="453104" y="164973"/>
                    </a:moveTo>
                    <a:lnTo>
                      <a:pt x="453104" y="149257"/>
                    </a:lnTo>
                    <a:lnTo>
                      <a:pt x="461010" y="149257"/>
                    </a:lnTo>
                    <a:lnTo>
                      <a:pt x="469011" y="141351"/>
                    </a:lnTo>
                    <a:lnTo>
                      <a:pt x="476917" y="141351"/>
                    </a:lnTo>
                    <a:lnTo>
                      <a:pt x="484918" y="133541"/>
                    </a:lnTo>
                    <a:lnTo>
                      <a:pt x="476917" y="133541"/>
                    </a:lnTo>
                    <a:lnTo>
                      <a:pt x="461010" y="125635"/>
                    </a:lnTo>
                    <a:lnTo>
                      <a:pt x="445103" y="125635"/>
                    </a:lnTo>
                    <a:lnTo>
                      <a:pt x="453104" y="102108"/>
                    </a:lnTo>
                    <a:lnTo>
                      <a:pt x="445103" y="102108"/>
                    </a:lnTo>
                    <a:lnTo>
                      <a:pt x="437198" y="62865"/>
                    </a:lnTo>
                    <a:lnTo>
                      <a:pt x="429292" y="62865"/>
                    </a:lnTo>
                    <a:lnTo>
                      <a:pt x="413385" y="70676"/>
                    </a:lnTo>
                    <a:lnTo>
                      <a:pt x="357664" y="78486"/>
                    </a:lnTo>
                    <a:lnTo>
                      <a:pt x="349758" y="62865"/>
                    </a:lnTo>
                    <a:lnTo>
                      <a:pt x="325946" y="62865"/>
                    </a:lnTo>
                    <a:lnTo>
                      <a:pt x="310039" y="54959"/>
                    </a:lnTo>
                    <a:lnTo>
                      <a:pt x="302038" y="47149"/>
                    </a:lnTo>
                    <a:lnTo>
                      <a:pt x="286131" y="39243"/>
                    </a:lnTo>
                    <a:lnTo>
                      <a:pt x="270224" y="23527"/>
                    </a:lnTo>
                    <a:lnTo>
                      <a:pt x="270224" y="15716"/>
                    </a:lnTo>
                    <a:lnTo>
                      <a:pt x="262319" y="7811"/>
                    </a:lnTo>
                    <a:lnTo>
                      <a:pt x="246412" y="0"/>
                    </a:lnTo>
                    <a:lnTo>
                      <a:pt x="214598" y="0"/>
                    </a:lnTo>
                    <a:lnTo>
                      <a:pt x="214598" y="15716"/>
                    </a:lnTo>
                    <a:lnTo>
                      <a:pt x="198692" y="23527"/>
                    </a:lnTo>
                    <a:lnTo>
                      <a:pt x="158972" y="23527"/>
                    </a:lnTo>
                    <a:lnTo>
                      <a:pt x="158972" y="39243"/>
                    </a:lnTo>
                    <a:lnTo>
                      <a:pt x="166973" y="47149"/>
                    </a:lnTo>
                    <a:lnTo>
                      <a:pt x="166973" y="54959"/>
                    </a:lnTo>
                    <a:lnTo>
                      <a:pt x="151067" y="70676"/>
                    </a:lnTo>
                    <a:lnTo>
                      <a:pt x="135160" y="78486"/>
                    </a:lnTo>
                    <a:lnTo>
                      <a:pt x="135160" y="102108"/>
                    </a:lnTo>
                    <a:lnTo>
                      <a:pt x="79534" y="102108"/>
                    </a:lnTo>
                    <a:lnTo>
                      <a:pt x="71533" y="94202"/>
                    </a:lnTo>
                    <a:lnTo>
                      <a:pt x="71533" y="86392"/>
                    </a:lnTo>
                    <a:lnTo>
                      <a:pt x="63627" y="102108"/>
                    </a:lnTo>
                    <a:lnTo>
                      <a:pt x="39719" y="102108"/>
                    </a:lnTo>
                    <a:lnTo>
                      <a:pt x="23813" y="94202"/>
                    </a:lnTo>
                    <a:lnTo>
                      <a:pt x="23813" y="109919"/>
                    </a:lnTo>
                    <a:lnTo>
                      <a:pt x="0" y="109919"/>
                    </a:lnTo>
                    <a:lnTo>
                      <a:pt x="0" y="172784"/>
                    </a:lnTo>
                    <a:lnTo>
                      <a:pt x="8001" y="172784"/>
                    </a:lnTo>
                    <a:lnTo>
                      <a:pt x="15907" y="157067"/>
                    </a:lnTo>
                    <a:lnTo>
                      <a:pt x="31814" y="149257"/>
                    </a:lnTo>
                    <a:lnTo>
                      <a:pt x="39719" y="133541"/>
                    </a:lnTo>
                    <a:lnTo>
                      <a:pt x="55626" y="133541"/>
                    </a:lnTo>
                    <a:lnTo>
                      <a:pt x="63627" y="149257"/>
                    </a:lnTo>
                    <a:lnTo>
                      <a:pt x="63627" y="172784"/>
                    </a:lnTo>
                    <a:lnTo>
                      <a:pt x="103346" y="164973"/>
                    </a:lnTo>
                    <a:lnTo>
                      <a:pt x="103346" y="172784"/>
                    </a:lnTo>
                    <a:lnTo>
                      <a:pt x="95441" y="188500"/>
                    </a:lnTo>
                    <a:lnTo>
                      <a:pt x="95441" y="196405"/>
                    </a:lnTo>
                    <a:lnTo>
                      <a:pt x="111252" y="212027"/>
                    </a:lnTo>
                    <a:lnTo>
                      <a:pt x="127159" y="219932"/>
                    </a:lnTo>
                    <a:lnTo>
                      <a:pt x="127159" y="235649"/>
                    </a:lnTo>
                    <a:lnTo>
                      <a:pt x="190786" y="282797"/>
                    </a:lnTo>
                    <a:lnTo>
                      <a:pt x="190786" y="314230"/>
                    </a:lnTo>
                    <a:lnTo>
                      <a:pt x="262319" y="314230"/>
                    </a:lnTo>
                    <a:lnTo>
                      <a:pt x="278225" y="322040"/>
                    </a:lnTo>
                    <a:lnTo>
                      <a:pt x="286131" y="329851"/>
                    </a:lnTo>
                    <a:lnTo>
                      <a:pt x="286131" y="361283"/>
                    </a:lnTo>
                    <a:lnTo>
                      <a:pt x="325946" y="361283"/>
                    </a:lnTo>
                    <a:lnTo>
                      <a:pt x="333851" y="353473"/>
                    </a:lnTo>
                    <a:lnTo>
                      <a:pt x="333851" y="345567"/>
                    </a:lnTo>
                    <a:lnTo>
                      <a:pt x="325946" y="329851"/>
                    </a:lnTo>
                    <a:lnTo>
                      <a:pt x="310039" y="322040"/>
                    </a:lnTo>
                    <a:lnTo>
                      <a:pt x="286131" y="306324"/>
                    </a:lnTo>
                    <a:lnTo>
                      <a:pt x="270224" y="298418"/>
                    </a:lnTo>
                    <a:lnTo>
                      <a:pt x="254413" y="282797"/>
                    </a:lnTo>
                    <a:lnTo>
                      <a:pt x="238506" y="243459"/>
                    </a:lnTo>
                    <a:lnTo>
                      <a:pt x="214598" y="235649"/>
                    </a:lnTo>
                    <a:lnTo>
                      <a:pt x="214598" y="212027"/>
                    </a:lnTo>
                    <a:lnTo>
                      <a:pt x="206692" y="204216"/>
                    </a:lnTo>
                    <a:lnTo>
                      <a:pt x="198692" y="204216"/>
                    </a:lnTo>
                    <a:lnTo>
                      <a:pt x="198692" y="188500"/>
                    </a:lnTo>
                    <a:lnTo>
                      <a:pt x="174879" y="180594"/>
                    </a:lnTo>
                    <a:lnTo>
                      <a:pt x="158972" y="164973"/>
                    </a:lnTo>
                    <a:lnTo>
                      <a:pt x="182880" y="157067"/>
                    </a:lnTo>
                    <a:lnTo>
                      <a:pt x="182880" y="125635"/>
                    </a:lnTo>
                    <a:lnTo>
                      <a:pt x="190786" y="125635"/>
                    </a:lnTo>
                    <a:lnTo>
                      <a:pt x="198692" y="133541"/>
                    </a:lnTo>
                    <a:lnTo>
                      <a:pt x="214598" y="141351"/>
                    </a:lnTo>
                    <a:lnTo>
                      <a:pt x="246412" y="133541"/>
                    </a:lnTo>
                    <a:lnTo>
                      <a:pt x="278225" y="133541"/>
                    </a:lnTo>
                    <a:lnTo>
                      <a:pt x="302038" y="141351"/>
                    </a:lnTo>
                    <a:lnTo>
                      <a:pt x="317945" y="133541"/>
                    </a:lnTo>
                    <a:lnTo>
                      <a:pt x="333851" y="133541"/>
                    </a:lnTo>
                    <a:lnTo>
                      <a:pt x="341852" y="141351"/>
                    </a:lnTo>
                    <a:lnTo>
                      <a:pt x="413385" y="141351"/>
                    </a:lnTo>
                    <a:lnTo>
                      <a:pt x="429292" y="164973"/>
                    </a:lnTo>
                    <a:lnTo>
                      <a:pt x="453104" y="164973"/>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132" name="Freeform: Shape 131">
                <a:extLst>
                  <a:ext uri="{FF2B5EF4-FFF2-40B4-BE49-F238E27FC236}">
                    <a16:creationId xmlns:a16="http://schemas.microsoft.com/office/drawing/2014/main" id="{45551540-88BD-F910-8913-1DE562CFADEE}"/>
                  </a:ext>
                </a:extLst>
              </p:cNvPr>
              <p:cNvSpPr/>
              <p:nvPr/>
            </p:nvSpPr>
            <p:spPr>
              <a:xfrm>
                <a:off x="6419659" y="4140612"/>
                <a:ext cx="484917" cy="361283"/>
              </a:xfrm>
              <a:custGeom>
                <a:avLst/>
                <a:gdLst>
                  <a:gd name="connsiteX0" fmla="*/ 453104 w 484917"/>
                  <a:gd name="connsiteY0" fmla="*/ 164973 h 361283"/>
                  <a:gd name="connsiteX1" fmla="*/ 453104 w 484917"/>
                  <a:gd name="connsiteY1" fmla="*/ 149257 h 361283"/>
                  <a:gd name="connsiteX2" fmla="*/ 461010 w 484917"/>
                  <a:gd name="connsiteY2" fmla="*/ 149257 h 361283"/>
                  <a:gd name="connsiteX3" fmla="*/ 469011 w 484917"/>
                  <a:gd name="connsiteY3" fmla="*/ 141351 h 361283"/>
                  <a:gd name="connsiteX4" fmla="*/ 476917 w 484917"/>
                  <a:gd name="connsiteY4" fmla="*/ 141351 h 361283"/>
                  <a:gd name="connsiteX5" fmla="*/ 484918 w 484917"/>
                  <a:gd name="connsiteY5" fmla="*/ 133541 h 361283"/>
                  <a:gd name="connsiteX6" fmla="*/ 476917 w 484917"/>
                  <a:gd name="connsiteY6" fmla="*/ 133541 h 361283"/>
                  <a:gd name="connsiteX7" fmla="*/ 461010 w 484917"/>
                  <a:gd name="connsiteY7" fmla="*/ 125635 h 361283"/>
                  <a:gd name="connsiteX8" fmla="*/ 445103 w 484917"/>
                  <a:gd name="connsiteY8" fmla="*/ 125635 h 361283"/>
                  <a:gd name="connsiteX9" fmla="*/ 453104 w 484917"/>
                  <a:gd name="connsiteY9" fmla="*/ 102108 h 361283"/>
                  <a:gd name="connsiteX10" fmla="*/ 445103 w 484917"/>
                  <a:gd name="connsiteY10" fmla="*/ 102108 h 361283"/>
                  <a:gd name="connsiteX11" fmla="*/ 437198 w 484917"/>
                  <a:gd name="connsiteY11" fmla="*/ 62865 h 361283"/>
                  <a:gd name="connsiteX12" fmla="*/ 429292 w 484917"/>
                  <a:gd name="connsiteY12" fmla="*/ 62865 h 361283"/>
                  <a:gd name="connsiteX13" fmla="*/ 413385 w 484917"/>
                  <a:gd name="connsiteY13" fmla="*/ 70676 h 361283"/>
                  <a:gd name="connsiteX14" fmla="*/ 357664 w 484917"/>
                  <a:gd name="connsiteY14" fmla="*/ 78486 h 361283"/>
                  <a:gd name="connsiteX15" fmla="*/ 349758 w 484917"/>
                  <a:gd name="connsiteY15" fmla="*/ 62865 h 361283"/>
                  <a:gd name="connsiteX16" fmla="*/ 325946 w 484917"/>
                  <a:gd name="connsiteY16" fmla="*/ 62865 h 361283"/>
                  <a:gd name="connsiteX17" fmla="*/ 310039 w 484917"/>
                  <a:gd name="connsiteY17" fmla="*/ 54959 h 361283"/>
                  <a:gd name="connsiteX18" fmla="*/ 302038 w 484917"/>
                  <a:gd name="connsiteY18" fmla="*/ 47149 h 361283"/>
                  <a:gd name="connsiteX19" fmla="*/ 286131 w 484917"/>
                  <a:gd name="connsiteY19" fmla="*/ 39243 h 361283"/>
                  <a:gd name="connsiteX20" fmla="*/ 270224 w 484917"/>
                  <a:gd name="connsiteY20" fmla="*/ 23527 h 361283"/>
                  <a:gd name="connsiteX21" fmla="*/ 270224 w 484917"/>
                  <a:gd name="connsiteY21" fmla="*/ 15716 h 361283"/>
                  <a:gd name="connsiteX22" fmla="*/ 262319 w 484917"/>
                  <a:gd name="connsiteY22" fmla="*/ 7811 h 361283"/>
                  <a:gd name="connsiteX23" fmla="*/ 246412 w 484917"/>
                  <a:gd name="connsiteY23" fmla="*/ 0 h 361283"/>
                  <a:gd name="connsiteX24" fmla="*/ 214598 w 484917"/>
                  <a:gd name="connsiteY24" fmla="*/ 0 h 361283"/>
                  <a:gd name="connsiteX25" fmla="*/ 214598 w 484917"/>
                  <a:gd name="connsiteY25" fmla="*/ 15716 h 361283"/>
                  <a:gd name="connsiteX26" fmla="*/ 198692 w 484917"/>
                  <a:gd name="connsiteY26" fmla="*/ 23527 h 361283"/>
                  <a:gd name="connsiteX27" fmla="*/ 158972 w 484917"/>
                  <a:gd name="connsiteY27" fmla="*/ 23527 h 361283"/>
                  <a:gd name="connsiteX28" fmla="*/ 158972 w 484917"/>
                  <a:gd name="connsiteY28" fmla="*/ 39243 h 361283"/>
                  <a:gd name="connsiteX29" fmla="*/ 166973 w 484917"/>
                  <a:gd name="connsiteY29" fmla="*/ 47149 h 361283"/>
                  <a:gd name="connsiteX30" fmla="*/ 166973 w 484917"/>
                  <a:gd name="connsiteY30" fmla="*/ 54959 h 361283"/>
                  <a:gd name="connsiteX31" fmla="*/ 151067 w 484917"/>
                  <a:gd name="connsiteY31" fmla="*/ 70676 h 361283"/>
                  <a:gd name="connsiteX32" fmla="*/ 135160 w 484917"/>
                  <a:gd name="connsiteY32" fmla="*/ 78486 h 361283"/>
                  <a:gd name="connsiteX33" fmla="*/ 135160 w 484917"/>
                  <a:gd name="connsiteY33" fmla="*/ 102108 h 361283"/>
                  <a:gd name="connsiteX34" fmla="*/ 79534 w 484917"/>
                  <a:gd name="connsiteY34" fmla="*/ 102108 h 361283"/>
                  <a:gd name="connsiteX35" fmla="*/ 71533 w 484917"/>
                  <a:gd name="connsiteY35" fmla="*/ 94202 h 361283"/>
                  <a:gd name="connsiteX36" fmla="*/ 71533 w 484917"/>
                  <a:gd name="connsiteY36" fmla="*/ 86392 h 361283"/>
                  <a:gd name="connsiteX37" fmla="*/ 63627 w 484917"/>
                  <a:gd name="connsiteY37" fmla="*/ 102108 h 361283"/>
                  <a:gd name="connsiteX38" fmla="*/ 39719 w 484917"/>
                  <a:gd name="connsiteY38" fmla="*/ 102108 h 361283"/>
                  <a:gd name="connsiteX39" fmla="*/ 23813 w 484917"/>
                  <a:gd name="connsiteY39" fmla="*/ 94202 h 361283"/>
                  <a:gd name="connsiteX40" fmla="*/ 23813 w 484917"/>
                  <a:gd name="connsiteY40" fmla="*/ 109919 h 361283"/>
                  <a:gd name="connsiteX41" fmla="*/ 0 w 484917"/>
                  <a:gd name="connsiteY41" fmla="*/ 109919 h 361283"/>
                  <a:gd name="connsiteX42" fmla="*/ 0 w 484917"/>
                  <a:gd name="connsiteY42" fmla="*/ 172784 h 361283"/>
                  <a:gd name="connsiteX43" fmla="*/ 8001 w 484917"/>
                  <a:gd name="connsiteY43" fmla="*/ 172784 h 361283"/>
                  <a:gd name="connsiteX44" fmla="*/ 15907 w 484917"/>
                  <a:gd name="connsiteY44" fmla="*/ 157067 h 361283"/>
                  <a:gd name="connsiteX45" fmla="*/ 31814 w 484917"/>
                  <a:gd name="connsiteY45" fmla="*/ 149257 h 361283"/>
                  <a:gd name="connsiteX46" fmla="*/ 39719 w 484917"/>
                  <a:gd name="connsiteY46" fmla="*/ 133541 h 361283"/>
                  <a:gd name="connsiteX47" fmla="*/ 55626 w 484917"/>
                  <a:gd name="connsiteY47" fmla="*/ 133541 h 361283"/>
                  <a:gd name="connsiteX48" fmla="*/ 63627 w 484917"/>
                  <a:gd name="connsiteY48" fmla="*/ 149257 h 361283"/>
                  <a:gd name="connsiteX49" fmla="*/ 63627 w 484917"/>
                  <a:gd name="connsiteY49" fmla="*/ 172784 h 361283"/>
                  <a:gd name="connsiteX50" fmla="*/ 103346 w 484917"/>
                  <a:gd name="connsiteY50" fmla="*/ 164973 h 361283"/>
                  <a:gd name="connsiteX51" fmla="*/ 103346 w 484917"/>
                  <a:gd name="connsiteY51" fmla="*/ 172784 h 361283"/>
                  <a:gd name="connsiteX52" fmla="*/ 95441 w 484917"/>
                  <a:gd name="connsiteY52" fmla="*/ 188500 h 361283"/>
                  <a:gd name="connsiteX53" fmla="*/ 95441 w 484917"/>
                  <a:gd name="connsiteY53" fmla="*/ 196405 h 361283"/>
                  <a:gd name="connsiteX54" fmla="*/ 111252 w 484917"/>
                  <a:gd name="connsiteY54" fmla="*/ 212027 h 361283"/>
                  <a:gd name="connsiteX55" fmla="*/ 127159 w 484917"/>
                  <a:gd name="connsiteY55" fmla="*/ 219932 h 361283"/>
                  <a:gd name="connsiteX56" fmla="*/ 127159 w 484917"/>
                  <a:gd name="connsiteY56" fmla="*/ 235649 h 361283"/>
                  <a:gd name="connsiteX57" fmla="*/ 190786 w 484917"/>
                  <a:gd name="connsiteY57" fmla="*/ 282797 h 361283"/>
                  <a:gd name="connsiteX58" fmla="*/ 190786 w 484917"/>
                  <a:gd name="connsiteY58" fmla="*/ 314230 h 361283"/>
                  <a:gd name="connsiteX59" fmla="*/ 262319 w 484917"/>
                  <a:gd name="connsiteY59" fmla="*/ 314230 h 361283"/>
                  <a:gd name="connsiteX60" fmla="*/ 278225 w 484917"/>
                  <a:gd name="connsiteY60" fmla="*/ 322040 h 361283"/>
                  <a:gd name="connsiteX61" fmla="*/ 286131 w 484917"/>
                  <a:gd name="connsiteY61" fmla="*/ 329851 h 361283"/>
                  <a:gd name="connsiteX62" fmla="*/ 286131 w 484917"/>
                  <a:gd name="connsiteY62" fmla="*/ 361283 h 361283"/>
                  <a:gd name="connsiteX63" fmla="*/ 325946 w 484917"/>
                  <a:gd name="connsiteY63" fmla="*/ 361283 h 361283"/>
                  <a:gd name="connsiteX64" fmla="*/ 333851 w 484917"/>
                  <a:gd name="connsiteY64" fmla="*/ 353473 h 361283"/>
                  <a:gd name="connsiteX65" fmla="*/ 333851 w 484917"/>
                  <a:gd name="connsiteY65" fmla="*/ 345567 h 361283"/>
                  <a:gd name="connsiteX66" fmla="*/ 325946 w 484917"/>
                  <a:gd name="connsiteY66" fmla="*/ 329851 h 361283"/>
                  <a:gd name="connsiteX67" fmla="*/ 310039 w 484917"/>
                  <a:gd name="connsiteY67" fmla="*/ 322040 h 361283"/>
                  <a:gd name="connsiteX68" fmla="*/ 286131 w 484917"/>
                  <a:gd name="connsiteY68" fmla="*/ 306324 h 361283"/>
                  <a:gd name="connsiteX69" fmla="*/ 270224 w 484917"/>
                  <a:gd name="connsiteY69" fmla="*/ 298418 h 361283"/>
                  <a:gd name="connsiteX70" fmla="*/ 254413 w 484917"/>
                  <a:gd name="connsiteY70" fmla="*/ 282797 h 361283"/>
                  <a:gd name="connsiteX71" fmla="*/ 238506 w 484917"/>
                  <a:gd name="connsiteY71" fmla="*/ 243459 h 361283"/>
                  <a:gd name="connsiteX72" fmla="*/ 214598 w 484917"/>
                  <a:gd name="connsiteY72" fmla="*/ 235649 h 361283"/>
                  <a:gd name="connsiteX73" fmla="*/ 214598 w 484917"/>
                  <a:gd name="connsiteY73" fmla="*/ 212027 h 361283"/>
                  <a:gd name="connsiteX74" fmla="*/ 206692 w 484917"/>
                  <a:gd name="connsiteY74" fmla="*/ 204216 h 361283"/>
                  <a:gd name="connsiteX75" fmla="*/ 198692 w 484917"/>
                  <a:gd name="connsiteY75" fmla="*/ 204216 h 361283"/>
                  <a:gd name="connsiteX76" fmla="*/ 198692 w 484917"/>
                  <a:gd name="connsiteY76" fmla="*/ 188500 h 361283"/>
                  <a:gd name="connsiteX77" fmla="*/ 174879 w 484917"/>
                  <a:gd name="connsiteY77" fmla="*/ 180594 h 361283"/>
                  <a:gd name="connsiteX78" fmla="*/ 158972 w 484917"/>
                  <a:gd name="connsiteY78" fmla="*/ 164973 h 361283"/>
                  <a:gd name="connsiteX79" fmla="*/ 182880 w 484917"/>
                  <a:gd name="connsiteY79" fmla="*/ 157067 h 361283"/>
                  <a:gd name="connsiteX80" fmla="*/ 182880 w 484917"/>
                  <a:gd name="connsiteY80" fmla="*/ 125635 h 361283"/>
                  <a:gd name="connsiteX81" fmla="*/ 190786 w 484917"/>
                  <a:gd name="connsiteY81" fmla="*/ 125635 h 361283"/>
                  <a:gd name="connsiteX82" fmla="*/ 198692 w 484917"/>
                  <a:gd name="connsiteY82" fmla="*/ 133541 h 361283"/>
                  <a:gd name="connsiteX83" fmla="*/ 214598 w 484917"/>
                  <a:gd name="connsiteY83" fmla="*/ 141351 h 361283"/>
                  <a:gd name="connsiteX84" fmla="*/ 246412 w 484917"/>
                  <a:gd name="connsiteY84" fmla="*/ 133541 h 361283"/>
                  <a:gd name="connsiteX85" fmla="*/ 278225 w 484917"/>
                  <a:gd name="connsiteY85" fmla="*/ 133541 h 361283"/>
                  <a:gd name="connsiteX86" fmla="*/ 302038 w 484917"/>
                  <a:gd name="connsiteY86" fmla="*/ 141351 h 361283"/>
                  <a:gd name="connsiteX87" fmla="*/ 317945 w 484917"/>
                  <a:gd name="connsiteY87" fmla="*/ 133541 h 361283"/>
                  <a:gd name="connsiteX88" fmla="*/ 333851 w 484917"/>
                  <a:gd name="connsiteY88" fmla="*/ 133541 h 361283"/>
                  <a:gd name="connsiteX89" fmla="*/ 341852 w 484917"/>
                  <a:gd name="connsiteY89" fmla="*/ 141351 h 361283"/>
                  <a:gd name="connsiteX90" fmla="*/ 413385 w 484917"/>
                  <a:gd name="connsiteY90" fmla="*/ 141351 h 361283"/>
                  <a:gd name="connsiteX91" fmla="*/ 429292 w 484917"/>
                  <a:gd name="connsiteY91" fmla="*/ 164973 h 361283"/>
                  <a:gd name="connsiteX92" fmla="*/ 453104 w 484917"/>
                  <a:gd name="connsiteY92" fmla="*/ 164973 h 3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84917" h="361283">
                    <a:moveTo>
                      <a:pt x="453104" y="164973"/>
                    </a:moveTo>
                    <a:lnTo>
                      <a:pt x="453104" y="149257"/>
                    </a:lnTo>
                    <a:lnTo>
                      <a:pt x="461010" y="149257"/>
                    </a:lnTo>
                    <a:lnTo>
                      <a:pt x="469011" y="141351"/>
                    </a:lnTo>
                    <a:lnTo>
                      <a:pt x="476917" y="141351"/>
                    </a:lnTo>
                    <a:lnTo>
                      <a:pt x="484918" y="133541"/>
                    </a:lnTo>
                    <a:lnTo>
                      <a:pt x="476917" y="133541"/>
                    </a:lnTo>
                    <a:lnTo>
                      <a:pt x="461010" y="125635"/>
                    </a:lnTo>
                    <a:lnTo>
                      <a:pt x="445103" y="125635"/>
                    </a:lnTo>
                    <a:lnTo>
                      <a:pt x="453104" y="102108"/>
                    </a:lnTo>
                    <a:lnTo>
                      <a:pt x="445103" y="102108"/>
                    </a:lnTo>
                    <a:lnTo>
                      <a:pt x="437198" y="62865"/>
                    </a:lnTo>
                    <a:lnTo>
                      <a:pt x="429292" y="62865"/>
                    </a:lnTo>
                    <a:lnTo>
                      <a:pt x="413385" y="70676"/>
                    </a:lnTo>
                    <a:lnTo>
                      <a:pt x="357664" y="78486"/>
                    </a:lnTo>
                    <a:lnTo>
                      <a:pt x="349758" y="62865"/>
                    </a:lnTo>
                    <a:lnTo>
                      <a:pt x="325946" y="62865"/>
                    </a:lnTo>
                    <a:lnTo>
                      <a:pt x="310039" y="54959"/>
                    </a:lnTo>
                    <a:lnTo>
                      <a:pt x="302038" y="47149"/>
                    </a:lnTo>
                    <a:lnTo>
                      <a:pt x="286131" y="39243"/>
                    </a:lnTo>
                    <a:lnTo>
                      <a:pt x="270224" y="23527"/>
                    </a:lnTo>
                    <a:lnTo>
                      <a:pt x="270224" y="15716"/>
                    </a:lnTo>
                    <a:lnTo>
                      <a:pt x="262319" y="7811"/>
                    </a:lnTo>
                    <a:lnTo>
                      <a:pt x="246412" y="0"/>
                    </a:lnTo>
                    <a:lnTo>
                      <a:pt x="214598" y="0"/>
                    </a:lnTo>
                    <a:lnTo>
                      <a:pt x="214598" y="15716"/>
                    </a:lnTo>
                    <a:lnTo>
                      <a:pt x="198692" y="23527"/>
                    </a:lnTo>
                    <a:lnTo>
                      <a:pt x="158972" y="23527"/>
                    </a:lnTo>
                    <a:lnTo>
                      <a:pt x="158972" y="39243"/>
                    </a:lnTo>
                    <a:lnTo>
                      <a:pt x="166973" y="47149"/>
                    </a:lnTo>
                    <a:lnTo>
                      <a:pt x="166973" y="54959"/>
                    </a:lnTo>
                    <a:lnTo>
                      <a:pt x="151067" y="70676"/>
                    </a:lnTo>
                    <a:lnTo>
                      <a:pt x="135160" y="78486"/>
                    </a:lnTo>
                    <a:lnTo>
                      <a:pt x="135160" y="102108"/>
                    </a:lnTo>
                    <a:lnTo>
                      <a:pt x="79534" y="102108"/>
                    </a:lnTo>
                    <a:lnTo>
                      <a:pt x="71533" y="94202"/>
                    </a:lnTo>
                    <a:lnTo>
                      <a:pt x="71533" y="86392"/>
                    </a:lnTo>
                    <a:lnTo>
                      <a:pt x="63627" y="102108"/>
                    </a:lnTo>
                    <a:lnTo>
                      <a:pt x="39719" y="102108"/>
                    </a:lnTo>
                    <a:lnTo>
                      <a:pt x="23813" y="94202"/>
                    </a:lnTo>
                    <a:lnTo>
                      <a:pt x="23813" y="109919"/>
                    </a:lnTo>
                    <a:lnTo>
                      <a:pt x="0" y="109919"/>
                    </a:lnTo>
                    <a:lnTo>
                      <a:pt x="0" y="172784"/>
                    </a:lnTo>
                    <a:lnTo>
                      <a:pt x="8001" y="172784"/>
                    </a:lnTo>
                    <a:lnTo>
                      <a:pt x="15907" y="157067"/>
                    </a:lnTo>
                    <a:lnTo>
                      <a:pt x="31814" y="149257"/>
                    </a:lnTo>
                    <a:lnTo>
                      <a:pt x="39719" y="133541"/>
                    </a:lnTo>
                    <a:lnTo>
                      <a:pt x="55626" y="133541"/>
                    </a:lnTo>
                    <a:lnTo>
                      <a:pt x="63627" y="149257"/>
                    </a:lnTo>
                    <a:lnTo>
                      <a:pt x="63627" y="172784"/>
                    </a:lnTo>
                    <a:lnTo>
                      <a:pt x="103346" y="164973"/>
                    </a:lnTo>
                    <a:lnTo>
                      <a:pt x="103346" y="172784"/>
                    </a:lnTo>
                    <a:lnTo>
                      <a:pt x="95441" y="188500"/>
                    </a:lnTo>
                    <a:lnTo>
                      <a:pt x="95441" y="196405"/>
                    </a:lnTo>
                    <a:lnTo>
                      <a:pt x="111252" y="212027"/>
                    </a:lnTo>
                    <a:lnTo>
                      <a:pt x="127159" y="219932"/>
                    </a:lnTo>
                    <a:lnTo>
                      <a:pt x="127159" y="235649"/>
                    </a:lnTo>
                    <a:lnTo>
                      <a:pt x="190786" y="282797"/>
                    </a:lnTo>
                    <a:lnTo>
                      <a:pt x="190786" y="314230"/>
                    </a:lnTo>
                    <a:lnTo>
                      <a:pt x="262319" y="314230"/>
                    </a:lnTo>
                    <a:lnTo>
                      <a:pt x="278225" y="322040"/>
                    </a:lnTo>
                    <a:lnTo>
                      <a:pt x="286131" y="329851"/>
                    </a:lnTo>
                    <a:lnTo>
                      <a:pt x="286131" y="361283"/>
                    </a:lnTo>
                    <a:lnTo>
                      <a:pt x="325946" y="361283"/>
                    </a:lnTo>
                    <a:lnTo>
                      <a:pt x="333851" y="353473"/>
                    </a:lnTo>
                    <a:lnTo>
                      <a:pt x="333851" y="345567"/>
                    </a:lnTo>
                    <a:lnTo>
                      <a:pt x="325946" y="329851"/>
                    </a:lnTo>
                    <a:lnTo>
                      <a:pt x="310039" y="322040"/>
                    </a:lnTo>
                    <a:lnTo>
                      <a:pt x="286131" y="306324"/>
                    </a:lnTo>
                    <a:lnTo>
                      <a:pt x="270224" y="298418"/>
                    </a:lnTo>
                    <a:lnTo>
                      <a:pt x="254413" y="282797"/>
                    </a:lnTo>
                    <a:lnTo>
                      <a:pt x="238506" y="243459"/>
                    </a:lnTo>
                    <a:lnTo>
                      <a:pt x="214598" y="235649"/>
                    </a:lnTo>
                    <a:lnTo>
                      <a:pt x="214598" y="212027"/>
                    </a:lnTo>
                    <a:lnTo>
                      <a:pt x="206692" y="204216"/>
                    </a:lnTo>
                    <a:lnTo>
                      <a:pt x="198692" y="204216"/>
                    </a:lnTo>
                    <a:lnTo>
                      <a:pt x="198692" y="188500"/>
                    </a:lnTo>
                    <a:lnTo>
                      <a:pt x="174879" y="180594"/>
                    </a:lnTo>
                    <a:lnTo>
                      <a:pt x="158972" y="164973"/>
                    </a:lnTo>
                    <a:lnTo>
                      <a:pt x="182880" y="157067"/>
                    </a:lnTo>
                    <a:lnTo>
                      <a:pt x="182880" y="125635"/>
                    </a:lnTo>
                    <a:lnTo>
                      <a:pt x="190786" y="125635"/>
                    </a:lnTo>
                    <a:lnTo>
                      <a:pt x="198692" y="133541"/>
                    </a:lnTo>
                    <a:lnTo>
                      <a:pt x="214598" y="141351"/>
                    </a:lnTo>
                    <a:lnTo>
                      <a:pt x="246412" y="133541"/>
                    </a:lnTo>
                    <a:lnTo>
                      <a:pt x="278225" y="133541"/>
                    </a:lnTo>
                    <a:lnTo>
                      <a:pt x="302038" y="141351"/>
                    </a:lnTo>
                    <a:lnTo>
                      <a:pt x="317945" y="133541"/>
                    </a:lnTo>
                    <a:lnTo>
                      <a:pt x="333851" y="133541"/>
                    </a:lnTo>
                    <a:lnTo>
                      <a:pt x="341852" y="141351"/>
                    </a:lnTo>
                    <a:lnTo>
                      <a:pt x="413385" y="141351"/>
                    </a:lnTo>
                    <a:lnTo>
                      <a:pt x="429292" y="164973"/>
                    </a:lnTo>
                    <a:lnTo>
                      <a:pt x="453104" y="164973"/>
                    </a:lnTo>
                    <a:close/>
                  </a:path>
                </a:pathLst>
              </a:custGeom>
              <a:noFill/>
              <a:ln w="4763"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87626CAC-4C9C-7272-A038-D0F7492364B2}"/>
                  </a:ext>
                </a:extLst>
              </p:cNvPr>
              <p:cNvSpPr/>
              <p:nvPr/>
            </p:nvSpPr>
            <p:spPr>
              <a:xfrm>
                <a:off x="7167562" y="4383690"/>
                <a:ext cx="522065" cy="298894"/>
              </a:xfrm>
              <a:custGeom>
                <a:avLst/>
                <a:gdLst>
                  <a:gd name="connsiteX0" fmla="*/ 490442 w 522065"/>
                  <a:gd name="connsiteY0" fmla="*/ 220218 h 298894"/>
                  <a:gd name="connsiteX1" fmla="*/ 442913 w 522065"/>
                  <a:gd name="connsiteY1" fmla="*/ 165163 h 298894"/>
                  <a:gd name="connsiteX2" fmla="*/ 466725 w 522065"/>
                  <a:gd name="connsiteY2" fmla="*/ 141541 h 298894"/>
                  <a:gd name="connsiteX3" fmla="*/ 466725 w 522065"/>
                  <a:gd name="connsiteY3" fmla="*/ 102298 h 298894"/>
                  <a:gd name="connsiteX4" fmla="*/ 474631 w 522065"/>
                  <a:gd name="connsiteY4" fmla="*/ 94393 h 298894"/>
                  <a:gd name="connsiteX5" fmla="*/ 490442 w 522065"/>
                  <a:gd name="connsiteY5" fmla="*/ 86487 h 298894"/>
                  <a:gd name="connsiteX6" fmla="*/ 522065 w 522065"/>
                  <a:gd name="connsiteY6" fmla="*/ 86487 h 298894"/>
                  <a:gd name="connsiteX7" fmla="*/ 522065 w 522065"/>
                  <a:gd name="connsiteY7" fmla="*/ 62960 h 298894"/>
                  <a:gd name="connsiteX8" fmla="*/ 514160 w 522065"/>
                  <a:gd name="connsiteY8" fmla="*/ 47149 h 298894"/>
                  <a:gd name="connsiteX9" fmla="*/ 490442 w 522065"/>
                  <a:gd name="connsiteY9" fmla="*/ 47149 h 298894"/>
                  <a:gd name="connsiteX10" fmla="*/ 458819 w 522065"/>
                  <a:gd name="connsiteY10" fmla="*/ 15716 h 298894"/>
                  <a:gd name="connsiteX11" fmla="*/ 427101 w 522065"/>
                  <a:gd name="connsiteY11" fmla="*/ 15716 h 298894"/>
                  <a:gd name="connsiteX12" fmla="*/ 411289 w 522065"/>
                  <a:gd name="connsiteY12" fmla="*/ 7906 h 298894"/>
                  <a:gd name="connsiteX13" fmla="*/ 395478 w 522065"/>
                  <a:gd name="connsiteY13" fmla="*/ 7906 h 298894"/>
                  <a:gd name="connsiteX14" fmla="*/ 379666 w 522065"/>
                  <a:gd name="connsiteY14" fmla="*/ 0 h 298894"/>
                  <a:gd name="connsiteX15" fmla="*/ 371761 w 522065"/>
                  <a:gd name="connsiteY15" fmla="*/ 0 h 298894"/>
                  <a:gd name="connsiteX16" fmla="*/ 371761 w 522065"/>
                  <a:gd name="connsiteY16" fmla="*/ 15716 h 298894"/>
                  <a:gd name="connsiteX17" fmla="*/ 332232 w 522065"/>
                  <a:gd name="connsiteY17" fmla="*/ 7906 h 298894"/>
                  <a:gd name="connsiteX18" fmla="*/ 332232 w 522065"/>
                  <a:gd name="connsiteY18" fmla="*/ 15716 h 298894"/>
                  <a:gd name="connsiteX19" fmla="*/ 324326 w 522065"/>
                  <a:gd name="connsiteY19" fmla="*/ 15716 h 298894"/>
                  <a:gd name="connsiteX20" fmla="*/ 308515 w 522065"/>
                  <a:gd name="connsiteY20" fmla="*/ 23622 h 298894"/>
                  <a:gd name="connsiteX21" fmla="*/ 300609 w 522065"/>
                  <a:gd name="connsiteY21" fmla="*/ 23622 h 298894"/>
                  <a:gd name="connsiteX22" fmla="*/ 292703 w 522065"/>
                  <a:gd name="connsiteY22" fmla="*/ 31432 h 298894"/>
                  <a:gd name="connsiteX23" fmla="*/ 292703 w 522065"/>
                  <a:gd name="connsiteY23" fmla="*/ 47149 h 298894"/>
                  <a:gd name="connsiteX24" fmla="*/ 284797 w 522065"/>
                  <a:gd name="connsiteY24" fmla="*/ 55054 h 298894"/>
                  <a:gd name="connsiteX25" fmla="*/ 261080 w 522065"/>
                  <a:gd name="connsiteY25" fmla="*/ 55054 h 298894"/>
                  <a:gd name="connsiteX26" fmla="*/ 245269 w 522065"/>
                  <a:gd name="connsiteY26" fmla="*/ 47149 h 298894"/>
                  <a:gd name="connsiteX27" fmla="*/ 237268 w 522065"/>
                  <a:gd name="connsiteY27" fmla="*/ 39338 h 298894"/>
                  <a:gd name="connsiteX28" fmla="*/ 205645 w 522065"/>
                  <a:gd name="connsiteY28" fmla="*/ 39338 h 298894"/>
                  <a:gd name="connsiteX29" fmla="*/ 181928 w 522065"/>
                  <a:gd name="connsiteY29" fmla="*/ 31432 h 298894"/>
                  <a:gd name="connsiteX30" fmla="*/ 181928 w 522065"/>
                  <a:gd name="connsiteY30" fmla="*/ 39338 h 298894"/>
                  <a:gd name="connsiteX31" fmla="*/ 174022 w 522065"/>
                  <a:gd name="connsiteY31" fmla="*/ 47149 h 298894"/>
                  <a:gd name="connsiteX32" fmla="*/ 142399 w 522065"/>
                  <a:gd name="connsiteY32" fmla="*/ 47149 h 298894"/>
                  <a:gd name="connsiteX33" fmla="*/ 134493 w 522065"/>
                  <a:gd name="connsiteY33" fmla="*/ 39338 h 298894"/>
                  <a:gd name="connsiteX34" fmla="*/ 118681 w 522065"/>
                  <a:gd name="connsiteY34" fmla="*/ 39338 h 298894"/>
                  <a:gd name="connsiteX35" fmla="*/ 86963 w 522065"/>
                  <a:gd name="connsiteY35" fmla="*/ 23622 h 298894"/>
                  <a:gd name="connsiteX36" fmla="*/ 71152 w 522065"/>
                  <a:gd name="connsiteY36" fmla="*/ 39338 h 298894"/>
                  <a:gd name="connsiteX37" fmla="*/ 47435 w 522065"/>
                  <a:gd name="connsiteY37" fmla="*/ 39338 h 298894"/>
                  <a:gd name="connsiteX38" fmla="*/ 39529 w 522065"/>
                  <a:gd name="connsiteY38" fmla="*/ 31432 h 298894"/>
                  <a:gd name="connsiteX39" fmla="*/ 47435 w 522065"/>
                  <a:gd name="connsiteY39" fmla="*/ 23622 h 298894"/>
                  <a:gd name="connsiteX40" fmla="*/ 47435 w 522065"/>
                  <a:gd name="connsiteY40" fmla="*/ 15716 h 298894"/>
                  <a:gd name="connsiteX41" fmla="*/ 55340 w 522065"/>
                  <a:gd name="connsiteY41" fmla="*/ 7906 h 298894"/>
                  <a:gd name="connsiteX42" fmla="*/ 47435 w 522065"/>
                  <a:gd name="connsiteY42" fmla="*/ 0 h 298894"/>
                  <a:gd name="connsiteX43" fmla="*/ 15812 w 522065"/>
                  <a:gd name="connsiteY43" fmla="*/ 0 h 298894"/>
                  <a:gd name="connsiteX44" fmla="*/ 15812 w 522065"/>
                  <a:gd name="connsiteY44" fmla="*/ 15716 h 298894"/>
                  <a:gd name="connsiteX45" fmla="*/ 0 w 522065"/>
                  <a:gd name="connsiteY45" fmla="*/ 31432 h 298894"/>
                  <a:gd name="connsiteX46" fmla="*/ 0 w 522065"/>
                  <a:gd name="connsiteY46" fmla="*/ 55054 h 298894"/>
                  <a:gd name="connsiteX47" fmla="*/ 23717 w 522065"/>
                  <a:gd name="connsiteY47" fmla="*/ 62960 h 298894"/>
                  <a:gd name="connsiteX48" fmla="*/ 15812 w 522065"/>
                  <a:gd name="connsiteY48" fmla="*/ 78676 h 298894"/>
                  <a:gd name="connsiteX49" fmla="*/ 39529 w 522065"/>
                  <a:gd name="connsiteY49" fmla="*/ 86487 h 298894"/>
                  <a:gd name="connsiteX50" fmla="*/ 47435 w 522065"/>
                  <a:gd name="connsiteY50" fmla="*/ 94393 h 298894"/>
                  <a:gd name="connsiteX51" fmla="*/ 47435 w 522065"/>
                  <a:gd name="connsiteY51" fmla="*/ 125825 h 298894"/>
                  <a:gd name="connsiteX52" fmla="*/ 39529 w 522065"/>
                  <a:gd name="connsiteY52" fmla="*/ 133731 h 298894"/>
                  <a:gd name="connsiteX53" fmla="*/ 7906 w 522065"/>
                  <a:gd name="connsiteY53" fmla="*/ 133731 h 298894"/>
                  <a:gd name="connsiteX54" fmla="*/ 7906 w 522065"/>
                  <a:gd name="connsiteY54" fmla="*/ 141541 h 298894"/>
                  <a:gd name="connsiteX55" fmla="*/ 15812 w 522065"/>
                  <a:gd name="connsiteY55" fmla="*/ 149447 h 298894"/>
                  <a:gd name="connsiteX56" fmla="*/ 15812 w 522065"/>
                  <a:gd name="connsiteY56" fmla="*/ 180880 h 298894"/>
                  <a:gd name="connsiteX57" fmla="*/ 0 w 522065"/>
                  <a:gd name="connsiteY57" fmla="*/ 180880 h 298894"/>
                  <a:gd name="connsiteX58" fmla="*/ 15812 w 522065"/>
                  <a:gd name="connsiteY58" fmla="*/ 204502 h 298894"/>
                  <a:gd name="connsiteX59" fmla="*/ 23717 w 522065"/>
                  <a:gd name="connsiteY59" fmla="*/ 204502 h 298894"/>
                  <a:gd name="connsiteX60" fmla="*/ 23717 w 522065"/>
                  <a:gd name="connsiteY60" fmla="*/ 220218 h 298894"/>
                  <a:gd name="connsiteX61" fmla="*/ 47435 w 522065"/>
                  <a:gd name="connsiteY61" fmla="*/ 235934 h 298894"/>
                  <a:gd name="connsiteX62" fmla="*/ 55340 w 522065"/>
                  <a:gd name="connsiteY62" fmla="*/ 243840 h 298894"/>
                  <a:gd name="connsiteX63" fmla="*/ 63246 w 522065"/>
                  <a:gd name="connsiteY63" fmla="*/ 259556 h 298894"/>
                  <a:gd name="connsiteX64" fmla="*/ 63246 w 522065"/>
                  <a:gd name="connsiteY64" fmla="*/ 275272 h 298894"/>
                  <a:gd name="connsiteX65" fmla="*/ 55340 w 522065"/>
                  <a:gd name="connsiteY65" fmla="*/ 290989 h 298894"/>
                  <a:gd name="connsiteX66" fmla="*/ 63246 w 522065"/>
                  <a:gd name="connsiteY66" fmla="*/ 290989 h 298894"/>
                  <a:gd name="connsiteX67" fmla="*/ 71152 w 522065"/>
                  <a:gd name="connsiteY67" fmla="*/ 298894 h 298894"/>
                  <a:gd name="connsiteX68" fmla="*/ 86963 w 522065"/>
                  <a:gd name="connsiteY68" fmla="*/ 298894 h 298894"/>
                  <a:gd name="connsiteX69" fmla="*/ 102870 w 522065"/>
                  <a:gd name="connsiteY69" fmla="*/ 290989 h 298894"/>
                  <a:gd name="connsiteX70" fmla="*/ 110776 w 522065"/>
                  <a:gd name="connsiteY70" fmla="*/ 283178 h 298894"/>
                  <a:gd name="connsiteX71" fmla="*/ 142399 w 522065"/>
                  <a:gd name="connsiteY71" fmla="*/ 290989 h 298894"/>
                  <a:gd name="connsiteX72" fmla="*/ 150304 w 522065"/>
                  <a:gd name="connsiteY72" fmla="*/ 267462 h 298894"/>
                  <a:gd name="connsiteX73" fmla="*/ 189833 w 522065"/>
                  <a:gd name="connsiteY73" fmla="*/ 259556 h 298894"/>
                  <a:gd name="connsiteX74" fmla="*/ 189833 w 522065"/>
                  <a:gd name="connsiteY74" fmla="*/ 267462 h 298894"/>
                  <a:gd name="connsiteX75" fmla="*/ 213551 w 522065"/>
                  <a:gd name="connsiteY75" fmla="*/ 290989 h 298894"/>
                  <a:gd name="connsiteX76" fmla="*/ 229362 w 522065"/>
                  <a:gd name="connsiteY76" fmla="*/ 290989 h 298894"/>
                  <a:gd name="connsiteX77" fmla="*/ 237268 w 522065"/>
                  <a:gd name="connsiteY77" fmla="*/ 283178 h 298894"/>
                  <a:gd name="connsiteX78" fmla="*/ 253079 w 522065"/>
                  <a:gd name="connsiteY78" fmla="*/ 298894 h 298894"/>
                  <a:gd name="connsiteX79" fmla="*/ 268986 w 522065"/>
                  <a:gd name="connsiteY79" fmla="*/ 298894 h 298894"/>
                  <a:gd name="connsiteX80" fmla="*/ 284797 w 522065"/>
                  <a:gd name="connsiteY80" fmla="*/ 283178 h 298894"/>
                  <a:gd name="connsiteX81" fmla="*/ 300609 w 522065"/>
                  <a:gd name="connsiteY81" fmla="*/ 298894 h 298894"/>
                  <a:gd name="connsiteX82" fmla="*/ 324326 w 522065"/>
                  <a:gd name="connsiteY82" fmla="*/ 298894 h 298894"/>
                  <a:gd name="connsiteX83" fmla="*/ 332232 w 522065"/>
                  <a:gd name="connsiteY83" fmla="*/ 290989 h 298894"/>
                  <a:gd name="connsiteX84" fmla="*/ 332232 w 522065"/>
                  <a:gd name="connsiteY84" fmla="*/ 267462 h 298894"/>
                  <a:gd name="connsiteX85" fmla="*/ 324326 w 522065"/>
                  <a:gd name="connsiteY85" fmla="*/ 259556 h 298894"/>
                  <a:gd name="connsiteX86" fmla="*/ 348044 w 522065"/>
                  <a:gd name="connsiteY86" fmla="*/ 251650 h 298894"/>
                  <a:gd name="connsiteX87" fmla="*/ 371761 w 522065"/>
                  <a:gd name="connsiteY87" fmla="*/ 220218 h 298894"/>
                  <a:gd name="connsiteX88" fmla="*/ 411289 w 522065"/>
                  <a:gd name="connsiteY88" fmla="*/ 228124 h 298894"/>
                  <a:gd name="connsiteX89" fmla="*/ 427101 w 522065"/>
                  <a:gd name="connsiteY89" fmla="*/ 204502 h 298894"/>
                  <a:gd name="connsiteX90" fmla="*/ 442913 w 522065"/>
                  <a:gd name="connsiteY90" fmla="*/ 228124 h 298894"/>
                  <a:gd name="connsiteX91" fmla="*/ 458819 w 522065"/>
                  <a:gd name="connsiteY91" fmla="*/ 228124 h 298894"/>
                  <a:gd name="connsiteX92" fmla="*/ 474631 w 522065"/>
                  <a:gd name="connsiteY92" fmla="*/ 235934 h 298894"/>
                  <a:gd name="connsiteX93" fmla="*/ 490442 w 522065"/>
                  <a:gd name="connsiteY93" fmla="*/ 235934 h 298894"/>
                  <a:gd name="connsiteX94" fmla="*/ 490442 w 522065"/>
                  <a:gd name="connsiteY94" fmla="*/ 220218 h 29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522065" h="298894">
                    <a:moveTo>
                      <a:pt x="490442" y="220218"/>
                    </a:moveTo>
                    <a:lnTo>
                      <a:pt x="442913" y="165163"/>
                    </a:lnTo>
                    <a:lnTo>
                      <a:pt x="466725" y="141541"/>
                    </a:lnTo>
                    <a:lnTo>
                      <a:pt x="466725" y="102298"/>
                    </a:lnTo>
                    <a:lnTo>
                      <a:pt x="474631" y="94393"/>
                    </a:lnTo>
                    <a:lnTo>
                      <a:pt x="490442" y="86487"/>
                    </a:lnTo>
                    <a:lnTo>
                      <a:pt x="522065" y="86487"/>
                    </a:lnTo>
                    <a:lnTo>
                      <a:pt x="522065" y="62960"/>
                    </a:lnTo>
                    <a:lnTo>
                      <a:pt x="514160" y="47149"/>
                    </a:lnTo>
                    <a:lnTo>
                      <a:pt x="490442" y="47149"/>
                    </a:lnTo>
                    <a:lnTo>
                      <a:pt x="458819" y="15716"/>
                    </a:lnTo>
                    <a:lnTo>
                      <a:pt x="427101" y="15716"/>
                    </a:lnTo>
                    <a:lnTo>
                      <a:pt x="411289" y="7906"/>
                    </a:lnTo>
                    <a:lnTo>
                      <a:pt x="395478" y="7906"/>
                    </a:lnTo>
                    <a:lnTo>
                      <a:pt x="379666" y="0"/>
                    </a:lnTo>
                    <a:lnTo>
                      <a:pt x="371761" y="0"/>
                    </a:lnTo>
                    <a:lnTo>
                      <a:pt x="371761" y="15716"/>
                    </a:lnTo>
                    <a:lnTo>
                      <a:pt x="332232" y="7906"/>
                    </a:lnTo>
                    <a:lnTo>
                      <a:pt x="332232" y="15716"/>
                    </a:lnTo>
                    <a:lnTo>
                      <a:pt x="324326" y="15716"/>
                    </a:lnTo>
                    <a:lnTo>
                      <a:pt x="308515" y="23622"/>
                    </a:lnTo>
                    <a:lnTo>
                      <a:pt x="300609" y="23622"/>
                    </a:lnTo>
                    <a:lnTo>
                      <a:pt x="292703" y="31432"/>
                    </a:lnTo>
                    <a:lnTo>
                      <a:pt x="292703" y="47149"/>
                    </a:lnTo>
                    <a:lnTo>
                      <a:pt x="284797" y="55054"/>
                    </a:lnTo>
                    <a:lnTo>
                      <a:pt x="261080" y="55054"/>
                    </a:lnTo>
                    <a:lnTo>
                      <a:pt x="245269" y="47149"/>
                    </a:lnTo>
                    <a:lnTo>
                      <a:pt x="237268" y="39338"/>
                    </a:lnTo>
                    <a:lnTo>
                      <a:pt x="205645" y="39338"/>
                    </a:lnTo>
                    <a:lnTo>
                      <a:pt x="181928" y="31432"/>
                    </a:lnTo>
                    <a:lnTo>
                      <a:pt x="181928" y="39338"/>
                    </a:lnTo>
                    <a:lnTo>
                      <a:pt x="174022" y="47149"/>
                    </a:lnTo>
                    <a:lnTo>
                      <a:pt x="142399" y="47149"/>
                    </a:lnTo>
                    <a:lnTo>
                      <a:pt x="134493" y="39338"/>
                    </a:lnTo>
                    <a:lnTo>
                      <a:pt x="118681" y="39338"/>
                    </a:lnTo>
                    <a:lnTo>
                      <a:pt x="86963" y="23622"/>
                    </a:lnTo>
                    <a:lnTo>
                      <a:pt x="71152" y="39338"/>
                    </a:lnTo>
                    <a:lnTo>
                      <a:pt x="47435" y="39338"/>
                    </a:lnTo>
                    <a:lnTo>
                      <a:pt x="39529" y="31432"/>
                    </a:lnTo>
                    <a:lnTo>
                      <a:pt x="47435" y="23622"/>
                    </a:lnTo>
                    <a:lnTo>
                      <a:pt x="47435" y="15716"/>
                    </a:lnTo>
                    <a:lnTo>
                      <a:pt x="55340" y="7906"/>
                    </a:lnTo>
                    <a:lnTo>
                      <a:pt x="47435" y="0"/>
                    </a:lnTo>
                    <a:lnTo>
                      <a:pt x="15812" y="0"/>
                    </a:lnTo>
                    <a:lnTo>
                      <a:pt x="15812" y="15716"/>
                    </a:lnTo>
                    <a:lnTo>
                      <a:pt x="0" y="31432"/>
                    </a:lnTo>
                    <a:lnTo>
                      <a:pt x="0" y="55054"/>
                    </a:lnTo>
                    <a:lnTo>
                      <a:pt x="23717" y="62960"/>
                    </a:lnTo>
                    <a:lnTo>
                      <a:pt x="15812" y="78676"/>
                    </a:lnTo>
                    <a:lnTo>
                      <a:pt x="39529" y="86487"/>
                    </a:lnTo>
                    <a:lnTo>
                      <a:pt x="47435" y="94393"/>
                    </a:lnTo>
                    <a:lnTo>
                      <a:pt x="47435" y="125825"/>
                    </a:lnTo>
                    <a:lnTo>
                      <a:pt x="39529" y="133731"/>
                    </a:lnTo>
                    <a:lnTo>
                      <a:pt x="7906" y="133731"/>
                    </a:lnTo>
                    <a:lnTo>
                      <a:pt x="7906" y="141541"/>
                    </a:lnTo>
                    <a:lnTo>
                      <a:pt x="15812" y="149447"/>
                    </a:lnTo>
                    <a:lnTo>
                      <a:pt x="15812" y="180880"/>
                    </a:lnTo>
                    <a:lnTo>
                      <a:pt x="0" y="180880"/>
                    </a:lnTo>
                    <a:lnTo>
                      <a:pt x="15812" y="204502"/>
                    </a:lnTo>
                    <a:lnTo>
                      <a:pt x="23717" y="204502"/>
                    </a:lnTo>
                    <a:lnTo>
                      <a:pt x="23717" y="220218"/>
                    </a:lnTo>
                    <a:lnTo>
                      <a:pt x="47435" y="235934"/>
                    </a:lnTo>
                    <a:lnTo>
                      <a:pt x="55340" y="243840"/>
                    </a:lnTo>
                    <a:lnTo>
                      <a:pt x="63246" y="259556"/>
                    </a:lnTo>
                    <a:lnTo>
                      <a:pt x="63246" y="275272"/>
                    </a:lnTo>
                    <a:lnTo>
                      <a:pt x="55340" y="290989"/>
                    </a:lnTo>
                    <a:lnTo>
                      <a:pt x="63246" y="290989"/>
                    </a:lnTo>
                    <a:lnTo>
                      <a:pt x="71152" y="298894"/>
                    </a:lnTo>
                    <a:lnTo>
                      <a:pt x="86963" y="298894"/>
                    </a:lnTo>
                    <a:lnTo>
                      <a:pt x="102870" y="290989"/>
                    </a:lnTo>
                    <a:lnTo>
                      <a:pt x="110776" y="283178"/>
                    </a:lnTo>
                    <a:lnTo>
                      <a:pt x="142399" y="290989"/>
                    </a:lnTo>
                    <a:lnTo>
                      <a:pt x="150304" y="267462"/>
                    </a:lnTo>
                    <a:lnTo>
                      <a:pt x="189833" y="259556"/>
                    </a:lnTo>
                    <a:lnTo>
                      <a:pt x="189833" y="267462"/>
                    </a:lnTo>
                    <a:lnTo>
                      <a:pt x="213551" y="290989"/>
                    </a:lnTo>
                    <a:lnTo>
                      <a:pt x="229362" y="290989"/>
                    </a:lnTo>
                    <a:lnTo>
                      <a:pt x="237268" y="283178"/>
                    </a:lnTo>
                    <a:lnTo>
                      <a:pt x="253079" y="298894"/>
                    </a:lnTo>
                    <a:lnTo>
                      <a:pt x="268986" y="298894"/>
                    </a:lnTo>
                    <a:lnTo>
                      <a:pt x="284797" y="283178"/>
                    </a:lnTo>
                    <a:lnTo>
                      <a:pt x="300609" y="298894"/>
                    </a:lnTo>
                    <a:lnTo>
                      <a:pt x="324326" y="298894"/>
                    </a:lnTo>
                    <a:lnTo>
                      <a:pt x="332232" y="290989"/>
                    </a:lnTo>
                    <a:lnTo>
                      <a:pt x="332232" y="267462"/>
                    </a:lnTo>
                    <a:lnTo>
                      <a:pt x="324326" y="259556"/>
                    </a:lnTo>
                    <a:lnTo>
                      <a:pt x="348044" y="251650"/>
                    </a:lnTo>
                    <a:lnTo>
                      <a:pt x="371761" y="220218"/>
                    </a:lnTo>
                    <a:lnTo>
                      <a:pt x="411289" y="228124"/>
                    </a:lnTo>
                    <a:lnTo>
                      <a:pt x="427101" y="204502"/>
                    </a:lnTo>
                    <a:lnTo>
                      <a:pt x="442913" y="228124"/>
                    </a:lnTo>
                    <a:lnTo>
                      <a:pt x="458819" y="228124"/>
                    </a:lnTo>
                    <a:lnTo>
                      <a:pt x="474631" y="235934"/>
                    </a:lnTo>
                    <a:lnTo>
                      <a:pt x="490442" y="235934"/>
                    </a:lnTo>
                    <a:lnTo>
                      <a:pt x="490442" y="220218"/>
                    </a:lnTo>
                    <a:close/>
                  </a:path>
                </a:pathLst>
              </a:custGeom>
              <a:solidFill>
                <a:srgbClr val="F59E00"/>
              </a:solidFill>
              <a:ln w="4763"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4736EF8C-D204-E91F-91B9-B71BE54393BC}"/>
                  </a:ext>
                </a:extLst>
              </p:cNvPr>
              <p:cNvSpPr/>
              <p:nvPr/>
            </p:nvSpPr>
            <p:spPr>
              <a:xfrm>
                <a:off x="7167562" y="4383690"/>
                <a:ext cx="522065" cy="298894"/>
              </a:xfrm>
              <a:custGeom>
                <a:avLst/>
                <a:gdLst>
                  <a:gd name="connsiteX0" fmla="*/ 490442 w 522065"/>
                  <a:gd name="connsiteY0" fmla="*/ 220218 h 298894"/>
                  <a:gd name="connsiteX1" fmla="*/ 442913 w 522065"/>
                  <a:gd name="connsiteY1" fmla="*/ 165163 h 298894"/>
                  <a:gd name="connsiteX2" fmla="*/ 466725 w 522065"/>
                  <a:gd name="connsiteY2" fmla="*/ 141541 h 298894"/>
                  <a:gd name="connsiteX3" fmla="*/ 466725 w 522065"/>
                  <a:gd name="connsiteY3" fmla="*/ 102298 h 298894"/>
                  <a:gd name="connsiteX4" fmla="*/ 474631 w 522065"/>
                  <a:gd name="connsiteY4" fmla="*/ 94393 h 298894"/>
                  <a:gd name="connsiteX5" fmla="*/ 490442 w 522065"/>
                  <a:gd name="connsiteY5" fmla="*/ 86487 h 298894"/>
                  <a:gd name="connsiteX6" fmla="*/ 522065 w 522065"/>
                  <a:gd name="connsiteY6" fmla="*/ 86487 h 298894"/>
                  <a:gd name="connsiteX7" fmla="*/ 522065 w 522065"/>
                  <a:gd name="connsiteY7" fmla="*/ 62960 h 298894"/>
                  <a:gd name="connsiteX8" fmla="*/ 514160 w 522065"/>
                  <a:gd name="connsiteY8" fmla="*/ 47149 h 298894"/>
                  <a:gd name="connsiteX9" fmla="*/ 490442 w 522065"/>
                  <a:gd name="connsiteY9" fmla="*/ 47149 h 298894"/>
                  <a:gd name="connsiteX10" fmla="*/ 458819 w 522065"/>
                  <a:gd name="connsiteY10" fmla="*/ 15716 h 298894"/>
                  <a:gd name="connsiteX11" fmla="*/ 427101 w 522065"/>
                  <a:gd name="connsiteY11" fmla="*/ 15716 h 298894"/>
                  <a:gd name="connsiteX12" fmla="*/ 411289 w 522065"/>
                  <a:gd name="connsiteY12" fmla="*/ 7906 h 298894"/>
                  <a:gd name="connsiteX13" fmla="*/ 395478 w 522065"/>
                  <a:gd name="connsiteY13" fmla="*/ 7906 h 298894"/>
                  <a:gd name="connsiteX14" fmla="*/ 379666 w 522065"/>
                  <a:gd name="connsiteY14" fmla="*/ 0 h 298894"/>
                  <a:gd name="connsiteX15" fmla="*/ 371761 w 522065"/>
                  <a:gd name="connsiteY15" fmla="*/ 0 h 298894"/>
                  <a:gd name="connsiteX16" fmla="*/ 371761 w 522065"/>
                  <a:gd name="connsiteY16" fmla="*/ 15716 h 298894"/>
                  <a:gd name="connsiteX17" fmla="*/ 332232 w 522065"/>
                  <a:gd name="connsiteY17" fmla="*/ 7906 h 298894"/>
                  <a:gd name="connsiteX18" fmla="*/ 332232 w 522065"/>
                  <a:gd name="connsiteY18" fmla="*/ 15716 h 298894"/>
                  <a:gd name="connsiteX19" fmla="*/ 324326 w 522065"/>
                  <a:gd name="connsiteY19" fmla="*/ 15716 h 298894"/>
                  <a:gd name="connsiteX20" fmla="*/ 308515 w 522065"/>
                  <a:gd name="connsiteY20" fmla="*/ 23622 h 298894"/>
                  <a:gd name="connsiteX21" fmla="*/ 300609 w 522065"/>
                  <a:gd name="connsiteY21" fmla="*/ 23622 h 298894"/>
                  <a:gd name="connsiteX22" fmla="*/ 292703 w 522065"/>
                  <a:gd name="connsiteY22" fmla="*/ 31432 h 298894"/>
                  <a:gd name="connsiteX23" fmla="*/ 292703 w 522065"/>
                  <a:gd name="connsiteY23" fmla="*/ 47149 h 298894"/>
                  <a:gd name="connsiteX24" fmla="*/ 284797 w 522065"/>
                  <a:gd name="connsiteY24" fmla="*/ 55054 h 298894"/>
                  <a:gd name="connsiteX25" fmla="*/ 261080 w 522065"/>
                  <a:gd name="connsiteY25" fmla="*/ 55054 h 298894"/>
                  <a:gd name="connsiteX26" fmla="*/ 245269 w 522065"/>
                  <a:gd name="connsiteY26" fmla="*/ 47149 h 298894"/>
                  <a:gd name="connsiteX27" fmla="*/ 237268 w 522065"/>
                  <a:gd name="connsiteY27" fmla="*/ 39338 h 298894"/>
                  <a:gd name="connsiteX28" fmla="*/ 205645 w 522065"/>
                  <a:gd name="connsiteY28" fmla="*/ 39338 h 298894"/>
                  <a:gd name="connsiteX29" fmla="*/ 181928 w 522065"/>
                  <a:gd name="connsiteY29" fmla="*/ 31432 h 298894"/>
                  <a:gd name="connsiteX30" fmla="*/ 181928 w 522065"/>
                  <a:gd name="connsiteY30" fmla="*/ 39338 h 298894"/>
                  <a:gd name="connsiteX31" fmla="*/ 174022 w 522065"/>
                  <a:gd name="connsiteY31" fmla="*/ 47149 h 298894"/>
                  <a:gd name="connsiteX32" fmla="*/ 142399 w 522065"/>
                  <a:gd name="connsiteY32" fmla="*/ 47149 h 298894"/>
                  <a:gd name="connsiteX33" fmla="*/ 134493 w 522065"/>
                  <a:gd name="connsiteY33" fmla="*/ 39338 h 298894"/>
                  <a:gd name="connsiteX34" fmla="*/ 118681 w 522065"/>
                  <a:gd name="connsiteY34" fmla="*/ 39338 h 298894"/>
                  <a:gd name="connsiteX35" fmla="*/ 86963 w 522065"/>
                  <a:gd name="connsiteY35" fmla="*/ 23622 h 298894"/>
                  <a:gd name="connsiteX36" fmla="*/ 71152 w 522065"/>
                  <a:gd name="connsiteY36" fmla="*/ 39338 h 298894"/>
                  <a:gd name="connsiteX37" fmla="*/ 47435 w 522065"/>
                  <a:gd name="connsiteY37" fmla="*/ 39338 h 298894"/>
                  <a:gd name="connsiteX38" fmla="*/ 39529 w 522065"/>
                  <a:gd name="connsiteY38" fmla="*/ 31432 h 298894"/>
                  <a:gd name="connsiteX39" fmla="*/ 47435 w 522065"/>
                  <a:gd name="connsiteY39" fmla="*/ 23622 h 298894"/>
                  <a:gd name="connsiteX40" fmla="*/ 47435 w 522065"/>
                  <a:gd name="connsiteY40" fmla="*/ 15716 h 298894"/>
                  <a:gd name="connsiteX41" fmla="*/ 55340 w 522065"/>
                  <a:gd name="connsiteY41" fmla="*/ 7906 h 298894"/>
                  <a:gd name="connsiteX42" fmla="*/ 47435 w 522065"/>
                  <a:gd name="connsiteY42" fmla="*/ 0 h 298894"/>
                  <a:gd name="connsiteX43" fmla="*/ 15812 w 522065"/>
                  <a:gd name="connsiteY43" fmla="*/ 0 h 298894"/>
                  <a:gd name="connsiteX44" fmla="*/ 15812 w 522065"/>
                  <a:gd name="connsiteY44" fmla="*/ 15716 h 298894"/>
                  <a:gd name="connsiteX45" fmla="*/ 0 w 522065"/>
                  <a:gd name="connsiteY45" fmla="*/ 31432 h 298894"/>
                  <a:gd name="connsiteX46" fmla="*/ 0 w 522065"/>
                  <a:gd name="connsiteY46" fmla="*/ 55054 h 298894"/>
                  <a:gd name="connsiteX47" fmla="*/ 23717 w 522065"/>
                  <a:gd name="connsiteY47" fmla="*/ 62960 h 298894"/>
                  <a:gd name="connsiteX48" fmla="*/ 15812 w 522065"/>
                  <a:gd name="connsiteY48" fmla="*/ 78676 h 298894"/>
                  <a:gd name="connsiteX49" fmla="*/ 39529 w 522065"/>
                  <a:gd name="connsiteY49" fmla="*/ 86487 h 298894"/>
                  <a:gd name="connsiteX50" fmla="*/ 47435 w 522065"/>
                  <a:gd name="connsiteY50" fmla="*/ 94393 h 298894"/>
                  <a:gd name="connsiteX51" fmla="*/ 47435 w 522065"/>
                  <a:gd name="connsiteY51" fmla="*/ 125825 h 298894"/>
                  <a:gd name="connsiteX52" fmla="*/ 39529 w 522065"/>
                  <a:gd name="connsiteY52" fmla="*/ 133731 h 298894"/>
                  <a:gd name="connsiteX53" fmla="*/ 7906 w 522065"/>
                  <a:gd name="connsiteY53" fmla="*/ 133731 h 298894"/>
                  <a:gd name="connsiteX54" fmla="*/ 7906 w 522065"/>
                  <a:gd name="connsiteY54" fmla="*/ 141541 h 298894"/>
                  <a:gd name="connsiteX55" fmla="*/ 15812 w 522065"/>
                  <a:gd name="connsiteY55" fmla="*/ 149447 h 298894"/>
                  <a:gd name="connsiteX56" fmla="*/ 15812 w 522065"/>
                  <a:gd name="connsiteY56" fmla="*/ 180880 h 298894"/>
                  <a:gd name="connsiteX57" fmla="*/ 0 w 522065"/>
                  <a:gd name="connsiteY57" fmla="*/ 180880 h 298894"/>
                  <a:gd name="connsiteX58" fmla="*/ 15812 w 522065"/>
                  <a:gd name="connsiteY58" fmla="*/ 204502 h 298894"/>
                  <a:gd name="connsiteX59" fmla="*/ 23717 w 522065"/>
                  <a:gd name="connsiteY59" fmla="*/ 204502 h 298894"/>
                  <a:gd name="connsiteX60" fmla="*/ 23717 w 522065"/>
                  <a:gd name="connsiteY60" fmla="*/ 220218 h 298894"/>
                  <a:gd name="connsiteX61" fmla="*/ 47435 w 522065"/>
                  <a:gd name="connsiteY61" fmla="*/ 235934 h 298894"/>
                  <a:gd name="connsiteX62" fmla="*/ 55340 w 522065"/>
                  <a:gd name="connsiteY62" fmla="*/ 243840 h 298894"/>
                  <a:gd name="connsiteX63" fmla="*/ 63246 w 522065"/>
                  <a:gd name="connsiteY63" fmla="*/ 259556 h 298894"/>
                  <a:gd name="connsiteX64" fmla="*/ 63246 w 522065"/>
                  <a:gd name="connsiteY64" fmla="*/ 275272 h 298894"/>
                  <a:gd name="connsiteX65" fmla="*/ 55340 w 522065"/>
                  <a:gd name="connsiteY65" fmla="*/ 290989 h 298894"/>
                  <a:gd name="connsiteX66" fmla="*/ 63246 w 522065"/>
                  <a:gd name="connsiteY66" fmla="*/ 290989 h 298894"/>
                  <a:gd name="connsiteX67" fmla="*/ 71152 w 522065"/>
                  <a:gd name="connsiteY67" fmla="*/ 298894 h 298894"/>
                  <a:gd name="connsiteX68" fmla="*/ 86963 w 522065"/>
                  <a:gd name="connsiteY68" fmla="*/ 298894 h 298894"/>
                  <a:gd name="connsiteX69" fmla="*/ 102870 w 522065"/>
                  <a:gd name="connsiteY69" fmla="*/ 290989 h 298894"/>
                  <a:gd name="connsiteX70" fmla="*/ 110776 w 522065"/>
                  <a:gd name="connsiteY70" fmla="*/ 283178 h 298894"/>
                  <a:gd name="connsiteX71" fmla="*/ 142399 w 522065"/>
                  <a:gd name="connsiteY71" fmla="*/ 290989 h 298894"/>
                  <a:gd name="connsiteX72" fmla="*/ 150304 w 522065"/>
                  <a:gd name="connsiteY72" fmla="*/ 267462 h 298894"/>
                  <a:gd name="connsiteX73" fmla="*/ 189833 w 522065"/>
                  <a:gd name="connsiteY73" fmla="*/ 259556 h 298894"/>
                  <a:gd name="connsiteX74" fmla="*/ 189833 w 522065"/>
                  <a:gd name="connsiteY74" fmla="*/ 267462 h 298894"/>
                  <a:gd name="connsiteX75" fmla="*/ 213551 w 522065"/>
                  <a:gd name="connsiteY75" fmla="*/ 290989 h 298894"/>
                  <a:gd name="connsiteX76" fmla="*/ 229362 w 522065"/>
                  <a:gd name="connsiteY76" fmla="*/ 290989 h 298894"/>
                  <a:gd name="connsiteX77" fmla="*/ 237268 w 522065"/>
                  <a:gd name="connsiteY77" fmla="*/ 283178 h 298894"/>
                  <a:gd name="connsiteX78" fmla="*/ 253079 w 522065"/>
                  <a:gd name="connsiteY78" fmla="*/ 298894 h 298894"/>
                  <a:gd name="connsiteX79" fmla="*/ 268986 w 522065"/>
                  <a:gd name="connsiteY79" fmla="*/ 298894 h 298894"/>
                  <a:gd name="connsiteX80" fmla="*/ 284797 w 522065"/>
                  <a:gd name="connsiteY80" fmla="*/ 283178 h 298894"/>
                  <a:gd name="connsiteX81" fmla="*/ 300609 w 522065"/>
                  <a:gd name="connsiteY81" fmla="*/ 298894 h 298894"/>
                  <a:gd name="connsiteX82" fmla="*/ 324326 w 522065"/>
                  <a:gd name="connsiteY82" fmla="*/ 298894 h 298894"/>
                  <a:gd name="connsiteX83" fmla="*/ 332232 w 522065"/>
                  <a:gd name="connsiteY83" fmla="*/ 290989 h 298894"/>
                  <a:gd name="connsiteX84" fmla="*/ 332232 w 522065"/>
                  <a:gd name="connsiteY84" fmla="*/ 267462 h 298894"/>
                  <a:gd name="connsiteX85" fmla="*/ 324326 w 522065"/>
                  <a:gd name="connsiteY85" fmla="*/ 259556 h 298894"/>
                  <a:gd name="connsiteX86" fmla="*/ 348044 w 522065"/>
                  <a:gd name="connsiteY86" fmla="*/ 251650 h 298894"/>
                  <a:gd name="connsiteX87" fmla="*/ 371761 w 522065"/>
                  <a:gd name="connsiteY87" fmla="*/ 220218 h 298894"/>
                  <a:gd name="connsiteX88" fmla="*/ 411289 w 522065"/>
                  <a:gd name="connsiteY88" fmla="*/ 228124 h 298894"/>
                  <a:gd name="connsiteX89" fmla="*/ 427101 w 522065"/>
                  <a:gd name="connsiteY89" fmla="*/ 204502 h 298894"/>
                  <a:gd name="connsiteX90" fmla="*/ 442913 w 522065"/>
                  <a:gd name="connsiteY90" fmla="*/ 228124 h 298894"/>
                  <a:gd name="connsiteX91" fmla="*/ 458819 w 522065"/>
                  <a:gd name="connsiteY91" fmla="*/ 228124 h 298894"/>
                  <a:gd name="connsiteX92" fmla="*/ 474631 w 522065"/>
                  <a:gd name="connsiteY92" fmla="*/ 235934 h 298894"/>
                  <a:gd name="connsiteX93" fmla="*/ 490442 w 522065"/>
                  <a:gd name="connsiteY93" fmla="*/ 235934 h 298894"/>
                  <a:gd name="connsiteX94" fmla="*/ 490442 w 522065"/>
                  <a:gd name="connsiteY94" fmla="*/ 220218 h 29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522065" h="298894">
                    <a:moveTo>
                      <a:pt x="490442" y="220218"/>
                    </a:moveTo>
                    <a:lnTo>
                      <a:pt x="442913" y="165163"/>
                    </a:lnTo>
                    <a:lnTo>
                      <a:pt x="466725" y="141541"/>
                    </a:lnTo>
                    <a:lnTo>
                      <a:pt x="466725" y="102298"/>
                    </a:lnTo>
                    <a:lnTo>
                      <a:pt x="474631" y="94393"/>
                    </a:lnTo>
                    <a:lnTo>
                      <a:pt x="490442" y="86487"/>
                    </a:lnTo>
                    <a:lnTo>
                      <a:pt x="522065" y="86487"/>
                    </a:lnTo>
                    <a:lnTo>
                      <a:pt x="522065" y="62960"/>
                    </a:lnTo>
                    <a:lnTo>
                      <a:pt x="514160" y="47149"/>
                    </a:lnTo>
                    <a:lnTo>
                      <a:pt x="490442" y="47149"/>
                    </a:lnTo>
                    <a:lnTo>
                      <a:pt x="458819" y="15716"/>
                    </a:lnTo>
                    <a:lnTo>
                      <a:pt x="427101" y="15716"/>
                    </a:lnTo>
                    <a:lnTo>
                      <a:pt x="411289" y="7906"/>
                    </a:lnTo>
                    <a:lnTo>
                      <a:pt x="395478" y="7906"/>
                    </a:lnTo>
                    <a:lnTo>
                      <a:pt x="379666" y="0"/>
                    </a:lnTo>
                    <a:lnTo>
                      <a:pt x="371761" y="0"/>
                    </a:lnTo>
                    <a:lnTo>
                      <a:pt x="371761" y="15716"/>
                    </a:lnTo>
                    <a:lnTo>
                      <a:pt x="332232" y="7906"/>
                    </a:lnTo>
                    <a:lnTo>
                      <a:pt x="332232" y="15716"/>
                    </a:lnTo>
                    <a:lnTo>
                      <a:pt x="324326" y="15716"/>
                    </a:lnTo>
                    <a:lnTo>
                      <a:pt x="308515" y="23622"/>
                    </a:lnTo>
                    <a:lnTo>
                      <a:pt x="300609" y="23622"/>
                    </a:lnTo>
                    <a:lnTo>
                      <a:pt x="292703" y="31432"/>
                    </a:lnTo>
                    <a:lnTo>
                      <a:pt x="292703" y="47149"/>
                    </a:lnTo>
                    <a:lnTo>
                      <a:pt x="284797" y="55054"/>
                    </a:lnTo>
                    <a:lnTo>
                      <a:pt x="261080" y="55054"/>
                    </a:lnTo>
                    <a:lnTo>
                      <a:pt x="245269" y="47149"/>
                    </a:lnTo>
                    <a:lnTo>
                      <a:pt x="237268" y="39338"/>
                    </a:lnTo>
                    <a:lnTo>
                      <a:pt x="205645" y="39338"/>
                    </a:lnTo>
                    <a:lnTo>
                      <a:pt x="181928" y="31432"/>
                    </a:lnTo>
                    <a:lnTo>
                      <a:pt x="181928" y="39338"/>
                    </a:lnTo>
                    <a:lnTo>
                      <a:pt x="174022" y="47149"/>
                    </a:lnTo>
                    <a:lnTo>
                      <a:pt x="142399" y="47149"/>
                    </a:lnTo>
                    <a:lnTo>
                      <a:pt x="134493" y="39338"/>
                    </a:lnTo>
                    <a:lnTo>
                      <a:pt x="118681" y="39338"/>
                    </a:lnTo>
                    <a:lnTo>
                      <a:pt x="86963" y="23622"/>
                    </a:lnTo>
                    <a:lnTo>
                      <a:pt x="71152" y="39338"/>
                    </a:lnTo>
                    <a:lnTo>
                      <a:pt x="47435" y="39338"/>
                    </a:lnTo>
                    <a:lnTo>
                      <a:pt x="39529" y="31432"/>
                    </a:lnTo>
                    <a:lnTo>
                      <a:pt x="47435" y="23622"/>
                    </a:lnTo>
                    <a:lnTo>
                      <a:pt x="47435" y="15716"/>
                    </a:lnTo>
                    <a:lnTo>
                      <a:pt x="55340" y="7906"/>
                    </a:lnTo>
                    <a:lnTo>
                      <a:pt x="47435" y="0"/>
                    </a:lnTo>
                    <a:lnTo>
                      <a:pt x="15812" y="0"/>
                    </a:lnTo>
                    <a:lnTo>
                      <a:pt x="15812" y="15716"/>
                    </a:lnTo>
                    <a:lnTo>
                      <a:pt x="0" y="31432"/>
                    </a:lnTo>
                    <a:lnTo>
                      <a:pt x="0" y="55054"/>
                    </a:lnTo>
                    <a:lnTo>
                      <a:pt x="23717" y="62960"/>
                    </a:lnTo>
                    <a:lnTo>
                      <a:pt x="15812" y="78676"/>
                    </a:lnTo>
                    <a:lnTo>
                      <a:pt x="39529" y="86487"/>
                    </a:lnTo>
                    <a:lnTo>
                      <a:pt x="47435" y="94393"/>
                    </a:lnTo>
                    <a:lnTo>
                      <a:pt x="47435" y="125825"/>
                    </a:lnTo>
                    <a:lnTo>
                      <a:pt x="39529" y="133731"/>
                    </a:lnTo>
                    <a:lnTo>
                      <a:pt x="7906" y="133731"/>
                    </a:lnTo>
                    <a:lnTo>
                      <a:pt x="7906" y="141541"/>
                    </a:lnTo>
                    <a:lnTo>
                      <a:pt x="15812" y="149447"/>
                    </a:lnTo>
                    <a:lnTo>
                      <a:pt x="15812" y="180880"/>
                    </a:lnTo>
                    <a:lnTo>
                      <a:pt x="0" y="180880"/>
                    </a:lnTo>
                    <a:lnTo>
                      <a:pt x="15812" y="204502"/>
                    </a:lnTo>
                    <a:lnTo>
                      <a:pt x="23717" y="204502"/>
                    </a:lnTo>
                    <a:lnTo>
                      <a:pt x="23717" y="220218"/>
                    </a:lnTo>
                    <a:lnTo>
                      <a:pt x="47435" y="235934"/>
                    </a:lnTo>
                    <a:lnTo>
                      <a:pt x="55340" y="243840"/>
                    </a:lnTo>
                    <a:lnTo>
                      <a:pt x="63246" y="259556"/>
                    </a:lnTo>
                    <a:lnTo>
                      <a:pt x="63246" y="275272"/>
                    </a:lnTo>
                    <a:lnTo>
                      <a:pt x="55340" y="290989"/>
                    </a:lnTo>
                    <a:lnTo>
                      <a:pt x="63246" y="290989"/>
                    </a:lnTo>
                    <a:lnTo>
                      <a:pt x="71152" y="298894"/>
                    </a:lnTo>
                    <a:lnTo>
                      <a:pt x="86963" y="298894"/>
                    </a:lnTo>
                    <a:lnTo>
                      <a:pt x="102870" y="290989"/>
                    </a:lnTo>
                    <a:lnTo>
                      <a:pt x="110776" y="283178"/>
                    </a:lnTo>
                    <a:lnTo>
                      <a:pt x="142399" y="290989"/>
                    </a:lnTo>
                    <a:lnTo>
                      <a:pt x="150304" y="267462"/>
                    </a:lnTo>
                    <a:lnTo>
                      <a:pt x="189833" y="259556"/>
                    </a:lnTo>
                    <a:lnTo>
                      <a:pt x="189833" y="267462"/>
                    </a:lnTo>
                    <a:lnTo>
                      <a:pt x="213551" y="290989"/>
                    </a:lnTo>
                    <a:lnTo>
                      <a:pt x="229362" y="290989"/>
                    </a:lnTo>
                    <a:lnTo>
                      <a:pt x="237268" y="283178"/>
                    </a:lnTo>
                    <a:lnTo>
                      <a:pt x="253079" y="298894"/>
                    </a:lnTo>
                    <a:lnTo>
                      <a:pt x="268986" y="298894"/>
                    </a:lnTo>
                    <a:lnTo>
                      <a:pt x="284797" y="283178"/>
                    </a:lnTo>
                    <a:lnTo>
                      <a:pt x="300609" y="298894"/>
                    </a:lnTo>
                    <a:lnTo>
                      <a:pt x="324326" y="298894"/>
                    </a:lnTo>
                    <a:lnTo>
                      <a:pt x="332232" y="290989"/>
                    </a:lnTo>
                    <a:lnTo>
                      <a:pt x="332232" y="267462"/>
                    </a:lnTo>
                    <a:lnTo>
                      <a:pt x="324326" y="259556"/>
                    </a:lnTo>
                    <a:lnTo>
                      <a:pt x="348044" y="251650"/>
                    </a:lnTo>
                    <a:lnTo>
                      <a:pt x="371761" y="220218"/>
                    </a:lnTo>
                    <a:lnTo>
                      <a:pt x="411289" y="228124"/>
                    </a:lnTo>
                    <a:lnTo>
                      <a:pt x="427101" y="204502"/>
                    </a:lnTo>
                    <a:lnTo>
                      <a:pt x="442913" y="228124"/>
                    </a:lnTo>
                    <a:lnTo>
                      <a:pt x="458819" y="228124"/>
                    </a:lnTo>
                    <a:lnTo>
                      <a:pt x="474631" y="235934"/>
                    </a:lnTo>
                    <a:lnTo>
                      <a:pt x="490442" y="235934"/>
                    </a:lnTo>
                    <a:lnTo>
                      <a:pt x="490442" y="220218"/>
                    </a:lnTo>
                    <a:close/>
                  </a:path>
                </a:pathLst>
              </a:custGeom>
              <a:solidFill>
                <a:schemeClr val="accent3"/>
              </a:solidFill>
              <a:ln w="4763" cap="flat">
                <a:solidFill>
                  <a:schemeClr val="bg1"/>
                </a:solid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F1DBC9C6-949B-A1AC-720A-84117A6E4E81}"/>
                  </a:ext>
                </a:extLst>
              </p:cNvPr>
              <p:cNvSpPr/>
              <p:nvPr/>
            </p:nvSpPr>
            <p:spPr>
              <a:xfrm>
                <a:off x="6579108" y="4264151"/>
                <a:ext cx="350710" cy="309467"/>
              </a:xfrm>
              <a:custGeom>
                <a:avLst/>
                <a:gdLst>
                  <a:gd name="connsiteX0" fmla="*/ 326803 w 350710"/>
                  <a:gd name="connsiteY0" fmla="*/ 103156 h 309467"/>
                  <a:gd name="connsiteX1" fmla="*/ 302895 w 350710"/>
                  <a:gd name="connsiteY1" fmla="*/ 103156 h 309467"/>
                  <a:gd name="connsiteX2" fmla="*/ 302895 w 350710"/>
                  <a:gd name="connsiteY2" fmla="*/ 79343 h 309467"/>
                  <a:gd name="connsiteX3" fmla="*/ 326803 w 350710"/>
                  <a:gd name="connsiteY3" fmla="*/ 55531 h 309467"/>
                  <a:gd name="connsiteX4" fmla="*/ 326803 w 350710"/>
                  <a:gd name="connsiteY4" fmla="*/ 39624 h 309467"/>
                  <a:gd name="connsiteX5" fmla="*/ 310801 w 350710"/>
                  <a:gd name="connsiteY5" fmla="*/ 39624 h 309467"/>
                  <a:gd name="connsiteX6" fmla="*/ 294894 w 350710"/>
                  <a:gd name="connsiteY6" fmla="*/ 47625 h 309467"/>
                  <a:gd name="connsiteX7" fmla="*/ 286893 w 350710"/>
                  <a:gd name="connsiteY7" fmla="*/ 47625 h 309467"/>
                  <a:gd name="connsiteX8" fmla="*/ 286893 w 350710"/>
                  <a:gd name="connsiteY8" fmla="*/ 39624 h 309467"/>
                  <a:gd name="connsiteX9" fmla="*/ 270986 w 350710"/>
                  <a:gd name="connsiteY9" fmla="*/ 39624 h 309467"/>
                  <a:gd name="connsiteX10" fmla="*/ 254984 w 350710"/>
                  <a:gd name="connsiteY10" fmla="*/ 15907 h 309467"/>
                  <a:gd name="connsiteX11" fmla="*/ 183261 w 350710"/>
                  <a:gd name="connsiteY11" fmla="*/ 15907 h 309467"/>
                  <a:gd name="connsiteX12" fmla="*/ 175355 w 350710"/>
                  <a:gd name="connsiteY12" fmla="*/ 7906 h 309467"/>
                  <a:gd name="connsiteX13" fmla="*/ 159353 w 350710"/>
                  <a:gd name="connsiteY13" fmla="*/ 7906 h 309467"/>
                  <a:gd name="connsiteX14" fmla="*/ 143446 w 350710"/>
                  <a:gd name="connsiteY14" fmla="*/ 15907 h 309467"/>
                  <a:gd name="connsiteX15" fmla="*/ 119539 w 350710"/>
                  <a:gd name="connsiteY15" fmla="*/ 7906 h 309467"/>
                  <a:gd name="connsiteX16" fmla="*/ 87630 w 350710"/>
                  <a:gd name="connsiteY16" fmla="*/ 7906 h 309467"/>
                  <a:gd name="connsiteX17" fmla="*/ 55817 w 350710"/>
                  <a:gd name="connsiteY17" fmla="*/ 15907 h 309467"/>
                  <a:gd name="connsiteX18" fmla="*/ 39814 w 350710"/>
                  <a:gd name="connsiteY18" fmla="*/ 7906 h 309467"/>
                  <a:gd name="connsiteX19" fmla="*/ 31909 w 350710"/>
                  <a:gd name="connsiteY19" fmla="*/ 0 h 309467"/>
                  <a:gd name="connsiteX20" fmla="*/ 23908 w 350710"/>
                  <a:gd name="connsiteY20" fmla="*/ 0 h 309467"/>
                  <a:gd name="connsiteX21" fmla="*/ 23908 w 350710"/>
                  <a:gd name="connsiteY21" fmla="*/ 31718 h 309467"/>
                  <a:gd name="connsiteX22" fmla="*/ 0 w 350710"/>
                  <a:gd name="connsiteY22" fmla="*/ 39624 h 309467"/>
                  <a:gd name="connsiteX23" fmla="*/ 15907 w 350710"/>
                  <a:gd name="connsiteY23" fmla="*/ 55531 h 309467"/>
                  <a:gd name="connsiteX24" fmla="*/ 39814 w 350710"/>
                  <a:gd name="connsiteY24" fmla="*/ 63437 h 309467"/>
                  <a:gd name="connsiteX25" fmla="*/ 39814 w 350710"/>
                  <a:gd name="connsiteY25" fmla="*/ 79343 h 309467"/>
                  <a:gd name="connsiteX26" fmla="*/ 47816 w 350710"/>
                  <a:gd name="connsiteY26" fmla="*/ 79343 h 309467"/>
                  <a:gd name="connsiteX27" fmla="*/ 55817 w 350710"/>
                  <a:gd name="connsiteY27" fmla="*/ 87249 h 309467"/>
                  <a:gd name="connsiteX28" fmla="*/ 55817 w 350710"/>
                  <a:gd name="connsiteY28" fmla="*/ 111062 h 309467"/>
                  <a:gd name="connsiteX29" fmla="*/ 79724 w 350710"/>
                  <a:gd name="connsiteY29" fmla="*/ 119063 h 309467"/>
                  <a:gd name="connsiteX30" fmla="*/ 95631 w 350710"/>
                  <a:gd name="connsiteY30" fmla="*/ 158687 h 309467"/>
                  <a:gd name="connsiteX31" fmla="*/ 111538 w 350710"/>
                  <a:gd name="connsiteY31" fmla="*/ 174593 h 309467"/>
                  <a:gd name="connsiteX32" fmla="*/ 127540 w 350710"/>
                  <a:gd name="connsiteY32" fmla="*/ 182499 h 309467"/>
                  <a:gd name="connsiteX33" fmla="*/ 151447 w 350710"/>
                  <a:gd name="connsiteY33" fmla="*/ 198406 h 309467"/>
                  <a:gd name="connsiteX34" fmla="*/ 167354 w 350710"/>
                  <a:gd name="connsiteY34" fmla="*/ 206312 h 309467"/>
                  <a:gd name="connsiteX35" fmla="*/ 175355 w 350710"/>
                  <a:gd name="connsiteY35" fmla="*/ 222218 h 309467"/>
                  <a:gd name="connsiteX36" fmla="*/ 175355 w 350710"/>
                  <a:gd name="connsiteY36" fmla="*/ 230124 h 309467"/>
                  <a:gd name="connsiteX37" fmla="*/ 167354 w 350710"/>
                  <a:gd name="connsiteY37" fmla="*/ 238125 h 309467"/>
                  <a:gd name="connsiteX38" fmla="*/ 183261 w 350710"/>
                  <a:gd name="connsiteY38" fmla="*/ 238125 h 309467"/>
                  <a:gd name="connsiteX39" fmla="*/ 207169 w 350710"/>
                  <a:gd name="connsiteY39" fmla="*/ 261842 h 309467"/>
                  <a:gd name="connsiteX40" fmla="*/ 215170 w 350710"/>
                  <a:gd name="connsiteY40" fmla="*/ 277749 h 309467"/>
                  <a:gd name="connsiteX41" fmla="*/ 231076 w 350710"/>
                  <a:gd name="connsiteY41" fmla="*/ 285655 h 309467"/>
                  <a:gd name="connsiteX42" fmla="*/ 254984 w 350710"/>
                  <a:gd name="connsiteY42" fmla="*/ 309467 h 309467"/>
                  <a:gd name="connsiteX43" fmla="*/ 278892 w 350710"/>
                  <a:gd name="connsiteY43" fmla="*/ 269843 h 309467"/>
                  <a:gd name="connsiteX44" fmla="*/ 262985 w 350710"/>
                  <a:gd name="connsiteY44" fmla="*/ 261842 h 309467"/>
                  <a:gd name="connsiteX45" fmla="*/ 254984 w 350710"/>
                  <a:gd name="connsiteY45" fmla="*/ 261842 h 309467"/>
                  <a:gd name="connsiteX46" fmla="*/ 247079 w 350710"/>
                  <a:gd name="connsiteY46" fmla="*/ 253937 h 309467"/>
                  <a:gd name="connsiteX47" fmla="*/ 247079 w 350710"/>
                  <a:gd name="connsiteY47" fmla="*/ 246031 h 309467"/>
                  <a:gd name="connsiteX48" fmla="*/ 254984 w 350710"/>
                  <a:gd name="connsiteY48" fmla="*/ 238125 h 309467"/>
                  <a:gd name="connsiteX49" fmla="*/ 262985 w 350710"/>
                  <a:gd name="connsiteY49" fmla="*/ 238125 h 309467"/>
                  <a:gd name="connsiteX50" fmla="*/ 270986 w 350710"/>
                  <a:gd name="connsiteY50" fmla="*/ 222218 h 309467"/>
                  <a:gd name="connsiteX51" fmla="*/ 270986 w 350710"/>
                  <a:gd name="connsiteY51" fmla="*/ 214313 h 309467"/>
                  <a:gd name="connsiteX52" fmla="*/ 278892 w 350710"/>
                  <a:gd name="connsiteY52" fmla="*/ 206312 h 309467"/>
                  <a:gd name="connsiteX53" fmla="*/ 302895 w 350710"/>
                  <a:gd name="connsiteY53" fmla="*/ 206312 h 309467"/>
                  <a:gd name="connsiteX54" fmla="*/ 302895 w 350710"/>
                  <a:gd name="connsiteY54" fmla="*/ 174593 h 309467"/>
                  <a:gd name="connsiteX55" fmla="*/ 342710 w 350710"/>
                  <a:gd name="connsiteY55" fmla="*/ 174593 h 309467"/>
                  <a:gd name="connsiteX56" fmla="*/ 342710 w 350710"/>
                  <a:gd name="connsiteY56" fmla="*/ 166688 h 309467"/>
                  <a:gd name="connsiteX57" fmla="*/ 334708 w 350710"/>
                  <a:gd name="connsiteY57" fmla="*/ 150781 h 309467"/>
                  <a:gd name="connsiteX58" fmla="*/ 318802 w 350710"/>
                  <a:gd name="connsiteY58" fmla="*/ 134874 h 309467"/>
                  <a:gd name="connsiteX59" fmla="*/ 350711 w 350710"/>
                  <a:gd name="connsiteY59" fmla="*/ 126968 h 309467"/>
                  <a:gd name="connsiteX60" fmla="*/ 342710 w 350710"/>
                  <a:gd name="connsiteY60" fmla="*/ 111062 h 309467"/>
                  <a:gd name="connsiteX61" fmla="*/ 334708 w 350710"/>
                  <a:gd name="connsiteY61" fmla="*/ 103156 h 309467"/>
                  <a:gd name="connsiteX62" fmla="*/ 326803 w 350710"/>
                  <a:gd name="connsiteY62" fmla="*/ 103156 h 309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50710" h="309467">
                    <a:moveTo>
                      <a:pt x="326803" y="103156"/>
                    </a:moveTo>
                    <a:lnTo>
                      <a:pt x="302895" y="103156"/>
                    </a:lnTo>
                    <a:lnTo>
                      <a:pt x="302895" y="79343"/>
                    </a:lnTo>
                    <a:lnTo>
                      <a:pt x="326803" y="55531"/>
                    </a:lnTo>
                    <a:lnTo>
                      <a:pt x="326803" y="39624"/>
                    </a:lnTo>
                    <a:lnTo>
                      <a:pt x="310801" y="39624"/>
                    </a:lnTo>
                    <a:lnTo>
                      <a:pt x="294894" y="47625"/>
                    </a:lnTo>
                    <a:lnTo>
                      <a:pt x="286893" y="47625"/>
                    </a:lnTo>
                    <a:lnTo>
                      <a:pt x="286893" y="39624"/>
                    </a:lnTo>
                    <a:lnTo>
                      <a:pt x="270986" y="39624"/>
                    </a:lnTo>
                    <a:lnTo>
                      <a:pt x="254984" y="15907"/>
                    </a:lnTo>
                    <a:lnTo>
                      <a:pt x="183261" y="15907"/>
                    </a:lnTo>
                    <a:lnTo>
                      <a:pt x="175355" y="7906"/>
                    </a:lnTo>
                    <a:lnTo>
                      <a:pt x="159353" y="7906"/>
                    </a:lnTo>
                    <a:lnTo>
                      <a:pt x="143446" y="15907"/>
                    </a:lnTo>
                    <a:lnTo>
                      <a:pt x="119539" y="7906"/>
                    </a:lnTo>
                    <a:lnTo>
                      <a:pt x="87630" y="7906"/>
                    </a:lnTo>
                    <a:lnTo>
                      <a:pt x="55817" y="15907"/>
                    </a:lnTo>
                    <a:lnTo>
                      <a:pt x="39814" y="7906"/>
                    </a:lnTo>
                    <a:lnTo>
                      <a:pt x="31909" y="0"/>
                    </a:lnTo>
                    <a:lnTo>
                      <a:pt x="23908" y="0"/>
                    </a:lnTo>
                    <a:lnTo>
                      <a:pt x="23908" y="31718"/>
                    </a:lnTo>
                    <a:lnTo>
                      <a:pt x="0" y="39624"/>
                    </a:lnTo>
                    <a:lnTo>
                      <a:pt x="15907" y="55531"/>
                    </a:lnTo>
                    <a:lnTo>
                      <a:pt x="39814" y="63437"/>
                    </a:lnTo>
                    <a:lnTo>
                      <a:pt x="39814" y="79343"/>
                    </a:lnTo>
                    <a:lnTo>
                      <a:pt x="47816" y="79343"/>
                    </a:lnTo>
                    <a:lnTo>
                      <a:pt x="55817" y="87249"/>
                    </a:lnTo>
                    <a:lnTo>
                      <a:pt x="55817" y="111062"/>
                    </a:lnTo>
                    <a:lnTo>
                      <a:pt x="79724" y="119063"/>
                    </a:lnTo>
                    <a:lnTo>
                      <a:pt x="95631" y="158687"/>
                    </a:lnTo>
                    <a:lnTo>
                      <a:pt x="111538" y="174593"/>
                    </a:lnTo>
                    <a:lnTo>
                      <a:pt x="127540" y="182499"/>
                    </a:lnTo>
                    <a:lnTo>
                      <a:pt x="151447" y="198406"/>
                    </a:lnTo>
                    <a:lnTo>
                      <a:pt x="167354" y="206312"/>
                    </a:lnTo>
                    <a:lnTo>
                      <a:pt x="175355" y="222218"/>
                    </a:lnTo>
                    <a:lnTo>
                      <a:pt x="175355" y="230124"/>
                    </a:lnTo>
                    <a:lnTo>
                      <a:pt x="167354" y="238125"/>
                    </a:lnTo>
                    <a:lnTo>
                      <a:pt x="183261" y="238125"/>
                    </a:lnTo>
                    <a:lnTo>
                      <a:pt x="207169" y="261842"/>
                    </a:lnTo>
                    <a:lnTo>
                      <a:pt x="215170" y="277749"/>
                    </a:lnTo>
                    <a:lnTo>
                      <a:pt x="231076" y="285655"/>
                    </a:lnTo>
                    <a:lnTo>
                      <a:pt x="254984" y="309467"/>
                    </a:lnTo>
                    <a:lnTo>
                      <a:pt x="278892" y="269843"/>
                    </a:lnTo>
                    <a:lnTo>
                      <a:pt x="262985" y="261842"/>
                    </a:lnTo>
                    <a:lnTo>
                      <a:pt x="254984" y="261842"/>
                    </a:lnTo>
                    <a:lnTo>
                      <a:pt x="247079" y="253937"/>
                    </a:lnTo>
                    <a:lnTo>
                      <a:pt x="247079" y="246031"/>
                    </a:lnTo>
                    <a:lnTo>
                      <a:pt x="254984" y="238125"/>
                    </a:lnTo>
                    <a:lnTo>
                      <a:pt x="262985" y="238125"/>
                    </a:lnTo>
                    <a:lnTo>
                      <a:pt x="270986" y="222218"/>
                    </a:lnTo>
                    <a:lnTo>
                      <a:pt x="270986" y="214313"/>
                    </a:lnTo>
                    <a:lnTo>
                      <a:pt x="278892" y="206312"/>
                    </a:lnTo>
                    <a:lnTo>
                      <a:pt x="302895" y="206312"/>
                    </a:lnTo>
                    <a:lnTo>
                      <a:pt x="302895" y="174593"/>
                    </a:lnTo>
                    <a:lnTo>
                      <a:pt x="342710" y="174593"/>
                    </a:lnTo>
                    <a:lnTo>
                      <a:pt x="342710" y="166688"/>
                    </a:lnTo>
                    <a:lnTo>
                      <a:pt x="334708" y="150781"/>
                    </a:lnTo>
                    <a:lnTo>
                      <a:pt x="318802" y="134874"/>
                    </a:lnTo>
                    <a:lnTo>
                      <a:pt x="350711" y="126968"/>
                    </a:lnTo>
                    <a:lnTo>
                      <a:pt x="342710" y="111062"/>
                    </a:lnTo>
                    <a:lnTo>
                      <a:pt x="334708" y="103156"/>
                    </a:lnTo>
                    <a:lnTo>
                      <a:pt x="326803" y="103156"/>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8799EB58-4793-AE05-734B-01BB6879C27D}"/>
                  </a:ext>
                </a:extLst>
              </p:cNvPr>
              <p:cNvSpPr/>
              <p:nvPr/>
            </p:nvSpPr>
            <p:spPr>
              <a:xfrm>
                <a:off x="6579108" y="4264151"/>
                <a:ext cx="350710" cy="309467"/>
              </a:xfrm>
              <a:custGeom>
                <a:avLst/>
                <a:gdLst>
                  <a:gd name="connsiteX0" fmla="*/ 326803 w 350710"/>
                  <a:gd name="connsiteY0" fmla="*/ 103156 h 309467"/>
                  <a:gd name="connsiteX1" fmla="*/ 302895 w 350710"/>
                  <a:gd name="connsiteY1" fmla="*/ 103156 h 309467"/>
                  <a:gd name="connsiteX2" fmla="*/ 302895 w 350710"/>
                  <a:gd name="connsiteY2" fmla="*/ 79343 h 309467"/>
                  <a:gd name="connsiteX3" fmla="*/ 326803 w 350710"/>
                  <a:gd name="connsiteY3" fmla="*/ 55531 h 309467"/>
                  <a:gd name="connsiteX4" fmla="*/ 326803 w 350710"/>
                  <a:gd name="connsiteY4" fmla="*/ 39624 h 309467"/>
                  <a:gd name="connsiteX5" fmla="*/ 310801 w 350710"/>
                  <a:gd name="connsiteY5" fmla="*/ 39624 h 309467"/>
                  <a:gd name="connsiteX6" fmla="*/ 294894 w 350710"/>
                  <a:gd name="connsiteY6" fmla="*/ 47625 h 309467"/>
                  <a:gd name="connsiteX7" fmla="*/ 286893 w 350710"/>
                  <a:gd name="connsiteY7" fmla="*/ 47625 h 309467"/>
                  <a:gd name="connsiteX8" fmla="*/ 286893 w 350710"/>
                  <a:gd name="connsiteY8" fmla="*/ 39624 h 309467"/>
                  <a:gd name="connsiteX9" fmla="*/ 270986 w 350710"/>
                  <a:gd name="connsiteY9" fmla="*/ 39624 h 309467"/>
                  <a:gd name="connsiteX10" fmla="*/ 254984 w 350710"/>
                  <a:gd name="connsiteY10" fmla="*/ 15907 h 309467"/>
                  <a:gd name="connsiteX11" fmla="*/ 183261 w 350710"/>
                  <a:gd name="connsiteY11" fmla="*/ 15907 h 309467"/>
                  <a:gd name="connsiteX12" fmla="*/ 175355 w 350710"/>
                  <a:gd name="connsiteY12" fmla="*/ 7906 h 309467"/>
                  <a:gd name="connsiteX13" fmla="*/ 159353 w 350710"/>
                  <a:gd name="connsiteY13" fmla="*/ 7906 h 309467"/>
                  <a:gd name="connsiteX14" fmla="*/ 143446 w 350710"/>
                  <a:gd name="connsiteY14" fmla="*/ 15907 h 309467"/>
                  <a:gd name="connsiteX15" fmla="*/ 119539 w 350710"/>
                  <a:gd name="connsiteY15" fmla="*/ 7906 h 309467"/>
                  <a:gd name="connsiteX16" fmla="*/ 87630 w 350710"/>
                  <a:gd name="connsiteY16" fmla="*/ 7906 h 309467"/>
                  <a:gd name="connsiteX17" fmla="*/ 55817 w 350710"/>
                  <a:gd name="connsiteY17" fmla="*/ 15907 h 309467"/>
                  <a:gd name="connsiteX18" fmla="*/ 39814 w 350710"/>
                  <a:gd name="connsiteY18" fmla="*/ 7906 h 309467"/>
                  <a:gd name="connsiteX19" fmla="*/ 31909 w 350710"/>
                  <a:gd name="connsiteY19" fmla="*/ 0 h 309467"/>
                  <a:gd name="connsiteX20" fmla="*/ 23908 w 350710"/>
                  <a:gd name="connsiteY20" fmla="*/ 0 h 309467"/>
                  <a:gd name="connsiteX21" fmla="*/ 23908 w 350710"/>
                  <a:gd name="connsiteY21" fmla="*/ 31718 h 309467"/>
                  <a:gd name="connsiteX22" fmla="*/ 0 w 350710"/>
                  <a:gd name="connsiteY22" fmla="*/ 39624 h 309467"/>
                  <a:gd name="connsiteX23" fmla="*/ 15907 w 350710"/>
                  <a:gd name="connsiteY23" fmla="*/ 55531 h 309467"/>
                  <a:gd name="connsiteX24" fmla="*/ 39814 w 350710"/>
                  <a:gd name="connsiteY24" fmla="*/ 63437 h 309467"/>
                  <a:gd name="connsiteX25" fmla="*/ 39814 w 350710"/>
                  <a:gd name="connsiteY25" fmla="*/ 79343 h 309467"/>
                  <a:gd name="connsiteX26" fmla="*/ 47816 w 350710"/>
                  <a:gd name="connsiteY26" fmla="*/ 79343 h 309467"/>
                  <a:gd name="connsiteX27" fmla="*/ 55817 w 350710"/>
                  <a:gd name="connsiteY27" fmla="*/ 87249 h 309467"/>
                  <a:gd name="connsiteX28" fmla="*/ 55817 w 350710"/>
                  <a:gd name="connsiteY28" fmla="*/ 111062 h 309467"/>
                  <a:gd name="connsiteX29" fmla="*/ 79724 w 350710"/>
                  <a:gd name="connsiteY29" fmla="*/ 119063 h 309467"/>
                  <a:gd name="connsiteX30" fmla="*/ 95631 w 350710"/>
                  <a:gd name="connsiteY30" fmla="*/ 158687 h 309467"/>
                  <a:gd name="connsiteX31" fmla="*/ 111538 w 350710"/>
                  <a:gd name="connsiteY31" fmla="*/ 174593 h 309467"/>
                  <a:gd name="connsiteX32" fmla="*/ 127540 w 350710"/>
                  <a:gd name="connsiteY32" fmla="*/ 182499 h 309467"/>
                  <a:gd name="connsiteX33" fmla="*/ 151447 w 350710"/>
                  <a:gd name="connsiteY33" fmla="*/ 198406 h 309467"/>
                  <a:gd name="connsiteX34" fmla="*/ 167354 w 350710"/>
                  <a:gd name="connsiteY34" fmla="*/ 206312 h 309467"/>
                  <a:gd name="connsiteX35" fmla="*/ 175355 w 350710"/>
                  <a:gd name="connsiteY35" fmla="*/ 222218 h 309467"/>
                  <a:gd name="connsiteX36" fmla="*/ 175355 w 350710"/>
                  <a:gd name="connsiteY36" fmla="*/ 230124 h 309467"/>
                  <a:gd name="connsiteX37" fmla="*/ 167354 w 350710"/>
                  <a:gd name="connsiteY37" fmla="*/ 238125 h 309467"/>
                  <a:gd name="connsiteX38" fmla="*/ 183261 w 350710"/>
                  <a:gd name="connsiteY38" fmla="*/ 238125 h 309467"/>
                  <a:gd name="connsiteX39" fmla="*/ 207169 w 350710"/>
                  <a:gd name="connsiteY39" fmla="*/ 261842 h 309467"/>
                  <a:gd name="connsiteX40" fmla="*/ 215170 w 350710"/>
                  <a:gd name="connsiteY40" fmla="*/ 277749 h 309467"/>
                  <a:gd name="connsiteX41" fmla="*/ 231076 w 350710"/>
                  <a:gd name="connsiteY41" fmla="*/ 285655 h 309467"/>
                  <a:gd name="connsiteX42" fmla="*/ 254984 w 350710"/>
                  <a:gd name="connsiteY42" fmla="*/ 309467 h 309467"/>
                  <a:gd name="connsiteX43" fmla="*/ 278892 w 350710"/>
                  <a:gd name="connsiteY43" fmla="*/ 269843 h 309467"/>
                  <a:gd name="connsiteX44" fmla="*/ 262985 w 350710"/>
                  <a:gd name="connsiteY44" fmla="*/ 261842 h 309467"/>
                  <a:gd name="connsiteX45" fmla="*/ 254984 w 350710"/>
                  <a:gd name="connsiteY45" fmla="*/ 261842 h 309467"/>
                  <a:gd name="connsiteX46" fmla="*/ 247079 w 350710"/>
                  <a:gd name="connsiteY46" fmla="*/ 253937 h 309467"/>
                  <a:gd name="connsiteX47" fmla="*/ 247079 w 350710"/>
                  <a:gd name="connsiteY47" fmla="*/ 246031 h 309467"/>
                  <a:gd name="connsiteX48" fmla="*/ 254984 w 350710"/>
                  <a:gd name="connsiteY48" fmla="*/ 238125 h 309467"/>
                  <a:gd name="connsiteX49" fmla="*/ 262985 w 350710"/>
                  <a:gd name="connsiteY49" fmla="*/ 238125 h 309467"/>
                  <a:gd name="connsiteX50" fmla="*/ 270986 w 350710"/>
                  <a:gd name="connsiteY50" fmla="*/ 222218 h 309467"/>
                  <a:gd name="connsiteX51" fmla="*/ 270986 w 350710"/>
                  <a:gd name="connsiteY51" fmla="*/ 214313 h 309467"/>
                  <a:gd name="connsiteX52" fmla="*/ 278892 w 350710"/>
                  <a:gd name="connsiteY52" fmla="*/ 206312 h 309467"/>
                  <a:gd name="connsiteX53" fmla="*/ 302895 w 350710"/>
                  <a:gd name="connsiteY53" fmla="*/ 206312 h 309467"/>
                  <a:gd name="connsiteX54" fmla="*/ 302895 w 350710"/>
                  <a:gd name="connsiteY54" fmla="*/ 174593 h 309467"/>
                  <a:gd name="connsiteX55" fmla="*/ 342710 w 350710"/>
                  <a:gd name="connsiteY55" fmla="*/ 174593 h 309467"/>
                  <a:gd name="connsiteX56" fmla="*/ 342710 w 350710"/>
                  <a:gd name="connsiteY56" fmla="*/ 166688 h 309467"/>
                  <a:gd name="connsiteX57" fmla="*/ 334708 w 350710"/>
                  <a:gd name="connsiteY57" fmla="*/ 150781 h 309467"/>
                  <a:gd name="connsiteX58" fmla="*/ 318802 w 350710"/>
                  <a:gd name="connsiteY58" fmla="*/ 134874 h 309467"/>
                  <a:gd name="connsiteX59" fmla="*/ 350711 w 350710"/>
                  <a:gd name="connsiteY59" fmla="*/ 126968 h 309467"/>
                  <a:gd name="connsiteX60" fmla="*/ 342710 w 350710"/>
                  <a:gd name="connsiteY60" fmla="*/ 111062 h 309467"/>
                  <a:gd name="connsiteX61" fmla="*/ 334708 w 350710"/>
                  <a:gd name="connsiteY61" fmla="*/ 103156 h 309467"/>
                  <a:gd name="connsiteX62" fmla="*/ 326803 w 350710"/>
                  <a:gd name="connsiteY62" fmla="*/ 103156 h 309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50710" h="309467">
                    <a:moveTo>
                      <a:pt x="326803" y="103156"/>
                    </a:moveTo>
                    <a:lnTo>
                      <a:pt x="302895" y="103156"/>
                    </a:lnTo>
                    <a:lnTo>
                      <a:pt x="302895" y="79343"/>
                    </a:lnTo>
                    <a:lnTo>
                      <a:pt x="326803" y="55531"/>
                    </a:lnTo>
                    <a:lnTo>
                      <a:pt x="326803" y="39624"/>
                    </a:lnTo>
                    <a:lnTo>
                      <a:pt x="310801" y="39624"/>
                    </a:lnTo>
                    <a:lnTo>
                      <a:pt x="294894" y="47625"/>
                    </a:lnTo>
                    <a:lnTo>
                      <a:pt x="286893" y="47625"/>
                    </a:lnTo>
                    <a:lnTo>
                      <a:pt x="286893" y="39624"/>
                    </a:lnTo>
                    <a:lnTo>
                      <a:pt x="270986" y="39624"/>
                    </a:lnTo>
                    <a:lnTo>
                      <a:pt x="254984" y="15907"/>
                    </a:lnTo>
                    <a:lnTo>
                      <a:pt x="183261" y="15907"/>
                    </a:lnTo>
                    <a:lnTo>
                      <a:pt x="175355" y="7906"/>
                    </a:lnTo>
                    <a:lnTo>
                      <a:pt x="159353" y="7906"/>
                    </a:lnTo>
                    <a:lnTo>
                      <a:pt x="143446" y="15907"/>
                    </a:lnTo>
                    <a:lnTo>
                      <a:pt x="119539" y="7906"/>
                    </a:lnTo>
                    <a:lnTo>
                      <a:pt x="87630" y="7906"/>
                    </a:lnTo>
                    <a:lnTo>
                      <a:pt x="55817" y="15907"/>
                    </a:lnTo>
                    <a:lnTo>
                      <a:pt x="39814" y="7906"/>
                    </a:lnTo>
                    <a:lnTo>
                      <a:pt x="31909" y="0"/>
                    </a:lnTo>
                    <a:lnTo>
                      <a:pt x="23908" y="0"/>
                    </a:lnTo>
                    <a:lnTo>
                      <a:pt x="23908" y="31718"/>
                    </a:lnTo>
                    <a:lnTo>
                      <a:pt x="0" y="39624"/>
                    </a:lnTo>
                    <a:lnTo>
                      <a:pt x="15907" y="55531"/>
                    </a:lnTo>
                    <a:lnTo>
                      <a:pt x="39814" y="63437"/>
                    </a:lnTo>
                    <a:lnTo>
                      <a:pt x="39814" y="79343"/>
                    </a:lnTo>
                    <a:lnTo>
                      <a:pt x="47816" y="79343"/>
                    </a:lnTo>
                    <a:lnTo>
                      <a:pt x="55817" y="87249"/>
                    </a:lnTo>
                    <a:lnTo>
                      <a:pt x="55817" y="111062"/>
                    </a:lnTo>
                    <a:lnTo>
                      <a:pt x="79724" y="119063"/>
                    </a:lnTo>
                    <a:lnTo>
                      <a:pt x="95631" y="158687"/>
                    </a:lnTo>
                    <a:lnTo>
                      <a:pt x="111538" y="174593"/>
                    </a:lnTo>
                    <a:lnTo>
                      <a:pt x="127540" y="182499"/>
                    </a:lnTo>
                    <a:lnTo>
                      <a:pt x="151447" y="198406"/>
                    </a:lnTo>
                    <a:lnTo>
                      <a:pt x="167354" y="206312"/>
                    </a:lnTo>
                    <a:lnTo>
                      <a:pt x="175355" y="222218"/>
                    </a:lnTo>
                    <a:lnTo>
                      <a:pt x="175355" y="230124"/>
                    </a:lnTo>
                    <a:lnTo>
                      <a:pt x="167354" y="238125"/>
                    </a:lnTo>
                    <a:lnTo>
                      <a:pt x="183261" y="238125"/>
                    </a:lnTo>
                    <a:lnTo>
                      <a:pt x="207169" y="261842"/>
                    </a:lnTo>
                    <a:lnTo>
                      <a:pt x="215170" y="277749"/>
                    </a:lnTo>
                    <a:lnTo>
                      <a:pt x="231076" y="285655"/>
                    </a:lnTo>
                    <a:lnTo>
                      <a:pt x="254984" y="309467"/>
                    </a:lnTo>
                    <a:lnTo>
                      <a:pt x="278892" y="269843"/>
                    </a:lnTo>
                    <a:lnTo>
                      <a:pt x="262985" y="261842"/>
                    </a:lnTo>
                    <a:lnTo>
                      <a:pt x="254984" y="261842"/>
                    </a:lnTo>
                    <a:lnTo>
                      <a:pt x="247079" y="253937"/>
                    </a:lnTo>
                    <a:lnTo>
                      <a:pt x="247079" y="246031"/>
                    </a:lnTo>
                    <a:lnTo>
                      <a:pt x="254984" y="238125"/>
                    </a:lnTo>
                    <a:lnTo>
                      <a:pt x="262985" y="238125"/>
                    </a:lnTo>
                    <a:lnTo>
                      <a:pt x="270986" y="222218"/>
                    </a:lnTo>
                    <a:lnTo>
                      <a:pt x="270986" y="214313"/>
                    </a:lnTo>
                    <a:lnTo>
                      <a:pt x="278892" y="206312"/>
                    </a:lnTo>
                    <a:lnTo>
                      <a:pt x="302895" y="206312"/>
                    </a:lnTo>
                    <a:lnTo>
                      <a:pt x="302895" y="174593"/>
                    </a:lnTo>
                    <a:lnTo>
                      <a:pt x="342710" y="174593"/>
                    </a:lnTo>
                    <a:lnTo>
                      <a:pt x="342710" y="166688"/>
                    </a:lnTo>
                    <a:lnTo>
                      <a:pt x="334708" y="150781"/>
                    </a:lnTo>
                    <a:lnTo>
                      <a:pt x="318802" y="134874"/>
                    </a:lnTo>
                    <a:lnTo>
                      <a:pt x="350711" y="126968"/>
                    </a:lnTo>
                    <a:lnTo>
                      <a:pt x="342710" y="111062"/>
                    </a:lnTo>
                    <a:lnTo>
                      <a:pt x="334708" y="103156"/>
                    </a:lnTo>
                    <a:lnTo>
                      <a:pt x="326803" y="103156"/>
                    </a:lnTo>
                    <a:close/>
                  </a:path>
                </a:pathLst>
              </a:custGeom>
              <a:noFill/>
              <a:ln w="4763"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E8B7059F-3122-E72F-14D0-B7AD578BB092}"/>
                  </a:ext>
                </a:extLst>
              </p:cNvPr>
              <p:cNvSpPr/>
              <p:nvPr/>
            </p:nvSpPr>
            <p:spPr>
              <a:xfrm>
                <a:off x="5525643" y="3629215"/>
                <a:ext cx="294893" cy="201834"/>
              </a:xfrm>
              <a:custGeom>
                <a:avLst/>
                <a:gdLst>
                  <a:gd name="connsiteX0" fmla="*/ 0 w 294893"/>
                  <a:gd name="connsiteY0" fmla="*/ 56483 h 201834"/>
                  <a:gd name="connsiteX1" fmla="*/ 8001 w 294893"/>
                  <a:gd name="connsiteY1" fmla="*/ 80677 h 201834"/>
                  <a:gd name="connsiteX2" fmla="*/ 39815 w 294893"/>
                  <a:gd name="connsiteY2" fmla="*/ 88773 h 201834"/>
                  <a:gd name="connsiteX3" fmla="*/ 55817 w 294893"/>
                  <a:gd name="connsiteY3" fmla="*/ 104965 h 201834"/>
                  <a:gd name="connsiteX4" fmla="*/ 87725 w 294893"/>
                  <a:gd name="connsiteY4" fmla="*/ 104965 h 201834"/>
                  <a:gd name="connsiteX5" fmla="*/ 103632 w 294893"/>
                  <a:gd name="connsiteY5" fmla="*/ 112967 h 201834"/>
                  <a:gd name="connsiteX6" fmla="*/ 111633 w 294893"/>
                  <a:gd name="connsiteY6" fmla="*/ 121063 h 201834"/>
                  <a:gd name="connsiteX7" fmla="*/ 111633 w 294893"/>
                  <a:gd name="connsiteY7" fmla="*/ 153448 h 201834"/>
                  <a:gd name="connsiteX8" fmla="*/ 143446 w 294893"/>
                  <a:gd name="connsiteY8" fmla="*/ 153448 h 201834"/>
                  <a:gd name="connsiteX9" fmla="*/ 159448 w 294893"/>
                  <a:gd name="connsiteY9" fmla="*/ 137255 h 201834"/>
                  <a:gd name="connsiteX10" fmla="*/ 159448 w 294893"/>
                  <a:gd name="connsiteY10" fmla="*/ 169545 h 201834"/>
                  <a:gd name="connsiteX11" fmla="*/ 175355 w 294893"/>
                  <a:gd name="connsiteY11" fmla="*/ 169545 h 201834"/>
                  <a:gd name="connsiteX12" fmla="*/ 191262 w 294893"/>
                  <a:gd name="connsiteY12" fmla="*/ 177641 h 201834"/>
                  <a:gd name="connsiteX13" fmla="*/ 199263 w 294893"/>
                  <a:gd name="connsiteY13" fmla="*/ 177641 h 201834"/>
                  <a:gd name="connsiteX14" fmla="*/ 215170 w 294893"/>
                  <a:gd name="connsiteY14" fmla="*/ 193738 h 201834"/>
                  <a:gd name="connsiteX15" fmla="*/ 239077 w 294893"/>
                  <a:gd name="connsiteY15" fmla="*/ 193738 h 201834"/>
                  <a:gd name="connsiteX16" fmla="*/ 255079 w 294893"/>
                  <a:gd name="connsiteY16" fmla="*/ 201835 h 201834"/>
                  <a:gd name="connsiteX17" fmla="*/ 255079 w 294893"/>
                  <a:gd name="connsiteY17" fmla="*/ 193738 h 201834"/>
                  <a:gd name="connsiteX18" fmla="*/ 247078 w 294893"/>
                  <a:gd name="connsiteY18" fmla="*/ 177641 h 201834"/>
                  <a:gd name="connsiteX19" fmla="*/ 231172 w 294893"/>
                  <a:gd name="connsiteY19" fmla="*/ 161449 h 201834"/>
                  <a:gd name="connsiteX20" fmla="*/ 231172 w 294893"/>
                  <a:gd name="connsiteY20" fmla="*/ 153448 h 201834"/>
                  <a:gd name="connsiteX21" fmla="*/ 239077 w 294893"/>
                  <a:gd name="connsiteY21" fmla="*/ 153448 h 201834"/>
                  <a:gd name="connsiteX22" fmla="*/ 255079 w 294893"/>
                  <a:gd name="connsiteY22" fmla="*/ 145351 h 201834"/>
                  <a:gd name="connsiteX23" fmla="*/ 262985 w 294893"/>
                  <a:gd name="connsiteY23" fmla="*/ 137255 h 201834"/>
                  <a:gd name="connsiteX24" fmla="*/ 270986 w 294893"/>
                  <a:gd name="connsiteY24" fmla="*/ 137255 h 201834"/>
                  <a:gd name="connsiteX25" fmla="*/ 270986 w 294893"/>
                  <a:gd name="connsiteY25" fmla="*/ 129159 h 201834"/>
                  <a:gd name="connsiteX26" fmla="*/ 278987 w 294893"/>
                  <a:gd name="connsiteY26" fmla="*/ 121063 h 201834"/>
                  <a:gd name="connsiteX27" fmla="*/ 294894 w 294893"/>
                  <a:gd name="connsiteY27" fmla="*/ 121063 h 201834"/>
                  <a:gd name="connsiteX28" fmla="*/ 286893 w 294893"/>
                  <a:gd name="connsiteY28" fmla="*/ 112967 h 201834"/>
                  <a:gd name="connsiteX29" fmla="*/ 286893 w 294893"/>
                  <a:gd name="connsiteY29" fmla="*/ 88773 h 201834"/>
                  <a:gd name="connsiteX30" fmla="*/ 270986 w 294893"/>
                  <a:gd name="connsiteY30" fmla="*/ 72676 h 201834"/>
                  <a:gd name="connsiteX31" fmla="*/ 239077 w 294893"/>
                  <a:gd name="connsiteY31" fmla="*/ 72676 h 201834"/>
                  <a:gd name="connsiteX32" fmla="*/ 239077 w 294893"/>
                  <a:gd name="connsiteY32" fmla="*/ 56483 h 201834"/>
                  <a:gd name="connsiteX33" fmla="*/ 247078 w 294893"/>
                  <a:gd name="connsiteY33" fmla="*/ 48387 h 201834"/>
                  <a:gd name="connsiteX34" fmla="*/ 247078 w 294893"/>
                  <a:gd name="connsiteY34" fmla="*/ 24193 h 201834"/>
                  <a:gd name="connsiteX35" fmla="*/ 239077 w 294893"/>
                  <a:gd name="connsiteY35" fmla="*/ 16097 h 201834"/>
                  <a:gd name="connsiteX36" fmla="*/ 231172 w 294893"/>
                  <a:gd name="connsiteY36" fmla="*/ 16097 h 201834"/>
                  <a:gd name="connsiteX37" fmla="*/ 215170 w 294893"/>
                  <a:gd name="connsiteY37" fmla="*/ 24193 h 201834"/>
                  <a:gd name="connsiteX38" fmla="*/ 199263 w 294893"/>
                  <a:gd name="connsiteY38" fmla="*/ 24193 h 201834"/>
                  <a:gd name="connsiteX39" fmla="*/ 191262 w 294893"/>
                  <a:gd name="connsiteY39" fmla="*/ 16097 h 201834"/>
                  <a:gd name="connsiteX40" fmla="*/ 191262 w 294893"/>
                  <a:gd name="connsiteY40" fmla="*/ 0 h 201834"/>
                  <a:gd name="connsiteX41" fmla="*/ 143446 w 294893"/>
                  <a:gd name="connsiteY41" fmla="*/ 0 h 201834"/>
                  <a:gd name="connsiteX42" fmla="*/ 143446 w 294893"/>
                  <a:gd name="connsiteY42" fmla="*/ 8001 h 201834"/>
                  <a:gd name="connsiteX43" fmla="*/ 127540 w 294893"/>
                  <a:gd name="connsiteY43" fmla="*/ 0 h 201834"/>
                  <a:gd name="connsiteX44" fmla="*/ 127540 w 294893"/>
                  <a:gd name="connsiteY44" fmla="*/ 16097 h 201834"/>
                  <a:gd name="connsiteX45" fmla="*/ 103632 w 294893"/>
                  <a:gd name="connsiteY45" fmla="*/ 8001 h 201834"/>
                  <a:gd name="connsiteX46" fmla="*/ 95631 w 294893"/>
                  <a:gd name="connsiteY46" fmla="*/ 24193 h 201834"/>
                  <a:gd name="connsiteX47" fmla="*/ 87725 w 294893"/>
                  <a:gd name="connsiteY47" fmla="*/ 16097 h 201834"/>
                  <a:gd name="connsiteX48" fmla="*/ 55817 w 294893"/>
                  <a:gd name="connsiteY48" fmla="*/ 16097 h 201834"/>
                  <a:gd name="connsiteX49" fmla="*/ 47815 w 294893"/>
                  <a:gd name="connsiteY49" fmla="*/ 8001 h 201834"/>
                  <a:gd name="connsiteX50" fmla="*/ 31909 w 294893"/>
                  <a:gd name="connsiteY50" fmla="*/ 8001 h 201834"/>
                  <a:gd name="connsiteX51" fmla="*/ 0 w 294893"/>
                  <a:gd name="connsiteY51" fmla="*/ 32290 h 201834"/>
                  <a:gd name="connsiteX52" fmla="*/ 0 w 294893"/>
                  <a:gd name="connsiteY52" fmla="*/ 56483 h 20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94893" h="201834">
                    <a:moveTo>
                      <a:pt x="0" y="56483"/>
                    </a:moveTo>
                    <a:lnTo>
                      <a:pt x="8001" y="80677"/>
                    </a:lnTo>
                    <a:lnTo>
                      <a:pt x="39815" y="88773"/>
                    </a:lnTo>
                    <a:lnTo>
                      <a:pt x="55817" y="104965"/>
                    </a:lnTo>
                    <a:lnTo>
                      <a:pt x="87725" y="104965"/>
                    </a:lnTo>
                    <a:lnTo>
                      <a:pt x="103632" y="112967"/>
                    </a:lnTo>
                    <a:lnTo>
                      <a:pt x="111633" y="121063"/>
                    </a:lnTo>
                    <a:lnTo>
                      <a:pt x="111633" y="153448"/>
                    </a:lnTo>
                    <a:lnTo>
                      <a:pt x="143446" y="153448"/>
                    </a:lnTo>
                    <a:lnTo>
                      <a:pt x="159448" y="137255"/>
                    </a:lnTo>
                    <a:lnTo>
                      <a:pt x="159448" y="169545"/>
                    </a:lnTo>
                    <a:lnTo>
                      <a:pt x="175355" y="169545"/>
                    </a:lnTo>
                    <a:lnTo>
                      <a:pt x="191262" y="177641"/>
                    </a:lnTo>
                    <a:lnTo>
                      <a:pt x="199263" y="177641"/>
                    </a:lnTo>
                    <a:lnTo>
                      <a:pt x="215170" y="193738"/>
                    </a:lnTo>
                    <a:lnTo>
                      <a:pt x="239077" y="193738"/>
                    </a:lnTo>
                    <a:lnTo>
                      <a:pt x="255079" y="201835"/>
                    </a:lnTo>
                    <a:lnTo>
                      <a:pt x="255079" y="193738"/>
                    </a:lnTo>
                    <a:lnTo>
                      <a:pt x="247078" y="177641"/>
                    </a:lnTo>
                    <a:lnTo>
                      <a:pt x="231172" y="161449"/>
                    </a:lnTo>
                    <a:lnTo>
                      <a:pt x="231172" y="153448"/>
                    </a:lnTo>
                    <a:lnTo>
                      <a:pt x="239077" y="153448"/>
                    </a:lnTo>
                    <a:lnTo>
                      <a:pt x="255079" y="145351"/>
                    </a:lnTo>
                    <a:lnTo>
                      <a:pt x="262985" y="137255"/>
                    </a:lnTo>
                    <a:lnTo>
                      <a:pt x="270986" y="137255"/>
                    </a:lnTo>
                    <a:lnTo>
                      <a:pt x="270986" y="129159"/>
                    </a:lnTo>
                    <a:lnTo>
                      <a:pt x="278987" y="121063"/>
                    </a:lnTo>
                    <a:lnTo>
                      <a:pt x="294894" y="121063"/>
                    </a:lnTo>
                    <a:lnTo>
                      <a:pt x="286893" y="112967"/>
                    </a:lnTo>
                    <a:lnTo>
                      <a:pt x="286893" y="88773"/>
                    </a:lnTo>
                    <a:lnTo>
                      <a:pt x="270986" y="72676"/>
                    </a:lnTo>
                    <a:lnTo>
                      <a:pt x="239077" y="72676"/>
                    </a:lnTo>
                    <a:lnTo>
                      <a:pt x="239077" y="56483"/>
                    </a:lnTo>
                    <a:lnTo>
                      <a:pt x="247078" y="48387"/>
                    </a:lnTo>
                    <a:lnTo>
                      <a:pt x="247078" y="24193"/>
                    </a:lnTo>
                    <a:lnTo>
                      <a:pt x="239077" y="16097"/>
                    </a:lnTo>
                    <a:lnTo>
                      <a:pt x="231172" y="16097"/>
                    </a:lnTo>
                    <a:lnTo>
                      <a:pt x="215170" y="24193"/>
                    </a:lnTo>
                    <a:lnTo>
                      <a:pt x="199263" y="24193"/>
                    </a:lnTo>
                    <a:lnTo>
                      <a:pt x="191262" y="16097"/>
                    </a:lnTo>
                    <a:lnTo>
                      <a:pt x="191262" y="0"/>
                    </a:lnTo>
                    <a:lnTo>
                      <a:pt x="143446" y="0"/>
                    </a:lnTo>
                    <a:lnTo>
                      <a:pt x="143446" y="8001"/>
                    </a:lnTo>
                    <a:lnTo>
                      <a:pt x="127540" y="0"/>
                    </a:lnTo>
                    <a:lnTo>
                      <a:pt x="127540" y="16097"/>
                    </a:lnTo>
                    <a:lnTo>
                      <a:pt x="103632" y="8001"/>
                    </a:lnTo>
                    <a:lnTo>
                      <a:pt x="95631" y="24193"/>
                    </a:lnTo>
                    <a:lnTo>
                      <a:pt x="87725" y="16097"/>
                    </a:lnTo>
                    <a:lnTo>
                      <a:pt x="55817" y="16097"/>
                    </a:lnTo>
                    <a:lnTo>
                      <a:pt x="47815" y="8001"/>
                    </a:lnTo>
                    <a:lnTo>
                      <a:pt x="31909" y="8001"/>
                    </a:lnTo>
                    <a:lnTo>
                      <a:pt x="0" y="32290"/>
                    </a:lnTo>
                    <a:lnTo>
                      <a:pt x="0" y="56483"/>
                    </a:lnTo>
                    <a:close/>
                  </a:path>
                </a:pathLst>
              </a:custGeom>
              <a:solidFill>
                <a:schemeClr val="accent2"/>
              </a:solidFill>
              <a:ln w="4763" cap="flat">
                <a:solidFill>
                  <a:schemeClr val="bg1"/>
                </a:solid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BFDD4E0D-8D2F-3251-20F4-6D50C8FF3A4B}"/>
                  </a:ext>
                </a:extLst>
              </p:cNvPr>
              <p:cNvSpPr/>
              <p:nvPr/>
            </p:nvSpPr>
            <p:spPr>
              <a:xfrm>
                <a:off x="5525643" y="3629119"/>
                <a:ext cx="294893" cy="201930"/>
              </a:xfrm>
              <a:custGeom>
                <a:avLst/>
                <a:gdLst>
                  <a:gd name="connsiteX0" fmla="*/ 0 w 294893"/>
                  <a:gd name="connsiteY0" fmla="*/ 56579 h 201930"/>
                  <a:gd name="connsiteX1" fmla="*/ 8001 w 294893"/>
                  <a:gd name="connsiteY1" fmla="*/ 80772 h 201930"/>
                  <a:gd name="connsiteX2" fmla="*/ 39815 w 294893"/>
                  <a:gd name="connsiteY2" fmla="*/ 88868 h 201930"/>
                  <a:gd name="connsiteX3" fmla="*/ 55817 w 294893"/>
                  <a:gd name="connsiteY3" fmla="*/ 105061 h 201930"/>
                  <a:gd name="connsiteX4" fmla="*/ 87725 w 294893"/>
                  <a:gd name="connsiteY4" fmla="*/ 105061 h 201930"/>
                  <a:gd name="connsiteX5" fmla="*/ 103632 w 294893"/>
                  <a:gd name="connsiteY5" fmla="*/ 113062 h 201930"/>
                  <a:gd name="connsiteX6" fmla="*/ 111633 w 294893"/>
                  <a:gd name="connsiteY6" fmla="*/ 121158 h 201930"/>
                  <a:gd name="connsiteX7" fmla="*/ 111633 w 294893"/>
                  <a:gd name="connsiteY7" fmla="*/ 153543 h 201930"/>
                  <a:gd name="connsiteX8" fmla="*/ 143446 w 294893"/>
                  <a:gd name="connsiteY8" fmla="*/ 153543 h 201930"/>
                  <a:gd name="connsiteX9" fmla="*/ 159448 w 294893"/>
                  <a:gd name="connsiteY9" fmla="*/ 137350 h 201930"/>
                  <a:gd name="connsiteX10" fmla="*/ 159448 w 294893"/>
                  <a:gd name="connsiteY10" fmla="*/ 169640 h 201930"/>
                  <a:gd name="connsiteX11" fmla="*/ 175355 w 294893"/>
                  <a:gd name="connsiteY11" fmla="*/ 169640 h 201930"/>
                  <a:gd name="connsiteX12" fmla="*/ 191262 w 294893"/>
                  <a:gd name="connsiteY12" fmla="*/ 177737 h 201930"/>
                  <a:gd name="connsiteX13" fmla="*/ 199263 w 294893"/>
                  <a:gd name="connsiteY13" fmla="*/ 177737 h 201930"/>
                  <a:gd name="connsiteX14" fmla="*/ 215170 w 294893"/>
                  <a:gd name="connsiteY14" fmla="*/ 193834 h 201930"/>
                  <a:gd name="connsiteX15" fmla="*/ 239077 w 294893"/>
                  <a:gd name="connsiteY15" fmla="*/ 193834 h 201930"/>
                  <a:gd name="connsiteX16" fmla="*/ 255079 w 294893"/>
                  <a:gd name="connsiteY16" fmla="*/ 201930 h 201930"/>
                  <a:gd name="connsiteX17" fmla="*/ 255079 w 294893"/>
                  <a:gd name="connsiteY17" fmla="*/ 193834 h 201930"/>
                  <a:gd name="connsiteX18" fmla="*/ 247078 w 294893"/>
                  <a:gd name="connsiteY18" fmla="*/ 177737 h 201930"/>
                  <a:gd name="connsiteX19" fmla="*/ 231172 w 294893"/>
                  <a:gd name="connsiteY19" fmla="*/ 161544 h 201930"/>
                  <a:gd name="connsiteX20" fmla="*/ 231172 w 294893"/>
                  <a:gd name="connsiteY20" fmla="*/ 153543 h 201930"/>
                  <a:gd name="connsiteX21" fmla="*/ 239077 w 294893"/>
                  <a:gd name="connsiteY21" fmla="*/ 153543 h 201930"/>
                  <a:gd name="connsiteX22" fmla="*/ 255079 w 294893"/>
                  <a:gd name="connsiteY22" fmla="*/ 145447 h 201930"/>
                  <a:gd name="connsiteX23" fmla="*/ 262985 w 294893"/>
                  <a:gd name="connsiteY23" fmla="*/ 137350 h 201930"/>
                  <a:gd name="connsiteX24" fmla="*/ 270986 w 294893"/>
                  <a:gd name="connsiteY24" fmla="*/ 137350 h 201930"/>
                  <a:gd name="connsiteX25" fmla="*/ 270986 w 294893"/>
                  <a:gd name="connsiteY25" fmla="*/ 129254 h 201930"/>
                  <a:gd name="connsiteX26" fmla="*/ 278987 w 294893"/>
                  <a:gd name="connsiteY26" fmla="*/ 121158 h 201930"/>
                  <a:gd name="connsiteX27" fmla="*/ 294894 w 294893"/>
                  <a:gd name="connsiteY27" fmla="*/ 121158 h 201930"/>
                  <a:gd name="connsiteX28" fmla="*/ 286893 w 294893"/>
                  <a:gd name="connsiteY28" fmla="*/ 113062 h 201930"/>
                  <a:gd name="connsiteX29" fmla="*/ 286893 w 294893"/>
                  <a:gd name="connsiteY29" fmla="*/ 88868 h 201930"/>
                  <a:gd name="connsiteX30" fmla="*/ 270986 w 294893"/>
                  <a:gd name="connsiteY30" fmla="*/ 72771 h 201930"/>
                  <a:gd name="connsiteX31" fmla="*/ 239077 w 294893"/>
                  <a:gd name="connsiteY31" fmla="*/ 72771 h 201930"/>
                  <a:gd name="connsiteX32" fmla="*/ 239077 w 294893"/>
                  <a:gd name="connsiteY32" fmla="*/ 56579 h 201930"/>
                  <a:gd name="connsiteX33" fmla="*/ 247078 w 294893"/>
                  <a:gd name="connsiteY33" fmla="*/ 48482 h 201930"/>
                  <a:gd name="connsiteX34" fmla="*/ 247078 w 294893"/>
                  <a:gd name="connsiteY34" fmla="*/ 24289 h 201930"/>
                  <a:gd name="connsiteX35" fmla="*/ 239077 w 294893"/>
                  <a:gd name="connsiteY35" fmla="*/ 16193 h 201930"/>
                  <a:gd name="connsiteX36" fmla="*/ 231172 w 294893"/>
                  <a:gd name="connsiteY36" fmla="*/ 16193 h 201930"/>
                  <a:gd name="connsiteX37" fmla="*/ 215170 w 294893"/>
                  <a:gd name="connsiteY37" fmla="*/ 24289 h 201930"/>
                  <a:gd name="connsiteX38" fmla="*/ 199263 w 294893"/>
                  <a:gd name="connsiteY38" fmla="*/ 24289 h 201930"/>
                  <a:gd name="connsiteX39" fmla="*/ 191262 w 294893"/>
                  <a:gd name="connsiteY39" fmla="*/ 16193 h 201930"/>
                  <a:gd name="connsiteX40" fmla="*/ 191262 w 294893"/>
                  <a:gd name="connsiteY40" fmla="*/ 0 h 201930"/>
                  <a:gd name="connsiteX41" fmla="*/ 143446 w 294893"/>
                  <a:gd name="connsiteY41" fmla="*/ 0 h 201930"/>
                  <a:gd name="connsiteX42" fmla="*/ 143446 w 294893"/>
                  <a:gd name="connsiteY42" fmla="*/ 8096 h 201930"/>
                  <a:gd name="connsiteX43" fmla="*/ 127540 w 294893"/>
                  <a:gd name="connsiteY43" fmla="*/ 0 h 201930"/>
                  <a:gd name="connsiteX44" fmla="*/ 127540 w 294893"/>
                  <a:gd name="connsiteY44" fmla="*/ 16193 h 201930"/>
                  <a:gd name="connsiteX45" fmla="*/ 103632 w 294893"/>
                  <a:gd name="connsiteY45" fmla="*/ 8096 h 201930"/>
                  <a:gd name="connsiteX46" fmla="*/ 95631 w 294893"/>
                  <a:gd name="connsiteY46" fmla="*/ 24289 h 201930"/>
                  <a:gd name="connsiteX47" fmla="*/ 87725 w 294893"/>
                  <a:gd name="connsiteY47" fmla="*/ 16193 h 201930"/>
                  <a:gd name="connsiteX48" fmla="*/ 55817 w 294893"/>
                  <a:gd name="connsiteY48" fmla="*/ 16193 h 201930"/>
                  <a:gd name="connsiteX49" fmla="*/ 47815 w 294893"/>
                  <a:gd name="connsiteY49" fmla="*/ 8096 h 201930"/>
                  <a:gd name="connsiteX50" fmla="*/ 31909 w 294893"/>
                  <a:gd name="connsiteY50" fmla="*/ 8096 h 201930"/>
                  <a:gd name="connsiteX51" fmla="*/ 0 w 294893"/>
                  <a:gd name="connsiteY51" fmla="*/ 32385 h 201930"/>
                  <a:gd name="connsiteX52" fmla="*/ 0 w 294893"/>
                  <a:gd name="connsiteY52" fmla="*/ 56579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94893" h="201930">
                    <a:moveTo>
                      <a:pt x="0" y="56579"/>
                    </a:moveTo>
                    <a:lnTo>
                      <a:pt x="8001" y="80772"/>
                    </a:lnTo>
                    <a:lnTo>
                      <a:pt x="39815" y="88868"/>
                    </a:lnTo>
                    <a:lnTo>
                      <a:pt x="55817" y="105061"/>
                    </a:lnTo>
                    <a:lnTo>
                      <a:pt x="87725" y="105061"/>
                    </a:lnTo>
                    <a:lnTo>
                      <a:pt x="103632" y="113062"/>
                    </a:lnTo>
                    <a:lnTo>
                      <a:pt x="111633" y="121158"/>
                    </a:lnTo>
                    <a:lnTo>
                      <a:pt x="111633" y="153543"/>
                    </a:lnTo>
                    <a:lnTo>
                      <a:pt x="143446" y="153543"/>
                    </a:lnTo>
                    <a:lnTo>
                      <a:pt x="159448" y="137350"/>
                    </a:lnTo>
                    <a:lnTo>
                      <a:pt x="159448" y="169640"/>
                    </a:lnTo>
                    <a:lnTo>
                      <a:pt x="175355" y="169640"/>
                    </a:lnTo>
                    <a:lnTo>
                      <a:pt x="191262" y="177737"/>
                    </a:lnTo>
                    <a:lnTo>
                      <a:pt x="199263" y="177737"/>
                    </a:lnTo>
                    <a:lnTo>
                      <a:pt x="215170" y="193834"/>
                    </a:lnTo>
                    <a:lnTo>
                      <a:pt x="239077" y="193834"/>
                    </a:lnTo>
                    <a:lnTo>
                      <a:pt x="255079" y="201930"/>
                    </a:lnTo>
                    <a:lnTo>
                      <a:pt x="255079" y="193834"/>
                    </a:lnTo>
                    <a:lnTo>
                      <a:pt x="247078" y="177737"/>
                    </a:lnTo>
                    <a:lnTo>
                      <a:pt x="231172" y="161544"/>
                    </a:lnTo>
                    <a:lnTo>
                      <a:pt x="231172" y="153543"/>
                    </a:lnTo>
                    <a:lnTo>
                      <a:pt x="239077" y="153543"/>
                    </a:lnTo>
                    <a:lnTo>
                      <a:pt x="255079" y="145447"/>
                    </a:lnTo>
                    <a:lnTo>
                      <a:pt x="262985" y="137350"/>
                    </a:lnTo>
                    <a:lnTo>
                      <a:pt x="270986" y="137350"/>
                    </a:lnTo>
                    <a:lnTo>
                      <a:pt x="270986" y="129254"/>
                    </a:lnTo>
                    <a:lnTo>
                      <a:pt x="278987" y="121158"/>
                    </a:lnTo>
                    <a:lnTo>
                      <a:pt x="294894" y="121158"/>
                    </a:lnTo>
                    <a:lnTo>
                      <a:pt x="286893" y="113062"/>
                    </a:lnTo>
                    <a:lnTo>
                      <a:pt x="286893" y="88868"/>
                    </a:lnTo>
                    <a:lnTo>
                      <a:pt x="270986" y="72771"/>
                    </a:lnTo>
                    <a:lnTo>
                      <a:pt x="239077" y="72771"/>
                    </a:lnTo>
                    <a:lnTo>
                      <a:pt x="239077" y="56579"/>
                    </a:lnTo>
                    <a:lnTo>
                      <a:pt x="247078" y="48482"/>
                    </a:lnTo>
                    <a:lnTo>
                      <a:pt x="247078" y="24289"/>
                    </a:lnTo>
                    <a:lnTo>
                      <a:pt x="239077" y="16193"/>
                    </a:lnTo>
                    <a:lnTo>
                      <a:pt x="231172" y="16193"/>
                    </a:lnTo>
                    <a:lnTo>
                      <a:pt x="215170" y="24289"/>
                    </a:lnTo>
                    <a:lnTo>
                      <a:pt x="199263" y="24289"/>
                    </a:lnTo>
                    <a:lnTo>
                      <a:pt x="191262" y="16193"/>
                    </a:lnTo>
                    <a:lnTo>
                      <a:pt x="191262" y="0"/>
                    </a:lnTo>
                    <a:lnTo>
                      <a:pt x="143446" y="0"/>
                    </a:lnTo>
                    <a:lnTo>
                      <a:pt x="143446" y="8096"/>
                    </a:lnTo>
                    <a:lnTo>
                      <a:pt x="127540" y="0"/>
                    </a:lnTo>
                    <a:lnTo>
                      <a:pt x="127540" y="16193"/>
                    </a:lnTo>
                    <a:lnTo>
                      <a:pt x="103632" y="8096"/>
                    </a:lnTo>
                    <a:lnTo>
                      <a:pt x="95631" y="24289"/>
                    </a:lnTo>
                    <a:lnTo>
                      <a:pt x="87725" y="16193"/>
                    </a:lnTo>
                    <a:lnTo>
                      <a:pt x="55817" y="16193"/>
                    </a:lnTo>
                    <a:lnTo>
                      <a:pt x="47815" y="8096"/>
                    </a:lnTo>
                    <a:lnTo>
                      <a:pt x="31909" y="8096"/>
                    </a:lnTo>
                    <a:lnTo>
                      <a:pt x="0" y="32385"/>
                    </a:lnTo>
                    <a:lnTo>
                      <a:pt x="0" y="56579"/>
                    </a:lnTo>
                    <a:close/>
                  </a:path>
                </a:pathLst>
              </a:custGeom>
              <a:noFill/>
              <a:ln w="4763" cap="flat">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57B18329-8697-D564-53E1-CFAC724E1B6E}"/>
                  </a:ext>
                </a:extLst>
              </p:cNvPr>
              <p:cNvSpPr/>
              <p:nvPr/>
            </p:nvSpPr>
            <p:spPr>
              <a:xfrm>
                <a:off x="6078283" y="3877531"/>
                <a:ext cx="604456" cy="268414"/>
              </a:xfrm>
              <a:custGeom>
                <a:avLst/>
                <a:gdLst>
                  <a:gd name="connsiteX0" fmla="*/ 604457 w 604456"/>
                  <a:gd name="connsiteY0" fmla="*/ 134207 h 268414"/>
                  <a:gd name="connsiteX1" fmla="*/ 604457 w 604456"/>
                  <a:gd name="connsiteY1" fmla="*/ 78962 h 268414"/>
                  <a:gd name="connsiteX2" fmla="*/ 596455 w 604456"/>
                  <a:gd name="connsiteY2" fmla="*/ 78962 h 268414"/>
                  <a:gd name="connsiteX3" fmla="*/ 596455 w 604456"/>
                  <a:gd name="connsiteY3" fmla="*/ 63151 h 268414"/>
                  <a:gd name="connsiteX4" fmla="*/ 604457 w 604456"/>
                  <a:gd name="connsiteY4" fmla="*/ 31623 h 268414"/>
                  <a:gd name="connsiteX5" fmla="*/ 588455 w 604456"/>
                  <a:gd name="connsiteY5" fmla="*/ 23717 h 268414"/>
                  <a:gd name="connsiteX6" fmla="*/ 580549 w 604456"/>
                  <a:gd name="connsiteY6" fmla="*/ 23717 h 268414"/>
                  <a:gd name="connsiteX7" fmla="*/ 572643 w 604456"/>
                  <a:gd name="connsiteY7" fmla="*/ 15812 h 268414"/>
                  <a:gd name="connsiteX8" fmla="*/ 556641 w 604456"/>
                  <a:gd name="connsiteY8" fmla="*/ 15812 h 268414"/>
                  <a:gd name="connsiteX9" fmla="*/ 548735 w 604456"/>
                  <a:gd name="connsiteY9" fmla="*/ 23717 h 268414"/>
                  <a:gd name="connsiteX10" fmla="*/ 532829 w 604456"/>
                  <a:gd name="connsiteY10" fmla="*/ 31623 h 268414"/>
                  <a:gd name="connsiteX11" fmla="*/ 516922 w 604456"/>
                  <a:gd name="connsiteY11" fmla="*/ 15812 h 268414"/>
                  <a:gd name="connsiteX12" fmla="*/ 501015 w 604456"/>
                  <a:gd name="connsiteY12" fmla="*/ 23717 h 268414"/>
                  <a:gd name="connsiteX13" fmla="*/ 485108 w 604456"/>
                  <a:gd name="connsiteY13" fmla="*/ 7906 h 268414"/>
                  <a:gd name="connsiteX14" fmla="*/ 469201 w 604456"/>
                  <a:gd name="connsiteY14" fmla="*/ 0 h 268414"/>
                  <a:gd name="connsiteX15" fmla="*/ 445389 w 604456"/>
                  <a:gd name="connsiteY15" fmla="*/ 0 h 268414"/>
                  <a:gd name="connsiteX16" fmla="*/ 437388 w 604456"/>
                  <a:gd name="connsiteY16" fmla="*/ 7906 h 268414"/>
                  <a:gd name="connsiteX17" fmla="*/ 429482 w 604456"/>
                  <a:gd name="connsiteY17" fmla="*/ 23717 h 268414"/>
                  <a:gd name="connsiteX18" fmla="*/ 421481 w 604456"/>
                  <a:gd name="connsiteY18" fmla="*/ 23717 h 268414"/>
                  <a:gd name="connsiteX19" fmla="*/ 421481 w 604456"/>
                  <a:gd name="connsiteY19" fmla="*/ 47435 h 268414"/>
                  <a:gd name="connsiteX20" fmla="*/ 405575 w 604456"/>
                  <a:gd name="connsiteY20" fmla="*/ 39529 h 268414"/>
                  <a:gd name="connsiteX21" fmla="*/ 397669 w 604456"/>
                  <a:gd name="connsiteY21" fmla="*/ 39529 h 268414"/>
                  <a:gd name="connsiteX22" fmla="*/ 381762 w 604456"/>
                  <a:gd name="connsiteY22" fmla="*/ 47435 h 268414"/>
                  <a:gd name="connsiteX23" fmla="*/ 365855 w 604456"/>
                  <a:gd name="connsiteY23" fmla="*/ 47435 h 268414"/>
                  <a:gd name="connsiteX24" fmla="*/ 341947 w 604456"/>
                  <a:gd name="connsiteY24" fmla="*/ 23717 h 268414"/>
                  <a:gd name="connsiteX25" fmla="*/ 334042 w 604456"/>
                  <a:gd name="connsiteY25" fmla="*/ 47435 h 268414"/>
                  <a:gd name="connsiteX26" fmla="*/ 310134 w 604456"/>
                  <a:gd name="connsiteY26" fmla="*/ 47435 h 268414"/>
                  <a:gd name="connsiteX27" fmla="*/ 318135 w 604456"/>
                  <a:gd name="connsiteY27" fmla="*/ 63151 h 268414"/>
                  <a:gd name="connsiteX28" fmla="*/ 318135 w 604456"/>
                  <a:gd name="connsiteY28" fmla="*/ 86868 h 268414"/>
                  <a:gd name="connsiteX29" fmla="*/ 310134 w 604456"/>
                  <a:gd name="connsiteY29" fmla="*/ 86868 h 268414"/>
                  <a:gd name="connsiteX30" fmla="*/ 302228 w 604456"/>
                  <a:gd name="connsiteY30" fmla="*/ 78962 h 268414"/>
                  <a:gd name="connsiteX31" fmla="*/ 278321 w 604456"/>
                  <a:gd name="connsiteY31" fmla="*/ 78962 h 268414"/>
                  <a:gd name="connsiteX32" fmla="*/ 270415 w 604456"/>
                  <a:gd name="connsiteY32" fmla="*/ 86868 h 268414"/>
                  <a:gd name="connsiteX33" fmla="*/ 270415 w 604456"/>
                  <a:gd name="connsiteY33" fmla="*/ 94774 h 268414"/>
                  <a:gd name="connsiteX34" fmla="*/ 262414 w 604456"/>
                  <a:gd name="connsiteY34" fmla="*/ 102679 h 268414"/>
                  <a:gd name="connsiteX35" fmla="*/ 262414 w 604456"/>
                  <a:gd name="connsiteY35" fmla="*/ 110490 h 268414"/>
                  <a:gd name="connsiteX36" fmla="*/ 278321 w 604456"/>
                  <a:gd name="connsiteY36" fmla="*/ 110490 h 268414"/>
                  <a:gd name="connsiteX37" fmla="*/ 278321 w 604456"/>
                  <a:gd name="connsiteY37" fmla="*/ 165735 h 268414"/>
                  <a:gd name="connsiteX38" fmla="*/ 270415 w 604456"/>
                  <a:gd name="connsiteY38" fmla="*/ 165735 h 268414"/>
                  <a:gd name="connsiteX39" fmla="*/ 254508 w 604456"/>
                  <a:gd name="connsiteY39" fmla="*/ 150019 h 268414"/>
                  <a:gd name="connsiteX40" fmla="*/ 230600 w 604456"/>
                  <a:gd name="connsiteY40" fmla="*/ 142113 h 268414"/>
                  <a:gd name="connsiteX41" fmla="*/ 214693 w 604456"/>
                  <a:gd name="connsiteY41" fmla="*/ 134207 h 268414"/>
                  <a:gd name="connsiteX42" fmla="*/ 190881 w 604456"/>
                  <a:gd name="connsiteY42" fmla="*/ 150019 h 268414"/>
                  <a:gd name="connsiteX43" fmla="*/ 166973 w 604456"/>
                  <a:gd name="connsiteY43" fmla="*/ 150019 h 268414"/>
                  <a:gd name="connsiteX44" fmla="*/ 143161 w 604456"/>
                  <a:gd name="connsiteY44" fmla="*/ 165735 h 268414"/>
                  <a:gd name="connsiteX45" fmla="*/ 135160 w 604456"/>
                  <a:gd name="connsiteY45" fmla="*/ 173641 h 268414"/>
                  <a:gd name="connsiteX46" fmla="*/ 111347 w 604456"/>
                  <a:gd name="connsiteY46" fmla="*/ 173641 h 268414"/>
                  <a:gd name="connsiteX47" fmla="*/ 87440 w 604456"/>
                  <a:gd name="connsiteY47" fmla="*/ 150019 h 268414"/>
                  <a:gd name="connsiteX48" fmla="*/ 63627 w 604456"/>
                  <a:gd name="connsiteY48" fmla="*/ 150019 h 268414"/>
                  <a:gd name="connsiteX49" fmla="*/ 63627 w 604456"/>
                  <a:gd name="connsiteY49" fmla="*/ 165735 h 268414"/>
                  <a:gd name="connsiteX50" fmla="*/ 55626 w 604456"/>
                  <a:gd name="connsiteY50" fmla="*/ 173641 h 268414"/>
                  <a:gd name="connsiteX51" fmla="*/ 39719 w 604456"/>
                  <a:gd name="connsiteY51" fmla="*/ 173641 h 268414"/>
                  <a:gd name="connsiteX52" fmla="*/ 39719 w 604456"/>
                  <a:gd name="connsiteY52" fmla="*/ 165735 h 268414"/>
                  <a:gd name="connsiteX53" fmla="*/ 31813 w 604456"/>
                  <a:gd name="connsiteY53" fmla="*/ 157925 h 268414"/>
                  <a:gd name="connsiteX54" fmla="*/ 0 w 604456"/>
                  <a:gd name="connsiteY54" fmla="*/ 157925 h 268414"/>
                  <a:gd name="connsiteX55" fmla="*/ 0 w 604456"/>
                  <a:gd name="connsiteY55" fmla="*/ 205264 h 268414"/>
                  <a:gd name="connsiteX56" fmla="*/ 23813 w 604456"/>
                  <a:gd name="connsiteY56" fmla="*/ 205264 h 268414"/>
                  <a:gd name="connsiteX57" fmla="*/ 23813 w 604456"/>
                  <a:gd name="connsiteY57" fmla="*/ 228886 h 268414"/>
                  <a:gd name="connsiteX58" fmla="*/ 31813 w 604456"/>
                  <a:gd name="connsiteY58" fmla="*/ 228886 h 268414"/>
                  <a:gd name="connsiteX59" fmla="*/ 55626 w 604456"/>
                  <a:gd name="connsiteY59" fmla="*/ 205264 h 268414"/>
                  <a:gd name="connsiteX60" fmla="*/ 63627 w 604456"/>
                  <a:gd name="connsiteY60" fmla="*/ 205264 h 268414"/>
                  <a:gd name="connsiteX61" fmla="*/ 79534 w 604456"/>
                  <a:gd name="connsiteY61" fmla="*/ 220980 h 268414"/>
                  <a:gd name="connsiteX62" fmla="*/ 79534 w 604456"/>
                  <a:gd name="connsiteY62" fmla="*/ 228886 h 268414"/>
                  <a:gd name="connsiteX63" fmla="*/ 95441 w 604456"/>
                  <a:gd name="connsiteY63" fmla="*/ 228886 h 268414"/>
                  <a:gd name="connsiteX64" fmla="*/ 111347 w 604456"/>
                  <a:gd name="connsiteY64" fmla="*/ 236792 h 268414"/>
                  <a:gd name="connsiteX65" fmla="*/ 127254 w 604456"/>
                  <a:gd name="connsiteY65" fmla="*/ 213170 h 268414"/>
                  <a:gd name="connsiteX66" fmla="*/ 182880 w 604456"/>
                  <a:gd name="connsiteY66" fmla="*/ 213170 h 268414"/>
                  <a:gd name="connsiteX67" fmla="*/ 182880 w 604456"/>
                  <a:gd name="connsiteY67" fmla="*/ 205264 h 268414"/>
                  <a:gd name="connsiteX68" fmla="*/ 190881 w 604456"/>
                  <a:gd name="connsiteY68" fmla="*/ 197358 h 268414"/>
                  <a:gd name="connsiteX69" fmla="*/ 214693 w 604456"/>
                  <a:gd name="connsiteY69" fmla="*/ 197358 h 268414"/>
                  <a:gd name="connsiteX70" fmla="*/ 222695 w 604456"/>
                  <a:gd name="connsiteY70" fmla="*/ 205264 h 268414"/>
                  <a:gd name="connsiteX71" fmla="*/ 222695 w 604456"/>
                  <a:gd name="connsiteY71" fmla="*/ 228886 h 268414"/>
                  <a:gd name="connsiteX72" fmla="*/ 238601 w 604456"/>
                  <a:gd name="connsiteY72" fmla="*/ 228886 h 268414"/>
                  <a:gd name="connsiteX73" fmla="*/ 246507 w 604456"/>
                  <a:gd name="connsiteY73" fmla="*/ 252603 h 268414"/>
                  <a:gd name="connsiteX74" fmla="*/ 318135 w 604456"/>
                  <a:gd name="connsiteY74" fmla="*/ 252603 h 268414"/>
                  <a:gd name="connsiteX75" fmla="*/ 318135 w 604456"/>
                  <a:gd name="connsiteY75" fmla="*/ 268414 h 268414"/>
                  <a:gd name="connsiteX76" fmla="*/ 341947 w 604456"/>
                  <a:gd name="connsiteY76" fmla="*/ 268414 h 268414"/>
                  <a:gd name="connsiteX77" fmla="*/ 349949 w 604456"/>
                  <a:gd name="connsiteY77" fmla="*/ 260509 h 268414"/>
                  <a:gd name="connsiteX78" fmla="*/ 373761 w 604456"/>
                  <a:gd name="connsiteY78" fmla="*/ 260509 h 268414"/>
                  <a:gd name="connsiteX79" fmla="*/ 381762 w 604456"/>
                  <a:gd name="connsiteY79" fmla="*/ 268414 h 268414"/>
                  <a:gd name="connsiteX80" fmla="*/ 421481 w 604456"/>
                  <a:gd name="connsiteY80" fmla="*/ 268414 h 268414"/>
                  <a:gd name="connsiteX81" fmla="*/ 421481 w 604456"/>
                  <a:gd name="connsiteY81" fmla="*/ 252603 h 268414"/>
                  <a:gd name="connsiteX82" fmla="*/ 485108 w 604456"/>
                  <a:gd name="connsiteY82" fmla="*/ 252603 h 268414"/>
                  <a:gd name="connsiteX83" fmla="*/ 501015 w 604456"/>
                  <a:gd name="connsiteY83" fmla="*/ 244697 h 268414"/>
                  <a:gd name="connsiteX84" fmla="*/ 532829 w 604456"/>
                  <a:gd name="connsiteY84" fmla="*/ 252603 h 268414"/>
                  <a:gd name="connsiteX85" fmla="*/ 548735 w 604456"/>
                  <a:gd name="connsiteY85" fmla="*/ 205264 h 268414"/>
                  <a:gd name="connsiteX86" fmla="*/ 572643 w 604456"/>
                  <a:gd name="connsiteY86" fmla="*/ 205264 h 268414"/>
                  <a:gd name="connsiteX87" fmla="*/ 572643 w 604456"/>
                  <a:gd name="connsiteY87" fmla="*/ 173641 h 268414"/>
                  <a:gd name="connsiteX88" fmla="*/ 588455 w 604456"/>
                  <a:gd name="connsiteY88" fmla="*/ 150019 h 268414"/>
                  <a:gd name="connsiteX89" fmla="*/ 572643 w 604456"/>
                  <a:gd name="connsiteY89" fmla="*/ 150019 h 268414"/>
                  <a:gd name="connsiteX90" fmla="*/ 580549 w 604456"/>
                  <a:gd name="connsiteY90" fmla="*/ 134207 h 268414"/>
                  <a:gd name="connsiteX91" fmla="*/ 604457 w 604456"/>
                  <a:gd name="connsiteY91" fmla="*/ 134207 h 2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4456" h="268414">
                    <a:moveTo>
                      <a:pt x="604457" y="134207"/>
                    </a:moveTo>
                    <a:lnTo>
                      <a:pt x="604457" y="78962"/>
                    </a:lnTo>
                    <a:lnTo>
                      <a:pt x="596455" y="78962"/>
                    </a:lnTo>
                    <a:lnTo>
                      <a:pt x="596455" y="63151"/>
                    </a:lnTo>
                    <a:lnTo>
                      <a:pt x="604457" y="31623"/>
                    </a:lnTo>
                    <a:lnTo>
                      <a:pt x="588455" y="23717"/>
                    </a:lnTo>
                    <a:lnTo>
                      <a:pt x="580549" y="23717"/>
                    </a:lnTo>
                    <a:lnTo>
                      <a:pt x="572643" y="15812"/>
                    </a:lnTo>
                    <a:lnTo>
                      <a:pt x="556641" y="15812"/>
                    </a:lnTo>
                    <a:lnTo>
                      <a:pt x="548735" y="23717"/>
                    </a:lnTo>
                    <a:lnTo>
                      <a:pt x="532829" y="31623"/>
                    </a:lnTo>
                    <a:lnTo>
                      <a:pt x="516922" y="15812"/>
                    </a:lnTo>
                    <a:lnTo>
                      <a:pt x="501015" y="23717"/>
                    </a:lnTo>
                    <a:lnTo>
                      <a:pt x="485108" y="7906"/>
                    </a:lnTo>
                    <a:lnTo>
                      <a:pt x="469201" y="0"/>
                    </a:lnTo>
                    <a:lnTo>
                      <a:pt x="445389" y="0"/>
                    </a:lnTo>
                    <a:lnTo>
                      <a:pt x="437388" y="7906"/>
                    </a:lnTo>
                    <a:lnTo>
                      <a:pt x="429482" y="23717"/>
                    </a:lnTo>
                    <a:lnTo>
                      <a:pt x="421481" y="23717"/>
                    </a:lnTo>
                    <a:lnTo>
                      <a:pt x="421481" y="47435"/>
                    </a:lnTo>
                    <a:lnTo>
                      <a:pt x="405575" y="39529"/>
                    </a:lnTo>
                    <a:lnTo>
                      <a:pt x="397669" y="39529"/>
                    </a:lnTo>
                    <a:lnTo>
                      <a:pt x="381762" y="47435"/>
                    </a:lnTo>
                    <a:lnTo>
                      <a:pt x="365855" y="47435"/>
                    </a:lnTo>
                    <a:lnTo>
                      <a:pt x="341947" y="23717"/>
                    </a:lnTo>
                    <a:lnTo>
                      <a:pt x="334042" y="47435"/>
                    </a:lnTo>
                    <a:lnTo>
                      <a:pt x="310134" y="47435"/>
                    </a:lnTo>
                    <a:lnTo>
                      <a:pt x="318135" y="63151"/>
                    </a:lnTo>
                    <a:lnTo>
                      <a:pt x="318135" y="86868"/>
                    </a:lnTo>
                    <a:lnTo>
                      <a:pt x="310134" y="86868"/>
                    </a:lnTo>
                    <a:lnTo>
                      <a:pt x="302228" y="78962"/>
                    </a:lnTo>
                    <a:lnTo>
                      <a:pt x="278321" y="78962"/>
                    </a:lnTo>
                    <a:lnTo>
                      <a:pt x="270415" y="86868"/>
                    </a:lnTo>
                    <a:lnTo>
                      <a:pt x="270415" y="94774"/>
                    </a:lnTo>
                    <a:lnTo>
                      <a:pt x="262414" y="102679"/>
                    </a:lnTo>
                    <a:lnTo>
                      <a:pt x="262414" y="110490"/>
                    </a:lnTo>
                    <a:lnTo>
                      <a:pt x="278321" y="110490"/>
                    </a:lnTo>
                    <a:lnTo>
                      <a:pt x="278321" y="165735"/>
                    </a:lnTo>
                    <a:lnTo>
                      <a:pt x="270415" y="165735"/>
                    </a:lnTo>
                    <a:lnTo>
                      <a:pt x="254508" y="150019"/>
                    </a:lnTo>
                    <a:lnTo>
                      <a:pt x="230600" y="142113"/>
                    </a:lnTo>
                    <a:lnTo>
                      <a:pt x="214693" y="134207"/>
                    </a:lnTo>
                    <a:lnTo>
                      <a:pt x="190881" y="150019"/>
                    </a:lnTo>
                    <a:lnTo>
                      <a:pt x="166973" y="150019"/>
                    </a:lnTo>
                    <a:lnTo>
                      <a:pt x="143161" y="165735"/>
                    </a:lnTo>
                    <a:lnTo>
                      <a:pt x="135160" y="173641"/>
                    </a:lnTo>
                    <a:lnTo>
                      <a:pt x="111347" y="173641"/>
                    </a:lnTo>
                    <a:lnTo>
                      <a:pt x="87440" y="150019"/>
                    </a:lnTo>
                    <a:lnTo>
                      <a:pt x="63627" y="150019"/>
                    </a:lnTo>
                    <a:lnTo>
                      <a:pt x="63627" y="165735"/>
                    </a:lnTo>
                    <a:lnTo>
                      <a:pt x="55626" y="173641"/>
                    </a:lnTo>
                    <a:lnTo>
                      <a:pt x="39719" y="173641"/>
                    </a:lnTo>
                    <a:lnTo>
                      <a:pt x="39719" y="165735"/>
                    </a:lnTo>
                    <a:lnTo>
                      <a:pt x="31813" y="157925"/>
                    </a:lnTo>
                    <a:lnTo>
                      <a:pt x="0" y="157925"/>
                    </a:lnTo>
                    <a:lnTo>
                      <a:pt x="0" y="205264"/>
                    </a:lnTo>
                    <a:lnTo>
                      <a:pt x="23813" y="205264"/>
                    </a:lnTo>
                    <a:lnTo>
                      <a:pt x="23813" y="228886"/>
                    </a:lnTo>
                    <a:lnTo>
                      <a:pt x="31813" y="228886"/>
                    </a:lnTo>
                    <a:lnTo>
                      <a:pt x="55626" y="205264"/>
                    </a:lnTo>
                    <a:lnTo>
                      <a:pt x="63627" y="205264"/>
                    </a:lnTo>
                    <a:lnTo>
                      <a:pt x="79534" y="220980"/>
                    </a:lnTo>
                    <a:lnTo>
                      <a:pt x="79534" y="228886"/>
                    </a:lnTo>
                    <a:lnTo>
                      <a:pt x="95441" y="228886"/>
                    </a:lnTo>
                    <a:lnTo>
                      <a:pt x="111347" y="236792"/>
                    </a:lnTo>
                    <a:lnTo>
                      <a:pt x="127254" y="213170"/>
                    </a:lnTo>
                    <a:lnTo>
                      <a:pt x="182880" y="213170"/>
                    </a:lnTo>
                    <a:lnTo>
                      <a:pt x="182880" y="205264"/>
                    </a:lnTo>
                    <a:lnTo>
                      <a:pt x="190881" y="197358"/>
                    </a:lnTo>
                    <a:lnTo>
                      <a:pt x="214693" y="197358"/>
                    </a:lnTo>
                    <a:lnTo>
                      <a:pt x="222695" y="205264"/>
                    </a:lnTo>
                    <a:lnTo>
                      <a:pt x="222695" y="228886"/>
                    </a:lnTo>
                    <a:lnTo>
                      <a:pt x="238601" y="228886"/>
                    </a:lnTo>
                    <a:lnTo>
                      <a:pt x="246507" y="252603"/>
                    </a:lnTo>
                    <a:lnTo>
                      <a:pt x="318135" y="252603"/>
                    </a:lnTo>
                    <a:lnTo>
                      <a:pt x="318135" y="268414"/>
                    </a:lnTo>
                    <a:lnTo>
                      <a:pt x="341947" y="268414"/>
                    </a:lnTo>
                    <a:lnTo>
                      <a:pt x="349949" y="260509"/>
                    </a:lnTo>
                    <a:lnTo>
                      <a:pt x="373761" y="260509"/>
                    </a:lnTo>
                    <a:lnTo>
                      <a:pt x="381762" y="268414"/>
                    </a:lnTo>
                    <a:lnTo>
                      <a:pt x="421481" y="268414"/>
                    </a:lnTo>
                    <a:lnTo>
                      <a:pt x="421481" y="252603"/>
                    </a:lnTo>
                    <a:lnTo>
                      <a:pt x="485108" y="252603"/>
                    </a:lnTo>
                    <a:lnTo>
                      <a:pt x="501015" y="244697"/>
                    </a:lnTo>
                    <a:lnTo>
                      <a:pt x="532829" y="252603"/>
                    </a:lnTo>
                    <a:lnTo>
                      <a:pt x="548735" y="205264"/>
                    </a:lnTo>
                    <a:lnTo>
                      <a:pt x="572643" y="205264"/>
                    </a:lnTo>
                    <a:lnTo>
                      <a:pt x="572643" y="173641"/>
                    </a:lnTo>
                    <a:lnTo>
                      <a:pt x="588455" y="150019"/>
                    </a:lnTo>
                    <a:lnTo>
                      <a:pt x="572643" y="150019"/>
                    </a:lnTo>
                    <a:lnTo>
                      <a:pt x="580549" y="134207"/>
                    </a:lnTo>
                    <a:lnTo>
                      <a:pt x="604457" y="134207"/>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56B96A0B-7A64-7CA5-22F4-138FC9C46619}"/>
                  </a:ext>
                </a:extLst>
              </p:cNvPr>
              <p:cNvSpPr/>
              <p:nvPr/>
            </p:nvSpPr>
            <p:spPr>
              <a:xfrm>
                <a:off x="6078283" y="3877531"/>
                <a:ext cx="604456" cy="268414"/>
              </a:xfrm>
              <a:custGeom>
                <a:avLst/>
                <a:gdLst>
                  <a:gd name="connsiteX0" fmla="*/ 604457 w 604456"/>
                  <a:gd name="connsiteY0" fmla="*/ 134207 h 268414"/>
                  <a:gd name="connsiteX1" fmla="*/ 604457 w 604456"/>
                  <a:gd name="connsiteY1" fmla="*/ 78962 h 268414"/>
                  <a:gd name="connsiteX2" fmla="*/ 596455 w 604456"/>
                  <a:gd name="connsiteY2" fmla="*/ 78962 h 268414"/>
                  <a:gd name="connsiteX3" fmla="*/ 596455 w 604456"/>
                  <a:gd name="connsiteY3" fmla="*/ 63151 h 268414"/>
                  <a:gd name="connsiteX4" fmla="*/ 604457 w 604456"/>
                  <a:gd name="connsiteY4" fmla="*/ 31623 h 268414"/>
                  <a:gd name="connsiteX5" fmla="*/ 588455 w 604456"/>
                  <a:gd name="connsiteY5" fmla="*/ 23717 h 268414"/>
                  <a:gd name="connsiteX6" fmla="*/ 580549 w 604456"/>
                  <a:gd name="connsiteY6" fmla="*/ 23717 h 268414"/>
                  <a:gd name="connsiteX7" fmla="*/ 572643 w 604456"/>
                  <a:gd name="connsiteY7" fmla="*/ 15812 h 268414"/>
                  <a:gd name="connsiteX8" fmla="*/ 556641 w 604456"/>
                  <a:gd name="connsiteY8" fmla="*/ 15812 h 268414"/>
                  <a:gd name="connsiteX9" fmla="*/ 548735 w 604456"/>
                  <a:gd name="connsiteY9" fmla="*/ 23717 h 268414"/>
                  <a:gd name="connsiteX10" fmla="*/ 532829 w 604456"/>
                  <a:gd name="connsiteY10" fmla="*/ 31623 h 268414"/>
                  <a:gd name="connsiteX11" fmla="*/ 516922 w 604456"/>
                  <a:gd name="connsiteY11" fmla="*/ 15812 h 268414"/>
                  <a:gd name="connsiteX12" fmla="*/ 501015 w 604456"/>
                  <a:gd name="connsiteY12" fmla="*/ 23717 h 268414"/>
                  <a:gd name="connsiteX13" fmla="*/ 485108 w 604456"/>
                  <a:gd name="connsiteY13" fmla="*/ 7906 h 268414"/>
                  <a:gd name="connsiteX14" fmla="*/ 469201 w 604456"/>
                  <a:gd name="connsiteY14" fmla="*/ 0 h 268414"/>
                  <a:gd name="connsiteX15" fmla="*/ 445389 w 604456"/>
                  <a:gd name="connsiteY15" fmla="*/ 0 h 268414"/>
                  <a:gd name="connsiteX16" fmla="*/ 437388 w 604456"/>
                  <a:gd name="connsiteY16" fmla="*/ 7906 h 268414"/>
                  <a:gd name="connsiteX17" fmla="*/ 429482 w 604456"/>
                  <a:gd name="connsiteY17" fmla="*/ 23717 h 268414"/>
                  <a:gd name="connsiteX18" fmla="*/ 421481 w 604456"/>
                  <a:gd name="connsiteY18" fmla="*/ 23717 h 268414"/>
                  <a:gd name="connsiteX19" fmla="*/ 421481 w 604456"/>
                  <a:gd name="connsiteY19" fmla="*/ 47435 h 268414"/>
                  <a:gd name="connsiteX20" fmla="*/ 405575 w 604456"/>
                  <a:gd name="connsiteY20" fmla="*/ 39529 h 268414"/>
                  <a:gd name="connsiteX21" fmla="*/ 397669 w 604456"/>
                  <a:gd name="connsiteY21" fmla="*/ 39529 h 268414"/>
                  <a:gd name="connsiteX22" fmla="*/ 381762 w 604456"/>
                  <a:gd name="connsiteY22" fmla="*/ 47435 h 268414"/>
                  <a:gd name="connsiteX23" fmla="*/ 365855 w 604456"/>
                  <a:gd name="connsiteY23" fmla="*/ 47435 h 268414"/>
                  <a:gd name="connsiteX24" fmla="*/ 341947 w 604456"/>
                  <a:gd name="connsiteY24" fmla="*/ 23717 h 268414"/>
                  <a:gd name="connsiteX25" fmla="*/ 334042 w 604456"/>
                  <a:gd name="connsiteY25" fmla="*/ 47435 h 268414"/>
                  <a:gd name="connsiteX26" fmla="*/ 310134 w 604456"/>
                  <a:gd name="connsiteY26" fmla="*/ 47435 h 268414"/>
                  <a:gd name="connsiteX27" fmla="*/ 318135 w 604456"/>
                  <a:gd name="connsiteY27" fmla="*/ 63151 h 268414"/>
                  <a:gd name="connsiteX28" fmla="*/ 318135 w 604456"/>
                  <a:gd name="connsiteY28" fmla="*/ 86868 h 268414"/>
                  <a:gd name="connsiteX29" fmla="*/ 310134 w 604456"/>
                  <a:gd name="connsiteY29" fmla="*/ 86868 h 268414"/>
                  <a:gd name="connsiteX30" fmla="*/ 302228 w 604456"/>
                  <a:gd name="connsiteY30" fmla="*/ 78962 h 268414"/>
                  <a:gd name="connsiteX31" fmla="*/ 278321 w 604456"/>
                  <a:gd name="connsiteY31" fmla="*/ 78962 h 268414"/>
                  <a:gd name="connsiteX32" fmla="*/ 270415 w 604456"/>
                  <a:gd name="connsiteY32" fmla="*/ 86868 h 268414"/>
                  <a:gd name="connsiteX33" fmla="*/ 270415 w 604456"/>
                  <a:gd name="connsiteY33" fmla="*/ 94774 h 268414"/>
                  <a:gd name="connsiteX34" fmla="*/ 262414 w 604456"/>
                  <a:gd name="connsiteY34" fmla="*/ 102679 h 268414"/>
                  <a:gd name="connsiteX35" fmla="*/ 262414 w 604456"/>
                  <a:gd name="connsiteY35" fmla="*/ 110490 h 268414"/>
                  <a:gd name="connsiteX36" fmla="*/ 278321 w 604456"/>
                  <a:gd name="connsiteY36" fmla="*/ 110490 h 268414"/>
                  <a:gd name="connsiteX37" fmla="*/ 278321 w 604456"/>
                  <a:gd name="connsiteY37" fmla="*/ 165735 h 268414"/>
                  <a:gd name="connsiteX38" fmla="*/ 270415 w 604456"/>
                  <a:gd name="connsiteY38" fmla="*/ 165735 h 268414"/>
                  <a:gd name="connsiteX39" fmla="*/ 254508 w 604456"/>
                  <a:gd name="connsiteY39" fmla="*/ 150019 h 268414"/>
                  <a:gd name="connsiteX40" fmla="*/ 230600 w 604456"/>
                  <a:gd name="connsiteY40" fmla="*/ 142113 h 268414"/>
                  <a:gd name="connsiteX41" fmla="*/ 214693 w 604456"/>
                  <a:gd name="connsiteY41" fmla="*/ 134207 h 268414"/>
                  <a:gd name="connsiteX42" fmla="*/ 190881 w 604456"/>
                  <a:gd name="connsiteY42" fmla="*/ 150019 h 268414"/>
                  <a:gd name="connsiteX43" fmla="*/ 166973 w 604456"/>
                  <a:gd name="connsiteY43" fmla="*/ 150019 h 268414"/>
                  <a:gd name="connsiteX44" fmla="*/ 143161 w 604456"/>
                  <a:gd name="connsiteY44" fmla="*/ 165735 h 268414"/>
                  <a:gd name="connsiteX45" fmla="*/ 135160 w 604456"/>
                  <a:gd name="connsiteY45" fmla="*/ 173641 h 268414"/>
                  <a:gd name="connsiteX46" fmla="*/ 111347 w 604456"/>
                  <a:gd name="connsiteY46" fmla="*/ 173641 h 268414"/>
                  <a:gd name="connsiteX47" fmla="*/ 87440 w 604456"/>
                  <a:gd name="connsiteY47" fmla="*/ 150019 h 268414"/>
                  <a:gd name="connsiteX48" fmla="*/ 63627 w 604456"/>
                  <a:gd name="connsiteY48" fmla="*/ 150019 h 268414"/>
                  <a:gd name="connsiteX49" fmla="*/ 63627 w 604456"/>
                  <a:gd name="connsiteY49" fmla="*/ 165735 h 268414"/>
                  <a:gd name="connsiteX50" fmla="*/ 55626 w 604456"/>
                  <a:gd name="connsiteY50" fmla="*/ 173641 h 268414"/>
                  <a:gd name="connsiteX51" fmla="*/ 39719 w 604456"/>
                  <a:gd name="connsiteY51" fmla="*/ 173641 h 268414"/>
                  <a:gd name="connsiteX52" fmla="*/ 39719 w 604456"/>
                  <a:gd name="connsiteY52" fmla="*/ 165735 h 268414"/>
                  <a:gd name="connsiteX53" fmla="*/ 31813 w 604456"/>
                  <a:gd name="connsiteY53" fmla="*/ 157925 h 268414"/>
                  <a:gd name="connsiteX54" fmla="*/ 0 w 604456"/>
                  <a:gd name="connsiteY54" fmla="*/ 157925 h 268414"/>
                  <a:gd name="connsiteX55" fmla="*/ 0 w 604456"/>
                  <a:gd name="connsiteY55" fmla="*/ 205264 h 268414"/>
                  <a:gd name="connsiteX56" fmla="*/ 23813 w 604456"/>
                  <a:gd name="connsiteY56" fmla="*/ 205264 h 268414"/>
                  <a:gd name="connsiteX57" fmla="*/ 23813 w 604456"/>
                  <a:gd name="connsiteY57" fmla="*/ 228886 h 268414"/>
                  <a:gd name="connsiteX58" fmla="*/ 31813 w 604456"/>
                  <a:gd name="connsiteY58" fmla="*/ 228886 h 268414"/>
                  <a:gd name="connsiteX59" fmla="*/ 55626 w 604456"/>
                  <a:gd name="connsiteY59" fmla="*/ 205264 h 268414"/>
                  <a:gd name="connsiteX60" fmla="*/ 63627 w 604456"/>
                  <a:gd name="connsiteY60" fmla="*/ 205264 h 268414"/>
                  <a:gd name="connsiteX61" fmla="*/ 79534 w 604456"/>
                  <a:gd name="connsiteY61" fmla="*/ 220980 h 268414"/>
                  <a:gd name="connsiteX62" fmla="*/ 79534 w 604456"/>
                  <a:gd name="connsiteY62" fmla="*/ 228886 h 268414"/>
                  <a:gd name="connsiteX63" fmla="*/ 95441 w 604456"/>
                  <a:gd name="connsiteY63" fmla="*/ 228886 h 268414"/>
                  <a:gd name="connsiteX64" fmla="*/ 111347 w 604456"/>
                  <a:gd name="connsiteY64" fmla="*/ 236792 h 268414"/>
                  <a:gd name="connsiteX65" fmla="*/ 127254 w 604456"/>
                  <a:gd name="connsiteY65" fmla="*/ 213170 h 268414"/>
                  <a:gd name="connsiteX66" fmla="*/ 182880 w 604456"/>
                  <a:gd name="connsiteY66" fmla="*/ 213170 h 268414"/>
                  <a:gd name="connsiteX67" fmla="*/ 182880 w 604456"/>
                  <a:gd name="connsiteY67" fmla="*/ 205264 h 268414"/>
                  <a:gd name="connsiteX68" fmla="*/ 190881 w 604456"/>
                  <a:gd name="connsiteY68" fmla="*/ 197358 h 268414"/>
                  <a:gd name="connsiteX69" fmla="*/ 214693 w 604456"/>
                  <a:gd name="connsiteY69" fmla="*/ 197358 h 268414"/>
                  <a:gd name="connsiteX70" fmla="*/ 222695 w 604456"/>
                  <a:gd name="connsiteY70" fmla="*/ 205264 h 268414"/>
                  <a:gd name="connsiteX71" fmla="*/ 222695 w 604456"/>
                  <a:gd name="connsiteY71" fmla="*/ 228886 h 268414"/>
                  <a:gd name="connsiteX72" fmla="*/ 238601 w 604456"/>
                  <a:gd name="connsiteY72" fmla="*/ 228886 h 268414"/>
                  <a:gd name="connsiteX73" fmla="*/ 246507 w 604456"/>
                  <a:gd name="connsiteY73" fmla="*/ 252603 h 268414"/>
                  <a:gd name="connsiteX74" fmla="*/ 318135 w 604456"/>
                  <a:gd name="connsiteY74" fmla="*/ 252603 h 268414"/>
                  <a:gd name="connsiteX75" fmla="*/ 318135 w 604456"/>
                  <a:gd name="connsiteY75" fmla="*/ 268414 h 268414"/>
                  <a:gd name="connsiteX76" fmla="*/ 341947 w 604456"/>
                  <a:gd name="connsiteY76" fmla="*/ 268414 h 268414"/>
                  <a:gd name="connsiteX77" fmla="*/ 349949 w 604456"/>
                  <a:gd name="connsiteY77" fmla="*/ 260509 h 268414"/>
                  <a:gd name="connsiteX78" fmla="*/ 373761 w 604456"/>
                  <a:gd name="connsiteY78" fmla="*/ 260509 h 268414"/>
                  <a:gd name="connsiteX79" fmla="*/ 381762 w 604456"/>
                  <a:gd name="connsiteY79" fmla="*/ 268414 h 268414"/>
                  <a:gd name="connsiteX80" fmla="*/ 421481 w 604456"/>
                  <a:gd name="connsiteY80" fmla="*/ 268414 h 268414"/>
                  <a:gd name="connsiteX81" fmla="*/ 421481 w 604456"/>
                  <a:gd name="connsiteY81" fmla="*/ 252603 h 268414"/>
                  <a:gd name="connsiteX82" fmla="*/ 485108 w 604456"/>
                  <a:gd name="connsiteY82" fmla="*/ 252603 h 268414"/>
                  <a:gd name="connsiteX83" fmla="*/ 501015 w 604456"/>
                  <a:gd name="connsiteY83" fmla="*/ 244697 h 268414"/>
                  <a:gd name="connsiteX84" fmla="*/ 532829 w 604456"/>
                  <a:gd name="connsiteY84" fmla="*/ 252603 h 268414"/>
                  <a:gd name="connsiteX85" fmla="*/ 548735 w 604456"/>
                  <a:gd name="connsiteY85" fmla="*/ 205264 h 268414"/>
                  <a:gd name="connsiteX86" fmla="*/ 572643 w 604456"/>
                  <a:gd name="connsiteY86" fmla="*/ 205264 h 268414"/>
                  <a:gd name="connsiteX87" fmla="*/ 572643 w 604456"/>
                  <a:gd name="connsiteY87" fmla="*/ 173641 h 268414"/>
                  <a:gd name="connsiteX88" fmla="*/ 588455 w 604456"/>
                  <a:gd name="connsiteY88" fmla="*/ 150019 h 268414"/>
                  <a:gd name="connsiteX89" fmla="*/ 572643 w 604456"/>
                  <a:gd name="connsiteY89" fmla="*/ 150019 h 268414"/>
                  <a:gd name="connsiteX90" fmla="*/ 580549 w 604456"/>
                  <a:gd name="connsiteY90" fmla="*/ 134207 h 268414"/>
                  <a:gd name="connsiteX91" fmla="*/ 604457 w 604456"/>
                  <a:gd name="connsiteY91" fmla="*/ 134207 h 2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4456" h="268414">
                    <a:moveTo>
                      <a:pt x="604457" y="134207"/>
                    </a:moveTo>
                    <a:lnTo>
                      <a:pt x="604457" y="78962"/>
                    </a:lnTo>
                    <a:lnTo>
                      <a:pt x="596455" y="78962"/>
                    </a:lnTo>
                    <a:lnTo>
                      <a:pt x="596455" y="63151"/>
                    </a:lnTo>
                    <a:lnTo>
                      <a:pt x="604457" y="31623"/>
                    </a:lnTo>
                    <a:lnTo>
                      <a:pt x="588455" y="23717"/>
                    </a:lnTo>
                    <a:lnTo>
                      <a:pt x="580549" y="23717"/>
                    </a:lnTo>
                    <a:lnTo>
                      <a:pt x="572643" y="15812"/>
                    </a:lnTo>
                    <a:lnTo>
                      <a:pt x="556641" y="15812"/>
                    </a:lnTo>
                    <a:lnTo>
                      <a:pt x="548735" y="23717"/>
                    </a:lnTo>
                    <a:lnTo>
                      <a:pt x="532829" y="31623"/>
                    </a:lnTo>
                    <a:lnTo>
                      <a:pt x="516922" y="15812"/>
                    </a:lnTo>
                    <a:lnTo>
                      <a:pt x="501015" y="23717"/>
                    </a:lnTo>
                    <a:lnTo>
                      <a:pt x="485108" y="7906"/>
                    </a:lnTo>
                    <a:lnTo>
                      <a:pt x="469201" y="0"/>
                    </a:lnTo>
                    <a:lnTo>
                      <a:pt x="445389" y="0"/>
                    </a:lnTo>
                    <a:lnTo>
                      <a:pt x="437388" y="7906"/>
                    </a:lnTo>
                    <a:lnTo>
                      <a:pt x="429482" y="23717"/>
                    </a:lnTo>
                    <a:lnTo>
                      <a:pt x="421481" y="23717"/>
                    </a:lnTo>
                    <a:lnTo>
                      <a:pt x="421481" y="47435"/>
                    </a:lnTo>
                    <a:lnTo>
                      <a:pt x="405575" y="39529"/>
                    </a:lnTo>
                    <a:lnTo>
                      <a:pt x="397669" y="39529"/>
                    </a:lnTo>
                    <a:lnTo>
                      <a:pt x="381762" y="47435"/>
                    </a:lnTo>
                    <a:lnTo>
                      <a:pt x="365855" y="47435"/>
                    </a:lnTo>
                    <a:lnTo>
                      <a:pt x="341947" y="23717"/>
                    </a:lnTo>
                    <a:lnTo>
                      <a:pt x="334042" y="47435"/>
                    </a:lnTo>
                    <a:lnTo>
                      <a:pt x="310134" y="47435"/>
                    </a:lnTo>
                    <a:lnTo>
                      <a:pt x="318135" y="63151"/>
                    </a:lnTo>
                    <a:lnTo>
                      <a:pt x="318135" y="86868"/>
                    </a:lnTo>
                    <a:lnTo>
                      <a:pt x="310134" y="86868"/>
                    </a:lnTo>
                    <a:lnTo>
                      <a:pt x="302228" y="78962"/>
                    </a:lnTo>
                    <a:lnTo>
                      <a:pt x="278321" y="78962"/>
                    </a:lnTo>
                    <a:lnTo>
                      <a:pt x="270415" y="86868"/>
                    </a:lnTo>
                    <a:lnTo>
                      <a:pt x="270415" y="94774"/>
                    </a:lnTo>
                    <a:lnTo>
                      <a:pt x="262414" y="102679"/>
                    </a:lnTo>
                    <a:lnTo>
                      <a:pt x="262414" y="110490"/>
                    </a:lnTo>
                    <a:lnTo>
                      <a:pt x="278321" y="110490"/>
                    </a:lnTo>
                    <a:lnTo>
                      <a:pt x="278321" y="165735"/>
                    </a:lnTo>
                    <a:lnTo>
                      <a:pt x="270415" y="165735"/>
                    </a:lnTo>
                    <a:lnTo>
                      <a:pt x="254508" y="150019"/>
                    </a:lnTo>
                    <a:lnTo>
                      <a:pt x="230600" y="142113"/>
                    </a:lnTo>
                    <a:lnTo>
                      <a:pt x="214693" y="134207"/>
                    </a:lnTo>
                    <a:lnTo>
                      <a:pt x="190881" y="150019"/>
                    </a:lnTo>
                    <a:lnTo>
                      <a:pt x="166973" y="150019"/>
                    </a:lnTo>
                    <a:lnTo>
                      <a:pt x="143161" y="165735"/>
                    </a:lnTo>
                    <a:lnTo>
                      <a:pt x="135160" y="173641"/>
                    </a:lnTo>
                    <a:lnTo>
                      <a:pt x="111347" y="173641"/>
                    </a:lnTo>
                    <a:lnTo>
                      <a:pt x="87440" y="150019"/>
                    </a:lnTo>
                    <a:lnTo>
                      <a:pt x="63627" y="150019"/>
                    </a:lnTo>
                    <a:lnTo>
                      <a:pt x="63627" y="165735"/>
                    </a:lnTo>
                    <a:lnTo>
                      <a:pt x="55626" y="173641"/>
                    </a:lnTo>
                    <a:lnTo>
                      <a:pt x="39719" y="173641"/>
                    </a:lnTo>
                    <a:lnTo>
                      <a:pt x="39719" y="165735"/>
                    </a:lnTo>
                    <a:lnTo>
                      <a:pt x="31813" y="157925"/>
                    </a:lnTo>
                    <a:lnTo>
                      <a:pt x="0" y="157925"/>
                    </a:lnTo>
                    <a:lnTo>
                      <a:pt x="0" y="205264"/>
                    </a:lnTo>
                    <a:lnTo>
                      <a:pt x="23813" y="205264"/>
                    </a:lnTo>
                    <a:lnTo>
                      <a:pt x="23813" y="228886"/>
                    </a:lnTo>
                    <a:lnTo>
                      <a:pt x="31813" y="228886"/>
                    </a:lnTo>
                    <a:lnTo>
                      <a:pt x="55626" y="205264"/>
                    </a:lnTo>
                    <a:lnTo>
                      <a:pt x="63627" y="205264"/>
                    </a:lnTo>
                    <a:lnTo>
                      <a:pt x="79534" y="220980"/>
                    </a:lnTo>
                    <a:lnTo>
                      <a:pt x="79534" y="228886"/>
                    </a:lnTo>
                    <a:lnTo>
                      <a:pt x="95441" y="228886"/>
                    </a:lnTo>
                    <a:lnTo>
                      <a:pt x="111347" y="236792"/>
                    </a:lnTo>
                    <a:lnTo>
                      <a:pt x="127254" y="213170"/>
                    </a:lnTo>
                    <a:lnTo>
                      <a:pt x="182880" y="213170"/>
                    </a:lnTo>
                    <a:lnTo>
                      <a:pt x="182880" y="205264"/>
                    </a:lnTo>
                    <a:lnTo>
                      <a:pt x="190881" y="197358"/>
                    </a:lnTo>
                    <a:lnTo>
                      <a:pt x="214693" y="197358"/>
                    </a:lnTo>
                    <a:lnTo>
                      <a:pt x="222695" y="205264"/>
                    </a:lnTo>
                    <a:lnTo>
                      <a:pt x="222695" y="228886"/>
                    </a:lnTo>
                    <a:lnTo>
                      <a:pt x="238601" y="228886"/>
                    </a:lnTo>
                    <a:lnTo>
                      <a:pt x="246507" y="252603"/>
                    </a:lnTo>
                    <a:lnTo>
                      <a:pt x="318135" y="252603"/>
                    </a:lnTo>
                    <a:lnTo>
                      <a:pt x="318135" y="268414"/>
                    </a:lnTo>
                    <a:lnTo>
                      <a:pt x="341947" y="268414"/>
                    </a:lnTo>
                    <a:lnTo>
                      <a:pt x="349949" y="260509"/>
                    </a:lnTo>
                    <a:lnTo>
                      <a:pt x="373761" y="260509"/>
                    </a:lnTo>
                    <a:lnTo>
                      <a:pt x="381762" y="268414"/>
                    </a:lnTo>
                    <a:lnTo>
                      <a:pt x="421481" y="268414"/>
                    </a:lnTo>
                    <a:lnTo>
                      <a:pt x="421481" y="252603"/>
                    </a:lnTo>
                    <a:lnTo>
                      <a:pt x="485108" y="252603"/>
                    </a:lnTo>
                    <a:lnTo>
                      <a:pt x="501015" y="244697"/>
                    </a:lnTo>
                    <a:lnTo>
                      <a:pt x="532829" y="252603"/>
                    </a:lnTo>
                    <a:lnTo>
                      <a:pt x="548735" y="205264"/>
                    </a:lnTo>
                    <a:lnTo>
                      <a:pt x="572643" y="205264"/>
                    </a:lnTo>
                    <a:lnTo>
                      <a:pt x="572643" y="173641"/>
                    </a:lnTo>
                    <a:lnTo>
                      <a:pt x="588455" y="150019"/>
                    </a:lnTo>
                    <a:lnTo>
                      <a:pt x="572643" y="150019"/>
                    </a:lnTo>
                    <a:lnTo>
                      <a:pt x="580549" y="134207"/>
                    </a:lnTo>
                    <a:lnTo>
                      <a:pt x="604457" y="134207"/>
                    </a:lnTo>
                    <a:close/>
                  </a:path>
                </a:pathLst>
              </a:custGeom>
              <a:noFill/>
              <a:ln w="4763" cap="flat">
                <a:no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05774789-BE7A-8437-2F5F-6CE9ADA95DA5}"/>
                  </a:ext>
                </a:extLst>
              </p:cNvPr>
              <p:cNvSpPr/>
              <p:nvPr/>
            </p:nvSpPr>
            <p:spPr>
              <a:xfrm>
                <a:off x="5375529" y="4543138"/>
                <a:ext cx="41147" cy="21240"/>
              </a:xfrm>
              <a:custGeom>
                <a:avLst/>
                <a:gdLst>
                  <a:gd name="connsiteX0" fmla="*/ 0 w 41147"/>
                  <a:gd name="connsiteY0" fmla="*/ 0 h 21240"/>
                  <a:gd name="connsiteX1" fmla="*/ 8287 w 41147"/>
                  <a:gd name="connsiteY1" fmla="*/ 21241 h 21240"/>
                  <a:gd name="connsiteX2" fmla="*/ 24765 w 41147"/>
                  <a:gd name="connsiteY2" fmla="*/ 14192 h 21240"/>
                  <a:gd name="connsiteX3" fmla="*/ 41148 w 41147"/>
                  <a:gd name="connsiteY3" fmla="*/ 14192 h 21240"/>
                  <a:gd name="connsiteX4" fmla="*/ 41148 w 41147"/>
                  <a:gd name="connsiteY4" fmla="*/ 0 h 21240"/>
                  <a:gd name="connsiteX5" fmla="*/ 0 w 41147"/>
                  <a:gd name="connsiteY5" fmla="*/ 0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47" h="21240">
                    <a:moveTo>
                      <a:pt x="0" y="0"/>
                    </a:moveTo>
                    <a:lnTo>
                      <a:pt x="8287" y="21241"/>
                    </a:lnTo>
                    <a:lnTo>
                      <a:pt x="24765" y="14192"/>
                    </a:lnTo>
                    <a:lnTo>
                      <a:pt x="41148" y="14192"/>
                    </a:lnTo>
                    <a:lnTo>
                      <a:pt x="41148" y="0"/>
                    </a:lnTo>
                    <a:lnTo>
                      <a:pt x="0" y="0"/>
                    </a:lnTo>
                    <a:close/>
                  </a:path>
                </a:pathLst>
              </a:custGeom>
              <a:solidFill>
                <a:srgbClr val="E7E7E7"/>
              </a:solidFill>
              <a:ln w="4763" cap="flat">
                <a:no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946042F9-BD23-30CB-ABB5-AA3262FA4627}"/>
                  </a:ext>
                </a:extLst>
              </p:cNvPr>
              <p:cNvSpPr/>
              <p:nvPr/>
            </p:nvSpPr>
            <p:spPr>
              <a:xfrm>
                <a:off x="5375529" y="4543138"/>
                <a:ext cx="41243" cy="21240"/>
              </a:xfrm>
              <a:custGeom>
                <a:avLst/>
                <a:gdLst>
                  <a:gd name="connsiteX0" fmla="*/ 8287 w 41243"/>
                  <a:gd name="connsiteY0" fmla="*/ 21241 h 21240"/>
                  <a:gd name="connsiteX1" fmla="*/ 24670 w 41243"/>
                  <a:gd name="connsiteY1" fmla="*/ 14097 h 21240"/>
                  <a:gd name="connsiteX2" fmla="*/ 41243 w 41243"/>
                  <a:gd name="connsiteY2" fmla="*/ 14097 h 21240"/>
                  <a:gd name="connsiteX3" fmla="*/ 41243 w 41243"/>
                  <a:gd name="connsiteY3" fmla="*/ 0 h 21240"/>
                  <a:gd name="connsiteX4" fmla="*/ 0 w 41243"/>
                  <a:gd name="connsiteY4" fmla="*/ 0 h 21240"/>
                  <a:gd name="connsiteX5" fmla="*/ 8287 w 41243"/>
                  <a:gd name="connsiteY5" fmla="*/ 21241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43" h="21240">
                    <a:moveTo>
                      <a:pt x="8287" y="21241"/>
                    </a:moveTo>
                    <a:lnTo>
                      <a:pt x="24670" y="14097"/>
                    </a:lnTo>
                    <a:lnTo>
                      <a:pt x="41243" y="14097"/>
                    </a:lnTo>
                    <a:lnTo>
                      <a:pt x="41243" y="0"/>
                    </a:lnTo>
                    <a:lnTo>
                      <a:pt x="0" y="0"/>
                    </a:lnTo>
                    <a:lnTo>
                      <a:pt x="8287" y="21241"/>
                    </a:lnTo>
                    <a:close/>
                  </a:path>
                </a:pathLst>
              </a:custGeom>
              <a:noFill/>
              <a:ln w="4763" cap="flat">
                <a:no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3E9105BB-FCB9-9244-A204-C6C87A0E3A5C}"/>
                  </a:ext>
                </a:extLst>
              </p:cNvPr>
              <p:cNvSpPr/>
              <p:nvPr/>
            </p:nvSpPr>
            <p:spPr>
              <a:xfrm>
                <a:off x="6879335" y="4543138"/>
                <a:ext cx="189928" cy="325469"/>
              </a:xfrm>
              <a:custGeom>
                <a:avLst/>
                <a:gdLst>
                  <a:gd name="connsiteX0" fmla="*/ 126587 w 189928"/>
                  <a:gd name="connsiteY0" fmla="*/ 277749 h 325469"/>
                  <a:gd name="connsiteX1" fmla="*/ 126587 w 189928"/>
                  <a:gd name="connsiteY1" fmla="*/ 269843 h 325469"/>
                  <a:gd name="connsiteX2" fmla="*/ 142399 w 189928"/>
                  <a:gd name="connsiteY2" fmla="*/ 269843 h 325469"/>
                  <a:gd name="connsiteX3" fmla="*/ 158305 w 189928"/>
                  <a:gd name="connsiteY3" fmla="*/ 261938 h 325469"/>
                  <a:gd name="connsiteX4" fmla="*/ 158305 w 189928"/>
                  <a:gd name="connsiteY4" fmla="*/ 230124 h 325469"/>
                  <a:gd name="connsiteX5" fmla="*/ 182023 w 189928"/>
                  <a:gd name="connsiteY5" fmla="*/ 230124 h 325469"/>
                  <a:gd name="connsiteX6" fmla="*/ 189929 w 189928"/>
                  <a:gd name="connsiteY6" fmla="*/ 222218 h 325469"/>
                  <a:gd name="connsiteX7" fmla="*/ 189929 w 189928"/>
                  <a:gd name="connsiteY7" fmla="*/ 182499 h 325469"/>
                  <a:gd name="connsiteX8" fmla="*/ 158305 w 189928"/>
                  <a:gd name="connsiteY8" fmla="*/ 190500 h 325469"/>
                  <a:gd name="connsiteX9" fmla="*/ 158305 w 189928"/>
                  <a:gd name="connsiteY9" fmla="*/ 166688 h 325469"/>
                  <a:gd name="connsiteX10" fmla="*/ 150304 w 189928"/>
                  <a:gd name="connsiteY10" fmla="*/ 166688 h 325469"/>
                  <a:gd name="connsiteX11" fmla="*/ 142399 w 189928"/>
                  <a:gd name="connsiteY11" fmla="*/ 158687 h 325469"/>
                  <a:gd name="connsiteX12" fmla="*/ 142399 w 189928"/>
                  <a:gd name="connsiteY12" fmla="*/ 126968 h 325469"/>
                  <a:gd name="connsiteX13" fmla="*/ 134493 w 189928"/>
                  <a:gd name="connsiteY13" fmla="*/ 111062 h 325469"/>
                  <a:gd name="connsiteX14" fmla="*/ 134493 w 189928"/>
                  <a:gd name="connsiteY14" fmla="*/ 55531 h 325469"/>
                  <a:gd name="connsiteX15" fmla="*/ 126587 w 189928"/>
                  <a:gd name="connsiteY15" fmla="*/ 31718 h 325469"/>
                  <a:gd name="connsiteX16" fmla="*/ 110776 w 189928"/>
                  <a:gd name="connsiteY16" fmla="*/ 31718 h 325469"/>
                  <a:gd name="connsiteX17" fmla="*/ 94964 w 189928"/>
                  <a:gd name="connsiteY17" fmla="*/ 7906 h 325469"/>
                  <a:gd name="connsiteX18" fmla="*/ 87059 w 189928"/>
                  <a:gd name="connsiteY18" fmla="*/ 15812 h 325469"/>
                  <a:gd name="connsiteX19" fmla="*/ 47435 w 189928"/>
                  <a:gd name="connsiteY19" fmla="*/ 0 h 325469"/>
                  <a:gd name="connsiteX20" fmla="*/ 47435 w 189928"/>
                  <a:gd name="connsiteY20" fmla="*/ 23813 h 325469"/>
                  <a:gd name="connsiteX21" fmla="*/ 31623 w 189928"/>
                  <a:gd name="connsiteY21" fmla="*/ 31718 h 325469"/>
                  <a:gd name="connsiteX22" fmla="*/ 0 w 189928"/>
                  <a:gd name="connsiteY22" fmla="*/ 31718 h 325469"/>
                  <a:gd name="connsiteX23" fmla="*/ 23717 w 189928"/>
                  <a:gd name="connsiteY23" fmla="*/ 47625 h 325469"/>
                  <a:gd name="connsiteX24" fmla="*/ 31623 w 189928"/>
                  <a:gd name="connsiteY24" fmla="*/ 39624 h 325469"/>
                  <a:gd name="connsiteX25" fmla="*/ 39529 w 189928"/>
                  <a:gd name="connsiteY25" fmla="*/ 63437 h 325469"/>
                  <a:gd name="connsiteX26" fmla="*/ 23717 w 189928"/>
                  <a:gd name="connsiteY26" fmla="*/ 79343 h 325469"/>
                  <a:gd name="connsiteX27" fmla="*/ 31623 w 189928"/>
                  <a:gd name="connsiteY27" fmla="*/ 87249 h 325469"/>
                  <a:gd name="connsiteX28" fmla="*/ 63341 w 189928"/>
                  <a:gd name="connsiteY28" fmla="*/ 87249 h 325469"/>
                  <a:gd name="connsiteX29" fmla="*/ 63341 w 189928"/>
                  <a:gd name="connsiteY29" fmla="*/ 111062 h 325469"/>
                  <a:gd name="connsiteX30" fmla="*/ 55340 w 189928"/>
                  <a:gd name="connsiteY30" fmla="*/ 126968 h 325469"/>
                  <a:gd name="connsiteX31" fmla="*/ 55340 w 189928"/>
                  <a:gd name="connsiteY31" fmla="*/ 150781 h 325469"/>
                  <a:gd name="connsiteX32" fmla="*/ 47435 w 189928"/>
                  <a:gd name="connsiteY32" fmla="*/ 174593 h 325469"/>
                  <a:gd name="connsiteX33" fmla="*/ 47435 w 189928"/>
                  <a:gd name="connsiteY33" fmla="*/ 206312 h 325469"/>
                  <a:gd name="connsiteX34" fmla="*/ 31623 w 189928"/>
                  <a:gd name="connsiteY34" fmla="*/ 238125 h 325469"/>
                  <a:gd name="connsiteX35" fmla="*/ 31623 w 189928"/>
                  <a:gd name="connsiteY35" fmla="*/ 246031 h 325469"/>
                  <a:gd name="connsiteX36" fmla="*/ 55340 w 189928"/>
                  <a:gd name="connsiteY36" fmla="*/ 269843 h 325469"/>
                  <a:gd name="connsiteX37" fmla="*/ 71152 w 189928"/>
                  <a:gd name="connsiteY37" fmla="*/ 277749 h 325469"/>
                  <a:gd name="connsiteX38" fmla="*/ 79153 w 189928"/>
                  <a:gd name="connsiteY38" fmla="*/ 285750 h 325469"/>
                  <a:gd name="connsiteX39" fmla="*/ 79153 w 189928"/>
                  <a:gd name="connsiteY39" fmla="*/ 309563 h 325469"/>
                  <a:gd name="connsiteX40" fmla="*/ 87059 w 189928"/>
                  <a:gd name="connsiteY40" fmla="*/ 317468 h 325469"/>
                  <a:gd name="connsiteX41" fmla="*/ 110776 w 189928"/>
                  <a:gd name="connsiteY41" fmla="*/ 317468 h 325469"/>
                  <a:gd name="connsiteX42" fmla="*/ 118682 w 189928"/>
                  <a:gd name="connsiteY42" fmla="*/ 325469 h 325469"/>
                  <a:gd name="connsiteX43" fmla="*/ 126587 w 189928"/>
                  <a:gd name="connsiteY43" fmla="*/ 325469 h 325469"/>
                  <a:gd name="connsiteX44" fmla="*/ 126587 w 189928"/>
                  <a:gd name="connsiteY44" fmla="*/ 277749 h 32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89928" h="325469">
                    <a:moveTo>
                      <a:pt x="126587" y="277749"/>
                    </a:moveTo>
                    <a:lnTo>
                      <a:pt x="126587" y="269843"/>
                    </a:lnTo>
                    <a:lnTo>
                      <a:pt x="142399" y="269843"/>
                    </a:lnTo>
                    <a:lnTo>
                      <a:pt x="158305" y="261938"/>
                    </a:lnTo>
                    <a:lnTo>
                      <a:pt x="158305" y="230124"/>
                    </a:lnTo>
                    <a:lnTo>
                      <a:pt x="182023" y="230124"/>
                    </a:lnTo>
                    <a:lnTo>
                      <a:pt x="189929" y="222218"/>
                    </a:lnTo>
                    <a:lnTo>
                      <a:pt x="189929" y="182499"/>
                    </a:lnTo>
                    <a:lnTo>
                      <a:pt x="158305" y="190500"/>
                    </a:lnTo>
                    <a:lnTo>
                      <a:pt x="158305" y="166688"/>
                    </a:lnTo>
                    <a:lnTo>
                      <a:pt x="150304" y="166688"/>
                    </a:lnTo>
                    <a:lnTo>
                      <a:pt x="142399" y="158687"/>
                    </a:lnTo>
                    <a:lnTo>
                      <a:pt x="142399" y="126968"/>
                    </a:lnTo>
                    <a:lnTo>
                      <a:pt x="134493" y="111062"/>
                    </a:lnTo>
                    <a:lnTo>
                      <a:pt x="134493" y="55531"/>
                    </a:lnTo>
                    <a:lnTo>
                      <a:pt x="126587" y="31718"/>
                    </a:lnTo>
                    <a:lnTo>
                      <a:pt x="110776" y="31718"/>
                    </a:lnTo>
                    <a:lnTo>
                      <a:pt x="94964" y="7906"/>
                    </a:lnTo>
                    <a:lnTo>
                      <a:pt x="87059" y="15812"/>
                    </a:lnTo>
                    <a:lnTo>
                      <a:pt x="47435" y="0"/>
                    </a:lnTo>
                    <a:lnTo>
                      <a:pt x="47435" y="23813"/>
                    </a:lnTo>
                    <a:lnTo>
                      <a:pt x="31623" y="31718"/>
                    </a:lnTo>
                    <a:lnTo>
                      <a:pt x="0" y="31718"/>
                    </a:lnTo>
                    <a:lnTo>
                      <a:pt x="23717" y="47625"/>
                    </a:lnTo>
                    <a:lnTo>
                      <a:pt x="31623" y="39624"/>
                    </a:lnTo>
                    <a:lnTo>
                      <a:pt x="39529" y="63437"/>
                    </a:lnTo>
                    <a:lnTo>
                      <a:pt x="23717" y="79343"/>
                    </a:lnTo>
                    <a:lnTo>
                      <a:pt x="31623" y="87249"/>
                    </a:lnTo>
                    <a:lnTo>
                      <a:pt x="63341" y="87249"/>
                    </a:lnTo>
                    <a:lnTo>
                      <a:pt x="63341" y="111062"/>
                    </a:lnTo>
                    <a:lnTo>
                      <a:pt x="55340" y="126968"/>
                    </a:lnTo>
                    <a:lnTo>
                      <a:pt x="55340" y="150781"/>
                    </a:lnTo>
                    <a:lnTo>
                      <a:pt x="47435" y="174593"/>
                    </a:lnTo>
                    <a:lnTo>
                      <a:pt x="47435" y="206312"/>
                    </a:lnTo>
                    <a:lnTo>
                      <a:pt x="31623" y="238125"/>
                    </a:lnTo>
                    <a:lnTo>
                      <a:pt x="31623" y="246031"/>
                    </a:lnTo>
                    <a:lnTo>
                      <a:pt x="55340" y="269843"/>
                    </a:lnTo>
                    <a:lnTo>
                      <a:pt x="71152" y="277749"/>
                    </a:lnTo>
                    <a:lnTo>
                      <a:pt x="79153" y="285750"/>
                    </a:lnTo>
                    <a:lnTo>
                      <a:pt x="79153" y="309563"/>
                    </a:lnTo>
                    <a:lnTo>
                      <a:pt x="87059" y="317468"/>
                    </a:lnTo>
                    <a:lnTo>
                      <a:pt x="110776" y="317468"/>
                    </a:lnTo>
                    <a:lnTo>
                      <a:pt x="118682" y="325469"/>
                    </a:lnTo>
                    <a:lnTo>
                      <a:pt x="126587" y="325469"/>
                    </a:lnTo>
                    <a:lnTo>
                      <a:pt x="126587" y="277749"/>
                    </a:lnTo>
                    <a:close/>
                  </a:path>
                </a:pathLst>
              </a:custGeom>
              <a:solidFill>
                <a:schemeClr val="accent6">
                  <a:lumMod val="40000"/>
                  <a:lumOff val="60000"/>
                </a:schemeClr>
              </a:solidFill>
              <a:ln w="4763" cap="flat">
                <a:solidFill>
                  <a:schemeClr val="bg1"/>
                </a:solid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ED1A4521-7E5A-A266-C6AF-7927A685FD1B}"/>
                  </a:ext>
                </a:extLst>
              </p:cNvPr>
              <p:cNvSpPr/>
              <p:nvPr/>
            </p:nvSpPr>
            <p:spPr>
              <a:xfrm>
                <a:off x="6879335" y="4543138"/>
                <a:ext cx="189928" cy="325469"/>
              </a:xfrm>
              <a:custGeom>
                <a:avLst/>
                <a:gdLst>
                  <a:gd name="connsiteX0" fmla="*/ 126587 w 189928"/>
                  <a:gd name="connsiteY0" fmla="*/ 277749 h 325469"/>
                  <a:gd name="connsiteX1" fmla="*/ 126587 w 189928"/>
                  <a:gd name="connsiteY1" fmla="*/ 269843 h 325469"/>
                  <a:gd name="connsiteX2" fmla="*/ 142399 w 189928"/>
                  <a:gd name="connsiteY2" fmla="*/ 269843 h 325469"/>
                  <a:gd name="connsiteX3" fmla="*/ 158305 w 189928"/>
                  <a:gd name="connsiteY3" fmla="*/ 261938 h 325469"/>
                  <a:gd name="connsiteX4" fmla="*/ 158305 w 189928"/>
                  <a:gd name="connsiteY4" fmla="*/ 230124 h 325469"/>
                  <a:gd name="connsiteX5" fmla="*/ 182023 w 189928"/>
                  <a:gd name="connsiteY5" fmla="*/ 230124 h 325469"/>
                  <a:gd name="connsiteX6" fmla="*/ 189929 w 189928"/>
                  <a:gd name="connsiteY6" fmla="*/ 222218 h 325469"/>
                  <a:gd name="connsiteX7" fmla="*/ 189929 w 189928"/>
                  <a:gd name="connsiteY7" fmla="*/ 182499 h 325469"/>
                  <a:gd name="connsiteX8" fmla="*/ 158305 w 189928"/>
                  <a:gd name="connsiteY8" fmla="*/ 190500 h 325469"/>
                  <a:gd name="connsiteX9" fmla="*/ 158305 w 189928"/>
                  <a:gd name="connsiteY9" fmla="*/ 166688 h 325469"/>
                  <a:gd name="connsiteX10" fmla="*/ 150304 w 189928"/>
                  <a:gd name="connsiteY10" fmla="*/ 166688 h 325469"/>
                  <a:gd name="connsiteX11" fmla="*/ 142399 w 189928"/>
                  <a:gd name="connsiteY11" fmla="*/ 158687 h 325469"/>
                  <a:gd name="connsiteX12" fmla="*/ 142399 w 189928"/>
                  <a:gd name="connsiteY12" fmla="*/ 126968 h 325469"/>
                  <a:gd name="connsiteX13" fmla="*/ 134493 w 189928"/>
                  <a:gd name="connsiteY13" fmla="*/ 111062 h 325469"/>
                  <a:gd name="connsiteX14" fmla="*/ 134493 w 189928"/>
                  <a:gd name="connsiteY14" fmla="*/ 55531 h 325469"/>
                  <a:gd name="connsiteX15" fmla="*/ 126587 w 189928"/>
                  <a:gd name="connsiteY15" fmla="*/ 31718 h 325469"/>
                  <a:gd name="connsiteX16" fmla="*/ 110776 w 189928"/>
                  <a:gd name="connsiteY16" fmla="*/ 31718 h 325469"/>
                  <a:gd name="connsiteX17" fmla="*/ 94964 w 189928"/>
                  <a:gd name="connsiteY17" fmla="*/ 7906 h 325469"/>
                  <a:gd name="connsiteX18" fmla="*/ 87059 w 189928"/>
                  <a:gd name="connsiteY18" fmla="*/ 15812 h 325469"/>
                  <a:gd name="connsiteX19" fmla="*/ 47435 w 189928"/>
                  <a:gd name="connsiteY19" fmla="*/ 0 h 325469"/>
                  <a:gd name="connsiteX20" fmla="*/ 47435 w 189928"/>
                  <a:gd name="connsiteY20" fmla="*/ 23813 h 325469"/>
                  <a:gd name="connsiteX21" fmla="*/ 31623 w 189928"/>
                  <a:gd name="connsiteY21" fmla="*/ 31718 h 325469"/>
                  <a:gd name="connsiteX22" fmla="*/ 0 w 189928"/>
                  <a:gd name="connsiteY22" fmla="*/ 31718 h 325469"/>
                  <a:gd name="connsiteX23" fmla="*/ 23717 w 189928"/>
                  <a:gd name="connsiteY23" fmla="*/ 47625 h 325469"/>
                  <a:gd name="connsiteX24" fmla="*/ 31623 w 189928"/>
                  <a:gd name="connsiteY24" fmla="*/ 39624 h 325469"/>
                  <a:gd name="connsiteX25" fmla="*/ 39529 w 189928"/>
                  <a:gd name="connsiteY25" fmla="*/ 63437 h 325469"/>
                  <a:gd name="connsiteX26" fmla="*/ 23717 w 189928"/>
                  <a:gd name="connsiteY26" fmla="*/ 79343 h 325469"/>
                  <a:gd name="connsiteX27" fmla="*/ 31623 w 189928"/>
                  <a:gd name="connsiteY27" fmla="*/ 87249 h 325469"/>
                  <a:gd name="connsiteX28" fmla="*/ 63341 w 189928"/>
                  <a:gd name="connsiteY28" fmla="*/ 87249 h 325469"/>
                  <a:gd name="connsiteX29" fmla="*/ 63341 w 189928"/>
                  <a:gd name="connsiteY29" fmla="*/ 111062 h 325469"/>
                  <a:gd name="connsiteX30" fmla="*/ 55340 w 189928"/>
                  <a:gd name="connsiteY30" fmla="*/ 126968 h 325469"/>
                  <a:gd name="connsiteX31" fmla="*/ 55340 w 189928"/>
                  <a:gd name="connsiteY31" fmla="*/ 150781 h 325469"/>
                  <a:gd name="connsiteX32" fmla="*/ 47435 w 189928"/>
                  <a:gd name="connsiteY32" fmla="*/ 174593 h 325469"/>
                  <a:gd name="connsiteX33" fmla="*/ 47435 w 189928"/>
                  <a:gd name="connsiteY33" fmla="*/ 206312 h 325469"/>
                  <a:gd name="connsiteX34" fmla="*/ 31623 w 189928"/>
                  <a:gd name="connsiteY34" fmla="*/ 238125 h 325469"/>
                  <a:gd name="connsiteX35" fmla="*/ 31623 w 189928"/>
                  <a:gd name="connsiteY35" fmla="*/ 246031 h 325469"/>
                  <a:gd name="connsiteX36" fmla="*/ 55340 w 189928"/>
                  <a:gd name="connsiteY36" fmla="*/ 269843 h 325469"/>
                  <a:gd name="connsiteX37" fmla="*/ 71152 w 189928"/>
                  <a:gd name="connsiteY37" fmla="*/ 277749 h 325469"/>
                  <a:gd name="connsiteX38" fmla="*/ 79153 w 189928"/>
                  <a:gd name="connsiteY38" fmla="*/ 285750 h 325469"/>
                  <a:gd name="connsiteX39" fmla="*/ 79153 w 189928"/>
                  <a:gd name="connsiteY39" fmla="*/ 309563 h 325469"/>
                  <a:gd name="connsiteX40" fmla="*/ 87059 w 189928"/>
                  <a:gd name="connsiteY40" fmla="*/ 317468 h 325469"/>
                  <a:gd name="connsiteX41" fmla="*/ 110776 w 189928"/>
                  <a:gd name="connsiteY41" fmla="*/ 317468 h 325469"/>
                  <a:gd name="connsiteX42" fmla="*/ 118682 w 189928"/>
                  <a:gd name="connsiteY42" fmla="*/ 325469 h 325469"/>
                  <a:gd name="connsiteX43" fmla="*/ 126587 w 189928"/>
                  <a:gd name="connsiteY43" fmla="*/ 325469 h 325469"/>
                  <a:gd name="connsiteX44" fmla="*/ 126587 w 189928"/>
                  <a:gd name="connsiteY44" fmla="*/ 277749 h 32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89928" h="325469">
                    <a:moveTo>
                      <a:pt x="126587" y="277749"/>
                    </a:moveTo>
                    <a:lnTo>
                      <a:pt x="126587" y="269843"/>
                    </a:lnTo>
                    <a:lnTo>
                      <a:pt x="142399" y="269843"/>
                    </a:lnTo>
                    <a:lnTo>
                      <a:pt x="158305" y="261938"/>
                    </a:lnTo>
                    <a:lnTo>
                      <a:pt x="158305" y="230124"/>
                    </a:lnTo>
                    <a:lnTo>
                      <a:pt x="182023" y="230124"/>
                    </a:lnTo>
                    <a:lnTo>
                      <a:pt x="189929" y="222218"/>
                    </a:lnTo>
                    <a:lnTo>
                      <a:pt x="189929" y="182499"/>
                    </a:lnTo>
                    <a:lnTo>
                      <a:pt x="158305" y="190500"/>
                    </a:lnTo>
                    <a:lnTo>
                      <a:pt x="158305" y="166688"/>
                    </a:lnTo>
                    <a:lnTo>
                      <a:pt x="150304" y="166688"/>
                    </a:lnTo>
                    <a:lnTo>
                      <a:pt x="142399" y="158687"/>
                    </a:lnTo>
                    <a:lnTo>
                      <a:pt x="142399" y="126968"/>
                    </a:lnTo>
                    <a:lnTo>
                      <a:pt x="134493" y="111062"/>
                    </a:lnTo>
                    <a:lnTo>
                      <a:pt x="134493" y="55531"/>
                    </a:lnTo>
                    <a:lnTo>
                      <a:pt x="126587" y="31718"/>
                    </a:lnTo>
                    <a:lnTo>
                      <a:pt x="110776" y="31718"/>
                    </a:lnTo>
                    <a:lnTo>
                      <a:pt x="94964" y="7906"/>
                    </a:lnTo>
                    <a:lnTo>
                      <a:pt x="87059" y="15812"/>
                    </a:lnTo>
                    <a:lnTo>
                      <a:pt x="47435" y="0"/>
                    </a:lnTo>
                    <a:lnTo>
                      <a:pt x="47435" y="23813"/>
                    </a:lnTo>
                    <a:lnTo>
                      <a:pt x="31623" y="31718"/>
                    </a:lnTo>
                    <a:lnTo>
                      <a:pt x="0" y="31718"/>
                    </a:lnTo>
                    <a:lnTo>
                      <a:pt x="23717" y="47625"/>
                    </a:lnTo>
                    <a:lnTo>
                      <a:pt x="31623" y="39624"/>
                    </a:lnTo>
                    <a:lnTo>
                      <a:pt x="39529" y="63437"/>
                    </a:lnTo>
                    <a:lnTo>
                      <a:pt x="23717" y="79343"/>
                    </a:lnTo>
                    <a:lnTo>
                      <a:pt x="31623" y="87249"/>
                    </a:lnTo>
                    <a:lnTo>
                      <a:pt x="63341" y="87249"/>
                    </a:lnTo>
                    <a:lnTo>
                      <a:pt x="63341" y="111062"/>
                    </a:lnTo>
                    <a:lnTo>
                      <a:pt x="55340" y="126968"/>
                    </a:lnTo>
                    <a:lnTo>
                      <a:pt x="55340" y="150781"/>
                    </a:lnTo>
                    <a:lnTo>
                      <a:pt x="47435" y="174593"/>
                    </a:lnTo>
                    <a:lnTo>
                      <a:pt x="47435" y="206312"/>
                    </a:lnTo>
                    <a:lnTo>
                      <a:pt x="31623" y="238125"/>
                    </a:lnTo>
                    <a:lnTo>
                      <a:pt x="31623" y="246031"/>
                    </a:lnTo>
                    <a:lnTo>
                      <a:pt x="55340" y="269843"/>
                    </a:lnTo>
                    <a:lnTo>
                      <a:pt x="71152" y="277749"/>
                    </a:lnTo>
                    <a:lnTo>
                      <a:pt x="79153" y="285750"/>
                    </a:lnTo>
                    <a:lnTo>
                      <a:pt x="79153" y="309563"/>
                    </a:lnTo>
                    <a:lnTo>
                      <a:pt x="87059" y="317468"/>
                    </a:lnTo>
                    <a:lnTo>
                      <a:pt x="110776" y="317468"/>
                    </a:lnTo>
                    <a:lnTo>
                      <a:pt x="118682" y="325469"/>
                    </a:lnTo>
                    <a:lnTo>
                      <a:pt x="126587" y="325469"/>
                    </a:lnTo>
                    <a:lnTo>
                      <a:pt x="126587" y="277749"/>
                    </a:lnTo>
                    <a:close/>
                  </a:path>
                </a:pathLst>
              </a:custGeom>
              <a:noFill/>
              <a:ln w="4763" cap="flat">
                <a:noFill/>
                <a:prstDash val="solid"/>
                <a:miter/>
              </a:ln>
            </p:spPr>
            <p:txBody>
              <a:bodyPr rtlCol="0" anchor="ctr"/>
              <a:lstStyle/>
              <a:p>
                <a:endParaRPr lang="en-GB"/>
              </a:p>
            </p:txBody>
          </p:sp>
          <p:sp>
            <p:nvSpPr>
              <p:cNvPr id="148" name="Freeform 45">
                <a:extLst>
                  <a:ext uri="{FF2B5EF4-FFF2-40B4-BE49-F238E27FC236}">
                    <a16:creationId xmlns:a16="http://schemas.microsoft.com/office/drawing/2014/main" id="{F56C76E9-F745-5CD6-9E0A-D60C5E5BAB58}"/>
                  </a:ext>
                </a:extLst>
              </p:cNvPr>
              <p:cNvSpPr>
                <a:spLocks/>
              </p:cNvSpPr>
              <p:nvPr/>
            </p:nvSpPr>
            <p:spPr bwMode="gray">
              <a:xfrm>
                <a:off x="4680660" y="2034627"/>
                <a:ext cx="3254" cy="4338"/>
              </a:xfrm>
              <a:custGeom>
                <a:avLst/>
                <a:gdLst>
                  <a:gd name="T0" fmla="*/ 0 w 3"/>
                  <a:gd name="T1" fmla="*/ 0 h 4"/>
                  <a:gd name="T2" fmla="*/ 0 w 3"/>
                  <a:gd name="T3" fmla="*/ 4 h 4"/>
                  <a:gd name="T4" fmla="*/ 0 w 3"/>
                  <a:gd name="T5" fmla="*/ 4 h 4"/>
                  <a:gd name="T6" fmla="*/ 3 w 3"/>
                  <a:gd name="T7" fmla="*/ 4 h 4"/>
                  <a:gd name="T8" fmla="*/ 3 w 3"/>
                  <a:gd name="T9" fmla="*/ 4 h 4"/>
                  <a:gd name="T10" fmla="*/ 0 w 3"/>
                  <a:gd name="T11" fmla="*/ 4 h 4"/>
                  <a:gd name="T12" fmla="*/ 0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0"/>
                    </a:moveTo>
                    <a:lnTo>
                      <a:pt x="0" y="4"/>
                    </a:lnTo>
                    <a:lnTo>
                      <a:pt x="0" y="4"/>
                    </a:lnTo>
                    <a:lnTo>
                      <a:pt x="3" y="4"/>
                    </a:lnTo>
                    <a:lnTo>
                      <a:pt x="3" y="4"/>
                    </a:lnTo>
                    <a:lnTo>
                      <a:pt x="0" y="4"/>
                    </a:lnTo>
                    <a:lnTo>
                      <a:pt x="0" y="0"/>
                    </a:lnTo>
                    <a:close/>
                  </a:path>
                </a:pathLst>
              </a:custGeom>
              <a:solidFill>
                <a:srgbClr val="B1B1B0"/>
              </a:solidFill>
              <a:ln w="635"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B"/>
                  </a:solidFill>
                  <a:effectLst/>
                  <a:uLnTx/>
                  <a:uFillTx/>
                  <a:latin typeface="Lato"/>
                </a:endParaRPr>
              </a:p>
            </p:txBody>
          </p:sp>
        </p:grpSp>
        <p:sp>
          <p:nvSpPr>
            <p:cNvPr id="70" name="Moldova" descr="© INSCALE GmbH, 05.05.2010&#10;http://www.presentationload.com/">
              <a:extLst>
                <a:ext uri="{FF2B5EF4-FFF2-40B4-BE49-F238E27FC236}">
                  <a16:creationId xmlns:a16="http://schemas.microsoft.com/office/drawing/2014/main" id="{2607E598-5882-6B62-4E9E-1E8997C5F9E4}"/>
                </a:ext>
              </a:extLst>
            </p:cNvPr>
            <p:cNvSpPr>
              <a:spLocks/>
            </p:cNvSpPr>
            <p:nvPr/>
          </p:nvSpPr>
          <p:spPr bwMode="gray">
            <a:xfrm>
              <a:off x="2974094" y="4235447"/>
              <a:ext cx="276159" cy="276425"/>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chemeClr val="accent6">
                <a:lumMod val="40000"/>
                <a:lumOff val="6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endParaRPr>
            </a:p>
          </p:txBody>
        </p:sp>
      </p:grpSp>
      <p:pic>
        <p:nvPicPr>
          <p:cNvPr id="159" name="Picture 158">
            <a:extLst>
              <a:ext uri="{FF2B5EF4-FFF2-40B4-BE49-F238E27FC236}">
                <a16:creationId xmlns:a16="http://schemas.microsoft.com/office/drawing/2014/main" id="{FD6B8ED0-C2F7-6A5E-B233-5CB649448B85}"/>
              </a:ext>
            </a:extLst>
          </p:cNvPr>
          <p:cNvPicPr>
            <a:picLocks noChangeAspect="1"/>
          </p:cNvPicPr>
          <p:nvPr/>
        </p:nvPicPr>
        <p:blipFill>
          <a:blip r:embed="rId5"/>
          <a:stretch>
            <a:fillRect/>
          </a:stretch>
        </p:blipFill>
        <p:spPr>
          <a:xfrm>
            <a:off x="434282" y="1821424"/>
            <a:ext cx="158750" cy="140034"/>
          </a:xfrm>
          <a:prstGeom prst="rect">
            <a:avLst/>
          </a:prstGeom>
        </p:spPr>
      </p:pic>
      <p:sp>
        <p:nvSpPr>
          <p:cNvPr id="160" name="TextBox 159">
            <a:extLst>
              <a:ext uri="{FF2B5EF4-FFF2-40B4-BE49-F238E27FC236}">
                <a16:creationId xmlns:a16="http://schemas.microsoft.com/office/drawing/2014/main" id="{331BC01F-C884-59A6-44C4-C088B31C1A6E}"/>
              </a:ext>
            </a:extLst>
          </p:cNvPr>
          <p:cNvSpPr txBox="1"/>
          <p:nvPr/>
        </p:nvSpPr>
        <p:spPr>
          <a:xfrm>
            <a:off x="460539" y="1359634"/>
            <a:ext cx="1711841" cy="984885"/>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300" b="1" dirty="0">
                <a:solidFill>
                  <a:schemeClr val="bg1"/>
                </a:solidFill>
              </a:rPr>
              <a:t>Analysis across 24 European countries:</a:t>
            </a:r>
          </a:p>
          <a:p>
            <a:pPr marL="0" indent="0" algn="l">
              <a:spcBef>
                <a:spcPts val="600"/>
              </a:spcBef>
              <a:buFont typeface="Wingdings" panose="05000000000000000000" pitchFamily="2" charset="2"/>
              <a:buNone/>
              <a:tabLst>
                <a:tab pos="0" algn="l"/>
              </a:tabLst>
            </a:pPr>
            <a:endParaRPr lang="en-GB" sz="1400" b="1" dirty="0">
              <a:solidFill>
                <a:schemeClr val="bg1"/>
              </a:solidFill>
            </a:endParaRPr>
          </a:p>
          <a:p>
            <a:pPr marL="0" indent="0" algn="l">
              <a:spcBef>
                <a:spcPts val="600"/>
              </a:spcBef>
              <a:buFont typeface="Wingdings" panose="05000000000000000000" pitchFamily="2" charset="2"/>
              <a:buNone/>
            </a:pPr>
            <a:endParaRPr lang="en-GB" sz="1200" dirty="0" err="1">
              <a:solidFill>
                <a:schemeClr val="bg1"/>
              </a:solidFill>
            </a:endParaRPr>
          </a:p>
        </p:txBody>
      </p:sp>
      <p:sp>
        <p:nvSpPr>
          <p:cNvPr id="161" name="TextBox 160">
            <a:extLst>
              <a:ext uri="{FF2B5EF4-FFF2-40B4-BE49-F238E27FC236}">
                <a16:creationId xmlns:a16="http://schemas.microsoft.com/office/drawing/2014/main" id="{6ED59359-2841-23DF-AF76-CA18A71998D4}"/>
              </a:ext>
            </a:extLst>
          </p:cNvPr>
          <p:cNvSpPr txBox="1"/>
          <p:nvPr/>
        </p:nvSpPr>
        <p:spPr>
          <a:xfrm>
            <a:off x="647378" y="1801071"/>
            <a:ext cx="1550156" cy="5093702"/>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dirty="0">
                <a:solidFill>
                  <a:schemeClr val="bg1"/>
                </a:solidFill>
              </a:rPr>
              <a:t>Great Britain*</a:t>
            </a:r>
          </a:p>
          <a:p>
            <a:pPr marL="0" indent="0" algn="l">
              <a:spcBef>
                <a:spcPts val="600"/>
              </a:spcBef>
              <a:buFont typeface="Wingdings" panose="05000000000000000000" pitchFamily="2" charset="2"/>
              <a:buNone/>
            </a:pPr>
            <a:r>
              <a:rPr lang="en-GB" sz="1000" dirty="0">
                <a:solidFill>
                  <a:schemeClr val="bg1"/>
                </a:solidFill>
              </a:rPr>
              <a:t>Ireland (I-SEM)*</a:t>
            </a:r>
          </a:p>
          <a:p>
            <a:pPr marL="0" indent="0" algn="l">
              <a:spcBef>
                <a:spcPts val="600"/>
              </a:spcBef>
              <a:buFont typeface="Wingdings" panose="05000000000000000000" pitchFamily="2" charset="2"/>
              <a:buNone/>
            </a:pPr>
            <a:r>
              <a:rPr lang="en-GB" sz="1000" dirty="0">
                <a:solidFill>
                  <a:schemeClr val="bg1"/>
                </a:solidFill>
              </a:rPr>
              <a:t>France*</a:t>
            </a:r>
          </a:p>
          <a:p>
            <a:pPr marL="0" indent="0" algn="l">
              <a:spcBef>
                <a:spcPts val="600"/>
              </a:spcBef>
              <a:buFont typeface="Wingdings" panose="05000000000000000000" pitchFamily="2" charset="2"/>
              <a:buNone/>
            </a:pPr>
            <a:r>
              <a:rPr lang="en-GB" sz="1000" dirty="0">
                <a:solidFill>
                  <a:schemeClr val="bg1"/>
                </a:solidFill>
              </a:rPr>
              <a:t>Belgium*</a:t>
            </a:r>
          </a:p>
          <a:p>
            <a:pPr marL="0" indent="0" algn="l">
              <a:spcBef>
                <a:spcPts val="600"/>
              </a:spcBef>
              <a:buFont typeface="Wingdings" panose="05000000000000000000" pitchFamily="2" charset="2"/>
              <a:buNone/>
            </a:pPr>
            <a:r>
              <a:rPr lang="en-GB" sz="1000" dirty="0">
                <a:solidFill>
                  <a:schemeClr val="bg1"/>
                </a:solidFill>
              </a:rPr>
              <a:t>The Netherlands*</a:t>
            </a:r>
          </a:p>
          <a:p>
            <a:pPr marL="0" indent="0" algn="l">
              <a:spcBef>
                <a:spcPts val="600"/>
              </a:spcBef>
              <a:buFont typeface="Wingdings" panose="05000000000000000000" pitchFamily="2" charset="2"/>
              <a:buNone/>
            </a:pPr>
            <a:r>
              <a:rPr lang="en-GB" sz="1000" dirty="0">
                <a:solidFill>
                  <a:schemeClr val="bg1"/>
                </a:solidFill>
              </a:rPr>
              <a:t>Germany*</a:t>
            </a:r>
          </a:p>
          <a:p>
            <a:pPr marL="0" indent="0" algn="l">
              <a:spcBef>
                <a:spcPts val="600"/>
              </a:spcBef>
              <a:buFont typeface="Wingdings" panose="05000000000000000000" pitchFamily="2" charset="2"/>
              <a:buNone/>
            </a:pPr>
            <a:r>
              <a:rPr lang="en-GB" sz="1000" dirty="0">
                <a:solidFill>
                  <a:schemeClr val="bg1"/>
                </a:solidFill>
              </a:rPr>
              <a:t>The Nordics* (Denmark, Finland, Norway, Sweden)</a:t>
            </a:r>
          </a:p>
          <a:p>
            <a:pPr marL="0" indent="0" algn="l">
              <a:spcBef>
                <a:spcPts val="600"/>
              </a:spcBef>
              <a:buFont typeface="Wingdings" panose="05000000000000000000" pitchFamily="2" charset="2"/>
              <a:buNone/>
            </a:pPr>
            <a:r>
              <a:rPr lang="en-GB" sz="1000" dirty="0">
                <a:solidFill>
                  <a:schemeClr val="bg1"/>
                </a:solidFill>
              </a:rPr>
              <a:t>Iberia*  (Portugal, Spain)</a:t>
            </a:r>
          </a:p>
          <a:p>
            <a:pPr marL="0" indent="0" algn="l">
              <a:spcBef>
                <a:spcPts val="600"/>
              </a:spcBef>
              <a:buFont typeface="Wingdings" panose="05000000000000000000" pitchFamily="2" charset="2"/>
              <a:buNone/>
            </a:pPr>
            <a:r>
              <a:rPr lang="en-GB" sz="1000" dirty="0">
                <a:solidFill>
                  <a:schemeClr val="bg1"/>
                </a:solidFill>
              </a:rPr>
              <a:t>Italy*</a:t>
            </a:r>
          </a:p>
          <a:p>
            <a:pPr marL="0" indent="0" algn="l">
              <a:spcBef>
                <a:spcPts val="600"/>
              </a:spcBef>
              <a:buFont typeface="Wingdings" panose="05000000000000000000" pitchFamily="2" charset="2"/>
              <a:buNone/>
            </a:pPr>
            <a:r>
              <a:rPr lang="en-GB" sz="1000" dirty="0">
                <a:solidFill>
                  <a:schemeClr val="bg1"/>
                </a:solidFill>
              </a:rPr>
              <a:t>Poland*</a:t>
            </a:r>
          </a:p>
          <a:p>
            <a:pPr marL="0" indent="0" algn="l">
              <a:spcBef>
                <a:spcPts val="600"/>
              </a:spcBef>
              <a:buFont typeface="Wingdings" panose="05000000000000000000" pitchFamily="2" charset="2"/>
              <a:buNone/>
            </a:pPr>
            <a:r>
              <a:rPr lang="en-GB" sz="1000" dirty="0">
                <a:solidFill>
                  <a:schemeClr val="bg1"/>
                </a:solidFill>
              </a:rPr>
              <a:t>Greece*</a:t>
            </a:r>
          </a:p>
          <a:p>
            <a:pPr marL="0" indent="0" algn="l">
              <a:spcBef>
                <a:spcPts val="600"/>
              </a:spcBef>
              <a:buFont typeface="Wingdings" panose="05000000000000000000" pitchFamily="2" charset="2"/>
              <a:buNone/>
            </a:pPr>
            <a:r>
              <a:rPr lang="en-GB" sz="1000" dirty="0">
                <a:solidFill>
                  <a:schemeClr val="bg1"/>
                </a:solidFill>
              </a:rPr>
              <a:t>Hungary</a:t>
            </a:r>
          </a:p>
          <a:p>
            <a:pPr marL="0" indent="0" algn="l">
              <a:spcBef>
                <a:spcPts val="600"/>
              </a:spcBef>
              <a:buFont typeface="Wingdings" panose="05000000000000000000" pitchFamily="2" charset="2"/>
              <a:buNone/>
            </a:pPr>
            <a:r>
              <a:rPr lang="en-GB" sz="1000" dirty="0">
                <a:solidFill>
                  <a:schemeClr val="bg1"/>
                </a:solidFill>
              </a:rPr>
              <a:t>Romania</a:t>
            </a:r>
          </a:p>
          <a:p>
            <a:pPr marL="0" indent="0" algn="l">
              <a:spcBef>
                <a:spcPts val="600"/>
              </a:spcBef>
              <a:buFont typeface="Wingdings" panose="05000000000000000000" pitchFamily="2" charset="2"/>
              <a:buNone/>
            </a:pPr>
            <a:r>
              <a:rPr lang="en-GB" sz="1000" dirty="0">
                <a:solidFill>
                  <a:schemeClr val="bg1"/>
                </a:solidFill>
              </a:rPr>
              <a:t>Serbia</a:t>
            </a:r>
          </a:p>
          <a:p>
            <a:pPr marL="0" indent="0" algn="l">
              <a:spcBef>
                <a:spcPts val="600"/>
              </a:spcBef>
              <a:buFont typeface="Wingdings" panose="05000000000000000000" pitchFamily="2" charset="2"/>
              <a:buNone/>
            </a:pPr>
            <a:r>
              <a:rPr lang="en-GB" sz="1000" dirty="0">
                <a:solidFill>
                  <a:schemeClr val="bg1"/>
                </a:solidFill>
              </a:rPr>
              <a:t>Bulgaria</a:t>
            </a:r>
          </a:p>
          <a:p>
            <a:pPr marL="0" indent="0" algn="l">
              <a:spcBef>
                <a:spcPts val="600"/>
              </a:spcBef>
              <a:buFont typeface="Wingdings" panose="05000000000000000000" pitchFamily="2" charset="2"/>
              <a:buNone/>
            </a:pPr>
            <a:r>
              <a:rPr lang="en-GB" sz="1000" dirty="0">
                <a:solidFill>
                  <a:schemeClr val="bg1"/>
                </a:solidFill>
              </a:rPr>
              <a:t>Slovenia</a:t>
            </a:r>
          </a:p>
          <a:p>
            <a:pPr marL="0" indent="0" algn="l">
              <a:spcBef>
                <a:spcPts val="600"/>
              </a:spcBef>
              <a:buFont typeface="Wingdings" panose="05000000000000000000" pitchFamily="2" charset="2"/>
              <a:buNone/>
            </a:pPr>
            <a:r>
              <a:rPr lang="en-GB" sz="1000" dirty="0">
                <a:solidFill>
                  <a:schemeClr val="bg1"/>
                </a:solidFill>
              </a:rPr>
              <a:t>Croatia</a:t>
            </a:r>
          </a:p>
          <a:p>
            <a:pPr marL="0" indent="0" algn="l">
              <a:spcBef>
                <a:spcPts val="600"/>
              </a:spcBef>
              <a:buFont typeface="Wingdings" panose="05000000000000000000" pitchFamily="2" charset="2"/>
              <a:buNone/>
            </a:pPr>
            <a:r>
              <a:rPr lang="en-GB" sz="1000" dirty="0">
                <a:solidFill>
                  <a:schemeClr val="bg1"/>
                </a:solidFill>
              </a:rPr>
              <a:t>The Baltics (Estonia, Lithuania, Latvia)</a:t>
            </a:r>
          </a:p>
          <a:p>
            <a:pPr marL="0" indent="0" algn="l">
              <a:spcBef>
                <a:spcPts val="600"/>
              </a:spcBef>
              <a:buFont typeface="Wingdings" panose="05000000000000000000" pitchFamily="2" charset="2"/>
              <a:buNone/>
            </a:pPr>
            <a:endParaRPr lang="en-GB" sz="1400" b="1" dirty="0">
              <a:solidFill>
                <a:schemeClr val="bg1"/>
              </a:solidFill>
            </a:endParaRPr>
          </a:p>
          <a:p>
            <a:pPr marL="0" indent="0" algn="l">
              <a:spcBef>
                <a:spcPts val="600"/>
              </a:spcBef>
              <a:buFont typeface="Wingdings" panose="05000000000000000000" pitchFamily="2" charset="2"/>
              <a:buNone/>
            </a:pPr>
            <a:endParaRPr lang="en-GB" sz="1200" dirty="0" err="1">
              <a:solidFill>
                <a:schemeClr val="bg1"/>
              </a:solidFill>
            </a:endParaRPr>
          </a:p>
        </p:txBody>
      </p:sp>
      <p:pic>
        <p:nvPicPr>
          <p:cNvPr id="172" name="Picture 171">
            <a:extLst>
              <a:ext uri="{FF2B5EF4-FFF2-40B4-BE49-F238E27FC236}">
                <a16:creationId xmlns:a16="http://schemas.microsoft.com/office/drawing/2014/main" id="{DF2AFBD6-A71E-916A-3FF0-A2B9D02BC0C3}"/>
              </a:ext>
            </a:extLst>
          </p:cNvPr>
          <p:cNvPicPr>
            <a:picLocks noChangeAspect="1"/>
          </p:cNvPicPr>
          <p:nvPr/>
        </p:nvPicPr>
        <p:blipFill>
          <a:blip r:embed="rId5"/>
          <a:stretch>
            <a:fillRect/>
          </a:stretch>
        </p:blipFill>
        <p:spPr>
          <a:xfrm>
            <a:off x="434282" y="2046007"/>
            <a:ext cx="158750" cy="140034"/>
          </a:xfrm>
          <a:prstGeom prst="rect">
            <a:avLst/>
          </a:prstGeom>
        </p:spPr>
      </p:pic>
      <p:pic>
        <p:nvPicPr>
          <p:cNvPr id="173" name="Picture 172">
            <a:extLst>
              <a:ext uri="{FF2B5EF4-FFF2-40B4-BE49-F238E27FC236}">
                <a16:creationId xmlns:a16="http://schemas.microsoft.com/office/drawing/2014/main" id="{74186611-8DF0-AFCB-BC31-3851D2991CE4}"/>
              </a:ext>
            </a:extLst>
          </p:cNvPr>
          <p:cNvPicPr>
            <a:picLocks noChangeAspect="1"/>
          </p:cNvPicPr>
          <p:nvPr/>
        </p:nvPicPr>
        <p:blipFill>
          <a:blip r:embed="rId5"/>
          <a:stretch>
            <a:fillRect/>
          </a:stretch>
        </p:blipFill>
        <p:spPr>
          <a:xfrm>
            <a:off x="434282" y="2270590"/>
            <a:ext cx="158750" cy="140034"/>
          </a:xfrm>
          <a:prstGeom prst="rect">
            <a:avLst/>
          </a:prstGeom>
        </p:spPr>
      </p:pic>
      <p:pic>
        <p:nvPicPr>
          <p:cNvPr id="174" name="Picture 173">
            <a:extLst>
              <a:ext uri="{FF2B5EF4-FFF2-40B4-BE49-F238E27FC236}">
                <a16:creationId xmlns:a16="http://schemas.microsoft.com/office/drawing/2014/main" id="{C2058E9D-1518-7BF8-07D2-197E2CB2BF78}"/>
              </a:ext>
            </a:extLst>
          </p:cNvPr>
          <p:cNvPicPr>
            <a:picLocks noChangeAspect="1"/>
          </p:cNvPicPr>
          <p:nvPr/>
        </p:nvPicPr>
        <p:blipFill>
          <a:blip r:embed="rId5"/>
          <a:stretch>
            <a:fillRect/>
          </a:stretch>
        </p:blipFill>
        <p:spPr>
          <a:xfrm>
            <a:off x="434282" y="2495173"/>
            <a:ext cx="158750" cy="140034"/>
          </a:xfrm>
          <a:prstGeom prst="rect">
            <a:avLst/>
          </a:prstGeom>
        </p:spPr>
      </p:pic>
      <p:pic>
        <p:nvPicPr>
          <p:cNvPr id="175" name="Picture 174">
            <a:extLst>
              <a:ext uri="{FF2B5EF4-FFF2-40B4-BE49-F238E27FC236}">
                <a16:creationId xmlns:a16="http://schemas.microsoft.com/office/drawing/2014/main" id="{6B832E26-BAC6-A15F-C60A-168392ABB94B}"/>
              </a:ext>
            </a:extLst>
          </p:cNvPr>
          <p:cNvPicPr>
            <a:picLocks noChangeAspect="1"/>
          </p:cNvPicPr>
          <p:nvPr/>
        </p:nvPicPr>
        <p:blipFill>
          <a:blip r:embed="rId5"/>
          <a:stretch>
            <a:fillRect/>
          </a:stretch>
        </p:blipFill>
        <p:spPr>
          <a:xfrm>
            <a:off x="434282" y="2719756"/>
            <a:ext cx="158750" cy="140034"/>
          </a:xfrm>
          <a:prstGeom prst="rect">
            <a:avLst/>
          </a:prstGeom>
        </p:spPr>
      </p:pic>
      <p:pic>
        <p:nvPicPr>
          <p:cNvPr id="176" name="Picture 175">
            <a:extLst>
              <a:ext uri="{FF2B5EF4-FFF2-40B4-BE49-F238E27FC236}">
                <a16:creationId xmlns:a16="http://schemas.microsoft.com/office/drawing/2014/main" id="{510801E9-CFB9-B9F4-D3CD-9FFE180D25F9}"/>
              </a:ext>
            </a:extLst>
          </p:cNvPr>
          <p:cNvPicPr>
            <a:picLocks noChangeAspect="1"/>
          </p:cNvPicPr>
          <p:nvPr/>
        </p:nvPicPr>
        <p:blipFill>
          <a:blip r:embed="rId5"/>
          <a:stretch>
            <a:fillRect/>
          </a:stretch>
        </p:blipFill>
        <p:spPr>
          <a:xfrm>
            <a:off x="434282" y="2944339"/>
            <a:ext cx="158750" cy="140034"/>
          </a:xfrm>
          <a:prstGeom prst="rect">
            <a:avLst/>
          </a:prstGeom>
        </p:spPr>
      </p:pic>
      <p:pic>
        <p:nvPicPr>
          <p:cNvPr id="177" name="Picture 176">
            <a:extLst>
              <a:ext uri="{FF2B5EF4-FFF2-40B4-BE49-F238E27FC236}">
                <a16:creationId xmlns:a16="http://schemas.microsoft.com/office/drawing/2014/main" id="{FB48F31D-C4DD-F3E4-2B28-45100EF37F6A}"/>
              </a:ext>
            </a:extLst>
          </p:cNvPr>
          <p:cNvPicPr>
            <a:picLocks noChangeAspect="1"/>
          </p:cNvPicPr>
          <p:nvPr/>
        </p:nvPicPr>
        <p:blipFill>
          <a:blip r:embed="rId5"/>
          <a:stretch>
            <a:fillRect/>
          </a:stretch>
        </p:blipFill>
        <p:spPr>
          <a:xfrm>
            <a:off x="434282" y="3168922"/>
            <a:ext cx="158750" cy="140034"/>
          </a:xfrm>
          <a:prstGeom prst="rect">
            <a:avLst/>
          </a:prstGeom>
        </p:spPr>
      </p:pic>
      <p:pic>
        <p:nvPicPr>
          <p:cNvPr id="179" name="Picture 178">
            <a:extLst>
              <a:ext uri="{FF2B5EF4-FFF2-40B4-BE49-F238E27FC236}">
                <a16:creationId xmlns:a16="http://schemas.microsoft.com/office/drawing/2014/main" id="{E284114F-973F-40D5-1D95-BEE33794B17E}"/>
              </a:ext>
            </a:extLst>
          </p:cNvPr>
          <p:cNvPicPr>
            <a:picLocks noChangeAspect="1"/>
          </p:cNvPicPr>
          <p:nvPr/>
        </p:nvPicPr>
        <p:blipFill>
          <a:blip r:embed="rId5"/>
          <a:stretch>
            <a:fillRect/>
          </a:stretch>
        </p:blipFill>
        <p:spPr>
          <a:xfrm>
            <a:off x="438309" y="3564563"/>
            <a:ext cx="158750" cy="140034"/>
          </a:xfrm>
          <a:prstGeom prst="rect">
            <a:avLst/>
          </a:prstGeom>
        </p:spPr>
      </p:pic>
      <p:pic>
        <p:nvPicPr>
          <p:cNvPr id="180" name="Picture 179">
            <a:extLst>
              <a:ext uri="{FF2B5EF4-FFF2-40B4-BE49-F238E27FC236}">
                <a16:creationId xmlns:a16="http://schemas.microsoft.com/office/drawing/2014/main" id="{83DDEEB5-BBCD-5EB2-77D3-A8D041CE4259}"/>
              </a:ext>
            </a:extLst>
          </p:cNvPr>
          <p:cNvPicPr>
            <a:picLocks noChangeAspect="1"/>
          </p:cNvPicPr>
          <p:nvPr/>
        </p:nvPicPr>
        <p:blipFill>
          <a:blip r:embed="rId5"/>
          <a:stretch>
            <a:fillRect/>
          </a:stretch>
        </p:blipFill>
        <p:spPr>
          <a:xfrm>
            <a:off x="438309" y="3789146"/>
            <a:ext cx="158750" cy="140034"/>
          </a:xfrm>
          <a:prstGeom prst="rect">
            <a:avLst/>
          </a:prstGeom>
        </p:spPr>
      </p:pic>
      <p:pic>
        <p:nvPicPr>
          <p:cNvPr id="181" name="Picture 180">
            <a:extLst>
              <a:ext uri="{FF2B5EF4-FFF2-40B4-BE49-F238E27FC236}">
                <a16:creationId xmlns:a16="http://schemas.microsoft.com/office/drawing/2014/main" id="{27FDD9B6-4065-B3D7-3E5B-2DE237542178}"/>
              </a:ext>
            </a:extLst>
          </p:cNvPr>
          <p:cNvPicPr>
            <a:picLocks noChangeAspect="1"/>
          </p:cNvPicPr>
          <p:nvPr/>
        </p:nvPicPr>
        <p:blipFill>
          <a:blip r:embed="rId5"/>
          <a:stretch>
            <a:fillRect/>
          </a:stretch>
        </p:blipFill>
        <p:spPr>
          <a:xfrm>
            <a:off x="438309" y="4013729"/>
            <a:ext cx="158750" cy="140034"/>
          </a:xfrm>
          <a:prstGeom prst="rect">
            <a:avLst/>
          </a:prstGeom>
        </p:spPr>
      </p:pic>
      <p:pic>
        <p:nvPicPr>
          <p:cNvPr id="182" name="Picture 181">
            <a:extLst>
              <a:ext uri="{FF2B5EF4-FFF2-40B4-BE49-F238E27FC236}">
                <a16:creationId xmlns:a16="http://schemas.microsoft.com/office/drawing/2014/main" id="{0C77E90F-CC2D-708B-835B-EDEA795EF56E}"/>
              </a:ext>
            </a:extLst>
          </p:cNvPr>
          <p:cNvPicPr>
            <a:picLocks noChangeAspect="1"/>
          </p:cNvPicPr>
          <p:nvPr/>
        </p:nvPicPr>
        <p:blipFill>
          <a:blip r:embed="rId5"/>
          <a:stretch>
            <a:fillRect/>
          </a:stretch>
        </p:blipFill>
        <p:spPr>
          <a:xfrm>
            <a:off x="438309" y="4238312"/>
            <a:ext cx="158750" cy="140034"/>
          </a:xfrm>
          <a:prstGeom prst="rect">
            <a:avLst/>
          </a:prstGeom>
        </p:spPr>
      </p:pic>
      <p:pic>
        <p:nvPicPr>
          <p:cNvPr id="183" name="Picture 182">
            <a:extLst>
              <a:ext uri="{FF2B5EF4-FFF2-40B4-BE49-F238E27FC236}">
                <a16:creationId xmlns:a16="http://schemas.microsoft.com/office/drawing/2014/main" id="{B0075834-7A09-CA81-2FBF-250BEAE5FC95}"/>
              </a:ext>
            </a:extLst>
          </p:cNvPr>
          <p:cNvPicPr>
            <a:picLocks noChangeAspect="1"/>
          </p:cNvPicPr>
          <p:nvPr/>
        </p:nvPicPr>
        <p:blipFill>
          <a:blip r:embed="rId5"/>
          <a:stretch>
            <a:fillRect/>
          </a:stretch>
        </p:blipFill>
        <p:spPr>
          <a:xfrm>
            <a:off x="435774" y="4482772"/>
            <a:ext cx="158750" cy="140034"/>
          </a:xfrm>
          <a:prstGeom prst="rect">
            <a:avLst/>
          </a:prstGeom>
          <a:solidFill>
            <a:srgbClr val="FFE680"/>
          </a:solidFill>
        </p:spPr>
      </p:pic>
      <p:pic>
        <p:nvPicPr>
          <p:cNvPr id="184" name="Picture 183">
            <a:extLst>
              <a:ext uri="{FF2B5EF4-FFF2-40B4-BE49-F238E27FC236}">
                <a16:creationId xmlns:a16="http://schemas.microsoft.com/office/drawing/2014/main" id="{4E88C64A-E98A-043E-524B-6662D5D81ED0}"/>
              </a:ext>
            </a:extLst>
          </p:cNvPr>
          <p:cNvPicPr>
            <a:picLocks noChangeAspect="1"/>
          </p:cNvPicPr>
          <p:nvPr/>
        </p:nvPicPr>
        <p:blipFill>
          <a:blip r:embed="rId5"/>
          <a:stretch>
            <a:fillRect/>
          </a:stretch>
        </p:blipFill>
        <p:spPr>
          <a:xfrm>
            <a:off x="435774" y="4707355"/>
            <a:ext cx="158750" cy="140034"/>
          </a:xfrm>
          <a:prstGeom prst="rect">
            <a:avLst/>
          </a:prstGeom>
          <a:solidFill>
            <a:srgbClr val="FFE680"/>
          </a:solidFill>
        </p:spPr>
      </p:pic>
      <p:pic>
        <p:nvPicPr>
          <p:cNvPr id="185" name="Picture 184">
            <a:extLst>
              <a:ext uri="{FF2B5EF4-FFF2-40B4-BE49-F238E27FC236}">
                <a16:creationId xmlns:a16="http://schemas.microsoft.com/office/drawing/2014/main" id="{31590E09-42E9-CDB0-2CE9-488965ADEAF5}"/>
              </a:ext>
            </a:extLst>
          </p:cNvPr>
          <p:cNvPicPr>
            <a:picLocks noChangeAspect="1"/>
          </p:cNvPicPr>
          <p:nvPr/>
        </p:nvPicPr>
        <p:blipFill>
          <a:blip r:embed="rId5"/>
          <a:stretch>
            <a:fillRect/>
          </a:stretch>
        </p:blipFill>
        <p:spPr>
          <a:xfrm>
            <a:off x="435774" y="4931938"/>
            <a:ext cx="158750" cy="140034"/>
          </a:xfrm>
          <a:prstGeom prst="rect">
            <a:avLst/>
          </a:prstGeom>
          <a:solidFill>
            <a:srgbClr val="FFE680"/>
          </a:solidFill>
        </p:spPr>
      </p:pic>
      <p:pic>
        <p:nvPicPr>
          <p:cNvPr id="186" name="Picture 185">
            <a:extLst>
              <a:ext uri="{FF2B5EF4-FFF2-40B4-BE49-F238E27FC236}">
                <a16:creationId xmlns:a16="http://schemas.microsoft.com/office/drawing/2014/main" id="{45D36F6C-6DA0-6CC9-626E-C39B0FF67925}"/>
              </a:ext>
            </a:extLst>
          </p:cNvPr>
          <p:cNvPicPr>
            <a:picLocks noChangeAspect="1"/>
          </p:cNvPicPr>
          <p:nvPr/>
        </p:nvPicPr>
        <p:blipFill>
          <a:blip r:embed="rId5"/>
          <a:stretch>
            <a:fillRect/>
          </a:stretch>
        </p:blipFill>
        <p:spPr>
          <a:xfrm>
            <a:off x="435774" y="5156521"/>
            <a:ext cx="158750" cy="140034"/>
          </a:xfrm>
          <a:prstGeom prst="rect">
            <a:avLst/>
          </a:prstGeom>
          <a:solidFill>
            <a:srgbClr val="FFE680"/>
          </a:solidFill>
        </p:spPr>
      </p:pic>
      <p:pic>
        <p:nvPicPr>
          <p:cNvPr id="187" name="Picture 186">
            <a:extLst>
              <a:ext uri="{FF2B5EF4-FFF2-40B4-BE49-F238E27FC236}">
                <a16:creationId xmlns:a16="http://schemas.microsoft.com/office/drawing/2014/main" id="{FD0B76E1-ABB4-8919-405A-95DC1F80139B}"/>
              </a:ext>
            </a:extLst>
          </p:cNvPr>
          <p:cNvPicPr>
            <a:picLocks noChangeAspect="1"/>
          </p:cNvPicPr>
          <p:nvPr/>
        </p:nvPicPr>
        <p:blipFill>
          <a:blip r:embed="rId5"/>
          <a:stretch>
            <a:fillRect/>
          </a:stretch>
        </p:blipFill>
        <p:spPr>
          <a:xfrm>
            <a:off x="435774" y="5381104"/>
            <a:ext cx="158750" cy="140034"/>
          </a:xfrm>
          <a:prstGeom prst="rect">
            <a:avLst/>
          </a:prstGeom>
          <a:solidFill>
            <a:srgbClr val="FFE680"/>
          </a:solidFill>
        </p:spPr>
      </p:pic>
      <p:pic>
        <p:nvPicPr>
          <p:cNvPr id="188" name="Picture 187">
            <a:extLst>
              <a:ext uri="{FF2B5EF4-FFF2-40B4-BE49-F238E27FC236}">
                <a16:creationId xmlns:a16="http://schemas.microsoft.com/office/drawing/2014/main" id="{D403CEB9-D30F-16E7-AFFD-B01174C0AA8E}"/>
              </a:ext>
            </a:extLst>
          </p:cNvPr>
          <p:cNvPicPr>
            <a:picLocks noChangeAspect="1"/>
          </p:cNvPicPr>
          <p:nvPr/>
        </p:nvPicPr>
        <p:blipFill>
          <a:blip r:embed="rId5"/>
          <a:stretch>
            <a:fillRect/>
          </a:stretch>
        </p:blipFill>
        <p:spPr>
          <a:xfrm>
            <a:off x="435774" y="5605687"/>
            <a:ext cx="158750" cy="140034"/>
          </a:xfrm>
          <a:prstGeom prst="rect">
            <a:avLst/>
          </a:prstGeom>
          <a:solidFill>
            <a:srgbClr val="FFE680"/>
          </a:solidFill>
        </p:spPr>
      </p:pic>
      <p:pic>
        <p:nvPicPr>
          <p:cNvPr id="190" name="Picture 189">
            <a:extLst>
              <a:ext uri="{FF2B5EF4-FFF2-40B4-BE49-F238E27FC236}">
                <a16:creationId xmlns:a16="http://schemas.microsoft.com/office/drawing/2014/main" id="{A420711A-91C2-4342-6F0F-3A106A60AA9F}"/>
              </a:ext>
            </a:extLst>
          </p:cNvPr>
          <p:cNvPicPr>
            <a:picLocks noChangeAspect="1"/>
          </p:cNvPicPr>
          <p:nvPr/>
        </p:nvPicPr>
        <p:blipFill rotWithShape="1">
          <a:blip r:embed="rId6"/>
          <a:srcRect l="1" r="25305" b="34886"/>
          <a:stretch/>
        </p:blipFill>
        <p:spPr>
          <a:xfrm>
            <a:off x="435693" y="4482605"/>
            <a:ext cx="161366" cy="140034"/>
          </a:xfrm>
          <a:prstGeom prst="rect">
            <a:avLst/>
          </a:prstGeom>
        </p:spPr>
      </p:pic>
      <p:pic>
        <p:nvPicPr>
          <p:cNvPr id="191" name="Picture 190">
            <a:extLst>
              <a:ext uri="{FF2B5EF4-FFF2-40B4-BE49-F238E27FC236}">
                <a16:creationId xmlns:a16="http://schemas.microsoft.com/office/drawing/2014/main" id="{948886D2-2064-DDB5-633F-AEF83C0D132C}"/>
              </a:ext>
            </a:extLst>
          </p:cNvPr>
          <p:cNvPicPr>
            <a:picLocks noChangeAspect="1"/>
          </p:cNvPicPr>
          <p:nvPr/>
        </p:nvPicPr>
        <p:blipFill rotWithShape="1">
          <a:blip r:embed="rId6"/>
          <a:srcRect l="1" r="25305" b="34886"/>
          <a:stretch/>
        </p:blipFill>
        <p:spPr>
          <a:xfrm>
            <a:off x="435693" y="4707557"/>
            <a:ext cx="161366" cy="140034"/>
          </a:xfrm>
          <a:prstGeom prst="rect">
            <a:avLst/>
          </a:prstGeom>
        </p:spPr>
      </p:pic>
      <p:pic>
        <p:nvPicPr>
          <p:cNvPr id="192" name="Picture 191">
            <a:extLst>
              <a:ext uri="{FF2B5EF4-FFF2-40B4-BE49-F238E27FC236}">
                <a16:creationId xmlns:a16="http://schemas.microsoft.com/office/drawing/2014/main" id="{6C12935F-BDB9-988C-A077-09E5F09F1F43}"/>
              </a:ext>
            </a:extLst>
          </p:cNvPr>
          <p:cNvPicPr>
            <a:picLocks noChangeAspect="1"/>
          </p:cNvPicPr>
          <p:nvPr/>
        </p:nvPicPr>
        <p:blipFill rotWithShape="1">
          <a:blip r:embed="rId6"/>
          <a:srcRect l="1" r="25305" b="34886"/>
          <a:stretch/>
        </p:blipFill>
        <p:spPr>
          <a:xfrm>
            <a:off x="435693" y="4932509"/>
            <a:ext cx="161366" cy="140034"/>
          </a:xfrm>
          <a:prstGeom prst="rect">
            <a:avLst/>
          </a:prstGeom>
        </p:spPr>
      </p:pic>
      <p:pic>
        <p:nvPicPr>
          <p:cNvPr id="193" name="Picture 192">
            <a:extLst>
              <a:ext uri="{FF2B5EF4-FFF2-40B4-BE49-F238E27FC236}">
                <a16:creationId xmlns:a16="http://schemas.microsoft.com/office/drawing/2014/main" id="{52C228CE-D415-C6B6-7D7F-845B2C741C54}"/>
              </a:ext>
            </a:extLst>
          </p:cNvPr>
          <p:cNvPicPr>
            <a:picLocks noChangeAspect="1"/>
          </p:cNvPicPr>
          <p:nvPr/>
        </p:nvPicPr>
        <p:blipFill rotWithShape="1">
          <a:blip r:embed="rId6"/>
          <a:srcRect l="1" r="25305" b="34886"/>
          <a:stretch/>
        </p:blipFill>
        <p:spPr>
          <a:xfrm>
            <a:off x="435693" y="5157461"/>
            <a:ext cx="161366" cy="140034"/>
          </a:xfrm>
          <a:prstGeom prst="rect">
            <a:avLst/>
          </a:prstGeom>
        </p:spPr>
      </p:pic>
      <p:pic>
        <p:nvPicPr>
          <p:cNvPr id="194" name="Picture 193">
            <a:extLst>
              <a:ext uri="{FF2B5EF4-FFF2-40B4-BE49-F238E27FC236}">
                <a16:creationId xmlns:a16="http://schemas.microsoft.com/office/drawing/2014/main" id="{D08B2F42-DF67-9411-CC9D-1056178CAE4C}"/>
              </a:ext>
            </a:extLst>
          </p:cNvPr>
          <p:cNvPicPr>
            <a:picLocks noChangeAspect="1"/>
          </p:cNvPicPr>
          <p:nvPr/>
        </p:nvPicPr>
        <p:blipFill rotWithShape="1">
          <a:blip r:embed="rId6"/>
          <a:srcRect l="1" r="25305" b="34886"/>
          <a:stretch/>
        </p:blipFill>
        <p:spPr>
          <a:xfrm>
            <a:off x="435693" y="5382413"/>
            <a:ext cx="161366" cy="140034"/>
          </a:xfrm>
          <a:prstGeom prst="rect">
            <a:avLst/>
          </a:prstGeom>
        </p:spPr>
      </p:pic>
      <p:pic>
        <p:nvPicPr>
          <p:cNvPr id="195" name="Picture 194">
            <a:extLst>
              <a:ext uri="{FF2B5EF4-FFF2-40B4-BE49-F238E27FC236}">
                <a16:creationId xmlns:a16="http://schemas.microsoft.com/office/drawing/2014/main" id="{87CF2574-F1B0-6D56-F1E2-8787277EBA01}"/>
              </a:ext>
            </a:extLst>
          </p:cNvPr>
          <p:cNvPicPr>
            <a:picLocks noChangeAspect="1"/>
          </p:cNvPicPr>
          <p:nvPr/>
        </p:nvPicPr>
        <p:blipFill rotWithShape="1">
          <a:blip r:embed="rId6"/>
          <a:srcRect l="1" r="25305" b="34886"/>
          <a:stretch/>
        </p:blipFill>
        <p:spPr>
          <a:xfrm>
            <a:off x="435693" y="5607365"/>
            <a:ext cx="161366" cy="140034"/>
          </a:xfrm>
          <a:prstGeom prst="rect">
            <a:avLst/>
          </a:prstGeom>
        </p:spPr>
      </p:pic>
      <p:pic>
        <p:nvPicPr>
          <p:cNvPr id="196" name="Picture 195">
            <a:extLst>
              <a:ext uri="{FF2B5EF4-FFF2-40B4-BE49-F238E27FC236}">
                <a16:creationId xmlns:a16="http://schemas.microsoft.com/office/drawing/2014/main" id="{FF547E54-2BD1-24EF-D1BF-AF615F651C32}"/>
              </a:ext>
            </a:extLst>
          </p:cNvPr>
          <p:cNvPicPr>
            <a:picLocks noChangeAspect="1"/>
          </p:cNvPicPr>
          <p:nvPr/>
        </p:nvPicPr>
        <p:blipFill rotWithShape="1">
          <a:blip r:embed="rId6"/>
          <a:srcRect l="1" r="25305" b="34886"/>
          <a:stretch/>
        </p:blipFill>
        <p:spPr>
          <a:xfrm>
            <a:off x="435693" y="5830729"/>
            <a:ext cx="161366" cy="140034"/>
          </a:xfrm>
          <a:prstGeom prst="rect">
            <a:avLst/>
          </a:prstGeom>
        </p:spPr>
      </p:pic>
      <p:sp>
        <p:nvSpPr>
          <p:cNvPr id="197" name="TextBox 196">
            <a:extLst>
              <a:ext uri="{FF2B5EF4-FFF2-40B4-BE49-F238E27FC236}">
                <a16:creationId xmlns:a16="http://schemas.microsoft.com/office/drawing/2014/main" id="{89C69D93-8386-39F9-0057-1299DB6ADDB6}"/>
              </a:ext>
            </a:extLst>
          </p:cNvPr>
          <p:cNvSpPr txBox="1"/>
          <p:nvPr/>
        </p:nvSpPr>
        <p:spPr>
          <a:xfrm>
            <a:off x="6789534" y="5193662"/>
            <a:ext cx="5087655" cy="507831"/>
          </a:xfrm>
          <a:prstGeom prst="rect">
            <a:avLst/>
          </a:prstGeom>
          <a:noFill/>
        </p:spPr>
        <p:txBody>
          <a:bodyPr wrap="square" lIns="0" tIns="0" rIns="0" bIns="0" rtlCol="0">
            <a:spAutoFit/>
          </a:bodyPr>
          <a:lstStyle/>
          <a:p>
            <a:pPr>
              <a:spcBef>
                <a:spcPts val="600"/>
              </a:spcBef>
            </a:pPr>
            <a:r>
              <a:rPr lang="en-GB" sz="1400" b="1" dirty="0"/>
              <a:t>New features:</a:t>
            </a:r>
          </a:p>
          <a:p>
            <a:pPr marL="0" indent="0" algn="l">
              <a:spcBef>
                <a:spcPts val="600"/>
              </a:spcBef>
              <a:buFont typeface="Wingdings" panose="05000000000000000000" pitchFamily="2" charset="2"/>
              <a:buNone/>
            </a:pPr>
            <a:endParaRPr lang="en-GB" sz="1400" dirty="0" err="1"/>
          </a:p>
        </p:txBody>
      </p:sp>
      <p:pic>
        <p:nvPicPr>
          <p:cNvPr id="199" name="Picture 198">
            <a:extLst>
              <a:ext uri="{FF2B5EF4-FFF2-40B4-BE49-F238E27FC236}">
                <a16:creationId xmlns:a16="http://schemas.microsoft.com/office/drawing/2014/main" id="{88825FFC-D77E-1727-338C-E43C5E006953}"/>
              </a:ext>
            </a:extLst>
          </p:cNvPr>
          <p:cNvPicPr>
            <a:picLocks noChangeAspect="1"/>
          </p:cNvPicPr>
          <p:nvPr/>
        </p:nvPicPr>
        <p:blipFill>
          <a:blip r:embed="rId7"/>
          <a:stretch>
            <a:fillRect/>
          </a:stretch>
        </p:blipFill>
        <p:spPr>
          <a:xfrm>
            <a:off x="6743504" y="2069293"/>
            <a:ext cx="5066896" cy="3021327"/>
          </a:xfrm>
          <a:prstGeom prst="rect">
            <a:avLst/>
          </a:prstGeom>
        </p:spPr>
      </p:pic>
    </p:spTree>
    <p:extLst>
      <p:ext uri="{BB962C8B-B14F-4D97-AF65-F5344CB8AC3E}">
        <p14:creationId xmlns:p14="http://schemas.microsoft.com/office/powerpoint/2010/main" val="36135067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0F733B-245E-4E5E-BEBD-088828324F12}"/>
              </a:ext>
            </a:extLst>
          </p:cNvPr>
          <p:cNvGraphicFramePr>
            <a:graphicFrameLocks noChangeAspect="1"/>
          </p:cNvGraphicFramePr>
          <p:nvPr>
            <p:custDataLst>
              <p:tags r:id="rId1"/>
            </p:custDataLst>
            <p:extLst>
              <p:ext uri="{D42A27DB-BD31-4B8C-83A1-F6EECF244321}">
                <p14:modId xmlns:p14="http://schemas.microsoft.com/office/powerpoint/2010/main" val="181022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10" name="Object 9" hidden="1">
                        <a:extLst>
                          <a:ext uri="{FF2B5EF4-FFF2-40B4-BE49-F238E27FC236}">
                            <a16:creationId xmlns:a16="http://schemas.microsoft.com/office/drawing/2014/main" id="{300F733B-245E-4E5E-BEBD-088828324F12}"/>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D9F4AAA9-0CCD-DF67-E076-E3496272C8C5}"/>
              </a:ext>
            </a:extLst>
          </p:cNvPr>
          <p:cNvGrpSpPr/>
          <p:nvPr/>
        </p:nvGrpSpPr>
        <p:grpSpPr>
          <a:xfrm>
            <a:off x="884321" y="1777161"/>
            <a:ext cx="744453" cy="2354056"/>
            <a:chOff x="884321" y="1774825"/>
            <a:chExt cx="963613" cy="2356392"/>
          </a:xfrm>
        </p:grpSpPr>
        <p:sp>
          <p:nvSpPr>
            <p:cNvPr id="21" name="Rectangle 20">
              <a:extLst>
                <a:ext uri="{FF2B5EF4-FFF2-40B4-BE49-F238E27FC236}">
                  <a16:creationId xmlns:a16="http://schemas.microsoft.com/office/drawing/2014/main" id="{7DE85D8A-4B9D-9BBD-45B4-20CDD9324B32}"/>
                </a:ext>
              </a:extLst>
            </p:cNvPr>
            <p:cNvSpPr/>
            <p:nvPr/>
          </p:nvSpPr>
          <p:spPr>
            <a:xfrm>
              <a:off x="884321" y="1774825"/>
              <a:ext cx="963613" cy="2356392"/>
            </a:xfrm>
            <a:prstGeom prst="rect">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22" name="TextBox 21">
              <a:extLst>
                <a:ext uri="{FF2B5EF4-FFF2-40B4-BE49-F238E27FC236}">
                  <a16:creationId xmlns:a16="http://schemas.microsoft.com/office/drawing/2014/main" id="{B8F8DB52-0B30-9EF2-4E7B-068B64B49B79}"/>
                </a:ext>
              </a:extLst>
            </p:cNvPr>
            <p:cNvSpPr txBox="1"/>
            <p:nvPr/>
          </p:nvSpPr>
          <p:spPr>
            <a:xfrm>
              <a:off x="945008" y="1785673"/>
              <a:ext cx="842238" cy="16327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100" b="0" i="0" u="none" strike="noStrike" kern="1200" cap="none" spc="0" normalizeH="0" baseline="0" noProof="0">
                  <a:ln>
                    <a:noFill/>
                  </a:ln>
                  <a:solidFill>
                    <a:srgbClr val="838383"/>
                  </a:solidFill>
                  <a:effectLst/>
                  <a:uLnTx/>
                  <a:uFillTx/>
                  <a:latin typeface="Lato"/>
                  <a:ea typeface="+mn-ea"/>
                  <a:cs typeface="+mn-cs"/>
                </a:rPr>
                <a:t>Historical</a:t>
              </a:r>
            </a:p>
          </p:txBody>
        </p:sp>
      </p:grpSp>
      <p:sp>
        <p:nvSpPr>
          <p:cNvPr id="491" name="Flowchart: Terminator 490">
            <a:extLst>
              <a:ext uri="{FF2B5EF4-FFF2-40B4-BE49-F238E27FC236}">
                <a16:creationId xmlns:a16="http://schemas.microsoft.com/office/drawing/2014/main" id="{5757EF39-A4C7-7A80-97B5-D22296DB34FF}"/>
              </a:ext>
            </a:extLst>
          </p:cNvPr>
          <p:cNvSpPr/>
          <p:nvPr/>
        </p:nvSpPr>
        <p:spPr>
          <a:xfrm>
            <a:off x="1685800" y="4375736"/>
            <a:ext cx="540000" cy="170978"/>
          </a:xfrm>
          <a:prstGeom prst="flowChartTerminator">
            <a:avLst/>
          </a:prstGeom>
          <a:solidFill>
            <a:schemeClr val="accent2"/>
          </a:solidFill>
          <a:ln w="12700">
            <a:solidFill>
              <a:srgbClr val="FFCC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3C3C3B"/>
                </a:solidFill>
                <a:effectLst/>
                <a:uLnTx/>
                <a:uFillTx/>
                <a:latin typeface="Lato"/>
                <a:ea typeface="+mn-ea"/>
                <a:cs typeface="+mn-cs"/>
              </a:rPr>
              <a:t>XX%</a:t>
            </a:r>
          </a:p>
        </p:txBody>
      </p:sp>
      <p:graphicFrame>
        <p:nvGraphicFramePr>
          <p:cNvPr id="858" name="Chart 857">
            <a:extLst>
              <a:ext uri="{FF2B5EF4-FFF2-40B4-BE49-F238E27FC236}">
                <a16:creationId xmlns:a16="http://schemas.microsoft.com/office/drawing/2014/main" id="{7F91CF5F-FAF0-ED93-6517-F79FA19F5C89}"/>
              </a:ext>
            </a:extLst>
          </p:cNvPr>
          <p:cNvGraphicFramePr/>
          <p:nvPr>
            <p:custDataLst>
              <p:tags r:id="rId2"/>
            </p:custDataLst>
            <p:extLst>
              <p:ext uri="{D42A27DB-BD31-4B8C-83A1-F6EECF244321}">
                <p14:modId xmlns:p14="http://schemas.microsoft.com/office/powerpoint/2010/main" val="2462798462"/>
              </p:ext>
            </p:extLst>
          </p:nvPr>
        </p:nvGraphicFramePr>
        <p:xfrm>
          <a:off x="790575" y="1676400"/>
          <a:ext cx="3644900" cy="2532063"/>
        </p:xfrm>
        <a:graphic>
          <a:graphicData uri="http://schemas.openxmlformats.org/drawingml/2006/chart">
            <c:chart xmlns:c="http://schemas.openxmlformats.org/drawingml/2006/chart" xmlns:r="http://schemas.openxmlformats.org/officeDocument/2006/relationships" r:id="rId50"/>
          </a:graphicData>
        </a:graphic>
      </p:graphicFrame>
      <p:sp>
        <p:nvSpPr>
          <p:cNvPr id="268" name="Rectangle 267">
            <a:extLst>
              <a:ext uri="{FF2B5EF4-FFF2-40B4-BE49-F238E27FC236}">
                <a16:creationId xmlns:a16="http://schemas.microsoft.com/office/drawing/2014/main" id="{B5293BE9-CA48-C20D-03F9-36577DFDF168}"/>
              </a:ext>
            </a:extLst>
          </p:cNvPr>
          <p:cNvSpPr/>
          <p:nvPr>
            <p:custDataLst>
              <p:tags r:id="rId3"/>
            </p:custDataLst>
          </p:nvPr>
        </p:nvSpPr>
        <p:spPr bwMode="auto">
          <a:xfrm>
            <a:off x="3773488" y="2066925"/>
            <a:ext cx="463550" cy="695325"/>
          </a:xfrm>
          <a:prstGeom prst="rect">
            <a:avLst/>
          </a:prstGeom>
          <a:noFill/>
          <a:ln w="22225" cap="flat" cmpd="sng" algn="ctr">
            <a:solidFill>
              <a:schemeClr val="tx1"/>
            </a:solidFill>
            <a:prstDash val="sysDot"/>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67" name="Rectangle 266">
            <a:extLst>
              <a:ext uri="{FF2B5EF4-FFF2-40B4-BE49-F238E27FC236}">
                <a16:creationId xmlns:a16="http://schemas.microsoft.com/office/drawing/2014/main" id="{9411C4FA-5E4B-8361-9357-E7C11465A453}"/>
              </a:ext>
            </a:extLst>
          </p:cNvPr>
          <p:cNvSpPr/>
          <p:nvPr>
            <p:custDataLst>
              <p:tags r:id="rId4"/>
            </p:custDataLst>
          </p:nvPr>
        </p:nvSpPr>
        <p:spPr bwMode="auto">
          <a:xfrm>
            <a:off x="3076574" y="2406650"/>
            <a:ext cx="465138" cy="633413"/>
          </a:xfrm>
          <a:prstGeom prst="rect">
            <a:avLst/>
          </a:prstGeom>
          <a:noFill/>
          <a:ln w="22225" cap="flat" cmpd="sng" algn="ctr">
            <a:solidFill>
              <a:schemeClr val="tx1"/>
            </a:solidFill>
            <a:prstDash val="sysDot"/>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66" name="Rectangle 265">
            <a:extLst>
              <a:ext uri="{FF2B5EF4-FFF2-40B4-BE49-F238E27FC236}">
                <a16:creationId xmlns:a16="http://schemas.microsoft.com/office/drawing/2014/main" id="{8964C2EC-4164-DEB4-B3CD-7284A7CAA525}"/>
              </a:ext>
            </a:extLst>
          </p:cNvPr>
          <p:cNvSpPr/>
          <p:nvPr>
            <p:custDataLst>
              <p:tags r:id="rId5"/>
            </p:custDataLst>
          </p:nvPr>
        </p:nvSpPr>
        <p:spPr bwMode="auto">
          <a:xfrm>
            <a:off x="2381250" y="2773363"/>
            <a:ext cx="463550" cy="593725"/>
          </a:xfrm>
          <a:prstGeom prst="rect">
            <a:avLst/>
          </a:prstGeom>
          <a:noFill/>
          <a:ln w="22225" cap="flat" cmpd="sng" algn="ctr">
            <a:solidFill>
              <a:schemeClr val="tx1"/>
            </a:solidFill>
            <a:prstDash val="sysDot"/>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65" name="Rectangle 264">
            <a:extLst>
              <a:ext uri="{FF2B5EF4-FFF2-40B4-BE49-F238E27FC236}">
                <a16:creationId xmlns:a16="http://schemas.microsoft.com/office/drawing/2014/main" id="{EA6116A3-FDCC-D61F-2DF5-B8F8724196F9}"/>
              </a:ext>
            </a:extLst>
          </p:cNvPr>
          <p:cNvSpPr/>
          <p:nvPr>
            <p:custDataLst>
              <p:tags r:id="rId6"/>
            </p:custDataLst>
          </p:nvPr>
        </p:nvSpPr>
        <p:spPr bwMode="auto">
          <a:xfrm>
            <a:off x="1684338" y="3152774"/>
            <a:ext cx="465138" cy="590550"/>
          </a:xfrm>
          <a:prstGeom prst="rect">
            <a:avLst/>
          </a:prstGeom>
          <a:noFill/>
          <a:ln w="22225" cap="flat" cmpd="sng" algn="ctr">
            <a:solidFill>
              <a:schemeClr val="tx1"/>
            </a:solidFill>
            <a:prstDash val="sysDot"/>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855" name="Rectangle 854">
            <a:extLst>
              <a:ext uri="{FF2B5EF4-FFF2-40B4-BE49-F238E27FC236}">
                <a16:creationId xmlns:a16="http://schemas.microsoft.com/office/drawing/2014/main" id="{D8B924FC-A4D2-520B-C55F-A1EB8B148167}"/>
              </a:ext>
            </a:extLst>
          </p:cNvPr>
          <p:cNvSpPr/>
          <p:nvPr>
            <p:custDataLst>
              <p:tags r:id="rId7"/>
            </p:custDataLst>
          </p:nvPr>
        </p:nvSpPr>
        <p:spPr bwMode="auto">
          <a:xfrm>
            <a:off x="989013" y="3432175"/>
            <a:ext cx="463550" cy="523875"/>
          </a:xfrm>
          <a:prstGeom prst="rect">
            <a:avLst/>
          </a:prstGeom>
          <a:noFill/>
          <a:ln w="22225" cap="flat" cmpd="sng" algn="ctr">
            <a:solidFill>
              <a:schemeClr val="tx1"/>
            </a:solidFill>
            <a:prstDash val="sysDot"/>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aphicFrame>
        <p:nvGraphicFramePr>
          <p:cNvPr id="517" name="Chart 516">
            <a:extLst>
              <a:ext uri="{FF2B5EF4-FFF2-40B4-BE49-F238E27FC236}">
                <a16:creationId xmlns:a16="http://schemas.microsoft.com/office/drawing/2014/main" id="{EDDDD9B7-E786-DBE9-231F-DC0B29061768}"/>
              </a:ext>
            </a:extLst>
          </p:cNvPr>
          <p:cNvGraphicFramePr/>
          <p:nvPr>
            <p:custDataLst>
              <p:tags r:id="rId8"/>
            </p:custDataLst>
            <p:extLst>
              <p:ext uri="{D42A27DB-BD31-4B8C-83A1-F6EECF244321}">
                <p14:modId xmlns:p14="http://schemas.microsoft.com/office/powerpoint/2010/main" val="4029369033"/>
              </p:ext>
            </p:extLst>
          </p:nvPr>
        </p:nvGraphicFramePr>
        <p:xfrm>
          <a:off x="801688" y="1666875"/>
          <a:ext cx="3633787" cy="2532063"/>
        </p:xfrm>
        <a:graphic>
          <a:graphicData uri="http://schemas.openxmlformats.org/drawingml/2006/chart">
            <c:chart xmlns:c="http://schemas.openxmlformats.org/drawingml/2006/chart" xmlns:r="http://schemas.openxmlformats.org/officeDocument/2006/relationships" r:id="rId51"/>
          </a:graphicData>
        </a:graphic>
      </p:graphicFrame>
      <p:cxnSp>
        <p:nvCxnSpPr>
          <p:cNvPr id="11" name="Straight Connector 10">
            <a:extLst>
              <a:ext uri="{FF2B5EF4-FFF2-40B4-BE49-F238E27FC236}">
                <a16:creationId xmlns:a16="http://schemas.microsoft.com/office/drawing/2014/main" id="{D109C6F2-FA54-1092-F109-3F3C06FE9233}"/>
              </a:ext>
            </a:extLst>
          </p:cNvPr>
          <p:cNvCxnSpPr>
            <a:cxnSpLocks/>
          </p:cNvCxnSpPr>
          <p:nvPr>
            <p:custDataLst>
              <p:tags r:id="rId9"/>
            </p:custDataLst>
          </p:nvPr>
        </p:nvCxnSpPr>
        <p:spPr bwMode="gray">
          <a:xfrm>
            <a:off x="2617788" y="2562225"/>
            <a:ext cx="0" cy="7572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4B9F7505-300B-FBA0-3668-6EF6190AA92E}"/>
              </a:ext>
            </a:extLst>
          </p:cNvPr>
          <p:cNvCxnSpPr/>
          <p:nvPr>
            <p:custDataLst>
              <p:tags r:id="rId10"/>
            </p:custDataLst>
          </p:nvPr>
        </p:nvCxnSpPr>
        <p:spPr bwMode="gray">
          <a:xfrm flipV="1">
            <a:off x="1924050" y="2562225"/>
            <a:ext cx="0" cy="11334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A97CCB7-E429-B2A2-2425-65744DFB0C54}"/>
              </a:ext>
            </a:extLst>
          </p:cNvPr>
          <p:cNvCxnSpPr>
            <a:cxnSpLocks/>
          </p:cNvCxnSpPr>
          <p:nvPr>
            <p:custDataLst>
              <p:tags r:id="rId11"/>
            </p:custDataLst>
          </p:nvPr>
        </p:nvCxnSpPr>
        <p:spPr bwMode="gray">
          <a:xfrm>
            <a:off x="1924051" y="2562225"/>
            <a:ext cx="20812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EEBC167F-3847-2CAB-3E09-7C341B40D577}"/>
              </a:ext>
            </a:extLst>
          </p:cNvPr>
          <p:cNvCxnSpPr/>
          <p:nvPr>
            <p:custDataLst>
              <p:tags r:id="rId12"/>
            </p:custDataLst>
          </p:nvPr>
        </p:nvCxnSpPr>
        <p:spPr bwMode="gray">
          <a:xfrm>
            <a:off x="4005263" y="2562225"/>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70" name="Text Placeholder 1">
            <a:extLst>
              <a:ext uri="{FF2B5EF4-FFF2-40B4-BE49-F238E27FC236}">
                <a16:creationId xmlns:a16="http://schemas.microsoft.com/office/drawing/2014/main" id="{F600932F-397F-7ED9-3F96-E7F65E3A1616}"/>
              </a:ext>
            </a:extLst>
          </p:cNvPr>
          <p:cNvSpPr>
            <a:spLocks noGrp="1"/>
          </p:cNvSpPr>
          <p:nvPr>
            <p:custDataLst>
              <p:tags r:id="rId13"/>
            </p:custDataLst>
          </p:nvPr>
        </p:nvSpPr>
        <p:spPr bwMode="auto">
          <a:xfrm>
            <a:off x="1046163" y="41671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E67A8A17-5B68-45E9-89F9-AAD142068BC2}" type="datetime'''''''''2''''''''''0''''''1''''''''''''5'">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15</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71" name="Text Placeholder 1">
            <a:extLst>
              <a:ext uri="{FF2B5EF4-FFF2-40B4-BE49-F238E27FC236}">
                <a16:creationId xmlns:a16="http://schemas.microsoft.com/office/drawing/2014/main" id="{3466202D-37BF-4D36-EEE8-8189EAF86201}"/>
              </a:ext>
            </a:extLst>
          </p:cNvPr>
          <p:cNvSpPr>
            <a:spLocks noGrp="1"/>
          </p:cNvSpPr>
          <p:nvPr>
            <p:custDataLst>
              <p:tags r:id="rId14"/>
            </p:custDataLst>
          </p:nvPr>
        </p:nvSpPr>
        <p:spPr bwMode="auto">
          <a:xfrm>
            <a:off x="1739900" y="41671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DDFCD149-F905-469E-B9FA-C713FF6744C7}" type="datetime'''''''''''''''''''''''''''''''''''''''2''0''''23'''''''''''">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23</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72" name="Text Placeholder 1">
            <a:extLst>
              <a:ext uri="{FF2B5EF4-FFF2-40B4-BE49-F238E27FC236}">
                <a16:creationId xmlns:a16="http://schemas.microsoft.com/office/drawing/2014/main" id="{C4A97A83-16BB-1E98-C72B-87865C194135}"/>
              </a:ext>
            </a:extLst>
          </p:cNvPr>
          <p:cNvSpPr>
            <a:spLocks noGrp="1"/>
          </p:cNvSpPr>
          <p:nvPr>
            <p:custDataLst>
              <p:tags r:id="rId15"/>
            </p:custDataLst>
          </p:nvPr>
        </p:nvSpPr>
        <p:spPr bwMode="auto">
          <a:xfrm>
            <a:off x="2433638" y="41671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0A889BC9-242E-4CA9-8485-DBB91BDCA3A0}" type="datetime'20''''''''''''''3''''''''''''''''''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74" name="Text Placeholder 1">
            <a:extLst>
              <a:ext uri="{FF2B5EF4-FFF2-40B4-BE49-F238E27FC236}">
                <a16:creationId xmlns:a16="http://schemas.microsoft.com/office/drawing/2014/main" id="{34DF0784-9B83-96CD-7F80-8513CD8BFD32}"/>
              </a:ext>
            </a:extLst>
          </p:cNvPr>
          <p:cNvSpPr>
            <a:spLocks noGrp="1"/>
          </p:cNvSpPr>
          <p:nvPr>
            <p:custDataLst>
              <p:tags r:id="rId16"/>
            </p:custDataLst>
          </p:nvPr>
        </p:nvSpPr>
        <p:spPr bwMode="auto">
          <a:xfrm>
            <a:off x="3127375" y="41671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C96E4822-CF51-4910-958C-224AF969791E}" type="datetime'''''''''''''2''0''''''''''4''''''''''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73" name="Text Placeholder 1">
            <a:extLst>
              <a:ext uri="{FF2B5EF4-FFF2-40B4-BE49-F238E27FC236}">
                <a16:creationId xmlns:a16="http://schemas.microsoft.com/office/drawing/2014/main" id="{683CD11E-76AE-67B6-E865-498A3A2E9D5E}"/>
              </a:ext>
            </a:extLst>
          </p:cNvPr>
          <p:cNvSpPr>
            <a:spLocks noGrp="1"/>
          </p:cNvSpPr>
          <p:nvPr>
            <p:custDataLst>
              <p:tags r:id="rId17"/>
            </p:custDataLst>
          </p:nvPr>
        </p:nvSpPr>
        <p:spPr bwMode="auto">
          <a:xfrm>
            <a:off x="3821113" y="41671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1455281D-3782-491A-B044-1A3D154A3355}" type="datetime'''''''''''''''2''''''''''''''0''''''''''''''''5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 name="Title 2">
            <a:extLst>
              <a:ext uri="{FF2B5EF4-FFF2-40B4-BE49-F238E27FC236}">
                <a16:creationId xmlns:a16="http://schemas.microsoft.com/office/drawing/2014/main" id="{730ABDDA-85A4-4992-908F-C9093A4C6D5E}"/>
              </a:ext>
            </a:extLst>
          </p:cNvPr>
          <p:cNvSpPr>
            <a:spLocks noGrp="1"/>
          </p:cNvSpPr>
          <p:nvPr>
            <p:ph type="title"/>
          </p:nvPr>
        </p:nvSpPr>
        <p:spPr>
          <a:xfrm>
            <a:off x="395288" y="411856"/>
            <a:ext cx="8586782" cy="609398"/>
          </a:xfrm>
        </p:spPr>
        <p:txBody>
          <a:bodyPr vert="horz"/>
          <a:lstStyle/>
          <a:p>
            <a:pPr marL="444500"/>
            <a:r>
              <a:rPr lang="en-GB">
                <a:latin typeface="Lato"/>
                <a:ea typeface="Lato"/>
                <a:cs typeface="Lato"/>
              </a:rPr>
              <a:t>Europe could see a </a:t>
            </a:r>
            <a:r>
              <a:rPr lang="en-GB">
                <a:solidFill>
                  <a:srgbClr val="808080"/>
                </a:solidFill>
                <a:highlight>
                  <a:srgbClr val="808080"/>
                </a:highlight>
                <a:ea typeface="Lato"/>
                <a:cs typeface="Lato"/>
              </a:rPr>
              <a:t>        </a:t>
            </a:r>
            <a:r>
              <a:rPr lang="en-GB">
                <a:latin typeface="Lato"/>
                <a:ea typeface="Lato"/>
                <a:cs typeface="Lato"/>
              </a:rPr>
              <a:t>GW increase in variable renewables capacity by 2030</a:t>
            </a:r>
            <a:r>
              <a:rPr lang="en-GB">
                <a:solidFill>
                  <a:schemeClr val="tx1"/>
                </a:solidFill>
                <a:latin typeface="Lato"/>
                <a:ea typeface="Lato"/>
                <a:cs typeface="Lato"/>
              </a:rPr>
              <a:t>,</a:t>
            </a:r>
            <a:r>
              <a:rPr lang="en-GB">
                <a:latin typeface="Lato"/>
                <a:ea typeface="Lato"/>
                <a:cs typeface="Lato"/>
              </a:rPr>
              <a:t> accounting for </a:t>
            </a:r>
            <a:r>
              <a:rPr lang="en-GB">
                <a:solidFill>
                  <a:srgbClr val="808080"/>
                </a:solidFill>
                <a:highlight>
                  <a:srgbClr val="808080"/>
                </a:highlight>
                <a:ea typeface="Lato"/>
                <a:cs typeface="Lato"/>
              </a:rPr>
              <a:t>       </a:t>
            </a:r>
            <a:r>
              <a:rPr lang="en-GB">
                <a:latin typeface="Lato"/>
                <a:ea typeface="Lato"/>
                <a:cs typeface="Lato"/>
              </a:rPr>
              <a:t>% of total generation</a:t>
            </a:r>
          </a:p>
        </p:txBody>
      </p:sp>
      <p:sp>
        <p:nvSpPr>
          <p:cNvPr id="269" name="Text Placeholder 268">
            <a:extLst>
              <a:ext uri="{FF2B5EF4-FFF2-40B4-BE49-F238E27FC236}">
                <a16:creationId xmlns:a16="http://schemas.microsoft.com/office/drawing/2014/main" id="{B2E410D2-E236-46C3-9A97-F3D63FEA2058}"/>
              </a:ext>
            </a:extLst>
          </p:cNvPr>
          <p:cNvSpPr>
            <a:spLocks noGrp="1"/>
          </p:cNvSpPr>
          <p:nvPr>
            <p:ph type="body" sz="quarter" idx="29"/>
          </p:nvPr>
        </p:nvSpPr>
        <p:spPr/>
        <p:txBody>
          <a:bodyPr/>
          <a:lstStyle/>
          <a:p>
            <a:r>
              <a:rPr lang="en-GB" sz="1200" b="1">
                <a:latin typeface="Lato"/>
              </a:rPr>
              <a:t>Installed variable renewable capacity in Europe (Aurora Central scenario)</a:t>
            </a:r>
            <a:r>
              <a:rPr lang="en-GB" sz="1200">
                <a:solidFill>
                  <a:schemeClr val="accent5"/>
                </a:solidFill>
                <a:latin typeface="Lato"/>
              </a:rPr>
              <a:t>,</a:t>
            </a:r>
            <a:r>
              <a:rPr lang="en-GB" sz="1200" b="0">
                <a:solidFill>
                  <a:schemeClr val="accent5"/>
                </a:solidFill>
                <a:latin typeface="Lato"/>
              </a:rPr>
              <a:t>GW</a:t>
            </a:r>
          </a:p>
        </p:txBody>
      </p:sp>
      <p:sp>
        <p:nvSpPr>
          <p:cNvPr id="13" name="Text Placeholder 12">
            <a:extLst>
              <a:ext uri="{FF2B5EF4-FFF2-40B4-BE49-F238E27FC236}">
                <a16:creationId xmlns:a16="http://schemas.microsoft.com/office/drawing/2014/main" id="{3C64D35A-2E9A-E75A-BEF8-CD8F4DF28C47}"/>
              </a:ext>
            </a:extLst>
          </p:cNvPr>
          <p:cNvSpPr>
            <a:spLocks noGrp="1"/>
          </p:cNvSpPr>
          <p:nvPr>
            <p:ph type="body" sz="quarter" idx="36"/>
          </p:nvPr>
        </p:nvSpPr>
        <p:spPr>
          <a:xfrm>
            <a:off x="5020274" y="1268129"/>
            <a:ext cx="3962400" cy="553998"/>
          </a:xfrm>
        </p:spPr>
        <p:txBody>
          <a:bodyPr/>
          <a:lstStyle/>
          <a:p>
            <a:r>
              <a:rPr lang="en-GB" sz="1200" b="1">
                <a:latin typeface="Lato"/>
              </a:rPr>
              <a:t>Installed variable renewable</a:t>
            </a:r>
            <a:r>
              <a:rPr lang="en-GB" sz="1200" b="1" baseline="30000">
                <a:latin typeface="Lato"/>
              </a:rPr>
              <a:t>1</a:t>
            </a:r>
            <a:r>
              <a:rPr lang="en-GB" sz="1200" b="1">
                <a:latin typeface="Lato"/>
              </a:rPr>
              <a:t> capacity by 2030 (Aurora Central Scenario)</a:t>
            </a:r>
            <a:r>
              <a:rPr lang="en-GB">
                <a:latin typeface="Lato"/>
              </a:rPr>
              <a:t>,</a:t>
            </a:r>
            <a:r>
              <a:rPr lang="en-GB" b="0">
                <a:solidFill>
                  <a:schemeClr val="accent6">
                    <a:lumMod val="75000"/>
                  </a:schemeClr>
                </a:solidFill>
                <a:latin typeface="Lato"/>
              </a:rPr>
              <a:t>GW</a:t>
            </a:r>
            <a:endParaRPr lang="en-GB" sz="1200" b="0">
              <a:solidFill>
                <a:schemeClr val="accent6">
                  <a:lumMod val="75000"/>
                </a:schemeClr>
              </a:solidFill>
              <a:latin typeface="Lato"/>
            </a:endParaRPr>
          </a:p>
          <a:p>
            <a:endParaRPr lang="en-GB"/>
          </a:p>
        </p:txBody>
      </p:sp>
      <p:sp>
        <p:nvSpPr>
          <p:cNvPr id="123" name="Text Placeholder 13">
            <a:extLst>
              <a:ext uri="{FF2B5EF4-FFF2-40B4-BE49-F238E27FC236}">
                <a16:creationId xmlns:a16="http://schemas.microsoft.com/office/drawing/2014/main" id="{A09CFAB7-8137-40B8-93A3-41CB006B8F1E}"/>
              </a:ext>
            </a:extLst>
          </p:cNvPr>
          <p:cNvSpPr txBox="1">
            <a:spLocks/>
          </p:cNvSpPr>
          <p:nvPr/>
        </p:nvSpPr>
        <p:spPr>
          <a:xfrm>
            <a:off x="381599" y="79401"/>
            <a:ext cx="5503430"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Introduction to battery storage – </a:t>
            </a:r>
            <a:r>
              <a:rPr lang="en-GB" sz="1200"/>
              <a:t>Battery storage drivers, risks and markets</a:t>
            </a:r>
            <a:endParaRPr lang="en-GB"/>
          </a:p>
        </p:txBody>
      </p:sp>
      <p:sp>
        <p:nvSpPr>
          <p:cNvPr id="485" name="TextBox 484">
            <a:extLst>
              <a:ext uri="{FF2B5EF4-FFF2-40B4-BE49-F238E27FC236}">
                <a16:creationId xmlns:a16="http://schemas.microsoft.com/office/drawing/2014/main" id="{4F8C7825-13AF-CA87-1E00-8F772A7A5025}"/>
              </a:ext>
            </a:extLst>
          </p:cNvPr>
          <p:cNvSpPr txBox="1"/>
          <p:nvPr/>
        </p:nvSpPr>
        <p:spPr>
          <a:xfrm>
            <a:off x="390107" y="4636369"/>
            <a:ext cx="4158901" cy="1369606"/>
          </a:xfrm>
          <a:prstGeom prst="rect">
            <a:avLst/>
          </a:prstGeom>
          <a:noFill/>
        </p:spPr>
        <p:txBody>
          <a:bodyPr wrap="square" lIns="0" tIns="0" rIns="0" bIns="0" rtlCol="0" anchor="t">
            <a:spAutoFit/>
          </a:bodyPr>
          <a:lstStyle/>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Europe’s installed capacity of solar, onshore and offshore wind grows over </a:t>
            </a:r>
            <a:r>
              <a:rPr lang="en-GB" sz="1000">
                <a:highlight>
                  <a:srgbClr val="808080"/>
                </a:highlight>
                <a:ea typeface="Lato"/>
                <a:cs typeface="Lato"/>
              </a:rPr>
              <a:t>       </a:t>
            </a:r>
            <a:r>
              <a:rPr kumimoji="0" lang="en-GB" sz="1200" b="0" i="0" u="none" strike="noStrike" kern="1200" cap="none" spc="0" normalizeH="0" baseline="0" noProof="0">
                <a:ln>
                  <a:noFill/>
                </a:ln>
                <a:solidFill>
                  <a:srgbClr val="3C3C3B"/>
                </a:solidFill>
                <a:effectLst/>
                <a:uLnTx/>
                <a:uFillTx/>
                <a:latin typeface="Lato"/>
                <a:ea typeface="+mn-ea"/>
                <a:cs typeface="+mn-cs"/>
              </a:rPr>
              <a:t>times between 2023–2050 in Aurora’s Central scenario</a:t>
            </a:r>
            <a:r>
              <a:rPr kumimoji="0" lang="en-GB" sz="1200" b="0" i="0" u="none" strike="noStrike" kern="1200" cap="none" spc="0" normalizeH="0" baseline="30000" noProof="0">
                <a:ln>
                  <a:noFill/>
                </a:ln>
                <a:solidFill>
                  <a:srgbClr val="3C3C3B"/>
                </a:solidFill>
                <a:effectLst/>
                <a:uLnTx/>
                <a:uFillTx/>
                <a:latin typeface="Lato"/>
                <a:ea typeface="+mn-ea"/>
                <a:cs typeface="+mn-cs"/>
              </a:rPr>
              <a:t>3</a:t>
            </a:r>
            <a:r>
              <a:rPr kumimoji="0" lang="en-GB" sz="1200" b="0" i="0" u="none" strike="noStrike" kern="1200" cap="none" spc="0" normalizeH="0" baseline="0" noProof="0">
                <a:ln>
                  <a:noFill/>
                </a:ln>
                <a:solidFill>
                  <a:srgbClr val="3C3C3B"/>
                </a:solidFill>
                <a:effectLst/>
                <a:uLnTx/>
                <a:uFillTx/>
                <a:latin typeface="Lato"/>
                <a:ea typeface="+mn-ea"/>
                <a:cs typeface="+mn-cs"/>
              </a:rPr>
              <a:t>, resulting in an increase in the RES share of generation to </a:t>
            </a:r>
            <a:r>
              <a:rPr lang="en-GB" sz="1000">
                <a:highlight>
                  <a:srgbClr val="808080"/>
                </a:highlight>
                <a:ea typeface="Lato"/>
                <a:cs typeface="Lato"/>
              </a:rPr>
              <a:t>       </a:t>
            </a:r>
            <a:r>
              <a:rPr kumimoji="0" lang="en-GB" sz="1200" b="0" i="0" u="none" strike="noStrike" kern="1200" cap="none" spc="0" normalizeH="0" baseline="0" noProof="0">
                <a:ln>
                  <a:noFill/>
                </a:ln>
                <a:solidFill>
                  <a:srgbClr val="3C3C3B"/>
                </a:solidFill>
                <a:effectLst/>
                <a:uLnTx/>
                <a:uFillTx/>
                <a:latin typeface="Lato"/>
                <a:ea typeface="+mn-ea"/>
                <a:cs typeface="+mn-cs"/>
              </a:rPr>
              <a:t>% and </a:t>
            </a:r>
            <a:r>
              <a:rPr lang="en-GB" sz="1000">
                <a:highlight>
                  <a:srgbClr val="808080"/>
                </a:highlight>
                <a:ea typeface="Lato"/>
                <a:cs typeface="Lato"/>
              </a:rPr>
              <a:t>         </a:t>
            </a:r>
            <a:r>
              <a:rPr kumimoji="0" lang="en-GB" sz="1200" b="0" i="0" u="none" strike="noStrike" kern="1200" cap="none" spc="0" normalizeH="0" baseline="0" noProof="0">
                <a:ln>
                  <a:noFill/>
                </a:ln>
                <a:solidFill>
                  <a:srgbClr val="3C3C3B"/>
                </a:solidFill>
                <a:effectLst/>
                <a:uLnTx/>
                <a:uFillTx/>
                <a:latin typeface="Lato"/>
                <a:ea typeface="+mn-ea"/>
                <a:cs typeface="+mn-cs"/>
              </a:rPr>
              <a:t>% by 2030 and 2050.</a:t>
            </a:r>
          </a:p>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The increase in renewables generation will lead to more variability in generation, creating a need for flexible supply and demand technologies.</a:t>
            </a:r>
          </a:p>
        </p:txBody>
      </p:sp>
      <p:sp>
        <p:nvSpPr>
          <p:cNvPr id="490" name="TextBox 489">
            <a:extLst>
              <a:ext uri="{FF2B5EF4-FFF2-40B4-BE49-F238E27FC236}">
                <a16:creationId xmlns:a16="http://schemas.microsoft.com/office/drawing/2014/main" id="{3CEA1F61-933F-EECE-8032-0D6B61195FD6}"/>
              </a:ext>
            </a:extLst>
          </p:cNvPr>
          <p:cNvSpPr txBox="1"/>
          <p:nvPr/>
        </p:nvSpPr>
        <p:spPr>
          <a:xfrm>
            <a:off x="4151587" y="6248213"/>
            <a:ext cx="194441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Variable RES share of generation</a:t>
            </a:r>
            <a:r>
              <a:rPr kumimoji="0" lang="en-GB" sz="1000" b="0" i="0" u="none" strike="noStrike" kern="1200" cap="none" spc="0" normalizeH="0" baseline="30000" noProof="0">
                <a:ln>
                  <a:noFill/>
                </a:ln>
                <a:solidFill>
                  <a:srgbClr val="3C3C3B"/>
                </a:solidFill>
                <a:effectLst/>
                <a:uLnTx/>
                <a:uFillTx/>
                <a:latin typeface="Lato"/>
                <a:ea typeface="+mn-ea"/>
                <a:cs typeface="+mn-cs"/>
              </a:rPr>
              <a:t>4</a:t>
            </a:r>
          </a:p>
        </p:txBody>
      </p:sp>
      <p:sp>
        <p:nvSpPr>
          <p:cNvPr id="492" name="Flowchart: Terminator 491">
            <a:extLst>
              <a:ext uri="{FF2B5EF4-FFF2-40B4-BE49-F238E27FC236}">
                <a16:creationId xmlns:a16="http://schemas.microsoft.com/office/drawing/2014/main" id="{F612507D-5B5E-8E8E-F0CD-BE7ED7BDD3F4}"/>
              </a:ext>
            </a:extLst>
          </p:cNvPr>
          <p:cNvSpPr/>
          <p:nvPr/>
        </p:nvSpPr>
        <p:spPr>
          <a:xfrm>
            <a:off x="2375705" y="4375736"/>
            <a:ext cx="540000" cy="170978"/>
          </a:xfrm>
          <a:prstGeom prst="flowChartTerminator">
            <a:avLst/>
          </a:prstGeom>
          <a:solidFill>
            <a:schemeClr val="accent2"/>
          </a:solidFill>
          <a:ln w="12700">
            <a:solidFill>
              <a:srgbClr val="FFCC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 XX</a:t>
            </a:r>
            <a:r>
              <a:rPr kumimoji="0" lang="en-GB" sz="1100" b="0" i="0" u="none" strike="noStrike" kern="1200" cap="none" spc="0" normalizeH="0" baseline="0" noProof="0">
                <a:ln>
                  <a:noFill/>
                </a:ln>
                <a:solidFill>
                  <a:srgbClr val="3C3C3B"/>
                </a:solidFill>
                <a:effectLst/>
                <a:uLnTx/>
                <a:uFillTx/>
                <a:latin typeface="Lato"/>
                <a:ea typeface="+mn-ea"/>
                <a:cs typeface="+mn-cs"/>
              </a:rPr>
              <a:t>%</a:t>
            </a:r>
          </a:p>
        </p:txBody>
      </p:sp>
      <p:sp>
        <p:nvSpPr>
          <p:cNvPr id="493" name="Flowchart: Terminator 492">
            <a:extLst>
              <a:ext uri="{FF2B5EF4-FFF2-40B4-BE49-F238E27FC236}">
                <a16:creationId xmlns:a16="http://schemas.microsoft.com/office/drawing/2014/main" id="{A3CC18C9-F601-DFF3-F328-FBAF54EC544C}"/>
              </a:ext>
            </a:extLst>
          </p:cNvPr>
          <p:cNvSpPr/>
          <p:nvPr/>
        </p:nvSpPr>
        <p:spPr>
          <a:xfrm>
            <a:off x="3065610" y="4375736"/>
            <a:ext cx="540000" cy="170978"/>
          </a:xfrm>
          <a:prstGeom prst="flowChartTerminator">
            <a:avLst/>
          </a:prstGeom>
          <a:solidFill>
            <a:schemeClr val="accent2"/>
          </a:solidFill>
          <a:ln w="12700">
            <a:solidFill>
              <a:srgbClr val="FFCC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 XX</a:t>
            </a:r>
            <a:r>
              <a:rPr kumimoji="0" lang="en-GB" sz="1100" b="0" i="0" u="none" strike="noStrike" kern="1200" cap="none" spc="0" normalizeH="0" baseline="0" noProof="0">
                <a:ln>
                  <a:noFill/>
                </a:ln>
                <a:solidFill>
                  <a:srgbClr val="3C3C3B"/>
                </a:solidFill>
                <a:effectLst/>
                <a:uLnTx/>
                <a:uFillTx/>
                <a:latin typeface="Lato"/>
                <a:ea typeface="+mn-ea"/>
                <a:cs typeface="+mn-cs"/>
              </a:rPr>
              <a:t>%</a:t>
            </a:r>
          </a:p>
        </p:txBody>
      </p:sp>
      <p:sp>
        <p:nvSpPr>
          <p:cNvPr id="494" name="Flowchart: Terminator 493">
            <a:extLst>
              <a:ext uri="{FF2B5EF4-FFF2-40B4-BE49-F238E27FC236}">
                <a16:creationId xmlns:a16="http://schemas.microsoft.com/office/drawing/2014/main" id="{E5788CBF-5C82-71FE-E3BA-AAA56945F2D1}"/>
              </a:ext>
            </a:extLst>
          </p:cNvPr>
          <p:cNvSpPr/>
          <p:nvPr/>
        </p:nvSpPr>
        <p:spPr>
          <a:xfrm>
            <a:off x="3755515" y="4375736"/>
            <a:ext cx="540000" cy="170978"/>
          </a:xfrm>
          <a:prstGeom prst="flowChartTerminator">
            <a:avLst/>
          </a:prstGeom>
          <a:solidFill>
            <a:schemeClr val="accent2"/>
          </a:solidFill>
          <a:ln w="12700">
            <a:solidFill>
              <a:srgbClr val="FFCC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 XX</a:t>
            </a:r>
            <a:r>
              <a:rPr kumimoji="0" lang="en-GB" sz="1100" b="0" i="0" u="none" strike="noStrike" kern="1200" cap="none" spc="0" normalizeH="0" baseline="0" noProof="0">
                <a:ln>
                  <a:noFill/>
                </a:ln>
                <a:solidFill>
                  <a:srgbClr val="3C3C3B"/>
                </a:solidFill>
                <a:effectLst/>
                <a:uLnTx/>
                <a:uFillTx/>
                <a:latin typeface="Lato"/>
                <a:ea typeface="+mn-ea"/>
                <a:cs typeface="+mn-cs"/>
              </a:rPr>
              <a:t>%</a:t>
            </a:r>
          </a:p>
        </p:txBody>
      </p:sp>
      <p:graphicFrame>
        <p:nvGraphicFramePr>
          <p:cNvPr id="503" name="Chart 502">
            <a:extLst>
              <a:ext uri="{FF2B5EF4-FFF2-40B4-BE49-F238E27FC236}">
                <a16:creationId xmlns:a16="http://schemas.microsoft.com/office/drawing/2014/main" id="{E7F5250A-A6D2-1959-5349-C605DFFD5967}"/>
              </a:ext>
            </a:extLst>
          </p:cNvPr>
          <p:cNvGraphicFramePr/>
          <p:nvPr>
            <p:custDataLst>
              <p:tags r:id="rId18"/>
            </p:custDataLst>
            <p:extLst>
              <p:ext uri="{D42A27DB-BD31-4B8C-83A1-F6EECF244321}">
                <p14:modId xmlns:p14="http://schemas.microsoft.com/office/powerpoint/2010/main" val="3217361220"/>
              </p:ext>
            </p:extLst>
          </p:nvPr>
        </p:nvGraphicFramePr>
        <p:xfrm>
          <a:off x="6027738" y="1666875"/>
          <a:ext cx="2741612" cy="4448175"/>
        </p:xfrm>
        <a:graphic>
          <a:graphicData uri="http://schemas.openxmlformats.org/drawingml/2006/chart">
            <c:chart xmlns:c="http://schemas.openxmlformats.org/drawingml/2006/chart" xmlns:r="http://schemas.openxmlformats.org/officeDocument/2006/relationships" r:id="rId52"/>
          </a:graphicData>
        </a:graphic>
      </p:graphicFrame>
      <p:sp>
        <p:nvSpPr>
          <p:cNvPr id="496" name="Flowchart: Terminator 495">
            <a:extLst>
              <a:ext uri="{FF2B5EF4-FFF2-40B4-BE49-F238E27FC236}">
                <a16:creationId xmlns:a16="http://schemas.microsoft.com/office/drawing/2014/main" id="{13A2DCE3-7BCF-919D-50CE-5FC0F181752E}"/>
              </a:ext>
            </a:extLst>
          </p:cNvPr>
          <p:cNvSpPr/>
          <p:nvPr/>
        </p:nvSpPr>
        <p:spPr>
          <a:xfrm>
            <a:off x="6225184" y="6238758"/>
            <a:ext cx="432000" cy="147600"/>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XX</a:t>
            </a:r>
          </a:p>
        </p:txBody>
      </p:sp>
      <p:sp>
        <p:nvSpPr>
          <p:cNvPr id="497" name="TextBox 496">
            <a:extLst>
              <a:ext uri="{FF2B5EF4-FFF2-40B4-BE49-F238E27FC236}">
                <a16:creationId xmlns:a16="http://schemas.microsoft.com/office/drawing/2014/main" id="{DC3F2544-54DF-2556-1733-21063211FAEC}"/>
              </a:ext>
            </a:extLst>
          </p:cNvPr>
          <p:cNvSpPr txBox="1"/>
          <p:nvPr/>
        </p:nvSpPr>
        <p:spPr>
          <a:xfrm>
            <a:off x="6695856" y="6248215"/>
            <a:ext cx="2504691" cy="153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2030 capacity, relative to 2023 (GW)</a:t>
            </a:r>
          </a:p>
        </p:txBody>
      </p:sp>
      <p:sp>
        <p:nvSpPr>
          <p:cNvPr id="161" name="Oval 160">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163" name="Oval 162">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grpSp>
        <p:nvGrpSpPr>
          <p:cNvPr id="547" name="Group 546">
            <a:extLst>
              <a:ext uri="{FF2B5EF4-FFF2-40B4-BE49-F238E27FC236}">
                <a16:creationId xmlns:a16="http://schemas.microsoft.com/office/drawing/2014/main" id="{B6422F2D-8242-0D14-5362-B4EBF2845F8A}"/>
              </a:ext>
            </a:extLst>
          </p:cNvPr>
          <p:cNvGrpSpPr/>
          <p:nvPr/>
        </p:nvGrpSpPr>
        <p:grpSpPr>
          <a:xfrm>
            <a:off x="4985013" y="1785672"/>
            <a:ext cx="576000" cy="4220303"/>
            <a:chOff x="6623603" y="1847586"/>
            <a:chExt cx="576000" cy="4715461"/>
          </a:xfrm>
        </p:grpSpPr>
        <p:sp>
          <p:nvSpPr>
            <p:cNvPr id="523" name="Flowchart: Terminator 522">
              <a:extLst>
                <a:ext uri="{FF2B5EF4-FFF2-40B4-BE49-F238E27FC236}">
                  <a16:creationId xmlns:a16="http://schemas.microsoft.com/office/drawing/2014/main" id="{5274F090-7803-8861-2CBF-BECF79697924}"/>
                </a:ext>
              </a:extLst>
            </p:cNvPr>
            <p:cNvSpPr/>
            <p:nvPr/>
          </p:nvSpPr>
          <p:spPr>
            <a:xfrm>
              <a:off x="6623603" y="1847586"/>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24" name="Flowchart: Terminator 523">
              <a:extLst>
                <a:ext uri="{FF2B5EF4-FFF2-40B4-BE49-F238E27FC236}">
                  <a16:creationId xmlns:a16="http://schemas.microsoft.com/office/drawing/2014/main" id="{63E62E7D-AB74-7DE7-20B5-4715FB021B5D}"/>
                </a:ext>
              </a:extLst>
            </p:cNvPr>
            <p:cNvSpPr/>
            <p:nvPr/>
          </p:nvSpPr>
          <p:spPr>
            <a:xfrm>
              <a:off x="6623603" y="2045563"/>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25" name="Flowchart: Terminator 524">
              <a:extLst>
                <a:ext uri="{FF2B5EF4-FFF2-40B4-BE49-F238E27FC236}">
                  <a16:creationId xmlns:a16="http://schemas.microsoft.com/office/drawing/2014/main" id="{1B4DB034-5C43-573D-D56E-72FBE5AEEE41}"/>
                </a:ext>
              </a:extLst>
            </p:cNvPr>
            <p:cNvSpPr/>
            <p:nvPr/>
          </p:nvSpPr>
          <p:spPr>
            <a:xfrm>
              <a:off x="6623603" y="2243540"/>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26" name="Flowchart: Terminator 525">
              <a:extLst>
                <a:ext uri="{FF2B5EF4-FFF2-40B4-BE49-F238E27FC236}">
                  <a16:creationId xmlns:a16="http://schemas.microsoft.com/office/drawing/2014/main" id="{35FA2DF5-8A3E-484B-0114-811A54F49861}"/>
                </a:ext>
              </a:extLst>
            </p:cNvPr>
            <p:cNvSpPr/>
            <p:nvPr/>
          </p:nvSpPr>
          <p:spPr>
            <a:xfrm>
              <a:off x="6623603" y="2441517"/>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27" name="Flowchart: Terminator 526">
              <a:extLst>
                <a:ext uri="{FF2B5EF4-FFF2-40B4-BE49-F238E27FC236}">
                  <a16:creationId xmlns:a16="http://schemas.microsoft.com/office/drawing/2014/main" id="{2D862CE1-857F-CCB6-E586-CA8A4EDB198F}"/>
                </a:ext>
              </a:extLst>
            </p:cNvPr>
            <p:cNvSpPr/>
            <p:nvPr/>
          </p:nvSpPr>
          <p:spPr>
            <a:xfrm>
              <a:off x="6623603" y="2639494"/>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28" name="Flowchart: Terminator 527">
              <a:extLst>
                <a:ext uri="{FF2B5EF4-FFF2-40B4-BE49-F238E27FC236}">
                  <a16:creationId xmlns:a16="http://schemas.microsoft.com/office/drawing/2014/main" id="{97394DEB-ED99-B842-49FB-DDE9800352D5}"/>
                </a:ext>
              </a:extLst>
            </p:cNvPr>
            <p:cNvSpPr/>
            <p:nvPr/>
          </p:nvSpPr>
          <p:spPr>
            <a:xfrm>
              <a:off x="6623603" y="2837471"/>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29" name="Flowchart: Terminator 528">
              <a:extLst>
                <a:ext uri="{FF2B5EF4-FFF2-40B4-BE49-F238E27FC236}">
                  <a16:creationId xmlns:a16="http://schemas.microsoft.com/office/drawing/2014/main" id="{FA2A50D9-0727-C12B-B61D-4B76986C715B}"/>
                </a:ext>
              </a:extLst>
            </p:cNvPr>
            <p:cNvSpPr/>
            <p:nvPr/>
          </p:nvSpPr>
          <p:spPr>
            <a:xfrm>
              <a:off x="6623603" y="3035448"/>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0" name="Flowchart: Terminator 529">
              <a:extLst>
                <a:ext uri="{FF2B5EF4-FFF2-40B4-BE49-F238E27FC236}">
                  <a16:creationId xmlns:a16="http://schemas.microsoft.com/office/drawing/2014/main" id="{44BEDCBF-7E39-8010-ADB3-3A1AB3C30073}"/>
                </a:ext>
              </a:extLst>
            </p:cNvPr>
            <p:cNvSpPr/>
            <p:nvPr/>
          </p:nvSpPr>
          <p:spPr>
            <a:xfrm>
              <a:off x="6623603" y="3233425"/>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1" name="Flowchart: Terminator 530">
              <a:extLst>
                <a:ext uri="{FF2B5EF4-FFF2-40B4-BE49-F238E27FC236}">
                  <a16:creationId xmlns:a16="http://schemas.microsoft.com/office/drawing/2014/main" id="{AB9260A3-98D1-FD18-B537-B0545606D028}"/>
                </a:ext>
              </a:extLst>
            </p:cNvPr>
            <p:cNvSpPr/>
            <p:nvPr/>
          </p:nvSpPr>
          <p:spPr>
            <a:xfrm>
              <a:off x="6623603" y="3431402"/>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2" name="Flowchart: Terminator 531">
              <a:extLst>
                <a:ext uri="{FF2B5EF4-FFF2-40B4-BE49-F238E27FC236}">
                  <a16:creationId xmlns:a16="http://schemas.microsoft.com/office/drawing/2014/main" id="{58FE9A2F-1682-B3AC-33F8-07D4DC7F3DA5}"/>
                </a:ext>
              </a:extLst>
            </p:cNvPr>
            <p:cNvSpPr/>
            <p:nvPr/>
          </p:nvSpPr>
          <p:spPr>
            <a:xfrm>
              <a:off x="6623603" y="3629379"/>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3" name="Flowchart: Terminator 532">
              <a:extLst>
                <a:ext uri="{FF2B5EF4-FFF2-40B4-BE49-F238E27FC236}">
                  <a16:creationId xmlns:a16="http://schemas.microsoft.com/office/drawing/2014/main" id="{0D9BFF3E-5E45-4AC1-B2B7-554E182732C0}"/>
                </a:ext>
              </a:extLst>
            </p:cNvPr>
            <p:cNvSpPr/>
            <p:nvPr/>
          </p:nvSpPr>
          <p:spPr>
            <a:xfrm>
              <a:off x="6623603" y="3827356"/>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4" name="Flowchart: Terminator 533">
              <a:extLst>
                <a:ext uri="{FF2B5EF4-FFF2-40B4-BE49-F238E27FC236}">
                  <a16:creationId xmlns:a16="http://schemas.microsoft.com/office/drawing/2014/main" id="{13189217-EF6A-ADE0-577C-FFE9E1BE422E}"/>
                </a:ext>
              </a:extLst>
            </p:cNvPr>
            <p:cNvSpPr/>
            <p:nvPr/>
          </p:nvSpPr>
          <p:spPr>
            <a:xfrm>
              <a:off x="6623603" y="4025333"/>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5" name="Flowchart: Terminator 534">
              <a:extLst>
                <a:ext uri="{FF2B5EF4-FFF2-40B4-BE49-F238E27FC236}">
                  <a16:creationId xmlns:a16="http://schemas.microsoft.com/office/drawing/2014/main" id="{D3346F95-EF82-93AE-6A9D-6480B5598A78}"/>
                </a:ext>
              </a:extLst>
            </p:cNvPr>
            <p:cNvSpPr/>
            <p:nvPr/>
          </p:nvSpPr>
          <p:spPr>
            <a:xfrm>
              <a:off x="6623603" y="4223310"/>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6" name="Flowchart: Terminator 535">
              <a:extLst>
                <a:ext uri="{FF2B5EF4-FFF2-40B4-BE49-F238E27FC236}">
                  <a16:creationId xmlns:a16="http://schemas.microsoft.com/office/drawing/2014/main" id="{67FA5E03-6D75-EF27-FF51-50294FFE8325}"/>
                </a:ext>
              </a:extLst>
            </p:cNvPr>
            <p:cNvSpPr/>
            <p:nvPr/>
          </p:nvSpPr>
          <p:spPr>
            <a:xfrm>
              <a:off x="6623603" y="4421287"/>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7" name="Flowchart: Terminator 536">
              <a:extLst>
                <a:ext uri="{FF2B5EF4-FFF2-40B4-BE49-F238E27FC236}">
                  <a16:creationId xmlns:a16="http://schemas.microsoft.com/office/drawing/2014/main" id="{D997A7AE-C534-90FF-2086-9F5922792137}"/>
                </a:ext>
              </a:extLst>
            </p:cNvPr>
            <p:cNvSpPr/>
            <p:nvPr/>
          </p:nvSpPr>
          <p:spPr>
            <a:xfrm>
              <a:off x="6623603" y="4619264"/>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8" name="Flowchart: Terminator 537">
              <a:extLst>
                <a:ext uri="{FF2B5EF4-FFF2-40B4-BE49-F238E27FC236}">
                  <a16:creationId xmlns:a16="http://schemas.microsoft.com/office/drawing/2014/main" id="{6388B40F-CA15-E928-CB37-B7BEE41C4E86}"/>
                </a:ext>
              </a:extLst>
            </p:cNvPr>
            <p:cNvSpPr/>
            <p:nvPr/>
          </p:nvSpPr>
          <p:spPr>
            <a:xfrm>
              <a:off x="6623603" y="4817241"/>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39" name="Flowchart: Terminator 538">
              <a:extLst>
                <a:ext uri="{FF2B5EF4-FFF2-40B4-BE49-F238E27FC236}">
                  <a16:creationId xmlns:a16="http://schemas.microsoft.com/office/drawing/2014/main" id="{D5D6858B-5725-34E1-AE92-71981DB0AAD0}"/>
                </a:ext>
              </a:extLst>
            </p:cNvPr>
            <p:cNvSpPr/>
            <p:nvPr/>
          </p:nvSpPr>
          <p:spPr>
            <a:xfrm>
              <a:off x="6623603" y="5015218"/>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40" name="Flowchart: Terminator 539">
              <a:extLst>
                <a:ext uri="{FF2B5EF4-FFF2-40B4-BE49-F238E27FC236}">
                  <a16:creationId xmlns:a16="http://schemas.microsoft.com/office/drawing/2014/main" id="{C07F9F2D-C61F-6AFF-A857-9724CF84BCEA}"/>
                </a:ext>
              </a:extLst>
            </p:cNvPr>
            <p:cNvSpPr/>
            <p:nvPr/>
          </p:nvSpPr>
          <p:spPr>
            <a:xfrm>
              <a:off x="6623603" y="5213195"/>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41" name="Flowchart: Terminator 540">
              <a:extLst>
                <a:ext uri="{FF2B5EF4-FFF2-40B4-BE49-F238E27FC236}">
                  <a16:creationId xmlns:a16="http://schemas.microsoft.com/office/drawing/2014/main" id="{A89480D2-B134-2584-4EDC-6B355FAF17DA}"/>
                </a:ext>
              </a:extLst>
            </p:cNvPr>
            <p:cNvSpPr/>
            <p:nvPr/>
          </p:nvSpPr>
          <p:spPr>
            <a:xfrm>
              <a:off x="6623603" y="5411172"/>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42" name="Flowchart: Terminator 541">
              <a:extLst>
                <a:ext uri="{FF2B5EF4-FFF2-40B4-BE49-F238E27FC236}">
                  <a16:creationId xmlns:a16="http://schemas.microsoft.com/office/drawing/2014/main" id="{31CEF7FD-56DB-5EE2-4C62-76FD0C5ECCFA}"/>
                </a:ext>
              </a:extLst>
            </p:cNvPr>
            <p:cNvSpPr/>
            <p:nvPr/>
          </p:nvSpPr>
          <p:spPr>
            <a:xfrm>
              <a:off x="6623603" y="5609149"/>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43" name="Flowchart: Terminator 542">
              <a:extLst>
                <a:ext uri="{FF2B5EF4-FFF2-40B4-BE49-F238E27FC236}">
                  <a16:creationId xmlns:a16="http://schemas.microsoft.com/office/drawing/2014/main" id="{1DEB9120-F0A4-ADF0-B152-1803CE590CAE}"/>
                </a:ext>
              </a:extLst>
            </p:cNvPr>
            <p:cNvSpPr/>
            <p:nvPr/>
          </p:nvSpPr>
          <p:spPr>
            <a:xfrm>
              <a:off x="6623603" y="5807126"/>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44" name="Flowchart: Terminator 543">
              <a:extLst>
                <a:ext uri="{FF2B5EF4-FFF2-40B4-BE49-F238E27FC236}">
                  <a16:creationId xmlns:a16="http://schemas.microsoft.com/office/drawing/2014/main" id="{CA427EAE-AAEE-6FE6-14C0-D158F021745C}"/>
                </a:ext>
              </a:extLst>
            </p:cNvPr>
            <p:cNvSpPr/>
            <p:nvPr/>
          </p:nvSpPr>
          <p:spPr>
            <a:xfrm>
              <a:off x="6623603" y="6005103"/>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45" name="Flowchart: Terminator 544">
              <a:extLst>
                <a:ext uri="{FF2B5EF4-FFF2-40B4-BE49-F238E27FC236}">
                  <a16:creationId xmlns:a16="http://schemas.microsoft.com/office/drawing/2014/main" id="{74B60CC1-7B00-EC93-7C32-9BC89EF9DFD8}"/>
                </a:ext>
              </a:extLst>
            </p:cNvPr>
            <p:cNvSpPr/>
            <p:nvPr/>
          </p:nvSpPr>
          <p:spPr>
            <a:xfrm>
              <a:off x="6623603" y="6203080"/>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sp>
          <p:nvSpPr>
            <p:cNvPr id="546" name="Flowchart: Terminator 545">
              <a:extLst>
                <a:ext uri="{FF2B5EF4-FFF2-40B4-BE49-F238E27FC236}">
                  <a16:creationId xmlns:a16="http://schemas.microsoft.com/office/drawing/2014/main" id="{A780FEA3-E9D9-E18A-CEBD-3A08D1163D0C}"/>
                </a:ext>
              </a:extLst>
            </p:cNvPr>
            <p:cNvSpPr/>
            <p:nvPr/>
          </p:nvSpPr>
          <p:spPr>
            <a:xfrm>
              <a:off x="6623603" y="6401047"/>
              <a:ext cx="576000" cy="162000"/>
            </a:xfrm>
            <a:prstGeom prst="flowChartTerminator">
              <a:avLst/>
            </a:prstGeom>
            <a:solidFill>
              <a:schemeClr val="accent6">
                <a:lumMod val="20000"/>
                <a:lumOff val="80000"/>
              </a:schemeClr>
            </a:solidFill>
            <a:ln w="12700">
              <a:solidFill>
                <a:srgbClr val="EFEFE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100">
                  <a:solidFill>
                    <a:srgbClr val="3C3C3B"/>
                  </a:solidFill>
                  <a:latin typeface="Lato"/>
                </a:rPr>
                <a:t>xx</a:t>
              </a:r>
              <a:endParaRPr kumimoji="0" lang="en-GB" sz="1100" b="0" i="0" u="none" strike="noStrike" kern="1200" cap="none" spc="0" normalizeH="0" baseline="0" noProof="0">
                <a:ln>
                  <a:noFill/>
                </a:ln>
                <a:solidFill>
                  <a:srgbClr val="3C3C3B"/>
                </a:solidFill>
                <a:effectLst/>
                <a:uLnTx/>
                <a:uFillTx/>
                <a:latin typeface="Lato"/>
                <a:ea typeface="+mn-ea"/>
                <a:cs typeface="+mn-cs"/>
              </a:endParaRPr>
            </a:p>
          </p:txBody>
        </p:sp>
      </p:grpSp>
      <p:sp>
        <p:nvSpPr>
          <p:cNvPr id="579" name="Flowchart: Terminator 578">
            <a:extLst>
              <a:ext uri="{FF2B5EF4-FFF2-40B4-BE49-F238E27FC236}">
                <a16:creationId xmlns:a16="http://schemas.microsoft.com/office/drawing/2014/main" id="{089A9358-2723-C4BC-E4AC-F6B0ACCC3A3E}"/>
              </a:ext>
            </a:extLst>
          </p:cNvPr>
          <p:cNvSpPr/>
          <p:nvPr/>
        </p:nvSpPr>
        <p:spPr>
          <a:xfrm>
            <a:off x="3649675" y="6239669"/>
            <a:ext cx="432000" cy="147600"/>
          </a:xfrm>
          <a:prstGeom prst="flowChartTerminator">
            <a:avLst/>
          </a:prstGeom>
          <a:solidFill>
            <a:schemeClr val="accent2"/>
          </a:solidFill>
          <a:ln w="12700">
            <a:solidFill>
              <a:srgbClr val="FFCC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xx%</a:t>
            </a:r>
          </a:p>
        </p:txBody>
      </p:sp>
      <p:sp>
        <p:nvSpPr>
          <p:cNvPr id="522" name="Oval 521">
            <a:extLst>
              <a:ext uri="{FF2B5EF4-FFF2-40B4-BE49-F238E27FC236}">
                <a16:creationId xmlns:a16="http://schemas.microsoft.com/office/drawing/2014/main" id="{41064345-8CB7-C50B-531A-2B22B4C0387A}"/>
              </a:ext>
            </a:extLst>
          </p:cNvPr>
          <p:cNvSpPr/>
          <p:nvPr/>
        </p:nvSpPr>
        <p:spPr>
          <a:xfrm>
            <a:off x="400461" y="557061"/>
            <a:ext cx="288000" cy="288000"/>
          </a:xfrm>
          <a:prstGeom prst="ellipse">
            <a:avLst/>
          </a:prstGeom>
          <a:solidFill>
            <a:srgbClr val="A13707"/>
          </a:solidFill>
          <a:ln w="38100">
            <a:solidFill>
              <a:srgbClr val="A1370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400" b="1">
                <a:solidFill>
                  <a:schemeClr val="bg1"/>
                </a:solidFill>
              </a:rPr>
              <a:t>1</a:t>
            </a:r>
          </a:p>
        </p:txBody>
      </p:sp>
      <p:cxnSp>
        <p:nvCxnSpPr>
          <p:cNvPr id="4" name="Straight Connector 3">
            <a:extLst>
              <a:ext uri="{FF2B5EF4-FFF2-40B4-BE49-F238E27FC236}">
                <a16:creationId xmlns:a16="http://schemas.microsoft.com/office/drawing/2014/main" id="{2DA1828A-55AA-BEBB-BAAB-CBE5DD94326A}"/>
              </a:ext>
            </a:extLst>
          </p:cNvPr>
          <p:cNvCxnSpPr/>
          <p:nvPr>
            <p:custDataLst>
              <p:tags r:id="rId19"/>
            </p:custDataLst>
          </p:nvPr>
        </p:nvCxnSpPr>
        <p:spPr bwMode="gray">
          <a:xfrm>
            <a:off x="-2351087" y="3835400"/>
            <a:ext cx="201771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431F338A-2A25-8A11-8952-433D712AE004}"/>
              </a:ext>
            </a:extLst>
          </p:cNvPr>
          <p:cNvCxnSpPr/>
          <p:nvPr>
            <p:custDataLst>
              <p:tags r:id="rId20"/>
            </p:custDataLst>
          </p:nvPr>
        </p:nvCxnSpPr>
        <p:spPr bwMode="gray">
          <a:xfrm>
            <a:off x="-2351087" y="3556000"/>
            <a:ext cx="201771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28DD1ADA-D1C8-E46B-7B97-A41197F1CD6F}"/>
              </a:ext>
            </a:extLst>
          </p:cNvPr>
          <p:cNvCxnSpPr/>
          <p:nvPr>
            <p:custDataLst>
              <p:tags r:id="rId21"/>
            </p:custDataLst>
          </p:nvPr>
        </p:nvCxnSpPr>
        <p:spPr bwMode="gray">
          <a:xfrm>
            <a:off x="-2351087" y="3275013"/>
            <a:ext cx="201771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2F99068-8967-D7D8-00E9-403606B6B537}"/>
              </a:ext>
            </a:extLst>
          </p:cNvPr>
          <p:cNvCxnSpPr/>
          <p:nvPr>
            <p:custDataLst>
              <p:tags r:id="rId22"/>
            </p:custDataLst>
          </p:nvPr>
        </p:nvCxnSpPr>
        <p:spPr bwMode="gray">
          <a:xfrm>
            <a:off x="-2351087" y="2995613"/>
            <a:ext cx="201771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FB26A54B-35D5-9F53-4E12-9623D22996E9}"/>
              </a:ext>
            </a:extLst>
          </p:cNvPr>
          <p:cNvCxnSpPr/>
          <p:nvPr>
            <p:custDataLst>
              <p:tags r:id="rId23"/>
            </p:custDataLst>
          </p:nvPr>
        </p:nvCxnSpPr>
        <p:spPr bwMode="gray">
          <a:xfrm>
            <a:off x="-2351088" y="2714625"/>
            <a:ext cx="201771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77" name="Chart 476">
            <a:extLst>
              <a:ext uri="{FF2B5EF4-FFF2-40B4-BE49-F238E27FC236}">
                <a16:creationId xmlns:a16="http://schemas.microsoft.com/office/drawing/2014/main" id="{ACB6B294-AC84-C416-6797-0825EC3F7626}"/>
              </a:ext>
            </a:extLst>
          </p:cNvPr>
          <p:cNvGraphicFramePr/>
          <p:nvPr>
            <p:custDataLst>
              <p:tags r:id="rId24"/>
            </p:custDataLst>
            <p:extLst>
              <p:ext uri="{D42A27DB-BD31-4B8C-83A1-F6EECF244321}">
                <p14:modId xmlns:p14="http://schemas.microsoft.com/office/powerpoint/2010/main" val="3712271874"/>
              </p:ext>
            </p:extLst>
          </p:nvPr>
        </p:nvGraphicFramePr>
        <p:xfrm>
          <a:off x="-2433638" y="2632075"/>
          <a:ext cx="2182812" cy="1566863"/>
        </p:xfrm>
        <a:graphic>
          <a:graphicData uri="http://schemas.openxmlformats.org/drawingml/2006/chart">
            <c:chart xmlns:c="http://schemas.openxmlformats.org/drawingml/2006/chart" xmlns:r="http://schemas.openxmlformats.org/officeDocument/2006/relationships" r:id="rId53"/>
          </a:graphicData>
        </a:graphic>
      </p:graphicFrame>
      <p:cxnSp>
        <p:nvCxnSpPr>
          <p:cNvPr id="26" name="Straight Connector 25">
            <a:extLst>
              <a:ext uri="{FF2B5EF4-FFF2-40B4-BE49-F238E27FC236}">
                <a16:creationId xmlns:a16="http://schemas.microsoft.com/office/drawing/2014/main" id="{5713CA2F-34DB-5BD9-98CD-CC5A3478A4B7}"/>
              </a:ext>
            </a:extLst>
          </p:cNvPr>
          <p:cNvCxnSpPr/>
          <p:nvPr>
            <p:custDataLst>
              <p:tags r:id="rId25"/>
            </p:custDataLst>
          </p:nvPr>
        </p:nvCxnSpPr>
        <p:spPr bwMode="auto">
          <a:xfrm>
            <a:off x="-669924" y="3384550"/>
            <a:ext cx="269875" cy="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DBE227AB-CB5C-00E4-FD9F-832307ACEF99}"/>
              </a:ext>
            </a:extLst>
          </p:cNvPr>
          <p:cNvCxnSpPr/>
          <p:nvPr>
            <p:custDataLst>
              <p:tags r:id="rId26"/>
            </p:custDataLst>
          </p:nvPr>
        </p:nvCxnSpPr>
        <p:spPr bwMode="auto">
          <a:xfrm>
            <a:off x="-669925" y="3384550"/>
            <a:ext cx="0" cy="727075"/>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6C63F30-B685-1198-F9F7-A0FF63A81B41}"/>
              </a:ext>
            </a:extLst>
          </p:cNvPr>
          <p:cNvCxnSpPr/>
          <p:nvPr>
            <p:custDataLst>
              <p:tags r:id="rId27"/>
            </p:custDataLst>
          </p:nvPr>
        </p:nvCxnSpPr>
        <p:spPr bwMode="auto">
          <a:xfrm>
            <a:off x="-400050" y="3384550"/>
            <a:ext cx="0" cy="727075"/>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09CBA6BD-D307-57D6-9003-7E80B5BA9CC7}"/>
              </a:ext>
            </a:extLst>
          </p:cNvPr>
          <p:cNvCxnSpPr/>
          <p:nvPr>
            <p:custDataLst>
              <p:tags r:id="rId28"/>
            </p:custDataLst>
          </p:nvPr>
        </p:nvCxnSpPr>
        <p:spPr bwMode="auto">
          <a:xfrm>
            <a:off x="-1073149" y="3505200"/>
            <a:ext cx="269875" cy="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1628591D-A256-4B16-13DD-E5566044EB89}"/>
              </a:ext>
            </a:extLst>
          </p:cNvPr>
          <p:cNvCxnSpPr/>
          <p:nvPr>
            <p:custDataLst>
              <p:tags r:id="rId29"/>
            </p:custDataLst>
          </p:nvPr>
        </p:nvCxnSpPr>
        <p:spPr bwMode="auto">
          <a:xfrm>
            <a:off x="-1073150" y="3505201"/>
            <a:ext cx="0" cy="606425"/>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C21BC4D3-FFC2-FFCA-552E-36100A3DB5E1}"/>
              </a:ext>
            </a:extLst>
          </p:cNvPr>
          <p:cNvCxnSpPr/>
          <p:nvPr>
            <p:custDataLst>
              <p:tags r:id="rId30"/>
            </p:custDataLst>
          </p:nvPr>
        </p:nvCxnSpPr>
        <p:spPr bwMode="auto">
          <a:xfrm>
            <a:off x="-803275" y="3505201"/>
            <a:ext cx="0" cy="606425"/>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53D57828-9FC5-1DC6-32F5-F41CB277AAC4}"/>
              </a:ext>
            </a:extLst>
          </p:cNvPr>
          <p:cNvCxnSpPr/>
          <p:nvPr>
            <p:custDataLst>
              <p:tags r:id="rId31"/>
            </p:custDataLst>
          </p:nvPr>
        </p:nvCxnSpPr>
        <p:spPr bwMode="auto">
          <a:xfrm>
            <a:off x="-1477962" y="3635375"/>
            <a:ext cx="269875" cy="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02C321A1-AFC5-CBC4-B6B3-5FF31CFE22A0}"/>
              </a:ext>
            </a:extLst>
          </p:cNvPr>
          <p:cNvCxnSpPr/>
          <p:nvPr>
            <p:custDataLst>
              <p:tags r:id="rId32"/>
            </p:custDataLst>
          </p:nvPr>
        </p:nvCxnSpPr>
        <p:spPr bwMode="auto">
          <a:xfrm>
            <a:off x="-1477963" y="3635375"/>
            <a:ext cx="0" cy="47625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3110EDA9-EB87-2150-4141-3835BC71141F}"/>
              </a:ext>
            </a:extLst>
          </p:cNvPr>
          <p:cNvCxnSpPr/>
          <p:nvPr>
            <p:custDataLst>
              <p:tags r:id="rId33"/>
            </p:custDataLst>
          </p:nvPr>
        </p:nvCxnSpPr>
        <p:spPr bwMode="auto">
          <a:xfrm>
            <a:off x="-1208088" y="3635375"/>
            <a:ext cx="0" cy="47625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25DA1C59-6EFC-D35C-1D8B-89D433AB3891}"/>
              </a:ext>
            </a:extLst>
          </p:cNvPr>
          <p:cNvCxnSpPr/>
          <p:nvPr>
            <p:custDataLst>
              <p:tags r:id="rId34"/>
            </p:custDataLst>
          </p:nvPr>
        </p:nvCxnSpPr>
        <p:spPr bwMode="auto">
          <a:xfrm>
            <a:off x="-1881187" y="3770313"/>
            <a:ext cx="269875" cy="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45C5B875-30C1-563A-19F6-7A302E0964FD}"/>
              </a:ext>
            </a:extLst>
          </p:cNvPr>
          <p:cNvCxnSpPr/>
          <p:nvPr>
            <p:custDataLst>
              <p:tags r:id="rId35"/>
            </p:custDataLst>
          </p:nvPr>
        </p:nvCxnSpPr>
        <p:spPr bwMode="auto">
          <a:xfrm>
            <a:off x="-1881188" y="3770313"/>
            <a:ext cx="0" cy="341313"/>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B684BB77-D874-B0E4-080D-66EAECA8708D}"/>
              </a:ext>
            </a:extLst>
          </p:cNvPr>
          <p:cNvCxnSpPr/>
          <p:nvPr>
            <p:custDataLst>
              <p:tags r:id="rId36"/>
            </p:custDataLst>
          </p:nvPr>
        </p:nvCxnSpPr>
        <p:spPr bwMode="auto">
          <a:xfrm>
            <a:off x="-1611313" y="3770313"/>
            <a:ext cx="0" cy="341313"/>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2" name="Rectangle 481">
            <a:extLst>
              <a:ext uri="{FF2B5EF4-FFF2-40B4-BE49-F238E27FC236}">
                <a16:creationId xmlns:a16="http://schemas.microsoft.com/office/drawing/2014/main" id="{1D126DEE-7031-345F-9FC4-D3099AAF7D8B}"/>
              </a:ext>
            </a:extLst>
          </p:cNvPr>
          <p:cNvSpPr/>
          <p:nvPr>
            <p:custDataLst>
              <p:tags r:id="rId37"/>
            </p:custDataLst>
          </p:nvPr>
        </p:nvSpPr>
        <p:spPr bwMode="auto">
          <a:xfrm>
            <a:off x="406400" y="6075363"/>
            <a:ext cx="179388" cy="133350"/>
          </a:xfrm>
          <a:prstGeom prst="rect">
            <a:avLst/>
          </a:prstGeom>
          <a:solidFill>
            <a:srgbClr val="6F8DB9"/>
          </a:solidFill>
          <a:ln w="1270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rgbClr val="3C3C3B"/>
              </a:solidFill>
              <a:effectLst/>
              <a:uLnTx/>
              <a:uFillTx/>
              <a:latin typeface="Lato"/>
              <a:ea typeface="+mn-ea"/>
              <a:cs typeface="+mn-cs"/>
            </a:endParaRPr>
          </a:p>
        </p:txBody>
      </p:sp>
      <p:sp>
        <p:nvSpPr>
          <p:cNvPr id="483" name="Rectangle 482">
            <a:extLst>
              <a:ext uri="{FF2B5EF4-FFF2-40B4-BE49-F238E27FC236}">
                <a16:creationId xmlns:a16="http://schemas.microsoft.com/office/drawing/2014/main" id="{60EA8F36-89D0-69D1-6E78-47BAC11ED1CA}"/>
              </a:ext>
            </a:extLst>
          </p:cNvPr>
          <p:cNvSpPr/>
          <p:nvPr>
            <p:custDataLst>
              <p:tags r:id="rId38"/>
            </p:custDataLst>
          </p:nvPr>
        </p:nvSpPr>
        <p:spPr bwMode="auto">
          <a:xfrm>
            <a:off x="406400" y="6270625"/>
            <a:ext cx="179388" cy="1333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rgbClr val="3C3C3B"/>
              </a:solidFill>
              <a:effectLst/>
              <a:uLnTx/>
              <a:uFillTx/>
              <a:latin typeface="Lato"/>
              <a:ea typeface="+mn-ea"/>
              <a:cs typeface="+mn-cs"/>
            </a:endParaRPr>
          </a:p>
        </p:txBody>
      </p:sp>
      <p:sp>
        <p:nvSpPr>
          <p:cNvPr id="484" name="Rectangle 483">
            <a:extLst>
              <a:ext uri="{FF2B5EF4-FFF2-40B4-BE49-F238E27FC236}">
                <a16:creationId xmlns:a16="http://schemas.microsoft.com/office/drawing/2014/main" id="{9B2A513F-FBE0-491E-8ECE-5A81B661D267}"/>
              </a:ext>
            </a:extLst>
          </p:cNvPr>
          <p:cNvSpPr/>
          <p:nvPr>
            <p:custDataLst>
              <p:tags r:id="rId39"/>
            </p:custDataLst>
          </p:nvPr>
        </p:nvSpPr>
        <p:spPr bwMode="auto">
          <a:xfrm>
            <a:off x="1614488" y="6075363"/>
            <a:ext cx="179388" cy="133350"/>
          </a:xfrm>
          <a:prstGeom prst="rect">
            <a:avLst/>
          </a:prstGeom>
          <a:solidFill>
            <a:srgbClr val="A6B727"/>
          </a:solidFill>
          <a:ln w="1270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rgbClr val="3C3C3B"/>
              </a:solidFill>
              <a:effectLst/>
              <a:uLnTx/>
              <a:uFillTx/>
              <a:latin typeface="Lato"/>
              <a:ea typeface="+mn-ea"/>
              <a:cs typeface="+mn-cs"/>
            </a:endParaRPr>
          </a:p>
        </p:txBody>
      </p:sp>
      <p:sp>
        <p:nvSpPr>
          <p:cNvPr id="486" name="Rectangle 485">
            <a:extLst>
              <a:ext uri="{FF2B5EF4-FFF2-40B4-BE49-F238E27FC236}">
                <a16:creationId xmlns:a16="http://schemas.microsoft.com/office/drawing/2014/main" id="{C9ED2A25-7083-D26F-CCC3-27525E54AEEC}"/>
              </a:ext>
            </a:extLst>
          </p:cNvPr>
          <p:cNvSpPr/>
          <p:nvPr>
            <p:custDataLst>
              <p:tags r:id="rId40"/>
            </p:custDataLst>
          </p:nvPr>
        </p:nvSpPr>
        <p:spPr bwMode="auto">
          <a:xfrm>
            <a:off x="1614488" y="6270625"/>
            <a:ext cx="179388" cy="133350"/>
          </a:xfrm>
          <a:prstGeom prst="rect">
            <a:avLst/>
          </a:prstGeom>
          <a:noFill/>
          <a:ln w="15875" cap="flat" cmpd="sng" algn="ctr">
            <a:solidFill>
              <a:schemeClr val="tx1"/>
            </a:solidFill>
            <a:prstDash val="sysDot"/>
            <a:miter lim="800000"/>
            <a:headEnd type="none" w="med" len="med"/>
            <a:tailEnd type="none" w="med" len="med"/>
          </a:ln>
          <a:effectLst/>
          <a:extLst>
            <a:ext uri="{909E8E84-426E-40DD-AFC4-6F175D3DCCD1}">
              <a14:hiddenFill xmlns:a14="http://schemas.microsoft.com/office/drawing/2010/main">
                <a:solidFill>
                  <a:schemeClr val="accent4"/>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87" name="Text Placeholder 1">
            <a:extLst>
              <a:ext uri="{FF2B5EF4-FFF2-40B4-BE49-F238E27FC236}">
                <a16:creationId xmlns:a16="http://schemas.microsoft.com/office/drawing/2014/main" id="{22F5AF08-B6D8-EF99-50F8-8B4C7211F832}"/>
              </a:ext>
            </a:extLst>
          </p:cNvPr>
          <p:cNvSpPr>
            <a:spLocks noGrp="1"/>
          </p:cNvSpPr>
          <p:nvPr>
            <p:custDataLst>
              <p:tags r:id="rId41"/>
            </p:custDataLst>
          </p:nvPr>
        </p:nvSpPr>
        <p:spPr bwMode="auto">
          <a:xfrm>
            <a:off x="636588" y="6083300"/>
            <a:ext cx="876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1200" cap="none" spc="0" normalizeH="0" baseline="0" noProof="0">
                <a:ln>
                  <a:noFill/>
                </a:ln>
                <a:solidFill>
                  <a:srgbClr val="3C3C3B"/>
                </a:solidFill>
                <a:effectLst/>
                <a:uLnTx/>
                <a:uFillTx/>
                <a:latin typeface="Lato"/>
                <a:ea typeface="+mn-ea"/>
                <a:cs typeface="+mn-cs"/>
              </a:rPr>
              <a:t>Offshore Wind</a:t>
            </a:r>
            <a:r>
              <a:rPr kumimoji="0" lang="en-GB" altLang="en-US" sz="1000" b="0" i="0" u="none" strike="noStrike" kern="1200" cap="none" spc="0" normalizeH="0" baseline="30000" noProof="0">
                <a:ln>
                  <a:noFill/>
                </a:ln>
                <a:solidFill>
                  <a:srgbClr val="3C3C3B"/>
                </a:solidFill>
                <a:effectLst/>
                <a:uLnTx/>
                <a:uFillTx/>
                <a:latin typeface="Lato"/>
                <a:ea typeface="+mn-ea"/>
                <a:cs typeface="+mn-cs"/>
              </a:rPr>
              <a:t>2</a:t>
            </a:r>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88" name="Text Placeholder 1">
            <a:extLst>
              <a:ext uri="{FF2B5EF4-FFF2-40B4-BE49-F238E27FC236}">
                <a16:creationId xmlns:a16="http://schemas.microsoft.com/office/drawing/2014/main" id="{6050C31A-530A-85D5-3FAF-F5FD93966BE6}"/>
              </a:ext>
            </a:extLst>
          </p:cNvPr>
          <p:cNvSpPr>
            <a:spLocks noGrp="1"/>
          </p:cNvSpPr>
          <p:nvPr>
            <p:custDataLst>
              <p:tags r:id="rId42"/>
            </p:custDataLst>
          </p:nvPr>
        </p:nvSpPr>
        <p:spPr bwMode="auto">
          <a:xfrm>
            <a:off x="636589" y="6278563"/>
            <a:ext cx="811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1200" cap="none" spc="0" normalizeH="0" baseline="0" noProof="0">
                <a:ln>
                  <a:noFill/>
                </a:ln>
                <a:solidFill>
                  <a:srgbClr val="3C3C3B"/>
                </a:solidFill>
                <a:effectLst/>
                <a:uLnTx/>
                <a:uFillTx/>
                <a:latin typeface="Lato"/>
                <a:ea typeface="+mn-ea"/>
                <a:cs typeface="+mn-cs"/>
              </a:rPr>
              <a:t>Onshore Wind</a:t>
            </a:r>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89" name="Text Placeholder 1">
            <a:extLst>
              <a:ext uri="{FF2B5EF4-FFF2-40B4-BE49-F238E27FC236}">
                <a16:creationId xmlns:a16="http://schemas.microsoft.com/office/drawing/2014/main" id="{A24AA31A-B23B-FDE6-8E5E-A768C61F6E4F}"/>
              </a:ext>
            </a:extLst>
          </p:cNvPr>
          <p:cNvSpPr>
            <a:spLocks noGrp="1"/>
          </p:cNvSpPr>
          <p:nvPr>
            <p:custDataLst>
              <p:tags r:id="rId43"/>
            </p:custDataLst>
          </p:nvPr>
        </p:nvSpPr>
        <p:spPr bwMode="auto">
          <a:xfrm>
            <a:off x="1844675" y="6083300"/>
            <a:ext cx="471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1200" cap="none" spc="0" normalizeH="0" baseline="0" noProof="0">
                <a:ln>
                  <a:noFill/>
                </a:ln>
                <a:solidFill>
                  <a:srgbClr val="3C3C3B"/>
                </a:solidFill>
                <a:effectLst/>
                <a:uLnTx/>
                <a:uFillTx/>
                <a:latin typeface="Lato"/>
                <a:ea typeface="+mn-ea"/>
                <a:cs typeface="+mn-cs"/>
              </a:rPr>
              <a:t>Solar PV</a:t>
            </a:r>
            <a:endParaRPr kumimoji="0" lang="en-GB" sz="1000" b="0" i="0" u="none" strike="noStrike" kern="1200" cap="none" spc="0" normalizeH="0" baseline="30000" noProof="0">
              <a:ln>
                <a:noFill/>
              </a:ln>
              <a:solidFill>
                <a:srgbClr val="3C3C3B"/>
              </a:solidFill>
              <a:effectLst/>
              <a:uLnTx/>
              <a:uFillTx/>
              <a:latin typeface="Lato"/>
              <a:ea typeface="+mn-ea"/>
              <a:cs typeface="+mn-cs"/>
              <a:sym typeface="+mn-lt"/>
            </a:endParaRPr>
          </a:p>
        </p:txBody>
      </p:sp>
      <p:sp>
        <p:nvSpPr>
          <p:cNvPr id="495" name="Text Placeholder 1">
            <a:extLst>
              <a:ext uri="{FF2B5EF4-FFF2-40B4-BE49-F238E27FC236}">
                <a16:creationId xmlns:a16="http://schemas.microsoft.com/office/drawing/2014/main" id="{948FCD4C-D648-671B-46A5-F1D13E30F63F}"/>
              </a:ext>
            </a:extLst>
          </p:cNvPr>
          <p:cNvSpPr>
            <a:spLocks noGrp="1"/>
          </p:cNvSpPr>
          <p:nvPr>
            <p:custDataLst>
              <p:tags r:id="rId44"/>
            </p:custDataLst>
          </p:nvPr>
        </p:nvSpPr>
        <p:spPr bwMode="auto">
          <a:xfrm>
            <a:off x="1844675" y="6278563"/>
            <a:ext cx="774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defRPr/>
            </a:pPr>
            <a:r>
              <a:rPr kumimoji="0" lang="en-GB" sz="1000" b="0" i="0" strike="noStrike" kern="1200" cap="none" spc="0" normalizeH="0" noProof="0">
                <a:ln>
                  <a:noFill/>
                </a:ln>
                <a:solidFill>
                  <a:srgbClr val="3C3C3B"/>
                </a:solidFill>
                <a:effectLst/>
                <a:uLnTx/>
                <a:uFillTx/>
                <a:sym typeface="+mn-lt"/>
              </a:rPr>
              <a:t>Total capacity</a:t>
            </a:r>
          </a:p>
        </p:txBody>
      </p:sp>
      <p:sp>
        <p:nvSpPr>
          <p:cNvPr id="12" name="Rectangle 11">
            <a:extLst>
              <a:ext uri="{FF2B5EF4-FFF2-40B4-BE49-F238E27FC236}">
                <a16:creationId xmlns:a16="http://schemas.microsoft.com/office/drawing/2014/main" id="{EAA08943-AED1-76A6-DA3B-9517884DBCF6}"/>
              </a:ext>
            </a:extLst>
          </p:cNvPr>
          <p:cNvSpPr/>
          <p:nvPr/>
        </p:nvSpPr>
        <p:spPr>
          <a:xfrm>
            <a:off x="381000" y="1777161"/>
            <a:ext cx="396876" cy="2361452"/>
          </a:xfrm>
          <a:prstGeom prst="rect">
            <a:avLst/>
          </a:prstGeom>
          <a:solidFill>
            <a:schemeClr val="accent5"/>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7" name="Text Placeholder 5">
            <a:extLst>
              <a:ext uri="{FF2B5EF4-FFF2-40B4-BE49-F238E27FC236}">
                <a16:creationId xmlns:a16="http://schemas.microsoft.com/office/drawing/2014/main" id="{B516A16F-C849-83B8-C9B7-DB7445A32A6E}"/>
              </a:ext>
            </a:extLst>
          </p:cNvPr>
          <p:cNvSpPr txBox="1">
            <a:spLocks/>
          </p:cNvSpPr>
          <p:nvPr/>
        </p:nvSpPr>
        <p:spPr>
          <a:xfrm>
            <a:off x="381600" y="6725426"/>
            <a:ext cx="8601074"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Source: Aurora Energy Research</a:t>
            </a:r>
          </a:p>
        </p:txBody>
      </p:sp>
      <p:sp>
        <p:nvSpPr>
          <p:cNvPr id="30" name="Text Placeholder 29">
            <a:extLst>
              <a:ext uri="{FF2B5EF4-FFF2-40B4-BE49-F238E27FC236}">
                <a16:creationId xmlns:a16="http://schemas.microsoft.com/office/drawing/2014/main" id="{0D71B43E-C4A9-F8CB-4632-1FDD5AEE9BAD}"/>
              </a:ext>
            </a:extLst>
          </p:cNvPr>
          <p:cNvSpPr>
            <a:spLocks noGrp="1"/>
          </p:cNvSpPr>
          <p:nvPr>
            <p:ph type="body" sz="quarter" idx="32"/>
          </p:nvPr>
        </p:nvSpPr>
        <p:spPr/>
        <p:txBody>
          <a:bodyPr/>
          <a:lstStyle/>
          <a:p>
            <a:endParaRPr lang="en-GB"/>
          </a:p>
        </p:txBody>
      </p:sp>
      <p:sp>
        <p:nvSpPr>
          <p:cNvPr id="2" name="Rectangle 1">
            <a:extLst>
              <a:ext uri="{FF2B5EF4-FFF2-40B4-BE49-F238E27FC236}">
                <a16:creationId xmlns:a16="http://schemas.microsoft.com/office/drawing/2014/main" id="{22C199E0-C402-D768-7B3E-C440D76FA710}"/>
              </a:ext>
            </a:extLst>
          </p:cNvPr>
          <p:cNvSpPr/>
          <p:nvPr/>
        </p:nvSpPr>
        <p:spPr>
          <a:xfrm>
            <a:off x="840845" y="1746612"/>
            <a:ext cx="3708163" cy="2390699"/>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581496618"/>
      </p:ext>
    </p:extLst>
  </p:cSld>
  <p:clrMapOvr>
    <a:masterClrMapping/>
  </p:clrMapOvr>
  <p:extLst>
    <p:ext uri="{6950BFC3-D8DA-4A85-94F7-54DA5524770B}">
      <p188:commentRel xmlns:p188="http://schemas.microsoft.com/office/powerpoint/2018/8/main" r:id="rId47"/>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279084-E1AE-39B4-FCCC-D5A6ADF38DA6}"/>
              </a:ext>
            </a:extLst>
          </p:cNvPr>
          <p:cNvGraphicFramePr>
            <a:graphicFrameLocks noChangeAspect="1"/>
          </p:cNvGraphicFramePr>
          <p:nvPr>
            <p:custDataLst>
              <p:tags r:id="rId1"/>
            </p:custDataLst>
            <p:extLst>
              <p:ext uri="{D42A27DB-BD31-4B8C-83A1-F6EECF244321}">
                <p14:modId xmlns:p14="http://schemas.microsoft.com/office/powerpoint/2010/main" val="1856534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7" name="Object 6" hidden="1">
                        <a:extLst>
                          <a:ext uri="{FF2B5EF4-FFF2-40B4-BE49-F238E27FC236}">
                            <a16:creationId xmlns:a16="http://schemas.microsoft.com/office/drawing/2014/main" id="{EB279084-E1AE-39B4-FCCC-D5A6ADF38DA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CECC02D-6068-8DCA-D4BC-830BA13DCD57}"/>
              </a:ext>
            </a:extLst>
          </p:cNvPr>
          <p:cNvSpPr>
            <a:spLocks noGrp="1"/>
          </p:cNvSpPr>
          <p:nvPr>
            <p:ph type="title"/>
          </p:nvPr>
        </p:nvSpPr>
        <p:spPr/>
        <p:txBody>
          <a:bodyPr vert="horz"/>
          <a:lstStyle/>
          <a:p>
            <a:pPr marL="446088"/>
            <a:r>
              <a:rPr lang="en-GB">
                <a:solidFill>
                  <a:schemeClr val="tx1"/>
                </a:solidFill>
              </a:rPr>
              <a:t>A </a:t>
            </a:r>
            <a:r>
              <a:rPr lang="en-GB">
                <a:solidFill>
                  <a:srgbClr val="808080"/>
                </a:solidFill>
                <a:highlight>
                  <a:srgbClr val="808080"/>
                </a:highlight>
              </a:rPr>
              <a:t>xx</a:t>
            </a:r>
            <a:r>
              <a:rPr lang="en-GB">
                <a:solidFill>
                  <a:schemeClr val="tx1"/>
                </a:solidFill>
              </a:rPr>
              <a:t>% decrease in generation from conventional assets by 2030 results in the loss of inertia and other grid stability provisions</a:t>
            </a:r>
            <a:endParaRPr lang="en-GB"/>
          </a:p>
        </p:txBody>
      </p:sp>
      <p:sp>
        <p:nvSpPr>
          <p:cNvPr id="15" name="Text Placeholder 14">
            <a:extLst>
              <a:ext uri="{FF2B5EF4-FFF2-40B4-BE49-F238E27FC236}">
                <a16:creationId xmlns:a16="http://schemas.microsoft.com/office/drawing/2014/main" id="{DE1E6272-C1FA-FAAC-D0AB-EE146CB28CF9}"/>
              </a:ext>
            </a:extLst>
          </p:cNvPr>
          <p:cNvSpPr>
            <a:spLocks noGrp="1"/>
          </p:cNvSpPr>
          <p:nvPr>
            <p:ph type="body" sz="quarter" idx="32"/>
          </p:nvPr>
        </p:nvSpPr>
        <p:spPr>
          <a:xfrm>
            <a:off x="381297" y="6713340"/>
            <a:ext cx="8601074" cy="110800"/>
          </a:xfrm>
        </p:spPr>
        <p:txBody>
          <a:bodyPr/>
          <a:lstStyle/>
          <a:p>
            <a:r>
              <a:rPr lang="en-GB"/>
              <a:t>Source: Aurora Energy Research</a:t>
            </a:r>
          </a:p>
        </p:txBody>
      </p:sp>
      <p:sp>
        <p:nvSpPr>
          <p:cNvPr id="14" name="Text Placeholder 13">
            <a:extLst>
              <a:ext uri="{FF2B5EF4-FFF2-40B4-BE49-F238E27FC236}">
                <a16:creationId xmlns:a16="http://schemas.microsoft.com/office/drawing/2014/main" id="{1D3AD26A-F827-5494-5D0E-EE45E938A401}"/>
              </a:ext>
            </a:extLst>
          </p:cNvPr>
          <p:cNvSpPr>
            <a:spLocks noGrp="1"/>
          </p:cNvSpPr>
          <p:nvPr>
            <p:ph type="body" sz="quarter" idx="31"/>
          </p:nvPr>
        </p:nvSpPr>
        <p:spPr>
          <a:xfrm>
            <a:off x="381599" y="79401"/>
            <a:ext cx="5503430" cy="184666"/>
          </a:xfrm>
        </p:spPr>
        <p:txBody>
          <a:bodyPr/>
          <a:lstStyle/>
          <a:p>
            <a:r>
              <a:rPr lang="en-GB"/>
              <a:t>		Introduction to battery storage – </a:t>
            </a:r>
            <a:r>
              <a:rPr lang="en-GB" sz="1200"/>
              <a:t>Battery storage drivers, risks and markets</a:t>
            </a:r>
            <a:endParaRPr lang="en-GB"/>
          </a:p>
        </p:txBody>
      </p:sp>
      <p:sp>
        <p:nvSpPr>
          <p:cNvPr id="149" name="Text Placeholder 30">
            <a:extLst>
              <a:ext uri="{FF2B5EF4-FFF2-40B4-BE49-F238E27FC236}">
                <a16:creationId xmlns:a16="http://schemas.microsoft.com/office/drawing/2014/main" id="{BE833434-86B0-1C7A-8442-1CA8DEC6FA65}"/>
              </a:ext>
            </a:extLst>
          </p:cNvPr>
          <p:cNvSpPr txBox="1">
            <a:spLocks/>
          </p:cNvSpPr>
          <p:nvPr/>
        </p:nvSpPr>
        <p:spPr>
          <a:xfrm>
            <a:off x="381001" y="1242220"/>
            <a:ext cx="5376000" cy="368300"/>
          </a:xfrm>
          <a:prstGeom prst="rect">
            <a:avLst/>
          </a:prstGeom>
        </p:spPr>
        <p:txBody>
          <a:bodyPr lIns="0" tIns="0" rIns="0" bIns="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Evolution of conventional generation in Europe</a:t>
            </a:r>
            <a:r>
              <a:rPr kumimoji="0" lang="en-GB" sz="1200" b="1" i="0" u="none" strike="noStrike" kern="1200" cap="none" spc="0" normalizeH="0" baseline="30000" noProof="0">
                <a:ln>
                  <a:noFill/>
                </a:ln>
                <a:solidFill>
                  <a:srgbClr val="3C3C3B"/>
                </a:solidFill>
                <a:effectLst/>
                <a:uLnTx/>
                <a:uFillTx/>
                <a:latin typeface="Lato"/>
                <a:sym typeface="Lato" panose="020F0502020204030203" pitchFamily="34" charset="0"/>
              </a:rPr>
              <a:t>1</a:t>
            </a:r>
            <a:b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br>
            <a: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t>TWh</a:t>
            </a:r>
          </a:p>
        </p:txBody>
      </p:sp>
      <p:graphicFrame>
        <p:nvGraphicFramePr>
          <p:cNvPr id="26" name="Chart 25">
            <a:extLst>
              <a:ext uri="{FF2B5EF4-FFF2-40B4-BE49-F238E27FC236}">
                <a16:creationId xmlns:a16="http://schemas.microsoft.com/office/drawing/2014/main" id="{4562401B-A85F-0450-0D53-497744B4FC81}"/>
              </a:ext>
            </a:extLst>
          </p:cNvPr>
          <p:cNvGraphicFramePr/>
          <p:nvPr>
            <p:custDataLst>
              <p:tags r:id="rId2"/>
            </p:custDataLst>
            <p:extLst>
              <p:ext uri="{D42A27DB-BD31-4B8C-83A1-F6EECF244321}">
                <p14:modId xmlns:p14="http://schemas.microsoft.com/office/powerpoint/2010/main" val="244070392"/>
              </p:ext>
            </p:extLst>
          </p:nvPr>
        </p:nvGraphicFramePr>
        <p:xfrm>
          <a:off x="771525" y="1860550"/>
          <a:ext cx="7777163" cy="3963988"/>
        </p:xfrm>
        <a:graphic>
          <a:graphicData uri="http://schemas.openxmlformats.org/drawingml/2006/chart">
            <c:chart xmlns:c="http://schemas.openxmlformats.org/drawingml/2006/chart" xmlns:r="http://schemas.openxmlformats.org/officeDocument/2006/relationships" r:id="rId26"/>
          </a:graphicData>
        </a:graphic>
      </p:graphicFrame>
      <p:cxnSp>
        <p:nvCxnSpPr>
          <p:cNvPr id="31" name="Straight Connector 30">
            <a:extLst>
              <a:ext uri="{FF2B5EF4-FFF2-40B4-BE49-F238E27FC236}">
                <a16:creationId xmlns:a16="http://schemas.microsoft.com/office/drawing/2014/main" id="{66167988-537E-7A1D-68F9-96449BEEB8B8}"/>
              </a:ext>
            </a:extLst>
          </p:cNvPr>
          <p:cNvCxnSpPr/>
          <p:nvPr>
            <p:custDataLst>
              <p:tags r:id="rId3"/>
            </p:custDataLst>
          </p:nvPr>
        </p:nvCxnSpPr>
        <p:spPr bwMode="gray">
          <a:xfrm>
            <a:off x="4659313" y="1824038"/>
            <a:ext cx="0" cy="15113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D037397-BFC4-359A-DF80-30BACA77E51E}"/>
              </a:ext>
            </a:extLst>
          </p:cNvPr>
          <p:cNvCxnSpPr/>
          <p:nvPr>
            <p:custDataLst>
              <p:tags r:id="rId4"/>
            </p:custDataLst>
          </p:nvPr>
        </p:nvCxnSpPr>
        <p:spPr bwMode="gray">
          <a:xfrm flipV="1">
            <a:off x="1614488" y="1824038"/>
            <a:ext cx="0" cy="4730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40CF5AF8-EA7C-1A2C-B8CD-668A7B382B8F}"/>
              </a:ext>
            </a:extLst>
          </p:cNvPr>
          <p:cNvCxnSpPr/>
          <p:nvPr>
            <p:custDataLst>
              <p:tags r:id="rId5"/>
            </p:custDataLst>
          </p:nvPr>
        </p:nvCxnSpPr>
        <p:spPr bwMode="gray">
          <a:xfrm>
            <a:off x="1614487" y="1824038"/>
            <a:ext cx="60896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18D74C2-2747-2A62-2DF1-CCDEE970E234}"/>
              </a:ext>
            </a:extLst>
          </p:cNvPr>
          <p:cNvCxnSpPr/>
          <p:nvPr>
            <p:custDataLst>
              <p:tags r:id="rId6"/>
            </p:custDataLst>
          </p:nvPr>
        </p:nvCxnSpPr>
        <p:spPr bwMode="gray">
          <a:xfrm>
            <a:off x="7704138" y="1824037"/>
            <a:ext cx="0" cy="22431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 name="Text Placeholder 19">
            <a:extLst>
              <a:ext uri="{FF2B5EF4-FFF2-40B4-BE49-F238E27FC236}">
                <a16:creationId xmlns:a16="http://schemas.microsoft.com/office/drawing/2014/main" id="{67C0C9CE-ADB1-D83B-5497-8B2413971CE0}"/>
              </a:ext>
            </a:extLst>
          </p:cNvPr>
          <p:cNvSpPr>
            <a:spLocks noGrp="1"/>
          </p:cNvSpPr>
          <p:nvPr>
            <p:custDataLst>
              <p:tags r:id="rId7"/>
            </p:custDataLst>
          </p:nvPr>
        </p:nvSpPr>
        <p:spPr bwMode="auto">
          <a:xfrm>
            <a:off x="1430338" y="579278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A96CC67-8D5B-447D-AAFC-10CB10F3AA0F}" type="datetime'''''''2''''''''''''''0''''''''2''''''''''''''''3'''''">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3</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5" name="Text Placeholder 19">
            <a:extLst>
              <a:ext uri="{FF2B5EF4-FFF2-40B4-BE49-F238E27FC236}">
                <a16:creationId xmlns:a16="http://schemas.microsoft.com/office/drawing/2014/main" id="{A7F63E6C-429B-172E-5384-026BF598210F}"/>
              </a:ext>
            </a:extLst>
          </p:cNvPr>
          <p:cNvSpPr>
            <a:spLocks noGrp="1"/>
          </p:cNvSpPr>
          <p:nvPr>
            <p:custDataLst>
              <p:tags r:id="rId8"/>
            </p:custDataLst>
          </p:nvPr>
        </p:nvSpPr>
        <p:spPr bwMode="auto">
          <a:xfrm>
            <a:off x="2952750" y="579278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250D4F8-0DD5-4A16-85C6-AF9E4A228579}" type="datetime'''2''''''0''''''''2''''''''''''''''''5'">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5</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7" name="Text Placeholder 19">
            <a:extLst>
              <a:ext uri="{FF2B5EF4-FFF2-40B4-BE49-F238E27FC236}">
                <a16:creationId xmlns:a16="http://schemas.microsoft.com/office/drawing/2014/main" id="{91178C5B-E480-D500-81E5-32A8683C7525}"/>
              </a:ext>
            </a:extLst>
          </p:cNvPr>
          <p:cNvSpPr>
            <a:spLocks noGrp="1"/>
          </p:cNvSpPr>
          <p:nvPr>
            <p:custDataLst>
              <p:tags r:id="rId9"/>
            </p:custDataLst>
          </p:nvPr>
        </p:nvSpPr>
        <p:spPr bwMode="auto">
          <a:xfrm>
            <a:off x="4475163" y="579278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9797380-8860-4A40-BD26-B583FA31055E}" type="datetime'''''''''''20''''''''''3''''''''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1" name="Text Placeholder 19">
            <a:extLst>
              <a:ext uri="{FF2B5EF4-FFF2-40B4-BE49-F238E27FC236}">
                <a16:creationId xmlns:a16="http://schemas.microsoft.com/office/drawing/2014/main" id="{E22DB461-318E-D1DF-3849-461402EEC3C6}"/>
              </a:ext>
            </a:extLst>
          </p:cNvPr>
          <p:cNvSpPr>
            <a:spLocks noGrp="1"/>
          </p:cNvSpPr>
          <p:nvPr>
            <p:custDataLst>
              <p:tags r:id="rId10"/>
            </p:custDataLst>
          </p:nvPr>
        </p:nvSpPr>
        <p:spPr bwMode="auto">
          <a:xfrm>
            <a:off x="5997575" y="579278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A6D890D-6766-4E6B-A582-09682E771E06}" type="datetime'''''''''''''''2''''''''''''''0''''''''''''''''''4''''''''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58" name="Text Placeholder 19">
            <a:extLst>
              <a:ext uri="{FF2B5EF4-FFF2-40B4-BE49-F238E27FC236}">
                <a16:creationId xmlns:a16="http://schemas.microsoft.com/office/drawing/2014/main" id="{A991D669-B3D0-A30D-0D08-F8830F1B2A57}"/>
              </a:ext>
            </a:extLst>
          </p:cNvPr>
          <p:cNvSpPr>
            <a:spLocks noGrp="1"/>
          </p:cNvSpPr>
          <p:nvPr>
            <p:custDataLst>
              <p:tags r:id="rId11"/>
            </p:custDataLst>
          </p:nvPr>
        </p:nvSpPr>
        <p:spPr bwMode="auto">
          <a:xfrm>
            <a:off x="7519988" y="579278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F00CC8B-F09B-479D-9F7B-5ADDBED3E873}" type="datetime'2''''''0''''''''''''''''''''''''''''''''''''''''''''''5''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0" name="Rectangle 49">
            <a:extLst>
              <a:ext uri="{FF2B5EF4-FFF2-40B4-BE49-F238E27FC236}">
                <a16:creationId xmlns:a16="http://schemas.microsoft.com/office/drawing/2014/main" id="{F3C22EAD-3C7C-DCD3-A1EF-3A60DED6D9B0}"/>
              </a:ext>
            </a:extLst>
          </p:cNvPr>
          <p:cNvSpPr/>
          <p:nvPr>
            <p:custDataLst>
              <p:tags r:id="rId12"/>
            </p:custDataLst>
          </p:nvPr>
        </p:nvSpPr>
        <p:spPr bwMode="auto">
          <a:xfrm>
            <a:off x="517525" y="6191250"/>
            <a:ext cx="179388" cy="133350"/>
          </a:xfrm>
          <a:prstGeom prst="rect">
            <a:avLst/>
          </a:prstGeom>
          <a:solidFill>
            <a:srgbClr val="9F3C1C"/>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1" name="Rectangle 50">
            <a:extLst>
              <a:ext uri="{FF2B5EF4-FFF2-40B4-BE49-F238E27FC236}">
                <a16:creationId xmlns:a16="http://schemas.microsoft.com/office/drawing/2014/main" id="{642207A7-272F-08E9-F303-4A77E50DF26F}"/>
              </a:ext>
            </a:extLst>
          </p:cNvPr>
          <p:cNvSpPr/>
          <p:nvPr>
            <p:custDataLst>
              <p:tags r:id="rId13"/>
            </p:custDataLst>
          </p:nvPr>
        </p:nvSpPr>
        <p:spPr bwMode="auto">
          <a:xfrm>
            <a:off x="1422400" y="6191250"/>
            <a:ext cx="179388" cy="133350"/>
          </a:xfrm>
          <a:prstGeom prst="rect">
            <a:avLst/>
          </a:prstGeom>
          <a:solidFill>
            <a:srgbClr val="441A0D"/>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3" name="Rectangle 52">
            <a:extLst>
              <a:ext uri="{FF2B5EF4-FFF2-40B4-BE49-F238E27FC236}">
                <a16:creationId xmlns:a16="http://schemas.microsoft.com/office/drawing/2014/main" id="{3D1CA6D5-89C7-FEBC-BB93-8D05885B4D1D}"/>
              </a:ext>
            </a:extLst>
          </p:cNvPr>
          <p:cNvSpPr/>
          <p:nvPr>
            <p:custDataLst>
              <p:tags r:id="rId14"/>
            </p:custDataLst>
          </p:nvPr>
        </p:nvSpPr>
        <p:spPr bwMode="auto">
          <a:xfrm>
            <a:off x="2143125" y="6191250"/>
            <a:ext cx="179388" cy="133350"/>
          </a:xfrm>
          <a:prstGeom prst="rect">
            <a:avLst/>
          </a:prstGeom>
          <a:solidFill>
            <a:srgbClr val="5A5A5A"/>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cxnSp>
        <p:nvCxnSpPr>
          <p:cNvPr id="54" name="Straight Connector 53">
            <a:extLst>
              <a:ext uri="{FF2B5EF4-FFF2-40B4-BE49-F238E27FC236}">
                <a16:creationId xmlns:a16="http://schemas.microsoft.com/office/drawing/2014/main" id="{2486F7F2-B81C-1732-13B8-373A54ECE113}"/>
              </a:ext>
            </a:extLst>
          </p:cNvPr>
          <p:cNvCxnSpPr/>
          <p:nvPr>
            <p:custDataLst>
              <p:tags r:id="rId15"/>
            </p:custDataLst>
          </p:nvPr>
        </p:nvCxnSpPr>
        <p:spPr bwMode="gray">
          <a:xfrm>
            <a:off x="2878138" y="6257925"/>
            <a:ext cx="242888" cy="0"/>
          </a:xfrm>
          <a:prstGeom prst="line">
            <a:avLst/>
          </a:prstGeom>
          <a:ln w="22225"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9" name="Diamond 168">
            <a:extLst>
              <a:ext uri="{FF2B5EF4-FFF2-40B4-BE49-F238E27FC236}">
                <a16:creationId xmlns:a16="http://schemas.microsoft.com/office/drawing/2014/main" id="{0586F5BA-45D8-7D5A-CFB2-8BCB99C370D5}"/>
              </a:ext>
            </a:extLst>
          </p:cNvPr>
          <p:cNvSpPr/>
          <p:nvPr>
            <p:custDataLst>
              <p:tags r:id="rId16"/>
            </p:custDataLst>
          </p:nvPr>
        </p:nvSpPr>
        <p:spPr bwMode="auto">
          <a:xfrm>
            <a:off x="2960688" y="6219825"/>
            <a:ext cx="76200" cy="76200"/>
          </a:xfrm>
          <a:prstGeom prst="diamond">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5" name="Text Placeholder 19">
            <a:extLst>
              <a:ext uri="{FF2B5EF4-FFF2-40B4-BE49-F238E27FC236}">
                <a16:creationId xmlns:a16="http://schemas.microsoft.com/office/drawing/2014/main" id="{188C87FC-CDDA-EC64-190D-5327E9157530}"/>
              </a:ext>
            </a:extLst>
          </p:cNvPr>
          <p:cNvSpPr>
            <a:spLocks noGrp="1"/>
          </p:cNvSpPr>
          <p:nvPr>
            <p:custDataLst>
              <p:tags r:id="rId17"/>
            </p:custDataLst>
          </p:nvPr>
        </p:nvSpPr>
        <p:spPr bwMode="auto">
          <a:xfrm>
            <a:off x="747713" y="6186488"/>
            <a:ext cx="487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CC2F67C-E2D3-480D-96F3-DDAB6EE09ED4}" type="datetime'''''''''''Nu''''''c''l''''''''''''''''e''a''''''''''''r'">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Nuclear</a:t>
            </a:fld>
            <a:r>
              <a:rPr kumimoji="0" lang="en-GB" altLang="en-US" sz="1000" b="0" i="0" u="none" strike="noStrike" kern="1200" cap="none" spc="0" normalizeH="0" baseline="30000" noProof="0">
                <a:ln>
                  <a:noFill/>
                </a:ln>
                <a:solidFill>
                  <a:srgbClr val="3C3C3B"/>
                </a:solidFill>
                <a:effectLst/>
                <a:uLnTx/>
                <a:uFillTx/>
                <a:latin typeface="Lato"/>
                <a:sym typeface="Lato" panose="020F0502020204030203" pitchFamily="34" charset="0"/>
              </a:rPr>
              <a:t>2</a:t>
            </a:r>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8" name="Text Placeholder 19">
            <a:extLst>
              <a:ext uri="{FF2B5EF4-FFF2-40B4-BE49-F238E27FC236}">
                <a16:creationId xmlns:a16="http://schemas.microsoft.com/office/drawing/2014/main" id="{BA11A50E-B6A2-30B6-DBAB-475606EC9A25}"/>
              </a:ext>
            </a:extLst>
          </p:cNvPr>
          <p:cNvSpPr>
            <a:spLocks noGrp="1"/>
          </p:cNvSpPr>
          <p:nvPr>
            <p:custDataLst>
              <p:tags r:id="rId18"/>
            </p:custDataLst>
          </p:nvPr>
        </p:nvSpPr>
        <p:spPr bwMode="auto">
          <a:xfrm>
            <a:off x="1652588" y="6186488"/>
            <a:ext cx="303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F45A0C5-E3C3-4788-AABB-1E182EBB901C}" type="datetime'''''''''''Co''''''''''''a''''''l'''''''''''''''''''''">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oal</a:t>
            </a:fld>
            <a:r>
              <a:rPr lang="en-GB" altLang="en-US" sz="1000" baseline="30000">
                <a:solidFill>
                  <a:srgbClr val="3C3C3B"/>
                </a:solidFill>
                <a:latin typeface="Lato"/>
              </a:rPr>
              <a:t>3</a:t>
            </a:r>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9" name="Text Placeholder 19">
            <a:extLst>
              <a:ext uri="{FF2B5EF4-FFF2-40B4-BE49-F238E27FC236}">
                <a16:creationId xmlns:a16="http://schemas.microsoft.com/office/drawing/2014/main" id="{C6A85DDB-B106-1934-F168-B63444E752C9}"/>
              </a:ext>
            </a:extLst>
          </p:cNvPr>
          <p:cNvSpPr>
            <a:spLocks noGrp="1"/>
          </p:cNvSpPr>
          <p:nvPr>
            <p:custDataLst>
              <p:tags r:id="rId19"/>
            </p:custDataLst>
          </p:nvPr>
        </p:nvSpPr>
        <p:spPr bwMode="auto">
          <a:xfrm>
            <a:off x="2373313" y="6186488"/>
            <a:ext cx="39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1706A3F-D037-4076-A376-5D36959C3806}" type="datetime'''CC''''''''''''''''''''''''''''''''G''''''''T'">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CGT</a:t>
            </a:fld>
            <a:r>
              <a:rPr lang="en-GB" altLang="en-US" sz="1000" baseline="30000">
                <a:solidFill>
                  <a:srgbClr val="3C3C3B"/>
                </a:solidFill>
                <a:latin typeface="Lato"/>
              </a:rPr>
              <a:t>4</a:t>
            </a:r>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7" name="Text Placeholder 19">
            <a:extLst>
              <a:ext uri="{FF2B5EF4-FFF2-40B4-BE49-F238E27FC236}">
                <a16:creationId xmlns:a16="http://schemas.microsoft.com/office/drawing/2014/main" id="{7D8A3DB6-3711-7BCD-884C-4BDA0D82E012}"/>
              </a:ext>
            </a:extLst>
          </p:cNvPr>
          <p:cNvSpPr>
            <a:spLocks noGrp="1"/>
          </p:cNvSpPr>
          <p:nvPr>
            <p:custDataLst>
              <p:tags r:id="rId20"/>
            </p:custDataLst>
          </p:nvPr>
        </p:nvSpPr>
        <p:spPr bwMode="auto">
          <a:xfrm>
            <a:off x="3182938" y="6186488"/>
            <a:ext cx="749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8C21551-AD9C-496F-9E4F-D4012291292A}" type="datetime'P''''e''a''''''''k'''''''' d''e''m''a''''''n''''''''''''d'">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Peak demand</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0" name="Oval 59">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61" name="Oval 60">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22" name="Text Placeholder 30">
            <a:extLst>
              <a:ext uri="{FF2B5EF4-FFF2-40B4-BE49-F238E27FC236}">
                <a16:creationId xmlns:a16="http://schemas.microsoft.com/office/drawing/2014/main" id="{5B13AE0A-7129-9B1A-39EB-4C6FBAC591CF}"/>
              </a:ext>
            </a:extLst>
          </p:cNvPr>
          <p:cNvSpPr txBox="1">
            <a:spLocks/>
          </p:cNvSpPr>
          <p:nvPr/>
        </p:nvSpPr>
        <p:spPr>
          <a:xfrm>
            <a:off x="3535726" y="1242220"/>
            <a:ext cx="5376000" cy="368300"/>
          </a:xfrm>
          <a:prstGeom prst="rect">
            <a:avLst/>
          </a:prstGeom>
        </p:spPr>
        <p:txBody>
          <a:bodyPr lIns="0" tIns="0" rIns="0" bIns="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F59E00"/>
                </a:solidFill>
                <a:effectLst/>
                <a:uLnTx/>
                <a:uFillTx/>
                <a:latin typeface="Lato"/>
                <a:sym typeface="Lato" panose="020F0502020204030203" pitchFamily="34" charset="0"/>
              </a:rPr>
              <a:t>Peak demand</a:t>
            </a:r>
            <a:b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br>
            <a:r>
              <a:rPr kumimoji="0" lang="en-GB" sz="1200" b="0" i="0" u="none" strike="noStrike" kern="1200" cap="none" spc="0" normalizeH="0" baseline="0" noProof="0">
                <a:ln>
                  <a:noFill/>
                </a:ln>
                <a:solidFill>
                  <a:srgbClr val="F59E00"/>
                </a:solidFill>
                <a:effectLst/>
                <a:uLnTx/>
                <a:uFillTx/>
                <a:latin typeface="Lato"/>
                <a:sym typeface="Lato" panose="020F0502020204030203" pitchFamily="34" charset="0"/>
              </a:rPr>
              <a:t>GW</a:t>
            </a:r>
          </a:p>
        </p:txBody>
      </p:sp>
      <p:sp>
        <p:nvSpPr>
          <p:cNvPr id="219" name="Oval 218">
            <a:extLst>
              <a:ext uri="{FF2B5EF4-FFF2-40B4-BE49-F238E27FC236}">
                <a16:creationId xmlns:a16="http://schemas.microsoft.com/office/drawing/2014/main" id="{AC0E6AC0-5384-D486-BF07-181788889C36}"/>
              </a:ext>
            </a:extLst>
          </p:cNvPr>
          <p:cNvSpPr/>
          <p:nvPr/>
        </p:nvSpPr>
        <p:spPr>
          <a:xfrm>
            <a:off x="400461" y="557061"/>
            <a:ext cx="288000" cy="288000"/>
          </a:xfrm>
          <a:prstGeom prst="ellipse">
            <a:avLst/>
          </a:prstGeom>
          <a:solidFill>
            <a:srgbClr val="B97800"/>
          </a:solidFill>
          <a:ln w="38100">
            <a:solidFill>
              <a:srgbClr val="B97800"/>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400" b="1">
                <a:solidFill>
                  <a:schemeClr val="bg1"/>
                </a:solidFill>
              </a:rPr>
              <a:t>2</a:t>
            </a:r>
          </a:p>
        </p:txBody>
      </p:sp>
      <p:sp>
        <p:nvSpPr>
          <p:cNvPr id="2" name="Text Placeholder 16">
            <a:extLst>
              <a:ext uri="{FF2B5EF4-FFF2-40B4-BE49-F238E27FC236}">
                <a16:creationId xmlns:a16="http://schemas.microsoft.com/office/drawing/2014/main" id="{41937DFF-51A2-AF99-5433-B7AB22BD1359}"/>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4" name="Rectangle 3">
            <a:extLst>
              <a:ext uri="{FF2B5EF4-FFF2-40B4-BE49-F238E27FC236}">
                <a16:creationId xmlns:a16="http://schemas.microsoft.com/office/drawing/2014/main" id="{BD353990-4E2C-520D-016A-FA3EC2A67704}"/>
              </a:ext>
            </a:extLst>
          </p:cNvPr>
          <p:cNvSpPr/>
          <p:nvPr/>
        </p:nvSpPr>
        <p:spPr>
          <a:xfrm>
            <a:off x="600190" y="1610520"/>
            <a:ext cx="8058035" cy="4513554"/>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1157509082"/>
      </p:ext>
    </p:extLst>
  </p:cSld>
  <p:clrMapOvr>
    <a:masterClrMapping/>
  </p:clrMapOvr>
  <p:extLst>
    <p:ext uri="{6950BFC3-D8DA-4A85-94F7-54DA5524770B}">
      <p188:commentRel xmlns:p188="http://schemas.microsoft.com/office/powerpoint/2018/8/main" r:id="rId2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5D1D3CA-322C-FD4A-C9B4-D4462E11AC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11" name="Object 10" hidden="1">
                        <a:extLst>
                          <a:ext uri="{FF2B5EF4-FFF2-40B4-BE49-F238E27FC236}">
                            <a16:creationId xmlns:a16="http://schemas.microsoft.com/office/drawing/2014/main" id="{65D1D3CA-322C-FD4A-C9B4-D4462E11AC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3C9BE46-EB8A-FE08-36F5-A8FA0C6496FB}"/>
              </a:ext>
            </a:extLst>
          </p:cNvPr>
          <p:cNvSpPr>
            <a:spLocks noGrp="1"/>
          </p:cNvSpPr>
          <p:nvPr>
            <p:ph type="body" sz="quarter" idx="22"/>
          </p:nvPr>
        </p:nvSpPr>
        <p:spPr>
          <a:xfrm>
            <a:off x="381001" y="6715169"/>
            <a:ext cx="4914807" cy="110800"/>
          </a:xfrm>
        </p:spPr>
        <p:txBody>
          <a:bodyPr/>
          <a:lstStyle/>
          <a:p>
            <a:r>
              <a:rPr lang="en-GB"/>
              <a:t>Sources: Aurora Energy Research, European Commission, RTE, Nordic TSO, NECP, National energy strategies</a:t>
            </a:r>
          </a:p>
        </p:txBody>
      </p:sp>
      <p:sp>
        <p:nvSpPr>
          <p:cNvPr id="6" name="Title 5">
            <a:extLst>
              <a:ext uri="{FF2B5EF4-FFF2-40B4-BE49-F238E27FC236}">
                <a16:creationId xmlns:a16="http://schemas.microsoft.com/office/drawing/2014/main" id="{33E51C2E-9849-7454-A108-C19C22CE1EBE}"/>
              </a:ext>
            </a:extLst>
          </p:cNvPr>
          <p:cNvSpPr>
            <a:spLocks noGrp="1"/>
          </p:cNvSpPr>
          <p:nvPr>
            <p:ph type="title"/>
          </p:nvPr>
        </p:nvSpPr>
        <p:spPr>
          <a:xfrm>
            <a:off x="381599" y="411856"/>
            <a:ext cx="8630426" cy="609398"/>
          </a:xfrm>
        </p:spPr>
        <p:txBody>
          <a:bodyPr vert="horz"/>
          <a:lstStyle/>
          <a:p>
            <a:pPr marL="452438">
              <a:tabLst>
                <a:tab pos="180975" algn="l"/>
              </a:tabLst>
            </a:pPr>
            <a:r>
              <a:rPr lang="en-GB"/>
              <a:t>Legislations for the phase-out of coal creates opportunities for batteries across Europe, while outlook for nuclear remains mixed</a:t>
            </a:r>
          </a:p>
        </p:txBody>
      </p:sp>
      <p:graphicFrame>
        <p:nvGraphicFramePr>
          <p:cNvPr id="591" name="Tabelle 7">
            <a:extLst>
              <a:ext uri="{FF2B5EF4-FFF2-40B4-BE49-F238E27FC236}">
                <a16:creationId xmlns:a16="http://schemas.microsoft.com/office/drawing/2014/main" id="{CF04FDFD-73B0-554F-67B0-AB3A09FF85B6}"/>
              </a:ext>
            </a:extLst>
          </p:cNvPr>
          <p:cNvGraphicFramePr>
            <a:graphicFrameLocks noGrp="1"/>
          </p:cNvGraphicFramePr>
          <p:nvPr>
            <p:custDataLst>
              <p:tags r:id="rId2"/>
            </p:custDataLst>
            <p:extLst>
              <p:ext uri="{D42A27DB-BD31-4B8C-83A1-F6EECF244321}">
                <p14:modId xmlns:p14="http://schemas.microsoft.com/office/powerpoint/2010/main" val="2200667816"/>
              </p:ext>
            </p:extLst>
          </p:nvPr>
        </p:nvGraphicFramePr>
        <p:xfrm>
          <a:off x="381001" y="1612052"/>
          <a:ext cx="5396171" cy="4737711"/>
        </p:xfrm>
        <a:graphic>
          <a:graphicData uri="http://schemas.openxmlformats.org/drawingml/2006/table">
            <a:tbl>
              <a:tblPr firstRow="1" bandRow="1">
                <a:effectLst/>
                <a:tableStyleId>{5C22544A-7EE6-4342-B048-85BDC9FD1C3A}</a:tableStyleId>
              </a:tblPr>
              <a:tblGrid>
                <a:gridCol w="1016410">
                  <a:extLst>
                    <a:ext uri="{9D8B030D-6E8A-4147-A177-3AD203B41FA5}">
                      <a16:colId xmlns:a16="http://schemas.microsoft.com/office/drawing/2014/main" val="20000"/>
                    </a:ext>
                  </a:extLst>
                </a:gridCol>
                <a:gridCol w="200155">
                  <a:extLst>
                    <a:ext uri="{9D8B030D-6E8A-4147-A177-3AD203B41FA5}">
                      <a16:colId xmlns:a16="http://schemas.microsoft.com/office/drawing/2014/main" val="2133620686"/>
                    </a:ext>
                  </a:extLst>
                </a:gridCol>
                <a:gridCol w="4179606">
                  <a:extLst>
                    <a:ext uri="{9D8B030D-6E8A-4147-A177-3AD203B41FA5}">
                      <a16:colId xmlns:a16="http://schemas.microsoft.com/office/drawing/2014/main" val="2869966819"/>
                    </a:ext>
                  </a:extLst>
                </a:gridCol>
              </a:tblGrid>
              <a:tr h="353626">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Country</a:t>
                      </a:r>
                    </a:p>
                  </a:txBody>
                  <a:tcPr marL="0" marR="0" marT="0" marB="0" anchor="ctr">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i="0" baseline="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Status of coal phase-ou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7">
                  <a:txBody>
                    <a:bodyPr/>
                    <a:lstStyle/>
                    <a:p>
                      <a:pPr algn="ctr" rtl="0" fontAlgn="b"/>
                      <a:r>
                        <a:rPr lang="en-GB" sz="1000" b="0" i="0" u="none" strike="noStrike">
                          <a:solidFill>
                            <a:srgbClr val="3C3C3B"/>
                          </a:solidFill>
                          <a:effectLst/>
                          <a:latin typeface="Lato" panose="020F0502020204030203" pitchFamily="34" charset="0"/>
                        </a:rPr>
                        <a:t>No existing coal, or already phased ou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9039608"/>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GB" sz="1000" b="0" i="1"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2178625"/>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GB" sz="1000" b="0" i="1"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1935963"/>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000000"/>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22823"/>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5760974"/>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1278944"/>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rtl="0" fontAlgn="b"/>
                      <a:r>
                        <a:rPr lang="en-US" sz="1000" b="0" i="0" u="none" strike="noStrike">
                          <a:solidFill>
                            <a:srgbClr val="3C3C3B"/>
                          </a:solidFill>
                          <a:effectLst/>
                          <a:latin typeface="Lato" panose="020F0502020204030203" pitchFamily="34" charset="0"/>
                        </a:rPr>
                        <a:t>Coal phase out planned by 2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3783319"/>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algn="ctr" rtl="0" fontAlgn="b"/>
                      <a:r>
                        <a:rPr lang="en-US" sz="1000" b="0" i="0" u="none" strike="noStrike">
                          <a:solidFill>
                            <a:srgbClr val="3C3C3B"/>
                          </a:solidFill>
                          <a:effectLst/>
                          <a:latin typeface="Lato" panose="020F0502020204030203" pitchFamily="34" charset="0"/>
                        </a:rPr>
                        <a:t>Coal phase out planned by 2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9458741"/>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rtl="0" fontAlgn="b"/>
                      <a:endParaRPr lang="en-US" sz="1000" b="0" i="0" u="none" strike="noStrike">
                        <a:solidFill>
                          <a:srgbClr val="3C3C3B"/>
                        </a:solidFill>
                        <a:effectLst/>
                        <a:latin typeface="Lato" panose="020F05020202040302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36829"/>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rtl="0" fontAlgn="b"/>
                      <a:endParaRPr lang="en-US" sz="1000" b="0" i="0" u="none" strike="noStrike">
                        <a:solidFill>
                          <a:srgbClr val="3C3C3B"/>
                        </a:solidFill>
                        <a:effectLst/>
                        <a:latin typeface="Lato" panose="020F05020202040302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3313797"/>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rtl="0" fontAlgn="b"/>
                      <a:endParaRPr lang="en-US" sz="1000" b="0" i="0" u="none" strike="noStrike">
                        <a:solidFill>
                          <a:srgbClr val="3C3C3B"/>
                        </a:solidFill>
                        <a:effectLst/>
                        <a:latin typeface="Lato" panose="020F05020202040302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5630380"/>
                  </a:ext>
                </a:extLst>
              </a:tr>
              <a:tr h="188054">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7">
                  <a:txBody>
                    <a:bodyPr/>
                    <a:lstStyle/>
                    <a:p>
                      <a:pPr algn="ctr" rtl="0" fontAlgn="b"/>
                      <a:r>
                        <a:rPr lang="en-US" sz="1000" b="0" i="0" u="none" strike="noStrike">
                          <a:solidFill>
                            <a:srgbClr val="3C3C3B"/>
                          </a:solidFill>
                          <a:effectLst/>
                          <a:latin typeface="Lato" panose="020F0502020204030203" pitchFamily="34" charset="0"/>
                        </a:rPr>
                        <a:t>Coal phase out planned by 20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159696"/>
                  </a:ext>
                </a:extLst>
              </a:tr>
              <a:tr h="185020">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070125"/>
                  </a:ext>
                </a:extLst>
              </a:tr>
              <a:tr h="181984">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528921"/>
                  </a:ext>
                </a:extLst>
              </a:tr>
              <a:tr h="178950">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4848221"/>
                  </a:ext>
                </a:extLst>
              </a:tr>
              <a:tr h="175914">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1"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666078"/>
                  </a:ext>
                </a:extLst>
              </a:tr>
              <a:tr h="16358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880657"/>
                  </a:ext>
                </a:extLst>
              </a:tr>
              <a:tr h="189665">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2436916"/>
                  </a:ext>
                </a:extLst>
              </a:tr>
              <a:tr h="162163">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algn="ctr" rtl="0" fontAlgn="b"/>
                      <a:r>
                        <a:rPr lang="en-US" sz="1000" b="0" i="0" u="none" strike="noStrike">
                          <a:solidFill>
                            <a:srgbClr val="3C3C3B"/>
                          </a:solidFill>
                          <a:effectLst/>
                          <a:latin typeface="Lato" panose="020F0502020204030203" pitchFamily="34" charset="0"/>
                        </a:rPr>
                        <a:t>Coal phase out planned by 20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710756"/>
                  </a:ext>
                </a:extLst>
              </a:tr>
              <a:tr h="161451">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947042"/>
                  </a:ext>
                </a:extLst>
              </a:tr>
              <a:tr h="16073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l" rtl="0" fontAlgn="b"/>
                      <a:endParaRPr lang="en-US" sz="1000" b="0" i="0" u="none" strike="noStrike">
                        <a:solidFill>
                          <a:srgbClr val="3C3C3B"/>
                        </a:solidFill>
                        <a:effectLst/>
                        <a:latin typeface="Lato" panose="020F0502020204030203"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373421"/>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rtl="0" fontAlgn="b"/>
                      <a:r>
                        <a:rPr lang="en-US" sz="1000" b="0" i="0" u="none" strike="noStrike">
                          <a:solidFill>
                            <a:srgbClr val="3C3C3B"/>
                          </a:solidFill>
                          <a:effectLst/>
                          <a:latin typeface="Lato" panose="020F0502020204030203" pitchFamily="34" charset="0"/>
                        </a:rPr>
                        <a:t>Coal phase out planned after 20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3559889"/>
                  </a:ext>
                </a:extLst>
              </a:tr>
              <a:tr h="152400">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rtl="0" fontAlgn="b"/>
                      <a:endParaRPr lang="en-US" sz="1000" b="0" i="0" u="none" strike="noStrike">
                        <a:solidFill>
                          <a:srgbClr val="3C3C3B"/>
                        </a:solidFill>
                        <a:effectLst/>
                        <a:latin typeface="Lato" panose="020F05020202040302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4028671"/>
                  </a:ext>
                </a:extLst>
              </a:tr>
              <a:tr h="191089">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000" b="0" i="0" u="none" strike="noStrike">
                          <a:solidFill>
                            <a:srgbClr val="3C3C3B"/>
                          </a:solidFill>
                          <a:effectLst/>
                          <a:latin typeface="Lato" panose="020F0502020204030203" pitchFamily="34" charset="0"/>
                        </a:rPr>
                        <a:t>Coal phaseout currently not planned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0934554"/>
                  </a:ext>
                </a:extLst>
              </a:tr>
            </a:tbl>
          </a:graphicData>
        </a:graphic>
      </p:graphicFrame>
      <p:grpSp>
        <p:nvGrpSpPr>
          <p:cNvPr id="133" name="Group 132">
            <a:extLst>
              <a:ext uri="{FF2B5EF4-FFF2-40B4-BE49-F238E27FC236}">
                <a16:creationId xmlns:a16="http://schemas.microsoft.com/office/drawing/2014/main" id="{24E948D6-735C-A59E-B7D0-D89A6AA93977}"/>
              </a:ext>
            </a:extLst>
          </p:cNvPr>
          <p:cNvGrpSpPr/>
          <p:nvPr/>
        </p:nvGrpSpPr>
        <p:grpSpPr>
          <a:xfrm>
            <a:off x="394661" y="1259019"/>
            <a:ext cx="5382510" cy="347315"/>
            <a:chOff x="343936" y="1271999"/>
            <a:chExt cx="5660528" cy="398051"/>
          </a:xfrm>
        </p:grpSpPr>
        <p:sp>
          <p:nvSpPr>
            <p:cNvPr id="134" name="Rounded Rectangle 57">
              <a:extLst>
                <a:ext uri="{FF2B5EF4-FFF2-40B4-BE49-F238E27FC236}">
                  <a16:creationId xmlns:a16="http://schemas.microsoft.com/office/drawing/2014/main" id="{64D04106-5201-7D8E-FE41-AA4082D374FB}"/>
                </a:ext>
              </a:extLst>
            </p:cNvPr>
            <p:cNvSpPr/>
            <p:nvPr/>
          </p:nvSpPr>
          <p:spPr>
            <a:xfrm>
              <a:off x="366610" y="1271999"/>
              <a:ext cx="5637854" cy="393678"/>
            </a:xfrm>
            <a:prstGeom prst="rect">
              <a:avLst/>
            </a:prstGeom>
            <a:solidFill>
              <a:srgbClr val="FFE2A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24000" tIns="72000" rIns="72000" bIns="72000" numCol="1" spcCol="0" rtlCol="0" fromWordArt="0" anchor="ctr" anchorCtr="0" forceAA="0" compatLnSpc="1">
              <a:prstTxWarp prst="textNoShape">
                <a:avLst/>
              </a:prstTxWarp>
              <a:noAutofit/>
            </a:bodyPr>
            <a:lstStyle/>
            <a:p>
              <a:pPr marL="87313"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National coal phase-out legislation and impacts on battery opportunities</a:t>
              </a:r>
            </a:p>
          </p:txBody>
        </p:sp>
        <p:sp>
          <p:nvSpPr>
            <p:cNvPr id="137" name="Isosceles Triangle 136">
              <a:extLst>
                <a:ext uri="{FF2B5EF4-FFF2-40B4-BE49-F238E27FC236}">
                  <a16:creationId xmlns:a16="http://schemas.microsoft.com/office/drawing/2014/main" id="{6FE3E8BF-BBE8-B759-4C73-8808E9BF7CA9}"/>
                </a:ext>
              </a:extLst>
            </p:cNvPr>
            <p:cNvSpPr/>
            <p:nvPr/>
          </p:nvSpPr>
          <p:spPr>
            <a:xfrm rot="5400000">
              <a:off x="324468" y="1295841"/>
              <a:ext cx="393677" cy="354742"/>
            </a:xfrm>
            <a:prstGeom prst="triangle">
              <a:avLst>
                <a:gd name="adj" fmla="val 54212"/>
              </a:avLst>
            </a:prstGeom>
            <a:solidFill>
              <a:srgbClr val="B97800"/>
            </a:solidFill>
            <a:ln w="190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1" i="0" u="none" strike="noStrike" kern="1200" cap="none" spc="0" normalizeH="0" baseline="0" noProof="0">
                <a:ln>
                  <a:noFill/>
                </a:ln>
                <a:solidFill>
                  <a:srgbClr val="3C3C3B"/>
                </a:solidFill>
                <a:effectLst/>
                <a:uLnTx/>
                <a:uFillTx/>
                <a:latin typeface="Lato"/>
                <a:ea typeface="+mn-ea"/>
                <a:cs typeface="+mn-cs"/>
              </a:endParaRPr>
            </a:p>
          </p:txBody>
        </p:sp>
      </p:grpSp>
      <p:graphicFrame>
        <p:nvGraphicFramePr>
          <p:cNvPr id="32" name="Tabelle 7">
            <a:extLst>
              <a:ext uri="{FF2B5EF4-FFF2-40B4-BE49-F238E27FC236}">
                <a16:creationId xmlns:a16="http://schemas.microsoft.com/office/drawing/2014/main" id="{24E50487-D31A-CB36-21C6-18DB006DC45D}"/>
              </a:ext>
            </a:extLst>
          </p:cNvPr>
          <p:cNvGraphicFramePr>
            <a:graphicFrameLocks noGrp="1"/>
          </p:cNvGraphicFramePr>
          <p:nvPr>
            <p:custDataLst>
              <p:tags r:id="rId3"/>
            </p:custDataLst>
            <p:extLst>
              <p:ext uri="{D42A27DB-BD31-4B8C-83A1-F6EECF244321}">
                <p14:modId xmlns:p14="http://schemas.microsoft.com/office/powerpoint/2010/main" val="537381227"/>
              </p:ext>
            </p:extLst>
          </p:nvPr>
        </p:nvGraphicFramePr>
        <p:xfrm>
          <a:off x="6452228" y="1637210"/>
          <a:ext cx="5358172" cy="4727406"/>
        </p:xfrm>
        <a:graphic>
          <a:graphicData uri="http://schemas.openxmlformats.org/drawingml/2006/table">
            <a:tbl>
              <a:tblPr firstRow="1" bandRow="1">
                <a:effectLst/>
                <a:tableStyleId>{5C22544A-7EE6-4342-B048-85BDC9FD1C3A}</a:tableStyleId>
              </a:tblPr>
              <a:tblGrid>
                <a:gridCol w="1254458">
                  <a:extLst>
                    <a:ext uri="{9D8B030D-6E8A-4147-A177-3AD203B41FA5}">
                      <a16:colId xmlns:a16="http://schemas.microsoft.com/office/drawing/2014/main" val="20000"/>
                    </a:ext>
                  </a:extLst>
                </a:gridCol>
                <a:gridCol w="177023">
                  <a:extLst>
                    <a:ext uri="{9D8B030D-6E8A-4147-A177-3AD203B41FA5}">
                      <a16:colId xmlns:a16="http://schemas.microsoft.com/office/drawing/2014/main" val="2133620686"/>
                    </a:ext>
                  </a:extLst>
                </a:gridCol>
                <a:gridCol w="3926691">
                  <a:extLst>
                    <a:ext uri="{9D8B030D-6E8A-4147-A177-3AD203B41FA5}">
                      <a16:colId xmlns:a16="http://schemas.microsoft.com/office/drawing/2014/main" val="2869966819"/>
                    </a:ext>
                  </a:extLst>
                </a:gridCol>
              </a:tblGrid>
              <a:tr h="317452">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Country</a:t>
                      </a:r>
                    </a:p>
                  </a:txBody>
                  <a:tcPr marL="0" marR="0" marT="0" marB="0" anchor="ctr">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i="0" baseline="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Status of nuclear policy</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1332600">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000" b="0" i="0" u="none" strike="noStrike">
                          <a:solidFill>
                            <a:srgbClr val="3C3C3B"/>
                          </a:solidFill>
                          <a:effectLst/>
                          <a:latin typeface="Lato" panose="020F0502020204030203" pitchFamily="34" charset="0"/>
                        </a:rPr>
                        <a:t>No existing nuclear capacity or policy</a:t>
                      </a:r>
                    </a:p>
                  </a:txBody>
                  <a:tcPr marL="3600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9039608"/>
                  </a:ext>
                </a:extLst>
              </a:tr>
              <a:tr h="183113">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Cancelled a planned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GW nuclear reactor </a:t>
                      </a: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643787"/>
                  </a:ext>
                </a:extLst>
              </a:tr>
              <a:tr h="331236">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Building </a:t>
                      </a:r>
                      <a:r>
                        <a:rPr lang="en-GB" sz="1000">
                          <a:solidFill>
                            <a:schemeClr val="accent5"/>
                          </a:solidFill>
                          <a:highlight>
                            <a:srgbClr val="808080"/>
                          </a:highlight>
                        </a:rPr>
                        <a:t>xx</a:t>
                      </a:r>
                      <a:r>
                        <a:rPr lang="en-US" sz="1000" b="0" i="0" u="none" strike="noStrike">
                          <a:solidFill>
                            <a:srgbClr val="3C3C3B"/>
                          </a:solidFill>
                          <a:effectLst/>
                          <a:latin typeface="Lato" panose="020F0502020204030203" pitchFamily="34" charset="0"/>
                        </a:rPr>
                        <a:t>new reactors and </a:t>
                      </a:r>
                      <a:r>
                        <a:rPr lang="en-GB" sz="1000">
                          <a:solidFill>
                            <a:schemeClr val="accent5"/>
                          </a:solidFill>
                          <a:highlight>
                            <a:srgbClr val="808080"/>
                          </a:highlight>
                        </a:rPr>
                        <a:t>xx</a:t>
                      </a:r>
                      <a:r>
                        <a:rPr lang="en-US" sz="1000" b="0" i="0" u="none" strike="noStrike">
                          <a:solidFill>
                            <a:srgbClr val="3C3C3B"/>
                          </a:solidFill>
                          <a:effectLst/>
                          <a:latin typeface="Lato" panose="020F0502020204030203" pitchFamily="34" charset="0"/>
                        </a:rPr>
                        <a:t>; cancelled target for reduced nuclear generation</a:t>
                      </a: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159696"/>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Closure of </a:t>
                      </a:r>
                      <a:r>
                        <a:rPr lang="en-GB" sz="1000">
                          <a:solidFill>
                            <a:schemeClr val="accent5"/>
                          </a:solidFill>
                          <a:highlight>
                            <a:srgbClr val="808080"/>
                          </a:highlight>
                        </a:rPr>
                        <a:t>xx</a:t>
                      </a:r>
                      <a:r>
                        <a:rPr lang="en-US" sz="1000" b="0" i="0" u="none" strike="noStrike">
                          <a:solidFill>
                            <a:srgbClr val="3C3C3B"/>
                          </a:solidFill>
                          <a:effectLst/>
                          <a:latin typeface="Lato" panose="020F0502020204030203" pitchFamily="34" charset="0"/>
                        </a:rPr>
                        <a:t> nuclear plants by </a:t>
                      </a:r>
                      <a:r>
                        <a:rPr lang="en-GB" sz="1000">
                          <a:solidFill>
                            <a:schemeClr val="accent5"/>
                          </a:solidFill>
                          <a:highlight>
                            <a:srgbClr val="808080"/>
                          </a:highlight>
                        </a:rPr>
                        <a:t>xx</a:t>
                      </a:r>
                      <a:endParaRPr lang="en-US" sz="1000" b="0" i="0" u="none" strike="noStrike">
                        <a:solidFill>
                          <a:srgbClr val="3C3C3B"/>
                        </a:solidFill>
                        <a:effectLst/>
                        <a:latin typeface="Lato" panose="020F0502020204030203" pitchFamily="34" charset="0"/>
                      </a:endParaRP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070125"/>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GB" sz="1000">
                          <a:solidFill>
                            <a:srgbClr val="808080"/>
                          </a:solidFill>
                          <a:highlight>
                            <a:srgbClr val="808080"/>
                          </a:highlight>
                        </a:rPr>
                        <a:t>xx</a:t>
                      </a:r>
                      <a:r>
                        <a:rPr lang="en-GB" sz="1000">
                          <a:solidFill>
                            <a:schemeClr val="accent5"/>
                          </a:solidFill>
                          <a:highlight>
                            <a:srgbClr val="808080"/>
                          </a:highlight>
                        </a:rPr>
                        <a:t> </a:t>
                      </a:r>
                      <a:r>
                        <a:rPr lang="en-GB" sz="1000">
                          <a:solidFill>
                            <a:schemeClr val="accent5"/>
                          </a:solidFill>
                        </a:rPr>
                        <a:t> </a:t>
                      </a:r>
                      <a:r>
                        <a:rPr lang="en-US" sz="1000" b="0" i="0" u="none" strike="noStrike">
                          <a:solidFill>
                            <a:srgbClr val="3C3C3B"/>
                          </a:solidFill>
                          <a:effectLst/>
                          <a:latin typeface="Lato" panose="020F0502020204030203" pitchFamily="34" charset="0"/>
                        </a:rPr>
                        <a:t>of nuclear exit in </a:t>
                      </a:r>
                      <a:r>
                        <a:rPr lang="en-GB" sz="1000">
                          <a:solidFill>
                            <a:schemeClr val="accent5"/>
                          </a:solidFill>
                          <a:highlight>
                            <a:srgbClr val="808080"/>
                          </a:highlight>
                        </a:rPr>
                        <a:t>xx</a:t>
                      </a:r>
                      <a:endParaRPr lang="en-US" sz="1000" b="0" i="0" u="none" strike="noStrike">
                        <a:solidFill>
                          <a:srgbClr val="3C3C3B"/>
                        </a:solidFill>
                        <a:effectLst/>
                        <a:latin typeface="Lato" panose="020F0502020204030203" pitchFamily="34" charset="0"/>
                      </a:endParaRP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528921"/>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All nuclear to be phased out by</a:t>
                      </a:r>
                      <a:r>
                        <a:rPr lang="en-US" sz="1000" b="1" i="0" u="none" strike="noStrike">
                          <a:solidFill>
                            <a:srgbClr val="3C3C3B"/>
                          </a:solidFill>
                          <a:effectLst/>
                          <a:latin typeface="Lato" panose="020F0502020204030203" pitchFamily="34" charset="0"/>
                        </a:rPr>
                        <a:t> </a:t>
                      </a:r>
                      <a:r>
                        <a:rPr lang="en-GB" sz="1000">
                          <a:solidFill>
                            <a:schemeClr val="accent5"/>
                          </a:solidFill>
                          <a:highlight>
                            <a:srgbClr val="808080"/>
                          </a:highlight>
                        </a:rPr>
                        <a:t>xx</a:t>
                      </a:r>
                      <a:endParaRPr lang="en-US" sz="1000" b="0" i="0" u="none" strike="noStrike">
                        <a:solidFill>
                          <a:srgbClr val="3C3C3B"/>
                        </a:solidFill>
                        <a:effectLst/>
                        <a:latin typeface="Lato" panose="020F0502020204030203" pitchFamily="34" charset="0"/>
                      </a:endParaRP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4848221"/>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 new nuclear reactors planned</a:t>
                      </a: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880657"/>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Plans for new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MW SMR plant in the </a:t>
                      </a:r>
                      <a:r>
                        <a:rPr lang="en-GB" sz="1000">
                          <a:solidFill>
                            <a:srgbClr val="808080"/>
                          </a:solidFill>
                          <a:highlight>
                            <a:srgbClr val="808080"/>
                          </a:highlight>
                        </a:rPr>
                        <a:t>xx</a:t>
                      </a:r>
                      <a:endParaRPr lang="en-US" sz="1000" b="0" i="0" u="none" strike="noStrike">
                        <a:solidFill>
                          <a:srgbClr val="3C3C3B"/>
                        </a:solidFill>
                        <a:effectLst/>
                        <a:latin typeface="Lato" panose="020F0502020204030203" pitchFamily="34" charset="0"/>
                      </a:endParaRP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131537"/>
                  </a:ext>
                </a:extLst>
              </a:tr>
              <a:tr h="331236">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Target of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GW nuclear by 2050; </a:t>
                      </a:r>
                      <a:r>
                        <a:rPr lang="en-GB" sz="1000">
                          <a:solidFill>
                            <a:srgbClr val="808080"/>
                          </a:solidFill>
                          <a:highlight>
                            <a:srgbClr val="808080"/>
                          </a:highlight>
                        </a:rPr>
                        <a:t>xx</a:t>
                      </a:r>
                      <a:r>
                        <a:rPr lang="en-GB" sz="1000">
                          <a:solidFill>
                            <a:schemeClr val="accent5"/>
                          </a:solidFill>
                          <a:highlight>
                            <a:srgbClr val="808080"/>
                          </a:highlight>
                        </a:rPr>
                        <a:t> </a:t>
                      </a:r>
                      <a:r>
                        <a:rPr lang="en-US" sz="1000" b="0" i="0" u="none" strike="noStrike">
                          <a:solidFill>
                            <a:srgbClr val="3C3C3B"/>
                          </a:solidFill>
                          <a:effectLst/>
                          <a:latin typeface="Lato" panose="020F0502020204030203" pitchFamily="34" charset="0"/>
                        </a:rPr>
                        <a:t>is delayed by </a:t>
                      </a:r>
                      <a:r>
                        <a:rPr lang="en-GB" sz="1000">
                          <a:solidFill>
                            <a:srgbClr val="808080"/>
                          </a:solidFill>
                          <a:highlight>
                            <a:srgbClr val="808080"/>
                          </a:highlight>
                        </a:rPr>
                        <a:t>xx </a:t>
                      </a:r>
                      <a:r>
                        <a:rPr lang="en-US" sz="1000" b="0" i="0" u="none" strike="noStrike">
                          <a:solidFill>
                            <a:srgbClr val="3C3C3B"/>
                          </a:solidFill>
                          <a:effectLst/>
                          <a:latin typeface="Lato" panose="020F0502020204030203" pitchFamily="34" charset="0"/>
                        </a:rPr>
                        <a:t>to after </a:t>
                      </a:r>
                      <a:r>
                        <a:rPr lang="en-GB" sz="1000">
                          <a:solidFill>
                            <a:srgbClr val="808080"/>
                          </a:solidFill>
                          <a:highlight>
                            <a:srgbClr val="808080"/>
                          </a:highlight>
                        </a:rPr>
                        <a:t>xx</a:t>
                      </a:r>
                      <a:endParaRPr lang="en-US" sz="1000" b="0" i="0" u="none" strike="noStrike">
                        <a:solidFill>
                          <a:srgbClr val="3C3C3B"/>
                        </a:solidFill>
                        <a:effectLst/>
                        <a:latin typeface="Lato" panose="020F0502020204030203" pitchFamily="34" charset="0"/>
                      </a:endParaRP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2436916"/>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Plans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 new nuclear plants; facing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 delay </a:t>
                      </a: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710756"/>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Plans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 new nuclear plants of at least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GW</a:t>
                      </a: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947042"/>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Plans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 nuclear reactors from </a:t>
                      </a:r>
                      <a:r>
                        <a:rPr lang="en-GB" sz="1000">
                          <a:solidFill>
                            <a:srgbClr val="808080"/>
                          </a:solidFill>
                          <a:highlight>
                            <a:srgbClr val="808080"/>
                          </a:highlight>
                        </a:rPr>
                        <a:t>xx</a:t>
                      </a:r>
                      <a:endParaRPr lang="en-US" sz="1000" b="0" i="0" u="none" strike="noStrike">
                        <a:solidFill>
                          <a:srgbClr val="3C3C3B"/>
                        </a:solidFill>
                        <a:effectLst/>
                        <a:latin typeface="Lato" panose="020F0502020204030203" pitchFamily="34" charset="0"/>
                      </a:endParaRP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373421"/>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Plans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 new reactor by </a:t>
                      </a:r>
                      <a:r>
                        <a:rPr lang="en-GB" sz="1000">
                          <a:solidFill>
                            <a:srgbClr val="808080"/>
                          </a:solidFill>
                          <a:highlight>
                            <a:srgbClr val="808080"/>
                          </a:highlight>
                        </a:rPr>
                        <a:t>xx</a:t>
                      </a:r>
                      <a:r>
                        <a:rPr lang="en-US" sz="1000" b="1" i="0" u="none" strike="noStrike">
                          <a:solidFill>
                            <a:srgbClr val="3C3C3B"/>
                          </a:solidFill>
                          <a:effectLst/>
                          <a:latin typeface="Lato" panose="020F0502020204030203" pitchFamily="34" charset="0"/>
                        </a:rPr>
                        <a:t>; </a:t>
                      </a:r>
                      <a:r>
                        <a:rPr lang="en-US" sz="1000" b="0" i="0" u="none" strike="noStrike">
                          <a:solidFill>
                            <a:srgbClr val="3C3C3B"/>
                          </a:solidFill>
                          <a:effectLst/>
                          <a:latin typeface="Lato" panose="020F0502020204030203" pitchFamily="34" charset="0"/>
                        </a:rPr>
                        <a:t>SMRs included in NECP</a:t>
                      </a: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3559889"/>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Plans for new </a:t>
                      </a:r>
                      <a:r>
                        <a:rPr lang="en-GB" sz="1000">
                          <a:solidFill>
                            <a:srgbClr val="808080"/>
                          </a:solidFill>
                          <a:highlight>
                            <a:srgbClr val="808080"/>
                          </a:highlight>
                        </a:rPr>
                        <a:t>xx</a:t>
                      </a:r>
                      <a:r>
                        <a:rPr lang="en-US" sz="1000" b="0" i="0" u="none" strike="noStrike">
                          <a:solidFill>
                            <a:srgbClr val="3C3C3B"/>
                          </a:solidFill>
                          <a:effectLst/>
                          <a:latin typeface="Lato" panose="020F0502020204030203" pitchFamily="34" charset="0"/>
                        </a:rPr>
                        <a:t>GW plant by </a:t>
                      </a:r>
                      <a:r>
                        <a:rPr lang="en-GB" sz="1000">
                          <a:solidFill>
                            <a:srgbClr val="808080"/>
                          </a:solidFill>
                          <a:highlight>
                            <a:srgbClr val="808080"/>
                          </a:highlight>
                        </a:rPr>
                        <a:t>xx</a:t>
                      </a:r>
                      <a:endParaRPr lang="en-US" sz="1000" b="0" i="0" u="none" strike="noStrike">
                        <a:solidFill>
                          <a:srgbClr val="808080"/>
                        </a:solidFill>
                        <a:effectLst/>
                        <a:latin typeface="Lato" panose="020F0502020204030203" pitchFamily="34" charset="0"/>
                      </a:endParaRP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4028671"/>
                  </a:ext>
                </a:extLst>
              </a:tr>
              <a:tr h="201538">
                <a:tc>
                  <a:txBody>
                    <a:bodyPr/>
                    <a:lstStyle/>
                    <a:p>
                      <a:pPr algn="ctr" rtl="0" fontAlgn="b"/>
                      <a:endParaRPr lang="en-GB" sz="1000" b="1" i="0" u="none" strike="noStrike">
                        <a:solidFill>
                          <a:srgbClr val="3C3C3B"/>
                        </a:solidFill>
                        <a:effectLst/>
                        <a:latin typeface="Lato" panose="020F0502020204030203"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r>
                        <a:rPr lang="en-GB" sz="1000" b="1" i="0" u="none" strike="noStrike">
                          <a:solidFill>
                            <a:srgbClr val="3C3C3B"/>
                          </a:solidFill>
                          <a:effectLst/>
                          <a:latin typeface="Lato" panose="020F0502020204030203"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r>
                        <a:rPr lang="en-US" sz="1000" b="0" i="0" u="none" strike="noStrike">
                          <a:solidFill>
                            <a:srgbClr val="3C3C3B"/>
                          </a:solidFill>
                          <a:effectLst/>
                          <a:latin typeface="Lato" panose="020F0502020204030203" pitchFamily="34" charset="0"/>
                        </a:rPr>
                        <a:t>No new reactor planned, but changing legislation to support nuclear</a:t>
                      </a:r>
                      <a:r>
                        <a:rPr lang="en-US" sz="1000" b="0" i="0" u="none" strike="noStrike" baseline="30000">
                          <a:solidFill>
                            <a:srgbClr val="3C3C3B"/>
                          </a:solidFill>
                          <a:effectLst/>
                          <a:latin typeface="Lato" panose="020F0502020204030203" pitchFamily="34" charset="0"/>
                        </a:rPr>
                        <a:t>4</a:t>
                      </a:r>
                      <a:endParaRPr lang="en-US" sz="1000" b="0" i="0" u="none" strike="noStrike">
                        <a:solidFill>
                          <a:srgbClr val="3C3C3B"/>
                        </a:solidFill>
                        <a:effectLst/>
                        <a:latin typeface="Lato" panose="020F0502020204030203" pitchFamily="34" charset="0"/>
                      </a:endParaRPr>
                    </a:p>
                  </a:txBody>
                  <a:tcPr marL="36000" marR="0" marT="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0934554"/>
                  </a:ext>
                </a:extLst>
              </a:tr>
            </a:tbl>
          </a:graphicData>
        </a:graphic>
      </p:graphicFrame>
      <p:grpSp>
        <p:nvGrpSpPr>
          <p:cNvPr id="34" name="Group 33">
            <a:extLst>
              <a:ext uri="{FF2B5EF4-FFF2-40B4-BE49-F238E27FC236}">
                <a16:creationId xmlns:a16="http://schemas.microsoft.com/office/drawing/2014/main" id="{0D77C858-10E7-E4A9-7859-A0A4045825D1}"/>
              </a:ext>
            </a:extLst>
          </p:cNvPr>
          <p:cNvGrpSpPr/>
          <p:nvPr/>
        </p:nvGrpSpPr>
        <p:grpSpPr>
          <a:xfrm>
            <a:off x="6436390" y="1262836"/>
            <a:ext cx="5387310" cy="360000"/>
            <a:chOff x="6436390" y="1262836"/>
            <a:chExt cx="5387310" cy="360000"/>
          </a:xfrm>
        </p:grpSpPr>
        <p:sp>
          <p:nvSpPr>
            <p:cNvPr id="158" name="Rounded Rectangle 57">
              <a:extLst>
                <a:ext uri="{FF2B5EF4-FFF2-40B4-BE49-F238E27FC236}">
                  <a16:creationId xmlns:a16="http://schemas.microsoft.com/office/drawing/2014/main" id="{0E4F4DF8-6F07-DEBC-2837-575C8E287803}"/>
                </a:ext>
              </a:extLst>
            </p:cNvPr>
            <p:cNvSpPr/>
            <p:nvPr/>
          </p:nvSpPr>
          <p:spPr>
            <a:xfrm>
              <a:off x="6436390" y="1279337"/>
              <a:ext cx="5387310" cy="343499"/>
            </a:xfrm>
            <a:prstGeom prst="rect">
              <a:avLst/>
            </a:prstGeom>
            <a:solidFill>
              <a:srgbClr val="F1C0B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24000" tIns="72000" rIns="72000" bIns="72000" numCol="1" spcCol="0" rtlCol="0" fromWordArt="0" anchor="ctr" anchorCtr="0" forceAA="0" compatLnSpc="1">
              <a:prstTxWarp prst="textNoShape">
                <a:avLst/>
              </a:prstTxWarp>
              <a:noAutofit/>
            </a:bodyPr>
            <a:lstStyle/>
            <a:p>
              <a:pPr marL="87313"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National outlook for nuclear and impacts on battery opportunities</a:t>
              </a:r>
            </a:p>
          </p:txBody>
        </p:sp>
        <p:sp>
          <p:nvSpPr>
            <p:cNvPr id="161" name="Isosceles Triangle 160">
              <a:extLst>
                <a:ext uri="{FF2B5EF4-FFF2-40B4-BE49-F238E27FC236}">
                  <a16:creationId xmlns:a16="http://schemas.microsoft.com/office/drawing/2014/main" id="{A8BDD1EE-7832-B97D-4811-FE120531E3EC}"/>
                </a:ext>
              </a:extLst>
            </p:cNvPr>
            <p:cNvSpPr/>
            <p:nvPr/>
          </p:nvSpPr>
          <p:spPr>
            <a:xfrm rot="5400000">
              <a:off x="6435811" y="1265926"/>
              <a:ext cx="343499" cy="337319"/>
            </a:xfrm>
            <a:prstGeom prst="triangle">
              <a:avLst>
                <a:gd name="adj" fmla="val 54212"/>
              </a:avLst>
            </a:prstGeom>
            <a:solidFill>
              <a:srgbClr val="9F3C1C"/>
            </a:solidFill>
            <a:ln w="190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1" i="0" u="none" strike="noStrike" kern="1200" cap="none" spc="0" normalizeH="0" baseline="0" noProof="0">
                <a:ln>
                  <a:noFill/>
                </a:ln>
                <a:solidFill>
                  <a:srgbClr val="3C3C3B"/>
                </a:solidFill>
                <a:effectLst/>
                <a:uLnTx/>
                <a:uFillTx/>
                <a:latin typeface="Lato"/>
                <a:ea typeface="+mn-ea"/>
                <a:cs typeface="+mn-cs"/>
              </a:endParaRPr>
            </a:p>
          </p:txBody>
        </p:sp>
      </p:grpSp>
      <p:sp>
        <p:nvSpPr>
          <p:cNvPr id="9" name="Text Placeholder 11">
            <a:extLst>
              <a:ext uri="{FF2B5EF4-FFF2-40B4-BE49-F238E27FC236}">
                <a16:creationId xmlns:a16="http://schemas.microsoft.com/office/drawing/2014/main" id="{04FC6EA6-BB91-A366-19B3-3394977FB933}"/>
              </a:ext>
            </a:extLst>
          </p:cNvPr>
          <p:cNvSpPr txBox="1">
            <a:spLocks/>
          </p:cNvSpPr>
          <p:nvPr/>
        </p:nvSpPr>
        <p:spPr>
          <a:xfrm>
            <a:off x="381599" y="79401"/>
            <a:ext cx="5503430"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Introduction to battery storage – </a:t>
            </a:r>
            <a:r>
              <a:rPr lang="en-GB" sz="1200"/>
              <a:t>Battery storage drivers, risks and markets</a:t>
            </a:r>
            <a:endParaRPr lang="en-GB"/>
          </a:p>
        </p:txBody>
      </p:sp>
      <p:sp>
        <p:nvSpPr>
          <p:cNvPr id="10" name="Oval 9">
            <a:extLst>
              <a:ext uri="{FF2B5EF4-FFF2-40B4-BE49-F238E27FC236}">
                <a16:creationId xmlns:a16="http://schemas.microsoft.com/office/drawing/2014/main" id="{1C5F94BF-8F7C-FC40-4AC3-1AB3B3D58F2D}"/>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12" name="Oval 11">
            <a:extLst>
              <a:ext uri="{FF2B5EF4-FFF2-40B4-BE49-F238E27FC236}">
                <a16:creationId xmlns:a16="http://schemas.microsoft.com/office/drawing/2014/main" id="{BDF31A6E-B0BE-B873-13A5-8D67DDF6EF7E}"/>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38" name="Oval 37">
            <a:extLst>
              <a:ext uri="{FF2B5EF4-FFF2-40B4-BE49-F238E27FC236}">
                <a16:creationId xmlns:a16="http://schemas.microsoft.com/office/drawing/2014/main" id="{30AAA7AD-4053-F121-0324-D1F6A81E913E}"/>
              </a:ext>
            </a:extLst>
          </p:cNvPr>
          <p:cNvSpPr/>
          <p:nvPr/>
        </p:nvSpPr>
        <p:spPr>
          <a:xfrm>
            <a:off x="400461" y="557061"/>
            <a:ext cx="288000" cy="288000"/>
          </a:xfrm>
          <a:prstGeom prst="ellipse">
            <a:avLst/>
          </a:prstGeom>
          <a:solidFill>
            <a:srgbClr val="B97800"/>
          </a:solidFill>
          <a:ln w="38100">
            <a:solidFill>
              <a:srgbClr val="B97800"/>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400" b="1">
                <a:solidFill>
                  <a:schemeClr val="bg1"/>
                </a:solidFill>
              </a:rPr>
              <a:t>2</a:t>
            </a:r>
          </a:p>
        </p:txBody>
      </p:sp>
      <p:sp>
        <p:nvSpPr>
          <p:cNvPr id="2" name="Rectangle 1">
            <a:extLst>
              <a:ext uri="{FF2B5EF4-FFF2-40B4-BE49-F238E27FC236}">
                <a16:creationId xmlns:a16="http://schemas.microsoft.com/office/drawing/2014/main" id="{B1E37D45-1213-A08D-5259-AD26E659B983}"/>
              </a:ext>
            </a:extLst>
          </p:cNvPr>
          <p:cNvSpPr/>
          <p:nvPr/>
        </p:nvSpPr>
        <p:spPr>
          <a:xfrm>
            <a:off x="1533525" y="1981200"/>
            <a:ext cx="4486275" cy="4368563"/>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 name="Rectangle 2">
            <a:extLst>
              <a:ext uri="{FF2B5EF4-FFF2-40B4-BE49-F238E27FC236}">
                <a16:creationId xmlns:a16="http://schemas.microsoft.com/office/drawing/2014/main" id="{DB04E847-9BE1-2836-00BD-E3884A1FB45B}"/>
              </a:ext>
            </a:extLst>
          </p:cNvPr>
          <p:cNvSpPr/>
          <p:nvPr/>
        </p:nvSpPr>
        <p:spPr>
          <a:xfrm>
            <a:off x="7848600" y="1981200"/>
            <a:ext cx="3975100" cy="4397790"/>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997428448"/>
      </p:ext>
    </p:extLst>
  </p:cSld>
  <p:clrMapOvr>
    <a:masterClrMapping/>
  </p:clrMapOvr>
  <p:extLst>
    <p:ext uri="{6950BFC3-D8DA-4A85-94F7-54DA5524770B}">
      <p188:commentRel xmlns:p188="http://schemas.microsoft.com/office/powerpoint/2018/8/main" r:id="rId6"/>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A697B5-E476-04F9-7AA9-A06C9C9406AC}"/>
              </a:ext>
            </a:extLst>
          </p:cNvPr>
          <p:cNvGraphicFramePr>
            <a:graphicFrameLocks noChangeAspect="1"/>
          </p:cNvGraphicFramePr>
          <p:nvPr>
            <p:custDataLst>
              <p:tags r:id="rId1"/>
            </p:custDataLst>
            <p:extLst>
              <p:ext uri="{D42A27DB-BD31-4B8C-83A1-F6EECF244321}">
                <p14:modId xmlns:p14="http://schemas.microsoft.com/office/powerpoint/2010/main" val="412407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95" imgH="396" progId="TCLayout.ActiveDocument.1">
                  <p:embed/>
                </p:oleObj>
              </mc:Choice>
              <mc:Fallback>
                <p:oleObj name="think-cell Slide" r:id="rId59" imgW="395" imgH="396" progId="TCLayout.ActiveDocument.1">
                  <p:embed/>
                  <p:pic>
                    <p:nvPicPr>
                      <p:cNvPr id="8" name="think-cell data - do not delete" hidden="1">
                        <a:extLst>
                          <a:ext uri="{FF2B5EF4-FFF2-40B4-BE49-F238E27FC236}">
                            <a16:creationId xmlns:a16="http://schemas.microsoft.com/office/drawing/2014/main" id="{96A697B5-E476-04F9-7AA9-A06C9C9406AC}"/>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540" name="Group 539">
            <a:extLst>
              <a:ext uri="{FF2B5EF4-FFF2-40B4-BE49-F238E27FC236}">
                <a16:creationId xmlns:a16="http://schemas.microsoft.com/office/drawing/2014/main" id="{1899DFEE-67B8-055B-178B-A13374B9951A}"/>
              </a:ext>
            </a:extLst>
          </p:cNvPr>
          <p:cNvGrpSpPr/>
          <p:nvPr/>
        </p:nvGrpSpPr>
        <p:grpSpPr>
          <a:xfrm>
            <a:off x="9938581" y="4262362"/>
            <a:ext cx="1755426" cy="1159895"/>
            <a:chOff x="2459037" y="3690834"/>
            <a:chExt cx="3414713" cy="722313"/>
          </a:xfrm>
        </p:grpSpPr>
        <p:sp>
          <p:nvSpPr>
            <p:cNvPr id="541" name="Rectangle 540">
              <a:extLst>
                <a:ext uri="{FF2B5EF4-FFF2-40B4-BE49-F238E27FC236}">
                  <a16:creationId xmlns:a16="http://schemas.microsoft.com/office/drawing/2014/main" id="{8BB4669E-5306-86FE-CCE4-7074F5A90994}"/>
                </a:ext>
              </a:extLst>
            </p:cNvPr>
            <p:cNvSpPr/>
            <p:nvPr/>
          </p:nvSpPr>
          <p:spPr>
            <a:xfrm>
              <a:off x="2459037" y="3690834"/>
              <a:ext cx="3414713" cy="722313"/>
            </a:xfrm>
            <a:prstGeom prst="rect">
              <a:avLst/>
            </a:prstGeom>
            <a:solidFill>
              <a:schemeClr val="accent2">
                <a:lumMod val="20000"/>
                <a:lumOff val="80000"/>
              </a:schemeClr>
            </a:solidFill>
            <a:ln w="19050">
              <a:solidFill>
                <a:schemeClr val="accent2"/>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de-DE" sz="1200" b="1" i="0" u="none" strike="noStrike" kern="1200" cap="none" spc="0" normalizeH="0" baseline="0" noProof="0">
                <a:ln>
                  <a:noFill/>
                </a:ln>
                <a:solidFill>
                  <a:srgbClr val="3C3C3B"/>
                </a:solidFill>
                <a:effectLst/>
                <a:uLnTx/>
                <a:uFillTx/>
                <a:latin typeface="Lato"/>
                <a:ea typeface="+mn-ea"/>
                <a:cs typeface="+mn-cs"/>
              </a:endParaRPr>
            </a:p>
          </p:txBody>
        </p:sp>
        <p:sp>
          <p:nvSpPr>
            <p:cNvPr id="542" name="Rectangle 541">
              <a:extLst>
                <a:ext uri="{FF2B5EF4-FFF2-40B4-BE49-F238E27FC236}">
                  <a16:creationId xmlns:a16="http://schemas.microsoft.com/office/drawing/2014/main" id="{C5656D14-796C-5BA0-3875-F5D7D02864BB}"/>
                </a:ext>
              </a:extLst>
            </p:cNvPr>
            <p:cNvSpPr/>
            <p:nvPr/>
          </p:nvSpPr>
          <p:spPr>
            <a:xfrm>
              <a:off x="2536611" y="3708180"/>
              <a:ext cx="3159526" cy="163381"/>
            </a:xfrm>
            <a:prstGeom prst="rect">
              <a:avLst/>
            </a:prstGeom>
            <a:solidFill>
              <a:schemeClr val="accent2">
                <a:lumMod val="20000"/>
                <a:lumOff val="80000"/>
              </a:schemeClr>
            </a:solidFill>
            <a:ln w="28575">
              <a:no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de-DE" sz="1200" b="0" i="0" u="none" strike="noStrike" kern="1200" cap="none" spc="0" normalizeH="0" baseline="0" noProof="0">
                  <a:ln>
                    <a:noFill/>
                  </a:ln>
                  <a:solidFill>
                    <a:srgbClr val="3C3C3B"/>
                  </a:solidFill>
                  <a:effectLst/>
                  <a:uLnTx/>
                  <a:uFillTx/>
                  <a:latin typeface="Lato"/>
                  <a:ea typeface="+mn-ea"/>
                  <a:cs typeface="+mn-cs"/>
                </a:rPr>
                <a:t>Higher offer prices</a:t>
              </a:r>
            </a:p>
          </p:txBody>
        </p:sp>
      </p:grpSp>
      <p:sp>
        <p:nvSpPr>
          <p:cNvPr id="26" name="Rectangle: Rounded Corners 25">
            <a:extLst>
              <a:ext uri="{FF2B5EF4-FFF2-40B4-BE49-F238E27FC236}">
                <a16:creationId xmlns:a16="http://schemas.microsoft.com/office/drawing/2014/main" id="{AAFD7EFB-A1DF-2486-48C1-63A3CD277E13}"/>
              </a:ext>
            </a:extLst>
          </p:cNvPr>
          <p:cNvSpPr/>
          <p:nvPr/>
        </p:nvSpPr>
        <p:spPr>
          <a:xfrm>
            <a:off x="618564" y="1409700"/>
            <a:ext cx="5129773" cy="423863"/>
          </a:xfrm>
          <a:prstGeom prst="roundRect">
            <a:avLst/>
          </a:prstGeom>
          <a:solidFill>
            <a:schemeClr val="accent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de-DE" sz="1200" b="1" i="0" u="none" strike="noStrike" kern="1200" cap="none" spc="0" normalizeH="0" baseline="0" noProof="0">
                <a:ln>
                  <a:noFill/>
                </a:ln>
                <a:solidFill>
                  <a:srgbClr val="3C3C3B"/>
                </a:solidFill>
                <a:effectLst/>
                <a:uLnTx/>
                <a:uFillTx/>
                <a:latin typeface="Lato"/>
                <a:ea typeface="+mn-ea"/>
                <a:cs typeface="+mn-cs"/>
              </a:rPr>
              <a:t>A delay in build-out or faster phase-out of baseload capacity, such as nuclear or coal, present an upside for batteries...</a:t>
            </a:r>
          </a:p>
        </p:txBody>
      </p:sp>
      <p:sp>
        <p:nvSpPr>
          <p:cNvPr id="442" name="Oval 441">
            <a:extLst>
              <a:ext uri="{FF2B5EF4-FFF2-40B4-BE49-F238E27FC236}">
                <a16:creationId xmlns:a16="http://schemas.microsoft.com/office/drawing/2014/main" id="{5A48231C-71F5-22E1-9A7C-DC45F9ED9BD5}"/>
              </a:ext>
            </a:extLst>
          </p:cNvPr>
          <p:cNvSpPr/>
          <p:nvPr/>
        </p:nvSpPr>
        <p:spPr>
          <a:xfrm>
            <a:off x="295057" y="1347294"/>
            <a:ext cx="495776" cy="495776"/>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1" i="0" u="none" strike="noStrike" kern="1200" cap="none" spc="0" normalizeH="0" baseline="0" noProof="0">
              <a:ln>
                <a:noFill/>
              </a:ln>
              <a:solidFill>
                <a:srgbClr val="3C3C3B"/>
              </a:solidFill>
              <a:effectLst/>
              <a:uLnTx/>
              <a:uFillTx/>
              <a:latin typeface="Lato"/>
              <a:ea typeface="+mn-ea"/>
              <a:cs typeface="+mn-cs"/>
            </a:endParaRPr>
          </a:p>
        </p:txBody>
      </p:sp>
      <p:sp>
        <p:nvSpPr>
          <p:cNvPr id="67" name="Rectangle: Rounded Corners 66">
            <a:extLst>
              <a:ext uri="{FF2B5EF4-FFF2-40B4-BE49-F238E27FC236}">
                <a16:creationId xmlns:a16="http://schemas.microsoft.com/office/drawing/2014/main" id="{EE9FFD1F-DB67-ADAD-6C87-942127071DF5}"/>
              </a:ext>
            </a:extLst>
          </p:cNvPr>
          <p:cNvSpPr/>
          <p:nvPr/>
        </p:nvSpPr>
        <p:spPr>
          <a:xfrm>
            <a:off x="6699250" y="1409700"/>
            <a:ext cx="5111750" cy="417666"/>
          </a:xfrm>
          <a:prstGeom prst="round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600"/>
              </a:spcBef>
              <a:spcAft>
                <a:spcPts val="0"/>
              </a:spcAft>
              <a:buClrTx/>
              <a:buSzTx/>
              <a:buFontTx/>
              <a:buNone/>
              <a:tabLst/>
              <a:defRPr/>
            </a:pPr>
            <a:r>
              <a:rPr kumimoji="0" lang="de-DE" sz="1200" b="1" i="0" u="none" strike="noStrike" kern="1200" cap="none" spc="0" normalizeH="0" baseline="0" noProof="0">
                <a:ln>
                  <a:noFill/>
                </a:ln>
                <a:solidFill>
                  <a:srgbClr val="3C3C3B"/>
                </a:solidFill>
                <a:effectLst/>
                <a:uLnTx/>
                <a:uFillTx/>
                <a:latin typeface="Lato"/>
                <a:ea typeface="+mn-ea"/>
                <a:cs typeface="+mn-cs"/>
              </a:rPr>
              <a:t>The increased need for constraint management presents a potential upside</a:t>
            </a:r>
            <a:r>
              <a:rPr kumimoji="0" lang="de-DE" sz="1200" b="1" i="0" u="none" strike="noStrike" kern="1200" cap="none" spc="0" normalizeH="0" baseline="30000" noProof="0">
                <a:ln>
                  <a:noFill/>
                </a:ln>
                <a:solidFill>
                  <a:srgbClr val="3C3C3B"/>
                </a:solidFill>
                <a:effectLst/>
                <a:uLnTx/>
                <a:uFillTx/>
                <a:latin typeface="Lato"/>
                <a:ea typeface="+mn-ea"/>
                <a:cs typeface="+mn-cs"/>
              </a:rPr>
              <a:t>2</a:t>
            </a:r>
            <a:r>
              <a:rPr kumimoji="0" lang="de-DE" sz="1200" b="1" i="0" u="none" strike="noStrike" kern="1200" cap="none" spc="0" normalizeH="0" baseline="0" noProof="0">
                <a:ln>
                  <a:noFill/>
                </a:ln>
                <a:solidFill>
                  <a:srgbClr val="3C3C3B"/>
                </a:solidFill>
                <a:effectLst/>
                <a:uLnTx/>
                <a:uFillTx/>
                <a:latin typeface="Lato"/>
                <a:ea typeface="+mn-ea"/>
                <a:cs typeface="+mn-cs"/>
              </a:rPr>
              <a:t> for batteries if grid reinforcements are slower on the uptake...</a:t>
            </a:r>
          </a:p>
        </p:txBody>
      </p:sp>
      <p:sp>
        <p:nvSpPr>
          <p:cNvPr id="4" name="Title 3">
            <a:extLst>
              <a:ext uri="{FF2B5EF4-FFF2-40B4-BE49-F238E27FC236}">
                <a16:creationId xmlns:a16="http://schemas.microsoft.com/office/drawing/2014/main" id="{433243A6-8391-24A7-A688-EC12B9611961}"/>
              </a:ext>
            </a:extLst>
          </p:cNvPr>
          <p:cNvSpPr>
            <a:spLocks noGrp="1"/>
          </p:cNvSpPr>
          <p:nvPr>
            <p:ph type="title"/>
          </p:nvPr>
        </p:nvSpPr>
        <p:spPr/>
        <p:txBody>
          <a:bodyPr vert="horz"/>
          <a:lstStyle/>
          <a:p>
            <a:pPr marL="452438">
              <a:tabLst>
                <a:tab pos="452438" algn="l"/>
              </a:tabLst>
            </a:pPr>
            <a:r>
              <a:rPr lang="en-GB"/>
              <a:t>Reducing baseload capacities and slow grid reinforcements lead to an increased need and opportunity for batteries</a:t>
            </a:r>
          </a:p>
        </p:txBody>
      </p:sp>
      <p:sp>
        <p:nvSpPr>
          <p:cNvPr id="5" name="Text Placeholder 4">
            <a:extLst>
              <a:ext uri="{FF2B5EF4-FFF2-40B4-BE49-F238E27FC236}">
                <a16:creationId xmlns:a16="http://schemas.microsoft.com/office/drawing/2014/main" id="{9C3EEB60-B624-F21E-F062-94A3AACA4840}"/>
              </a:ext>
            </a:extLst>
          </p:cNvPr>
          <p:cNvSpPr>
            <a:spLocks noGrp="1"/>
          </p:cNvSpPr>
          <p:nvPr>
            <p:ph type="body" sz="quarter" idx="32"/>
          </p:nvPr>
        </p:nvSpPr>
        <p:spPr>
          <a:xfrm>
            <a:off x="369886" y="6669088"/>
            <a:ext cx="11428800" cy="110800"/>
          </a:xfrm>
        </p:spPr>
        <p:txBody>
          <a:bodyPr/>
          <a:lstStyle/>
          <a:p>
            <a:r>
              <a:rPr lang="en-GB" sz="800">
                <a:solidFill>
                  <a:schemeClr val="tx1"/>
                </a:solidFill>
              </a:rPr>
              <a:t>Source: Aurora Energy Research.</a:t>
            </a:r>
            <a:endParaRPr kumimoji="0" lang="en-GB" sz="8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cxnSp>
        <p:nvCxnSpPr>
          <p:cNvPr id="124" name="Straight Connector 123">
            <a:extLst>
              <a:ext uri="{FF2B5EF4-FFF2-40B4-BE49-F238E27FC236}">
                <a16:creationId xmlns:a16="http://schemas.microsoft.com/office/drawing/2014/main" id="{FD7D9A44-2FFB-6BA6-995A-134FFCFC2CB6}"/>
              </a:ext>
            </a:extLst>
          </p:cNvPr>
          <p:cNvCxnSpPr/>
          <p:nvPr>
            <p:custDataLst>
              <p:tags r:id="rId2"/>
            </p:custDataLst>
          </p:nvPr>
        </p:nvCxnSpPr>
        <p:spPr bwMode="auto">
          <a:xfrm>
            <a:off x="8048625" y="2343150"/>
            <a:ext cx="744538" cy="0"/>
          </a:xfrm>
          <a:prstGeom prst="line">
            <a:avLst/>
          </a:prstGeom>
          <a:ln w="9525" cap="flat" cmpd="sng" algn="ctr">
            <a:solidFill>
              <a:schemeClr val="tx1"/>
            </a:solidFill>
            <a:prstDash val="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D04ACB98-C593-D2AD-A2A0-6E1D3F17BF47}"/>
              </a:ext>
            </a:extLst>
          </p:cNvPr>
          <p:cNvCxnSpPr/>
          <p:nvPr>
            <p:custDataLst>
              <p:tags r:id="rId3"/>
            </p:custDataLst>
          </p:nvPr>
        </p:nvCxnSpPr>
        <p:spPr bwMode="auto">
          <a:xfrm>
            <a:off x="9726613" y="2306638"/>
            <a:ext cx="744538" cy="0"/>
          </a:xfrm>
          <a:prstGeom prst="line">
            <a:avLst/>
          </a:prstGeom>
          <a:ln w="9525" cap="flat" cmpd="sng" algn="ctr">
            <a:solidFill>
              <a:schemeClr val="tx1"/>
            </a:solidFill>
            <a:prstDash val="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489" name="Chart 488">
            <a:extLst>
              <a:ext uri="{FF2B5EF4-FFF2-40B4-BE49-F238E27FC236}">
                <a16:creationId xmlns:a16="http://schemas.microsoft.com/office/drawing/2014/main" id="{3FDDD74B-4DBB-3A32-A104-F138D4C2A45D}"/>
              </a:ext>
            </a:extLst>
          </p:cNvPr>
          <p:cNvGraphicFramePr/>
          <p:nvPr>
            <p:custDataLst>
              <p:tags r:id="rId4"/>
            </p:custDataLst>
            <p:extLst>
              <p:ext uri="{D42A27DB-BD31-4B8C-83A1-F6EECF244321}">
                <p14:modId xmlns:p14="http://schemas.microsoft.com/office/powerpoint/2010/main" val="4153734377"/>
              </p:ext>
            </p:extLst>
          </p:nvPr>
        </p:nvGraphicFramePr>
        <p:xfrm>
          <a:off x="6661150" y="2163763"/>
          <a:ext cx="5199063" cy="765175"/>
        </p:xfrm>
        <a:graphic>
          <a:graphicData uri="http://schemas.openxmlformats.org/drawingml/2006/chart">
            <c:chart xmlns:c="http://schemas.openxmlformats.org/drawingml/2006/chart" xmlns:r="http://schemas.openxmlformats.org/officeDocument/2006/relationships" r:id="rId61"/>
          </a:graphicData>
        </a:graphic>
      </p:graphicFrame>
      <p:sp>
        <p:nvSpPr>
          <p:cNvPr id="127" name="Text Placeholder 19">
            <a:extLst>
              <a:ext uri="{FF2B5EF4-FFF2-40B4-BE49-F238E27FC236}">
                <a16:creationId xmlns:a16="http://schemas.microsoft.com/office/drawing/2014/main" id="{6DE59447-2E83-4FD8-6DD7-B8E2D93DE1E8}"/>
              </a:ext>
            </a:extLst>
          </p:cNvPr>
          <p:cNvSpPr>
            <a:spLocks noGrp="1"/>
          </p:cNvSpPr>
          <p:nvPr>
            <p:custDataLst>
              <p:tags r:id="rId5"/>
            </p:custDataLst>
          </p:nvPr>
        </p:nvSpPr>
        <p:spPr bwMode="auto">
          <a:xfrm>
            <a:off x="7072313" y="2897188"/>
            <a:ext cx="10207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5B921C8-9611-49B8-90F5-6E58FB63A211}" type="datetime'''''''Auror''a'''' ''''Ce''''''nt''''r''a''''l'''''''''''''">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Aurora Central</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29" name="Text Placeholder 19">
            <a:extLst>
              <a:ext uri="{FF2B5EF4-FFF2-40B4-BE49-F238E27FC236}">
                <a16:creationId xmlns:a16="http://schemas.microsoft.com/office/drawing/2014/main" id="{74537B0A-22BE-1A27-ED84-5252C2B1CB2D}"/>
              </a:ext>
            </a:extLst>
          </p:cNvPr>
          <p:cNvSpPr>
            <a:spLocks noGrp="1"/>
          </p:cNvSpPr>
          <p:nvPr>
            <p:custDataLst>
              <p:tags r:id="rId6"/>
            </p:custDataLst>
          </p:nvPr>
        </p:nvSpPr>
        <p:spPr bwMode="auto">
          <a:xfrm>
            <a:off x="10212388" y="2897188"/>
            <a:ext cx="1452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ED8EE57-6012-4B17-B831-46E8C4B09E88}" type="datetime'De''''lay''ed ''g''r''''i''d ''''buil''''''''d''''ou''''t'''''">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Delayed grid buildout</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48" name="TextBox 147">
            <a:extLst>
              <a:ext uri="{FF2B5EF4-FFF2-40B4-BE49-F238E27FC236}">
                <a16:creationId xmlns:a16="http://schemas.microsoft.com/office/drawing/2014/main" id="{A1B51B62-CE2F-3EF8-30EF-F3213FC18BB1}"/>
              </a:ext>
            </a:extLst>
          </p:cNvPr>
          <p:cNvSpPr txBox="1"/>
          <p:nvPr/>
        </p:nvSpPr>
        <p:spPr>
          <a:xfrm>
            <a:off x="6650038" y="1846263"/>
            <a:ext cx="2898775" cy="369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IRRs</a:t>
            </a:r>
            <a:endParaRPr kumimoji="0" lang="en-GB" sz="1200" b="1" i="0" u="none" strike="noStrike" kern="1200" cap="none" spc="0" normalizeH="0" baseline="30000" noProof="0">
              <a:ln>
                <a:noFill/>
              </a:ln>
              <a:solidFill>
                <a:srgbClr val="3C3C3B"/>
              </a:solidFill>
              <a:effectLst/>
              <a:uLnTx/>
              <a:uFillTx/>
              <a:latin typeface="Lato"/>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a:ln>
                  <a:noFill/>
                </a:ln>
                <a:solidFill>
                  <a:srgbClr val="838383"/>
                </a:solidFill>
                <a:effectLst/>
                <a:uLnTx/>
                <a:uFillTx/>
                <a:latin typeface="Lato"/>
                <a:ea typeface="+mn-ea"/>
                <a:cs typeface="+mn-cs"/>
              </a:rPr>
              <a:t>%</a:t>
            </a:r>
            <a:endParaRPr kumimoji="0" lang="en-GB" sz="1200" b="0" i="0" u="none" strike="noStrike" kern="1200" cap="none" spc="0" normalizeH="0" baseline="30000" noProof="0">
              <a:ln>
                <a:noFill/>
              </a:ln>
              <a:solidFill>
                <a:srgbClr val="838383"/>
              </a:solidFill>
              <a:effectLst/>
              <a:uLnTx/>
              <a:uFillTx/>
              <a:latin typeface="Lato"/>
              <a:ea typeface="+mn-ea"/>
              <a:cs typeface="+mn-cs"/>
            </a:endParaRPr>
          </a:p>
        </p:txBody>
      </p:sp>
      <p:sp>
        <p:nvSpPr>
          <p:cNvPr id="156" name="Rectangle: Rounded Corners 155">
            <a:extLst>
              <a:ext uri="{FF2B5EF4-FFF2-40B4-BE49-F238E27FC236}">
                <a16:creationId xmlns:a16="http://schemas.microsoft.com/office/drawing/2014/main" id="{288D75E9-83F1-E982-32C4-E7645AA0A68B}"/>
              </a:ext>
            </a:extLst>
          </p:cNvPr>
          <p:cNvSpPr/>
          <p:nvPr/>
        </p:nvSpPr>
        <p:spPr>
          <a:xfrm>
            <a:off x="983850" y="1842446"/>
            <a:ext cx="4814888" cy="238125"/>
          </a:xfrm>
          <a:prstGeom prst="roundRect">
            <a:avLst>
              <a:gd name="adj" fmla="val 50000"/>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1" u="none" strike="noStrike" kern="1200" cap="none" spc="0" normalizeH="0" baseline="0" noProof="0">
                <a:ln>
                  <a:noFill/>
                </a:ln>
                <a:solidFill>
                  <a:srgbClr val="E7E7E7">
                    <a:lumMod val="50000"/>
                  </a:srgbClr>
                </a:solidFill>
                <a:effectLst/>
                <a:uLnTx/>
                <a:uFillTx/>
                <a:latin typeface="Lato"/>
                <a:ea typeface="+mn-ea"/>
                <a:cs typeface="+mn-cs"/>
              </a:rPr>
              <a:t>Illustrative battery analysis - 2h 2 cycle battery, </a:t>
            </a:r>
            <a:r>
              <a:rPr lang="en-GB" sz="1200">
                <a:solidFill>
                  <a:srgbClr val="808080"/>
                </a:solidFill>
                <a:highlight>
                  <a:srgbClr val="808080"/>
                </a:highlight>
              </a:rPr>
              <a:t>x                                               </a:t>
            </a:r>
            <a:r>
              <a:rPr lang="en-GB" sz="1200" err="1">
                <a:solidFill>
                  <a:srgbClr val="808080"/>
                </a:solidFill>
                <a:highlight>
                  <a:srgbClr val="808080"/>
                </a:highlight>
              </a:rPr>
              <a:t>x</a:t>
            </a:r>
            <a:r>
              <a:rPr lang="en-GB" sz="1200">
                <a:solidFill>
                  <a:srgbClr val="808080"/>
                </a:solidFill>
                <a:highlight>
                  <a:srgbClr val="808080"/>
                </a:highlight>
              </a:rPr>
              <a:t> </a:t>
            </a:r>
            <a:endParaRPr kumimoji="0" lang="en-GB" sz="1050" b="0" i="1" u="none" strike="noStrike" kern="1200" cap="none" spc="0" normalizeH="0" baseline="0" noProof="0">
              <a:ln>
                <a:noFill/>
              </a:ln>
              <a:solidFill>
                <a:srgbClr val="808080"/>
              </a:solidFill>
              <a:effectLst/>
              <a:uLnTx/>
              <a:uFillTx/>
              <a:latin typeface="Lato"/>
              <a:ea typeface="+mn-ea"/>
              <a:cs typeface="+mn-cs"/>
            </a:endParaRPr>
          </a:p>
        </p:txBody>
      </p:sp>
      <p:grpSp>
        <p:nvGrpSpPr>
          <p:cNvPr id="535" name="Group 534">
            <a:extLst>
              <a:ext uri="{FF2B5EF4-FFF2-40B4-BE49-F238E27FC236}">
                <a16:creationId xmlns:a16="http://schemas.microsoft.com/office/drawing/2014/main" id="{C6363C05-8574-0BCC-8F36-9094CD3FEC70}"/>
              </a:ext>
            </a:extLst>
          </p:cNvPr>
          <p:cNvGrpSpPr/>
          <p:nvPr/>
        </p:nvGrpSpPr>
        <p:grpSpPr>
          <a:xfrm>
            <a:off x="2284779" y="4178815"/>
            <a:ext cx="3414713" cy="940595"/>
            <a:chOff x="2459037" y="3690834"/>
            <a:chExt cx="3414713" cy="722313"/>
          </a:xfrm>
        </p:grpSpPr>
        <p:sp>
          <p:nvSpPr>
            <p:cNvPr id="22" name="Rectangle 21">
              <a:extLst>
                <a:ext uri="{FF2B5EF4-FFF2-40B4-BE49-F238E27FC236}">
                  <a16:creationId xmlns:a16="http://schemas.microsoft.com/office/drawing/2014/main" id="{BC27D63C-DAD0-0665-8773-EB44912C34F0}"/>
                </a:ext>
              </a:extLst>
            </p:cNvPr>
            <p:cNvSpPr/>
            <p:nvPr/>
          </p:nvSpPr>
          <p:spPr>
            <a:xfrm>
              <a:off x="2459037" y="3690834"/>
              <a:ext cx="3414713" cy="722313"/>
            </a:xfrm>
            <a:prstGeom prst="rect">
              <a:avLst/>
            </a:prstGeom>
            <a:solidFill>
              <a:schemeClr val="accent2">
                <a:lumMod val="20000"/>
                <a:lumOff val="80000"/>
              </a:schemeClr>
            </a:solidFill>
            <a:ln w="19050">
              <a:solidFill>
                <a:schemeClr val="accent2"/>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de-DE" sz="1200" b="1" i="0" u="none" strike="noStrike" kern="1200" cap="none" spc="0" normalizeH="0" baseline="0" noProof="0">
                <a:ln>
                  <a:noFill/>
                </a:ln>
                <a:solidFill>
                  <a:srgbClr val="3C3C3B"/>
                </a:solidFill>
                <a:effectLst/>
                <a:uLnTx/>
                <a:uFillTx/>
                <a:latin typeface="Lato"/>
                <a:ea typeface="+mn-ea"/>
                <a:cs typeface="+mn-cs"/>
              </a:endParaRPr>
            </a:p>
          </p:txBody>
        </p:sp>
        <p:sp>
          <p:nvSpPr>
            <p:cNvPr id="25" name="Rectangle 24">
              <a:extLst>
                <a:ext uri="{FF2B5EF4-FFF2-40B4-BE49-F238E27FC236}">
                  <a16:creationId xmlns:a16="http://schemas.microsoft.com/office/drawing/2014/main" id="{62327C01-57BC-D3E1-32B6-0107A9E737F4}"/>
                </a:ext>
              </a:extLst>
            </p:cNvPr>
            <p:cNvSpPr/>
            <p:nvPr/>
          </p:nvSpPr>
          <p:spPr>
            <a:xfrm>
              <a:off x="2501106" y="3700597"/>
              <a:ext cx="3159525" cy="241300"/>
            </a:xfrm>
            <a:prstGeom prst="rect">
              <a:avLst/>
            </a:prstGeom>
            <a:solidFill>
              <a:schemeClr val="accent2">
                <a:lumMod val="20000"/>
                <a:lumOff val="80000"/>
              </a:schemeClr>
            </a:solidFill>
            <a:ln w="28575">
              <a:no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de-DE" sz="1200" b="0" i="0" u="none" strike="noStrike" kern="1200" cap="none" spc="0" normalizeH="0" baseline="0" noProof="0">
                  <a:ln>
                    <a:noFill/>
                  </a:ln>
                  <a:solidFill>
                    <a:srgbClr val="3C3C3B"/>
                  </a:solidFill>
                  <a:effectLst/>
                  <a:uLnTx/>
                  <a:uFillTx/>
                  <a:latin typeface="Lato"/>
                  <a:ea typeface="+mn-ea"/>
                  <a:cs typeface="+mn-cs"/>
                </a:rPr>
                <a:t>Increased price spreads</a:t>
              </a:r>
            </a:p>
          </p:txBody>
        </p:sp>
      </p:grpSp>
      <p:sp>
        <p:nvSpPr>
          <p:cNvPr id="27" name="Freeform 128">
            <a:extLst>
              <a:ext uri="{FF2B5EF4-FFF2-40B4-BE49-F238E27FC236}">
                <a16:creationId xmlns:a16="http://schemas.microsoft.com/office/drawing/2014/main" id="{A8D37D79-B289-CABC-2D4E-66C867FDC0A1}"/>
              </a:ext>
            </a:extLst>
          </p:cNvPr>
          <p:cNvSpPr>
            <a:spLocks noEditPoints="1"/>
          </p:cNvSpPr>
          <p:nvPr/>
        </p:nvSpPr>
        <p:spPr bwMode="auto">
          <a:xfrm>
            <a:off x="348885" y="1461041"/>
            <a:ext cx="388938" cy="271463"/>
          </a:xfrm>
          <a:custGeom>
            <a:avLst/>
            <a:gdLst/>
            <a:ahLst/>
            <a:cxnLst>
              <a:cxn ang="0">
                <a:pos x="2" y="345"/>
              </a:cxn>
              <a:cxn ang="0">
                <a:pos x="381" y="345"/>
              </a:cxn>
              <a:cxn ang="0">
                <a:pos x="383" y="342"/>
              </a:cxn>
              <a:cxn ang="0">
                <a:pos x="330" y="323"/>
              </a:cxn>
              <a:cxn ang="0">
                <a:pos x="277" y="12"/>
              </a:cxn>
              <a:cxn ang="0">
                <a:pos x="112" y="12"/>
              </a:cxn>
              <a:cxn ang="0">
                <a:pos x="59" y="322"/>
              </a:cxn>
              <a:cxn ang="0">
                <a:pos x="0" y="342"/>
              </a:cxn>
              <a:cxn ang="0">
                <a:pos x="2" y="345"/>
              </a:cxn>
              <a:cxn ang="0">
                <a:pos x="195" y="208"/>
              </a:cxn>
              <a:cxn ang="0">
                <a:pos x="205" y="205"/>
              </a:cxn>
              <a:cxn ang="0">
                <a:pos x="229" y="249"/>
              </a:cxn>
              <a:cxn ang="0">
                <a:pos x="161" y="249"/>
              </a:cxn>
              <a:cxn ang="0">
                <a:pos x="184" y="204"/>
              </a:cxn>
              <a:cxn ang="0">
                <a:pos x="195" y="208"/>
              </a:cxn>
              <a:cxn ang="0">
                <a:pos x="189" y="190"/>
              </a:cxn>
              <a:cxn ang="0">
                <a:pos x="192" y="184"/>
              </a:cxn>
              <a:cxn ang="0">
                <a:pos x="195" y="183"/>
              </a:cxn>
              <a:cxn ang="0">
                <a:pos x="197" y="184"/>
              </a:cxn>
              <a:cxn ang="0">
                <a:pos x="202" y="190"/>
              </a:cxn>
              <a:cxn ang="0">
                <a:pos x="201" y="190"/>
              </a:cxn>
              <a:cxn ang="0">
                <a:pos x="199" y="195"/>
              </a:cxn>
              <a:cxn ang="0">
                <a:pos x="195" y="196"/>
              </a:cxn>
              <a:cxn ang="0">
                <a:pos x="191" y="194"/>
              </a:cxn>
              <a:cxn ang="0">
                <a:pos x="189" y="190"/>
              </a:cxn>
              <a:cxn ang="0">
                <a:pos x="189" y="190"/>
              </a:cxn>
              <a:cxn ang="0">
                <a:pos x="263" y="189"/>
              </a:cxn>
              <a:cxn ang="0">
                <a:pos x="213" y="191"/>
              </a:cxn>
              <a:cxn ang="0">
                <a:pos x="214" y="190"/>
              </a:cxn>
              <a:cxn ang="0">
                <a:pos x="203" y="173"/>
              </a:cxn>
              <a:cxn ang="0">
                <a:pos x="229" y="130"/>
              </a:cxn>
              <a:cxn ang="0">
                <a:pos x="263" y="189"/>
              </a:cxn>
              <a:cxn ang="0">
                <a:pos x="150" y="15"/>
              </a:cxn>
              <a:cxn ang="0">
                <a:pos x="239" y="15"/>
              </a:cxn>
              <a:cxn ang="0">
                <a:pos x="241" y="18"/>
              </a:cxn>
              <a:cxn ang="0">
                <a:pos x="195" y="30"/>
              </a:cxn>
              <a:cxn ang="0">
                <a:pos x="149" y="18"/>
              </a:cxn>
              <a:cxn ang="0">
                <a:pos x="150" y="15"/>
              </a:cxn>
              <a:cxn ang="0">
                <a:pos x="160" y="130"/>
              </a:cxn>
              <a:cxn ang="0">
                <a:pos x="187" y="173"/>
              </a:cxn>
              <a:cxn ang="0">
                <a:pos x="177" y="190"/>
              </a:cxn>
              <a:cxn ang="0">
                <a:pos x="177" y="191"/>
              </a:cxn>
              <a:cxn ang="0">
                <a:pos x="126" y="189"/>
              </a:cxn>
              <a:cxn ang="0">
                <a:pos x="160" y="130"/>
              </a:cxn>
            </a:cxnLst>
            <a:rect l="0" t="0" r="r" b="b"/>
            <a:pathLst>
              <a:path w="383" h="345">
                <a:moveTo>
                  <a:pt x="2" y="345"/>
                </a:moveTo>
                <a:cubicBezTo>
                  <a:pt x="381" y="345"/>
                  <a:pt x="381" y="345"/>
                  <a:pt x="381" y="345"/>
                </a:cubicBezTo>
                <a:cubicBezTo>
                  <a:pt x="382" y="345"/>
                  <a:pt x="383" y="343"/>
                  <a:pt x="383" y="342"/>
                </a:cubicBezTo>
                <a:cubicBezTo>
                  <a:pt x="379" y="335"/>
                  <a:pt x="360" y="328"/>
                  <a:pt x="330" y="323"/>
                </a:cubicBezTo>
                <a:cubicBezTo>
                  <a:pt x="284" y="222"/>
                  <a:pt x="278" y="114"/>
                  <a:pt x="277" y="12"/>
                </a:cubicBezTo>
                <a:cubicBezTo>
                  <a:pt x="226" y="0"/>
                  <a:pt x="163" y="0"/>
                  <a:pt x="112" y="12"/>
                </a:cubicBezTo>
                <a:cubicBezTo>
                  <a:pt x="111" y="113"/>
                  <a:pt x="105" y="221"/>
                  <a:pt x="59" y="322"/>
                </a:cubicBezTo>
                <a:cubicBezTo>
                  <a:pt x="26" y="328"/>
                  <a:pt x="4" y="335"/>
                  <a:pt x="0" y="342"/>
                </a:cubicBezTo>
                <a:cubicBezTo>
                  <a:pt x="0" y="344"/>
                  <a:pt x="1" y="345"/>
                  <a:pt x="2" y="345"/>
                </a:cubicBezTo>
                <a:close/>
                <a:moveTo>
                  <a:pt x="195" y="208"/>
                </a:moveTo>
                <a:cubicBezTo>
                  <a:pt x="199" y="208"/>
                  <a:pt x="202" y="207"/>
                  <a:pt x="205" y="205"/>
                </a:cubicBezTo>
                <a:cubicBezTo>
                  <a:pt x="229" y="249"/>
                  <a:pt x="229" y="249"/>
                  <a:pt x="229" y="249"/>
                </a:cubicBezTo>
                <a:cubicBezTo>
                  <a:pt x="208" y="261"/>
                  <a:pt x="181" y="261"/>
                  <a:pt x="161" y="249"/>
                </a:cubicBezTo>
                <a:cubicBezTo>
                  <a:pt x="184" y="204"/>
                  <a:pt x="184" y="204"/>
                  <a:pt x="184" y="204"/>
                </a:cubicBezTo>
                <a:cubicBezTo>
                  <a:pt x="188" y="206"/>
                  <a:pt x="191" y="208"/>
                  <a:pt x="195" y="208"/>
                </a:cubicBezTo>
                <a:close/>
                <a:moveTo>
                  <a:pt x="189" y="190"/>
                </a:moveTo>
                <a:cubicBezTo>
                  <a:pt x="189" y="187"/>
                  <a:pt x="190" y="185"/>
                  <a:pt x="192" y="184"/>
                </a:cubicBezTo>
                <a:cubicBezTo>
                  <a:pt x="193" y="183"/>
                  <a:pt x="194" y="183"/>
                  <a:pt x="195" y="183"/>
                </a:cubicBezTo>
                <a:cubicBezTo>
                  <a:pt x="196" y="183"/>
                  <a:pt x="197" y="183"/>
                  <a:pt x="197" y="184"/>
                </a:cubicBezTo>
                <a:cubicBezTo>
                  <a:pt x="200" y="184"/>
                  <a:pt x="202" y="187"/>
                  <a:pt x="202" y="190"/>
                </a:cubicBezTo>
                <a:cubicBezTo>
                  <a:pt x="202" y="190"/>
                  <a:pt x="201" y="190"/>
                  <a:pt x="201" y="190"/>
                </a:cubicBezTo>
                <a:cubicBezTo>
                  <a:pt x="201" y="192"/>
                  <a:pt x="200" y="194"/>
                  <a:pt x="199" y="195"/>
                </a:cubicBezTo>
                <a:cubicBezTo>
                  <a:pt x="198" y="196"/>
                  <a:pt x="197" y="196"/>
                  <a:pt x="195" y="196"/>
                </a:cubicBezTo>
                <a:cubicBezTo>
                  <a:pt x="194" y="196"/>
                  <a:pt x="192" y="195"/>
                  <a:pt x="191" y="194"/>
                </a:cubicBezTo>
                <a:cubicBezTo>
                  <a:pt x="190" y="193"/>
                  <a:pt x="189" y="192"/>
                  <a:pt x="189" y="190"/>
                </a:cubicBezTo>
                <a:cubicBezTo>
                  <a:pt x="189" y="190"/>
                  <a:pt x="189" y="190"/>
                  <a:pt x="189" y="190"/>
                </a:cubicBezTo>
                <a:close/>
                <a:moveTo>
                  <a:pt x="263" y="189"/>
                </a:moveTo>
                <a:cubicBezTo>
                  <a:pt x="213" y="191"/>
                  <a:pt x="213" y="191"/>
                  <a:pt x="213" y="191"/>
                </a:cubicBezTo>
                <a:cubicBezTo>
                  <a:pt x="213" y="190"/>
                  <a:pt x="214" y="190"/>
                  <a:pt x="214" y="190"/>
                </a:cubicBezTo>
                <a:cubicBezTo>
                  <a:pt x="214" y="182"/>
                  <a:pt x="209" y="176"/>
                  <a:pt x="203" y="173"/>
                </a:cubicBezTo>
                <a:cubicBezTo>
                  <a:pt x="229" y="130"/>
                  <a:pt x="229" y="130"/>
                  <a:pt x="229" y="130"/>
                </a:cubicBezTo>
                <a:cubicBezTo>
                  <a:pt x="250" y="142"/>
                  <a:pt x="263" y="166"/>
                  <a:pt x="263" y="189"/>
                </a:cubicBezTo>
                <a:close/>
                <a:moveTo>
                  <a:pt x="150" y="15"/>
                </a:moveTo>
                <a:cubicBezTo>
                  <a:pt x="239" y="15"/>
                  <a:pt x="239" y="15"/>
                  <a:pt x="239" y="15"/>
                </a:cubicBezTo>
                <a:cubicBezTo>
                  <a:pt x="240" y="15"/>
                  <a:pt x="241" y="16"/>
                  <a:pt x="241" y="18"/>
                </a:cubicBezTo>
                <a:cubicBezTo>
                  <a:pt x="237" y="25"/>
                  <a:pt x="218" y="30"/>
                  <a:pt x="195" y="30"/>
                </a:cubicBezTo>
                <a:cubicBezTo>
                  <a:pt x="171" y="30"/>
                  <a:pt x="152" y="25"/>
                  <a:pt x="149" y="18"/>
                </a:cubicBezTo>
                <a:cubicBezTo>
                  <a:pt x="148" y="16"/>
                  <a:pt x="149" y="15"/>
                  <a:pt x="150" y="15"/>
                </a:cubicBezTo>
                <a:close/>
                <a:moveTo>
                  <a:pt x="160" y="130"/>
                </a:moveTo>
                <a:cubicBezTo>
                  <a:pt x="187" y="173"/>
                  <a:pt x="187" y="173"/>
                  <a:pt x="187" y="173"/>
                </a:cubicBezTo>
                <a:cubicBezTo>
                  <a:pt x="181" y="176"/>
                  <a:pt x="177" y="183"/>
                  <a:pt x="177" y="190"/>
                </a:cubicBezTo>
                <a:cubicBezTo>
                  <a:pt x="177" y="190"/>
                  <a:pt x="177" y="191"/>
                  <a:pt x="177" y="191"/>
                </a:cubicBezTo>
                <a:cubicBezTo>
                  <a:pt x="126" y="189"/>
                  <a:pt x="126" y="189"/>
                  <a:pt x="126" y="189"/>
                </a:cubicBezTo>
                <a:cubicBezTo>
                  <a:pt x="126" y="166"/>
                  <a:pt x="139" y="142"/>
                  <a:pt x="160" y="130"/>
                </a:cubicBezTo>
                <a:close/>
              </a:path>
            </a:pathLst>
          </a:custGeom>
          <a:solidFill>
            <a:schemeClr val="tx1"/>
          </a:solid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cxnSp>
        <p:nvCxnSpPr>
          <p:cNvPr id="28" name="Straight Connector 27">
            <a:extLst>
              <a:ext uri="{FF2B5EF4-FFF2-40B4-BE49-F238E27FC236}">
                <a16:creationId xmlns:a16="http://schemas.microsoft.com/office/drawing/2014/main" id="{3E210C81-9019-8F56-333E-C08B59E3DD7C}"/>
              </a:ext>
            </a:extLst>
          </p:cNvPr>
          <p:cNvCxnSpPr/>
          <p:nvPr>
            <p:custDataLst>
              <p:tags r:id="rId7"/>
            </p:custDataLst>
          </p:nvPr>
        </p:nvCxnSpPr>
        <p:spPr bwMode="auto">
          <a:xfrm>
            <a:off x="1839913" y="2343150"/>
            <a:ext cx="730250" cy="0"/>
          </a:xfrm>
          <a:prstGeom prst="line">
            <a:avLst/>
          </a:prstGeom>
          <a:ln w="9525" cap="flat" cmpd="sng" algn="ctr">
            <a:solidFill>
              <a:schemeClr val="tx1"/>
            </a:solidFill>
            <a:prstDash val="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A4079E73-B8CF-559A-834C-BECB81DBF266}"/>
              </a:ext>
            </a:extLst>
          </p:cNvPr>
          <p:cNvCxnSpPr/>
          <p:nvPr>
            <p:custDataLst>
              <p:tags r:id="rId8"/>
            </p:custDataLst>
          </p:nvPr>
        </p:nvCxnSpPr>
        <p:spPr bwMode="auto">
          <a:xfrm>
            <a:off x="3484563" y="2298700"/>
            <a:ext cx="730250" cy="0"/>
          </a:xfrm>
          <a:prstGeom prst="line">
            <a:avLst/>
          </a:prstGeom>
          <a:ln w="9525" cap="flat" cmpd="sng" algn="ctr">
            <a:solidFill>
              <a:schemeClr val="tx1"/>
            </a:solidFill>
            <a:prstDash val="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469" name="Chart 468">
            <a:extLst>
              <a:ext uri="{FF2B5EF4-FFF2-40B4-BE49-F238E27FC236}">
                <a16:creationId xmlns:a16="http://schemas.microsoft.com/office/drawing/2014/main" id="{64873FBC-9C01-4552-0DAA-0A25717C72A5}"/>
              </a:ext>
            </a:extLst>
          </p:cNvPr>
          <p:cNvGraphicFramePr/>
          <p:nvPr>
            <p:custDataLst>
              <p:tags r:id="rId9"/>
            </p:custDataLst>
            <p:extLst>
              <p:ext uri="{D42A27DB-BD31-4B8C-83A1-F6EECF244321}">
                <p14:modId xmlns:p14="http://schemas.microsoft.com/office/powerpoint/2010/main" val="4249609440"/>
              </p:ext>
            </p:extLst>
          </p:nvPr>
        </p:nvGraphicFramePr>
        <p:xfrm>
          <a:off x="479425" y="2163763"/>
          <a:ext cx="5095875" cy="765175"/>
        </p:xfrm>
        <a:graphic>
          <a:graphicData uri="http://schemas.openxmlformats.org/drawingml/2006/chart">
            <c:chart xmlns:c="http://schemas.openxmlformats.org/drawingml/2006/chart" xmlns:r="http://schemas.openxmlformats.org/officeDocument/2006/relationships" r:id="rId62"/>
          </a:graphicData>
        </a:graphic>
      </p:graphicFrame>
      <p:sp>
        <p:nvSpPr>
          <p:cNvPr id="32" name="Text Placeholder 19">
            <a:extLst>
              <a:ext uri="{FF2B5EF4-FFF2-40B4-BE49-F238E27FC236}">
                <a16:creationId xmlns:a16="http://schemas.microsoft.com/office/drawing/2014/main" id="{18C9CA88-D70E-B1EF-A7DE-CD4675ADE7E3}"/>
              </a:ext>
            </a:extLst>
          </p:cNvPr>
          <p:cNvSpPr>
            <a:spLocks noGrp="1"/>
          </p:cNvSpPr>
          <p:nvPr>
            <p:custDataLst>
              <p:tags r:id="rId10"/>
            </p:custDataLst>
          </p:nvPr>
        </p:nvSpPr>
        <p:spPr bwMode="auto">
          <a:xfrm>
            <a:off x="873125" y="2897188"/>
            <a:ext cx="10207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3CF8C11-1B90-4C62-8732-406E60A52A40}" type="datetime'''A''''''u''ro''''r''a'' ''C''''''''''''''entr''''''''a''l'">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Aurora Central</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5" name="Text Placeholder 19">
            <a:extLst>
              <a:ext uri="{FF2B5EF4-FFF2-40B4-BE49-F238E27FC236}">
                <a16:creationId xmlns:a16="http://schemas.microsoft.com/office/drawing/2014/main" id="{F3CF2C81-614D-7CD6-FD41-963892603FF2}"/>
              </a:ext>
            </a:extLst>
          </p:cNvPr>
          <p:cNvSpPr>
            <a:spLocks noGrp="1"/>
          </p:cNvSpPr>
          <p:nvPr>
            <p:custDataLst>
              <p:tags r:id="rId11"/>
            </p:custDataLst>
          </p:nvPr>
        </p:nvSpPr>
        <p:spPr bwMode="auto">
          <a:xfrm>
            <a:off x="4122738" y="2897188"/>
            <a:ext cx="109537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EDBB0ED-FA6C-40F9-8A5A-84021DB7FF5C}" type="datetime'''D''ela''''''yed n''uc''lear ''d''''''e''plo''yme''''n''t'''">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Delayed nuclear deployment</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6" name="TextBox 35">
            <a:extLst>
              <a:ext uri="{FF2B5EF4-FFF2-40B4-BE49-F238E27FC236}">
                <a16:creationId xmlns:a16="http://schemas.microsoft.com/office/drawing/2014/main" id="{0F57D35E-A27A-3F59-D562-05A45401EEF5}"/>
              </a:ext>
            </a:extLst>
          </p:cNvPr>
          <p:cNvSpPr txBox="1"/>
          <p:nvPr/>
        </p:nvSpPr>
        <p:spPr>
          <a:xfrm>
            <a:off x="520700" y="1846263"/>
            <a:ext cx="317500" cy="36830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IRRs</a:t>
            </a:r>
            <a:br>
              <a:rPr kumimoji="0" lang="en-GB" sz="1200" b="0" i="0" u="none" strike="noStrike" kern="1200" cap="none" spc="0" normalizeH="0" baseline="0" noProof="0">
                <a:ln>
                  <a:noFill/>
                </a:ln>
                <a:solidFill>
                  <a:srgbClr val="3C3C3B"/>
                </a:solidFill>
                <a:effectLst/>
                <a:uLnTx/>
                <a:uFillTx/>
                <a:latin typeface="Lato"/>
                <a:ea typeface="+mn-ea"/>
                <a:cs typeface="+mn-cs"/>
              </a:rPr>
            </a:br>
            <a:r>
              <a:rPr kumimoji="0" lang="en-US" sz="1200" b="0" i="0" u="none" strike="noStrike" kern="1200" cap="none" spc="0" normalizeH="0" baseline="0" noProof="0">
                <a:ln>
                  <a:noFill/>
                </a:ln>
                <a:solidFill>
                  <a:srgbClr val="838383"/>
                </a:solidFill>
                <a:effectLst/>
                <a:uLnTx/>
                <a:uFillTx/>
                <a:latin typeface="Lato"/>
                <a:ea typeface="+mn-ea"/>
                <a:cs typeface="+mn-cs"/>
              </a:rPr>
              <a:t>%</a:t>
            </a:r>
            <a:endParaRPr kumimoji="0" lang="en-GB" sz="1200" b="0" i="0" u="none" strike="noStrike" kern="1200" cap="none" spc="0" normalizeH="0" baseline="30000" noProof="0">
              <a:ln>
                <a:noFill/>
              </a:ln>
              <a:solidFill>
                <a:srgbClr val="838383"/>
              </a:solidFill>
              <a:effectLst/>
              <a:uLnTx/>
              <a:uFillTx/>
              <a:latin typeface="Lato"/>
              <a:ea typeface="+mn-ea"/>
              <a:cs typeface="+mn-cs"/>
            </a:endParaRPr>
          </a:p>
        </p:txBody>
      </p:sp>
      <p:sp>
        <p:nvSpPr>
          <p:cNvPr id="38" name="Rectangle: Rounded Corners 37">
            <a:extLst>
              <a:ext uri="{FF2B5EF4-FFF2-40B4-BE49-F238E27FC236}">
                <a16:creationId xmlns:a16="http://schemas.microsoft.com/office/drawing/2014/main" id="{9F4D78EB-2EA2-DEE7-8DC4-6EF648FB7843}"/>
              </a:ext>
            </a:extLst>
          </p:cNvPr>
          <p:cNvSpPr/>
          <p:nvPr/>
        </p:nvSpPr>
        <p:spPr>
          <a:xfrm>
            <a:off x="7152248" y="1842446"/>
            <a:ext cx="4641850" cy="238125"/>
          </a:xfrm>
          <a:prstGeom prst="roundRect">
            <a:avLst>
              <a:gd name="adj" fmla="val 50000"/>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50" b="0" i="1" u="none" strike="noStrike" kern="1200" cap="none" spc="0" normalizeH="0" baseline="0" noProof="0">
                <a:ln>
                  <a:noFill/>
                </a:ln>
                <a:solidFill>
                  <a:srgbClr val="E7E7E7">
                    <a:lumMod val="50000"/>
                  </a:srgbClr>
                </a:solidFill>
                <a:effectLst/>
                <a:uLnTx/>
                <a:uFillTx/>
                <a:latin typeface="Lato"/>
                <a:ea typeface="+mn-ea"/>
                <a:cs typeface="+mn-cs"/>
              </a:rPr>
              <a:t>Illustrative battery analysis - 2h 2 cycle battery, </a:t>
            </a:r>
            <a:r>
              <a:rPr lang="en-GB" sz="1200">
                <a:solidFill>
                  <a:srgbClr val="808080"/>
                </a:solidFill>
                <a:highlight>
                  <a:srgbClr val="808080"/>
                </a:highlight>
              </a:rPr>
              <a:t>x                                               </a:t>
            </a:r>
            <a:r>
              <a:rPr lang="en-GB" sz="1200" err="1">
                <a:solidFill>
                  <a:srgbClr val="808080"/>
                </a:solidFill>
                <a:highlight>
                  <a:srgbClr val="808080"/>
                </a:highlight>
              </a:rPr>
              <a:t>x</a:t>
            </a:r>
            <a:r>
              <a:rPr lang="en-GB" sz="1200">
                <a:solidFill>
                  <a:srgbClr val="808080"/>
                </a:solidFill>
                <a:highlight>
                  <a:srgbClr val="808080"/>
                </a:highlight>
              </a:rPr>
              <a:t> </a:t>
            </a:r>
            <a:endParaRPr kumimoji="0" lang="en-GB" sz="1050" b="0" i="1" u="none" strike="noStrike" kern="1200" cap="none" spc="0" normalizeH="0" baseline="0" noProof="0">
              <a:ln>
                <a:noFill/>
              </a:ln>
              <a:solidFill>
                <a:srgbClr val="808080"/>
              </a:solidFill>
              <a:effectLst/>
              <a:uLnTx/>
              <a:uFillTx/>
              <a:latin typeface="Lato"/>
              <a:ea typeface="+mn-ea"/>
              <a:cs typeface="+mn-cs"/>
            </a:endParaRPr>
          </a:p>
        </p:txBody>
      </p:sp>
      <p:graphicFrame>
        <p:nvGraphicFramePr>
          <p:cNvPr id="479" name="Chart 478">
            <a:extLst>
              <a:ext uri="{FF2B5EF4-FFF2-40B4-BE49-F238E27FC236}">
                <a16:creationId xmlns:a16="http://schemas.microsoft.com/office/drawing/2014/main" id="{86D65285-3F87-1167-BD34-142D12DB72FB}"/>
              </a:ext>
            </a:extLst>
          </p:cNvPr>
          <p:cNvGraphicFramePr/>
          <p:nvPr>
            <p:custDataLst>
              <p:tags r:id="rId12"/>
            </p:custDataLst>
            <p:extLst>
              <p:ext uri="{D42A27DB-BD31-4B8C-83A1-F6EECF244321}">
                <p14:modId xmlns:p14="http://schemas.microsoft.com/office/powerpoint/2010/main" val="1988936816"/>
              </p:ext>
            </p:extLst>
          </p:nvPr>
        </p:nvGraphicFramePr>
        <p:xfrm>
          <a:off x="755650" y="4214813"/>
          <a:ext cx="5075238" cy="1658937"/>
        </p:xfrm>
        <a:graphic>
          <a:graphicData uri="http://schemas.openxmlformats.org/drawingml/2006/chart">
            <c:chart xmlns:c="http://schemas.openxmlformats.org/drawingml/2006/chart" xmlns:r="http://schemas.openxmlformats.org/officeDocument/2006/relationships" r:id="rId63"/>
          </a:graphicData>
        </a:graphic>
      </p:graphicFrame>
      <p:cxnSp>
        <p:nvCxnSpPr>
          <p:cNvPr id="42" name="Straight Connector 41">
            <a:extLst>
              <a:ext uri="{FF2B5EF4-FFF2-40B4-BE49-F238E27FC236}">
                <a16:creationId xmlns:a16="http://schemas.microsoft.com/office/drawing/2014/main" id="{221F05B7-9DBC-8246-77A6-5B996B8F4104}"/>
              </a:ext>
            </a:extLst>
          </p:cNvPr>
          <p:cNvCxnSpPr>
            <a:cxnSpLocks/>
          </p:cNvCxnSpPr>
          <p:nvPr>
            <p:custDataLst>
              <p:tags r:id="rId13"/>
            </p:custDataLst>
          </p:nvPr>
        </p:nvCxnSpPr>
        <p:spPr bwMode="auto">
          <a:xfrm>
            <a:off x="4230688" y="4694238"/>
            <a:ext cx="5429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410E9C66-F21F-A42D-79BF-4F8471CF7812}"/>
              </a:ext>
            </a:extLst>
          </p:cNvPr>
          <p:cNvCxnSpPr>
            <a:cxnSpLocks/>
          </p:cNvCxnSpPr>
          <p:nvPr>
            <p:custDataLst>
              <p:tags r:id="rId14"/>
            </p:custDataLst>
          </p:nvPr>
        </p:nvCxnSpPr>
        <p:spPr bwMode="auto">
          <a:xfrm>
            <a:off x="4230688" y="4408488"/>
            <a:ext cx="5429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A24C308C-7463-F321-883F-BD769E84330B}"/>
              </a:ext>
            </a:extLst>
          </p:cNvPr>
          <p:cNvCxnSpPr>
            <a:cxnSpLocks/>
          </p:cNvCxnSpPr>
          <p:nvPr>
            <p:custDataLst>
              <p:tags r:id="rId15"/>
            </p:custDataLst>
          </p:nvPr>
        </p:nvCxnSpPr>
        <p:spPr bwMode="gray">
          <a:xfrm flipV="1">
            <a:off x="4735513" y="4405313"/>
            <a:ext cx="0" cy="292100"/>
          </a:xfrm>
          <a:prstGeom prst="line">
            <a:avLst/>
          </a:prstGeom>
          <a:ln w="9525" cap="flat" cmpd="sng" algn="ctr">
            <a:solidFill>
              <a:schemeClr val="accent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9" name="Text Placeholder 19">
            <a:extLst>
              <a:ext uri="{FF2B5EF4-FFF2-40B4-BE49-F238E27FC236}">
                <a16:creationId xmlns:a16="http://schemas.microsoft.com/office/drawing/2014/main" id="{4CDD7AD4-0406-DC7E-4569-E8819246A6CF}"/>
              </a:ext>
            </a:extLst>
          </p:cNvPr>
          <p:cNvSpPr>
            <a:spLocks noGrp="1"/>
          </p:cNvSpPr>
          <p:nvPr>
            <p:custDataLst>
              <p:tags r:id="rId16"/>
            </p:custDataLst>
          </p:nvPr>
        </p:nvSpPr>
        <p:spPr bwMode="auto">
          <a:xfrm>
            <a:off x="725488" y="5842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F395F5B-373B-434B-A460-BCBC543F43F2}" type="datetime'''''''''''''''''''''''2''''''0''''''''''''''''''''2''7'''''">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7</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8" name="Text Placeholder 19">
            <a:extLst>
              <a:ext uri="{FF2B5EF4-FFF2-40B4-BE49-F238E27FC236}">
                <a16:creationId xmlns:a16="http://schemas.microsoft.com/office/drawing/2014/main" id="{DE6850CA-14A7-370C-0C2D-F59B59470D64}"/>
              </a:ext>
            </a:extLst>
          </p:cNvPr>
          <p:cNvSpPr>
            <a:spLocks noGrp="1"/>
          </p:cNvSpPr>
          <p:nvPr>
            <p:custDataLst>
              <p:tags r:id="rId17"/>
            </p:custDataLst>
          </p:nvPr>
        </p:nvSpPr>
        <p:spPr bwMode="auto">
          <a:xfrm>
            <a:off x="1158875" y="5842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03F4954-1FA3-4DB5-974C-0BA5B9BC294F}" type="datetime'2''''''0''''''''''''''3''''''''''''0'''''''''''''''''">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1" name="Text Placeholder 19">
            <a:extLst>
              <a:ext uri="{FF2B5EF4-FFF2-40B4-BE49-F238E27FC236}">
                <a16:creationId xmlns:a16="http://schemas.microsoft.com/office/drawing/2014/main" id="{79CC6850-E3BC-D774-AFDB-0D713F04B61F}"/>
              </a:ext>
            </a:extLst>
          </p:cNvPr>
          <p:cNvSpPr>
            <a:spLocks noGrp="1"/>
          </p:cNvSpPr>
          <p:nvPr>
            <p:custDataLst>
              <p:tags r:id="rId18"/>
            </p:custDataLst>
          </p:nvPr>
        </p:nvSpPr>
        <p:spPr bwMode="auto">
          <a:xfrm>
            <a:off x="1881188" y="5842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5194593-B5CE-4D59-8836-C42E14A9508E}" type="datetime'''''''''''''''''''''2''0''''''''''''''''''''''3''''''''5'''">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5</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5" name="Text Placeholder 19">
            <a:extLst>
              <a:ext uri="{FF2B5EF4-FFF2-40B4-BE49-F238E27FC236}">
                <a16:creationId xmlns:a16="http://schemas.microsoft.com/office/drawing/2014/main" id="{8B8E5B10-25AB-9188-7D5E-BE552FC2482A}"/>
              </a:ext>
            </a:extLst>
          </p:cNvPr>
          <p:cNvSpPr>
            <a:spLocks noGrp="1"/>
          </p:cNvSpPr>
          <p:nvPr>
            <p:custDataLst>
              <p:tags r:id="rId19"/>
            </p:custDataLst>
          </p:nvPr>
        </p:nvSpPr>
        <p:spPr bwMode="auto">
          <a:xfrm>
            <a:off x="2603500" y="5842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0EBC68E-083D-442D-B1AA-F7F6896D33A9}" type="datetime'2''''''''''''''''''''''''''''''''''''''''''''0''4''''''0'''">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7" name="Text Placeholder 19">
            <a:extLst>
              <a:ext uri="{FF2B5EF4-FFF2-40B4-BE49-F238E27FC236}">
                <a16:creationId xmlns:a16="http://schemas.microsoft.com/office/drawing/2014/main" id="{F976203E-6C5D-96AB-365F-6020E3AC3C0A}"/>
              </a:ext>
            </a:extLst>
          </p:cNvPr>
          <p:cNvSpPr>
            <a:spLocks noGrp="1"/>
          </p:cNvSpPr>
          <p:nvPr>
            <p:custDataLst>
              <p:tags r:id="rId20"/>
            </p:custDataLst>
          </p:nvPr>
        </p:nvSpPr>
        <p:spPr bwMode="auto">
          <a:xfrm>
            <a:off x="3324225" y="5842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535DBD9-FD13-4912-A23B-D0AFA0D14A2B}" type="datetime'''''''''''''''''''''''''2''''0''''4''''''''''''''''''5'''">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5</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6" name="Text Placeholder 19">
            <a:extLst>
              <a:ext uri="{FF2B5EF4-FFF2-40B4-BE49-F238E27FC236}">
                <a16:creationId xmlns:a16="http://schemas.microsoft.com/office/drawing/2014/main" id="{17AF24ED-7472-E187-82C1-B6AD8DDA88EC}"/>
              </a:ext>
            </a:extLst>
          </p:cNvPr>
          <p:cNvSpPr>
            <a:spLocks noGrp="1"/>
          </p:cNvSpPr>
          <p:nvPr>
            <p:custDataLst>
              <p:tags r:id="rId21"/>
            </p:custDataLst>
          </p:nvPr>
        </p:nvSpPr>
        <p:spPr bwMode="auto">
          <a:xfrm>
            <a:off x="4046538" y="5842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0101B97-09C5-45EC-9561-D0F0A5BB2872}" type="datetime'2''''''0''''''''''''''''5''''''''''''''''''0'''''''''''''''''">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0" name="Text Placeholder 19">
            <a:extLst>
              <a:ext uri="{FF2B5EF4-FFF2-40B4-BE49-F238E27FC236}">
                <a16:creationId xmlns:a16="http://schemas.microsoft.com/office/drawing/2014/main" id="{EBD25939-9337-5FDA-74EF-B99EDC641FC7}"/>
              </a:ext>
            </a:extLst>
          </p:cNvPr>
          <p:cNvSpPr>
            <a:spLocks noGrp="1"/>
          </p:cNvSpPr>
          <p:nvPr>
            <p:custDataLst>
              <p:tags r:id="rId22"/>
            </p:custDataLst>
          </p:nvPr>
        </p:nvSpPr>
        <p:spPr bwMode="auto">
          <a:xfrm>
            <a:off x="4768850" y="5842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4B5F51D-3130-4FB8-AAFD-A0C7C29C34E0}" type="datetime'''''''''''2''''''''0''''55'''''''''''''''''''">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5</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2" name="Text Placeholder 19">
            <a:extLst>
              <a:ext uri="{FF2B5EF4-FFF2-40B4-BE49-F238E27FC236}">
                <a16:creationId xmlns:a16="http://schemas.microsoft.com/office/drawing/2014/main" id="{F70413ED-8CDE-9367-4A1B-0235E2C989A6}"/>
              </a:ext>
            </a:extLst>
          </p:cNvPr>
          <p:cNvSpPr>
            <a:spLocks noGrp="1"/>
          </p:cNvSpPr>
          <p:nvPr>
            <p:custDataLst>
              <p:tags r:id="rId23"/>
            </p:custDataLst>
          </p:nvPr>
        </p:nvSpPr>
        <p:spPr bwMode="auto">
          <a:xfrm>
            <a:off x="5491163" y="5842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1C5DAF5-EFED-43EF-9303-795FEFA4604D}" type="datetime'''''''''''''''''''''2''''''''''''''''0''60'''">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6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3" name="Text Placeholder 19">
            <a:extLst>
              <a:ext uri="{FF2B5EF4-FFF2-40B4-BE49-F238E27FC236}">
                <a16:creationId xmlns:a16="http://schemas.microsoft.com/office/drawing/2014/main" id="{4E8DF071-106D-FB55-98F1-04D7B4352F53}"/>
              </a:ext>
            </a:extLst>
          </p:cNvPr>
          <p:cNvSpPr>
            <a:spLocks noGrp="1"/>
          </p:cNvSpPr>
          <p:nvPr>
            <p:custDataLst>
              <p:tags r:id="rId24"/>
            </p:custDataLst>
          </p:nvPr>
        </p:nvSpPr>
        <p:spPr bwMode="auto">
          <a:xfrm>
            <a:off x="4527551" y="4741863"/>
            <a:ext cx="415925" cy="258763"/>
          </a:xfrm>
          <a:prstGeom prst="ellipse">
            <a:avLst/>
          </a:prstGeom>
          <a:solidFill>
            <a:schemeClr val="accent2"/>
          </a:solidFill>
          <a:ln w="9525" cmpd="sng" algn="ctr">
            <a:solidFill>
              <a:schemeClr val="accent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de-DE" altLang="en-US"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de-DE" sz="1200" b="0" i="0" u="none" strike="noStrike" kern="1200" cap="none" spc="0" normalizeH="0" baseline="0" noProof="0">
              <a:ln>
                <a:noFill/>
              </a:ln>
              <a:solidFill>
                <a:srgbClr val="3C3C3B"/>
              </a:solidFill>
              <a:effectLst/>
              <a:uLnTx/>
              <a:uFillTx/>
              <a:latin typeface="Lato"/>
              <a:ea typeface="+mn-ea"/>
              <a:cs typeface="+mn-cs"/>
              <a:sym typeface="+mn-lt"/>
            </a:endParaRPr>
          </a:p>
        </p:txBody>
      </p:sp>
      <p:cxnSp>
        <p:nvCxnSpPr>
          <p:cNvPr id="54" name="Straight Connector 53">
            <a:extLst>
              <a:ext uri="{FF2B5EF4-FFF2-40B4-BE49-F238E27FC236}">
                <a16:creationId xmlns:a16="http://schemas.microsoft.com/office/drawing/2014/main" id="{0BC758E1-1555-4176-DEE8-F3DDB58F3D03}"/>
              </a:ext>
            </a:extLst>
          </p:cNvPr>
          <p:cNvCxnSpPr/>
          <p:nvPr>
            <p:custDataLst>
              <p:tags r:id="rId25"/>
            </p:custDataLst>
          </p:nvPr>
        </p:nvCxnSpPr>
        <p:spPr bwMode="gray">
          <a:xfrm>
            <a:off x="506413" y="6294438"/>
            <a:ext cx="185738" cy="0"/>
          </a:xfrm>
          <a:prstGeom prst="line">
            <a:avLst/>
          </a:prstGeom>
          <a:ln w="28575" cap="rnd" cmpd="sng" algn="ctr">
            <a:solidFill>
              <a:schemeClr val="accent5"/>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27F231DD-6C5E-1A21-0F0A-9366B715BC36}"/>
              </a:ext>
            </a:extLst>
          </p:cNvPr>
          <p:cNvCxnSpPr/>
          <p:nvPr>
            <p:custDataLst>
              <p:tags r:id="rId26"/>
            </p:custDataLst>
          </p:nvPr>
        </p:nvCxnSpPr>
        <p:spPr bwMode="gray">
          <a:xfrm>
            <a:off x="1881188" y="6294438"/>
            <a:ext cx="185738" cy="0"/>
          </a:xfrm>
          <a:prstGeom prst="line">
            <a:avLst/>
          </a:prstGeom>
          <a:ln w="28575" cap="rnd" cmpd="sng" algn="ctr">
            <a:solidFill>
              <a:srgbClr val="63BE7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Text Placeholder 19">
            <a:extLst>
              <a:ext uri="{FF2B5EF4-FFF2-40B4-BE49-F238E27FC236}">
                <a16:creationId xmlns:a16="http://schemas.microsoft.com/office/drawing/2014/main" id="{48388237-EF1B-5A17-E240-6F54968CB6CD}"/>
              </a:ext>
            </a:extLst>
          </p:cNvPr>
          <p:cNvSpPr>
            <a:spLocks noGrp="1"/>
          </p:cNvSpPr>
          <p:nvPr>
            <p:custDataLst>
              <p:tags r:id="rId27"/>
            </p:custDataLst>
          </p:nvPr>
        </p:nvSpPr>
        <p:spPr bwMode="auto">
          <a:xfrm>
            <a:off x="757238" y="6210300"/>
            <a:ext cx="1008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490F5AB-6F17-4EE8-AE0A-83EF7F22E4A0}" type="datetime'''''A''''''''u''''''''r''''o''''''ra ''C''e''nt''''''''r''al'">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Aurora Central</a:t>
            </a:fld>
            <a:endParaRPr kumimoji="0" lang="de-DE"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7" name="Text Placeholder 19">
            <a:extLst>
              <a:ext uri="{FF2B5EF4-FFF2-40B4-BE49-F238E27FC236}">
                <a16:creationId xmlns:a16="http://schemas.microsoft.com/office/drawing/2014/main" id="{24F5455E-77B3-B16A-1343-67D9F378F2A9}"/>
              </a:ext>
            </a:extLst>
          </p:cNvPr>
          <p:cNvSpPr>
            <a:spLocks noGrp="1"/>
          </p:cNvSpPr>
          <p:nvPr>
            <p:custDataLst>
              <p:tags r:id="rId28"/>
            </p:custDataLst>
          </p:nvPr>
        </p:nvSpPr>
        <p:spPr bwMode="auto">
          <a:xfrm>
            <a:off x="2132013" y="6210300"/>
            <a:ext cx="1909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605F3F4-C292-41F0-AE9D-2F4F67BFEA64}" type="datetime'''''''''''''''D''elay''''ed ''nuclear'' ''deployme''''''n''t'">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Delayed nuclear deployment</a:t>
            </a:fld>
            <a:endParaRPr kumimoji="0" lang="de-DE"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8" name="TextBox 57">
            <a:extLst>
              <a:ext uri="{FF2B5EF4-FFF2-40B4-BE49-F238E27FC236}">
                <a16:creationId xmlns:a16="http://schemas.microsoft.com/office/drawing/2014/main" id="{961BAC3D-A34F-D587-BF0E-5E5EF82C686C}"/>
              </a:ext>
            </a:extLst>
          </p:cNvPr>
          <p:cNvSpPr txBox="1"/>
          <p:nvPr/>
        </p:nvSpPr>
        <p:spPr>
          <a:xfrm>
            <a:off x="401638" y="3756025"/>
            <a:ext cx="3286125" cy="369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Average capture spreads</a:t>
            </a:r>
            <a:br>
              <a:rPr kumimoji="0" lang="en-GB" sz="1200" b="1" i="0" u="none" strike="noStrike" kern="1200" cap="none" spc="0" normalizeH="0" baseline="0" noProof="0">
                <a:ln>
                  <a:noFill/>
                </a:ln>
                <a:solidFill>
                  <a:srgbClr val="3C3C3B"/>
                </a:solidFill>
                <a:effectLst/>
                <a:uLnTx/>
                <a:uFillTx/>
                <a:latin typeface="Lato"/>
                <a:ea typeface="+mn-ea"/>
                <a:cs typeface="+mn-cs"/>
              </a:rPr>
            </a:br>
            <a:r>
              <a:rPr kumimoji="0" lang="en-US" sz="1200" b="0" i="0" u="none" strike="noStrike" kern="1200" cap="none" spc="0" normalizeH="0" baseline="0" noProof="0">
                <a:ln>
                  <a:noFill/>
                </a:ln>
                <a:solidFill>
                  <a:srgbClr val="838383"/>
                </a:solidFill>
                <a:effectLst/>
                <a:uLnTx/>
                <a:uFillTx/>
                <a:latin typeface="Lato"/>
                <a:ea typeface="+mn-ea"/>
                <a:cs typeface="+mn-cs"/>
              </a:rPr>
              <a:t>£/MWh</a:t>
            </a:r>
            <a:endParaRPr kumimoji="0" lang="en-GB" sz="1200" b="0" i="0" u="none" strike="noStrike" kern="1200" cap="none" spc="0" normalizeH="0" baseline="30000" noProof="0">
              <a:ln>
                <a:noFill/>
              </a:ln>
              <a:solidFill>
                <a:srgbClr val="838383"/>
              </a:solidFill>
              <a:effectLst/>
              <a:uLnTx/>
              <a:uFillTx/>
              <a:latin typeface="Lato"/>
              <a:ea typeface="+mn-ea"/>
              <a:cs typeface="+mn-cs"/>
            </a:endParaRPr>
          </a:p>
        </p:txBody>
      </p:sp>
      <p:sp>
        <p:nvSpPr>
          <p:cNvPr id="478" name="Rectangle: Rounded Corners 477">
            <a:extLst>
              <a:ext uri="{FF2B5EF4-FFF2-40B4-BE49-F238E27FC236}">
                <a16:creationId xmlns:a16="http://schemas.microsoft.com/office/drawing/2014/main" id="{9A7E2552-067B-A634-9F13-94BDB5F4BB73}"/>
              </a:ext>
            </a:extLst>
          </p:cNvPr>
          <p:cNvSpPr/>
          <p:nvPr/>
        </p:nvSpPr>
        <p:spPr>
          <a:xfrm>
            <a:off x="6457784" y="3335337"/>
            <a:ext cx="5386554" cy="387350"/>
          </a:xfrm>
          <a:prstGeom prst="roundRect">
            <a:avLst/>
          </a:prstGeom>
          <a:solidFill>
            <a:schemeClr val="accent5">
              <a:lumMod val="20000"/>
              <a:lumOff val="80000"/>
            </a:schemeClr>
          </a:solidFill>
          <a:ln w="635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de-DE" sz="1200" b="1" i="0" u="none" strike="noStrike" kern="1200" cap="none" spc="0" normalizeH="0" baseline="0" noProof="0">
                <a:ln>
                  <a:noFill/>
                </a:ln>
                <a:solidFill>
                  <a:srgbClr val="3C3C3B"/>
                </a:solidFill>
                <a:effectLst/>
                <a:uLnTx/>
                <a:uFillTx/>
                <a:latin typeface="Lato"/>
                <a:ea typeface="+mn-ea"/>
                <a:cs typeface="+mn-cs"/>
              </a:rPr>
              <a:t>...driven by higher required balancing volumes and opportunities to charge or discharge at favourable prices, </a:t>
            </a:r>
            <a:r>
              <a:rPr lang="de-DE" sz="1200" b="1">
                <a:solidFill>
                  <a:srgbClr val="3C3C3B"/>
                </a:solidFill>
                <a:latin typeface="Lato"/>
              </a:rPr>
              <a:t>where markets are accessible</a:t>
            </a:r>
            <a:r>
              <a:rPr lang="de-DE" sz="1200" b="1" baseline="30000">
                <a:solidFill>
                  <a:srgbClr val="3C3C3B"/>
                </a:solidFill>
                <a:latin typeface="Lato"/>
              </a:rPr>
              <a:t>2</a:t>
            </a:r>
            <a:r>
              <a:rPr kumimoji="0" lang="de-DE" sz="1200" b="1" i="0" u="none" strike="noStrike" kern="1200" cap="none" spc="0" normalizeH="0" baseline="0" noProof="0">
                <a:ln>
                  <a:noFill/>
                </a:ln>
                <a:solidFill>
                  <a:srgbClr val="3C3C3B"/>
                </a:solidFill>
                <a:effectLst/>
                <a:uLnTx/>
                <a:uFillTx/>
                <a:latin typeface="Lato"/>
                <a:ea typeface="+mn-ea"/>
                <a:cs typeface="+mn-cs"/>
              </a:rPr>
              <a:t>.</a:t>
            </a:r>
          </a:p>
        </p:txBody>
      </p:sp>
      <p:sp>
        <p:nvSpPr>
          <p:cNvPr id="480" name="Rectangle: Rounded Corners 479">
            <a:extLst>
              <a:ext uri="{FF2B5EF4-FFF2-40B4-BE49-F238E27FC236}">
                <a16:creationId xmlns:a16="http://schemas.microsoft.com/office/drawing/2014/main" id="{35639AFB-0C59-3C9A-6FD2-494B90AE77A8}"/>
              </a:ext>
            </a:extLst>
          </p:cNvPr>
          <p:cNvSpPr/>
          <p:nvPr/>
        </p:nvSpPr>
        <p:spPr>
          <a:xfrm>
            <a:off x="369886" y="3335337"/>
            <a:ext cx="5378451" cy="387350"/>
          </a:xfrm>
          <a:prstGeom prst="roundRect">
            <a:avLst/>
          </a:prstGeom>
          <a:solidFill>
            <a:schemeClr val="accent3"/>
          </a:solidFill>
          <a:ln w="635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780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de-DE" sz="1200" b="1" i="0" u="none" strike="noStrike" kern="1200" cap="none" spc="0" normalizeH="0" baseline="0" noProof="0">
                <a:ln>
                  <a:noFill/>
                </a:ln>
                <a:solidFill>
                  <a:srgbClr val="3C3C3B"/>
                </a:solidFill>
                <a:effectLst/>
                <a:uLnTx/>
                <a:uFillTx/>
                <a:latin typeface="Lato"/>
                <a:ea typeface="+mn-ea"/>
                <a:cs typeface="+mn-cs"/>
              </a:rPr>
              <a:t>...driven by increased price spreads in the wholesale market.</a:t>
            </a:r>
          </a:p>
        </p:txBody>
      </p:sp>
      <p:graphicFrame>
        <p:nvGraphicFramePr>
          <p:cNvPr id="504" name="Chart 503">
            <a:extLst>
              <a:ext uri="{FF2B5EF4-FFF2-40B4-BE49-F238E27FC236}">
                <a16:creationId xmlns:a16="http://schemas.microsoft.com/office/drawing/2014/main" id="{36E9C4FF-DF0B-F48A-7703-33204B84477E}"/>
              </a:ext>
            </a:extLst>
          </p:cNvPr>
          <p:cNvGraphicFramePr/>
          <p:nvPr>
            <p:custDataLst>
              <p:tags r:id="rId29"/>
            </p:custDataLst>
            <p:extLst>
              <p:ext uri="{D42A27DB-BD31-4B8C-83A1-F6EECF244321}">
                <p14:modId xmlns:p14="http://schemas.microsoft.com/office/powerpoint/2010/main" val="4049322734"/>
              </p:ext>
            </p:extLst>
          </p:nvPr>
        </p:nvGraphicFramePr>
        <p:xfrm>
          <a:off x="7240588" y="4292600"/>
          <a:ext cx="1543050" cy="1377950"/>
        </p:xfrm>
        <a:graphic>
          <a:graphicData uri="http://schemas.openxmlformats.org/drawingml/2006/chart">
            <c:chart xmlns:c="http://schemas.openxmlformats.org/drawingml/2006/chart" xmlns:r="http://schemas.openxmlformats.org/officeDocument/2006/relationships" r:id="rId64"/>
          </a:graphicData>
        </a:graphic>
      </p:graphicFrame>
      <p:cxnSp>
        <p:nvCxnSpPr>
          <p:cNvPr id="87" name="Straight Connector 86">
            <a:extLst>
              <a:ext uri="{FF2B5EF4-FFF2-40B4-BE49-F238E27FC236}">
                <a16:creationId xmlns:a16="http://schemas.microsoft.com/office/drawing/2014/main" id="{07758858-2361-B547-7064-F06C8C6B60E1}"/>
              </a:ext>
            </a:extLst>
          </p:cNvPr>
          <p:cNvCxnSpPr/>
          <p:nvPr>
            <p:custDataLst>
              <p:tags r:id="rId30"/>
            </p:custDataLst>
          </p:nvPr>
        </p:nvCxnSpPr>
        <p:spPr bwMode="auto">
          <a:xfrm flipV="1">
            <a:off x="8356600" y="5365750"/>
            <a:ext cx="0" cy="444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9" name="Text Placeholder 19">
            <a:extLst>
              <a:ext uri="{FF2B5EF4-FFF2-40B4-BE49-F238E27FC236}">
                <a16:creationId xmlns:a16="http://schemas.microsoft.com/office/drawing/2014/main" id="{047C463F-27F3-E7CC-9576-2956504F23D5}"/>
              </a:ext>
            </a:extLst>
          </p:cNvPr>
          <p:cNvSpPr>
            <a:spLocks noGrp="1"/>
          </p:cNvSpPr>
          <p:nvPr>
            <p:custDataLst>
              <p:tags r:id="rId31"/>
            </p:custDataLst>
          </p:nvPr>
        </p:nvSpPr>
        <p:spPr bwMode="gray">
          <a:xfrm>
            <a:off x="8289925" y="5410200"/>
            <a:ext cx="133350" cy="182563"/>
          </a:xfrm>
          <a:prstGeom prst="rect">
            <a:avLst/>
          </a:prstGeom>
          <a:noFill/>
          <a:ln>
            <a:noFill/>
          </a:ln>
          <a:effectLst/>
        </p:spPr>
        <p:txBody>
          <a:bodyPr vert="horz" wrap="none" lIns="22225" tIns="0" rIns="22225"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76BAE92-2B8A-43DB-A86B-308168997036}" type="datetime'''''0'''''''''''''''''">
              <a:rPr kumimoji="0" lang="de-DE"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4" name="TextBox 103">
            <a:extLst>
              <a:ext uri="{FF2B5EF4-FFF2-40B4-BE49-F238E27FC236}">
                <a16:creationId xmlns:a16="http://schemas.microsoft.com/office/drawing/2014/main" id="{4DDA3DE8-F8D5-3148-E77D-2B94E69828AD}"/>
              </a:ext>
            </a:extLst>
          </p:cNvPr>
          <p:cNvSpPr txBox="1"/>
          <p:nvPr/>
        </p:nvSpPr>
        <p:spPr>
          <a:xfrm>
            <a:off x="6607175" y="3801034"/>
            <a:ext cx="25701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Average annual redispatch    actions</a:t>
            </a:r>
            <a:r>
              <a:rPr lang="en-GB" sz="1200" b="1" baseline="30000">
                <a:solidFill>
                  <a:srgbClr val="3C3C3B"/>
                </a:solidFill>
                <a:latin typeface="Lato"/>
              </a:rPr>
              <a:t>3,4</a:t>
            </a:r>
            <a:r>
              <a:rPr lang="en-GB" sz="1200" b="1">
                <a:solidFill>
                  <a:srgbClr val="3C3C3B"/>
                </a:solidFill>
                <a:latin typeface="Lato"/>
              </a:rPr>
              <a:t>,</a:t>
            </a:r>
            <a:r>
              <a:rPr lang="en-GB" sz="1200" b="1" baseline="30000">
                <a:solidFill>
                  <a:srgbClr val="3C3C3B"/>
                </a:solidFill>
                <a:latin typeface="Lato"/>
              </a:rPr>
              <a:t> </a:t>
            </a:r>
            <a:r>
              <a:rPr kumimoji="0" lang="en-US" sz="1200" b="0" i="0" u="none" strike="noStrike" kern="1200" cap="none" spc="0" normalizeH="0" baseline="0" noProof="0">
                <a:ln>
                  <a:noFill/>
                </a:ln>
                <a:solidFill>
                  <a:srgbClr val="838383"/>
                </a:solidFill>
                <a:effectLst/>
                <a:uLnTx/>
                <a:uFillTx/>
                <a:latin typeface="Lato"/>
                <a:ea typeface="+mn-ea"/>
                <a:cs typeface="+mn-cs"/>
              </a:rPr>
              <a:t>TWh</a:t>
            </a:r>
            <a:endParaRPr kumimoji="0" lang="en-GB" sz="1200" b="0" i="0" u="none" strike="noStrike" kern="1200" cap="none" spc="0" normalizeH="0" baseline="30000" noProof="0">
              <a:ln>
                <a:noFill/>
              </a:ln>
              <a:solidFill>
                <a:srgbClr val="838383"/>
              </a:solidFill>
              <a:effectLst/>
              <a:uLnTx/>
              <a:uFillTx/>
              <a:latin typeface="Lato"/>
              <a:ea typeface="+mn-ea"/>
              <a:cs typeface="+mn-cs"/>
            </a:endParaRPr>
          </a:p>
        </p:txBody>
      </p:sp>
      <p:grpSp>
        <p:nvGrpSpPr>
          <p:cNvPr id="105" name="Group 104">
            <a:extLst>
              <a:ext uri="{FF2B5EF4-FFF2-40B4-BE49-F238E27FC236}">
                <a16:creationId xmlns:a16="http://schemas.microsoft.com/office/drawing/2014/main" id="{4560FD42-7CEB-E614-89AA-BD211B1FFA15}"/>
              </a:ext>
            </a:extLst>
          </p:cNvPr>
          <p:cNvGrpSpPr/>
          <p:nvPr/>
        </p:nvGrpSpPr>
        <p:grpSpPr>
          <a:xfrm>
            <a:off x="6467703" y="4375150"/>
            <a:ext cx="448648" cy="1589088"/>
            <a:chOff x="6476514" y="4260850"/>
            <a:chExt cx="448648" cy="1589088"/>
          </a:xfrm>
        </p:grpSpPr>
        <p:cxnSp>
          <p:nvCxnSpPr>
            <p:cNvPr id="106" name="Straight Arrow Connector 105">
              <a:extLst>
                <a:ext uri="{FF2B5EF4-FFF2-40B4-BE49-F238E27FC236}">
                  <a16:creationId xmlns:a16="http://schemas.microsoft.com/office/drawing/2014/main" id="{3C28845B-4F0C-8AD1-9A5D-E204D11EC3D7}"/>
                </a:ext>
              </a:extLst>
            </p:cNvPr>
            <p:cNvCxnSpPr>
              <a:cxnSpLocks/>
            </p:cNvCxnSpPr>
            <p:nvPr/>
          </p:nvCxnSpPr>
          <p:spPr>
            <a:xfrm flipH="1" flipV="1">
              <a:off x="6700838" y="4260850"/>
              <a:ext cx="7223" cy="8651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02DFE72F-4D5B-3093-B0B3-38514D99B846}"/>
                </a:ext>
              </a:extLst>
            </p:cNvPr>
            <p:cNvCxnSpPr>
              <a:cxnSpLocks/>
            </p:cNvCxnSpPr>
            <p:nvPr/>
          </p:nvCxnSpPr>
          <p:spPr>
            <a:xfrm>
              <a:off x="6700838" y="5241925"/>
              <a:ext cx="0" cy="6080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Rounded Rectangle 96">
              <a:extLst>
                <a:ext uri="{FF2B5EF4-FFF2-40B4-BE49-F238E27FC236}">
                  <a16:creationId xmlns:a16="http://schemas.microsoft.com/office/drawing/2014/main" id="{15A6D46C-8F47-7E59-4CF6-FC7035DD2DC4}"/>
                </a:ext>
              </a:extLst>
            </p:cNvPr>
            <p:cNvSpPr/>
            <p:nvPr/>
          </p:nvSpPr>
          <p:spPr>
            <a:xfrm>
              <a:off x="6476514" y="4473764"/>
              <a:ext cx="448648" cy="247462"/>
            </a:xfrm>
            <a:prstGeom prst="roundRect">
              <a:avLst>
                <a:gd name="adj" fmla="val 50000"/>
              </a:avLst>
            </a:prstGeom>
            <a:solidFill>
              <a:schemeClr val="bg1"/>
            </a:solidFill>
            <a:ln w="6350">
              <a:solidFill>
                <a:schemeClr val="tx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Offer</a:t>
              </a:r>
            </a:p>
          </p:txBody>
        </p:sp>
        <p:sp>
          <p:nvSpPr>
            <p:cNvPr id="109" name="Rounded Rectangle 96">
              <a:extLst>
                <a:ext uri="{FF2B5EF4-FFF2-40B4-BE49-F238E27FC236}">
                  <a16:creationId xmlns:a16="http://schemas.microsoft.com/office/drawing/2014/main" id="{E6265201-2CB8-0588-54FE-019205B46AE3}"/>
                </a:ext>
              </a:extLst>
            </p:cNvPr>
            <p:cNvSpPr/>
            <p:nvPr/>
          </p:nvSpPr>
          <p:spPr>
            <a:xfrm>
              <a:off x="6476514" y="5377657"/>
              <a:ext cx="448648" cy="247462"/>
            </a:xfrm>
            <a:prstGeom prst="roundRect">
              <a:avLst>
                <a:gd name="adj" fmla="val 50000"/>
              </a:avLst>
            </a:prstGeom>
            <a:solidFill>
              <a:schemeClr val="bg1"/>
            </a:solidFill>
            <a:ln w="6350">
              <a:solidFill>
                <a:schemeClr val="tx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Bid</a:t>
              </a:r>
            </a:p>
          </p:txBody>
        </p:sp>
      </p:grpSp>
      <p:graphicFrame>
        <p:nvGraphicFramePr>
          <p:cNvPr id="16" name="Chart 15">
            <a:extLst>
              <a:ext uri="{FF2B5EF4-FFF2-40B4-BE49-F238E27FC236}">
                <a16:creationId xmlns:a16="http://schemas.microsoft.com/office/drawing/2014/main" id="{BB456AA3-C16C-E3F5-B919-762B9668F339}"/>
              </a:ext>
            </a:extLst>
          </p:cNvPr>
          <p:cNvGraphicFramePr/>
          <p:nvPr>
            <p:custDataLst>
              <p:tags r:id="rId32"/>
            </p:custDataLst>
            <p:extLst>
              <p:ext uri="{D42A27DB-BD31-4B8C-83A1-F6EECF244321}">
                <p14:modId xmlns:p14="http://schemas.microsoft.com/office/powerpoint/2010/main" val="3192115585"/>
              </p:ext>
            </p:extLst>
          </p:nvPr>
        </p:nvGraphicFramePr>
        <p:xfrm>
          <a:off x="9409113" y="4275138"/>
          <a:ext cx="2386012" cy="1725612"/>
        </p:xfrm>
        <a:graphic>
          <a:graphicData uri="http://schemas.openxmlformats.org/drawingml/2006/chart">
            <c:chart xmlns:c="http://schemas.openxmlformats.org/drawingml/2006/chart" xmlns:r="http://schemas.openxmlformats.org/officeDocument/2006/relationships" r:id="rId65"/>
          </a:graphicData>
        </a:graphic>
      </p:graphicFrame>
      <p:cxnSp>
        <p:nvCxnSpPr>
          <p:cNvPr id="381" name="Straight Connector 380">
            <a:extLst>
              <a:ext uri="{FF2B5EF4-FFF2-40B4-BE49-F238E27FC236}">
                <a16:creationId xmlns:a16="http://schemas.microsoft.com/office/drawing/2014/main" id="{12F8A34B-B54C-3E43-6DB3-05805271E2C0}"/>
              </a:ext>
            </a:extLst>
          </p:cNvPr>
          <p:cNvCxnSpPr>
            <a:cxnSpLocks/>
          </p:cNvCxnSpPr>
          <p:nvPr>
            <p:custDataLst>
              <p:tags r:id="rId33"/>
            </p:custDataLst>
          </p:nvPr>
        </p:nvCxnSpPr>
        <p:spPr bwMode="auto">
          <a:xfrm>
            <a:off x="11026775" y="4987925"/>
            <a:ext cx="2651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B6A848E5-05DB-1CD2-D945-4E32C25EA1D8}"/>
              </a:ext>
            </a:extLst>
          </p:cNvPr>
          <p:cNvCxnSpPr>
            <a:cxnSpLocks/>
          </p:cNvCxnSpPr>
          <p:nvPr>
            <p:custDataLst>
              <p:tags r:id="rId34"/>
            </p:custDataLst>
          </p:nvPr>
        </p:nvCxnSpPr>
        <p:spPr bwMode="auto">
          <a:xfrm>
            <a:off x="11026775" y="4576763"/>
            <a:ext cx="2651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2819CCE2-BEB5-C4F8-5F14-23FC2C68BCC4}"/>
              </a:ext>
            </a:extLst>
          </p:cNvPr>
          <p:cNvCxnSpPr>
            <a:cxnSpLocks/>
          </p:cNvCxnSpPr>
          <p:nvPr>
            <p:custDataLst>
              <p:tags r:id="rId35"/>
            </p:custDataLst>
          </p:nvPr>
        </p:nvCxnSpPr>
        <p:spPr bwMode="gray">
          <a:xfrm flipV="1">
            <a:off x="11253788" y="4573588"/>
            <a:ext cx="0" cy="417513"/>
          </a:xfrm>
          <a:prstGeom prst="line">
            <a:avLst/>
          </a:prstGeom>
          <a:ln w="9525" cap="flat" cmpd="sng" algn="ctr">
            <a:solidFill>
              <a:schemeClr val="accent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5" name="Text Placeholder 19">
            <a:extLst>
              <a:ext uri="{FF2B5EF4-FFF2-40B4-BE49-F238E27FC236}">
                <a16:creationId xmlns:a16="http://schemas.microsoft.com/office/drawing/2014/main" id="{51BDE338-E814-D0F2-B433-CBDDD9C8EC4F}"/>
              </a:ext>
            </a:extLst>
          </p:cNvPr>
          <p:cNvSpPr>
            <a:spLocks noGrp="1"/>
          </p:cNvSpPr>
          <p:nvPr>
            <p:custDataLst>
              <p:tags r:id="rId36"/>
            </p:custDataLst>
          </p:nvPr>
        </p:nvSpPr>
        <p:spPr bwMode="auto">
          <a:xfrm>
            <a:off x="9536113" y="5969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0CB19B83-8749-4F8F-BBBF-2BF1DA7BD03A}" type="datetime'''''2''''''''''0''''''''''3''''''''''''''''0'''''''''''''">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87" name="Text Placeholder 19">
            <a:extLst>
              <a:ext uri="{FF2B5EF4-FFF2-40B4-BE49-F238E27FC236}">
                <a16:creationId xmlns:a16="http://schemas.microsoft.com/office/drawing/2014/main" id="{57D64A70-02C6-B52C-526B-F32BA13E19B2}"/>
              </a:ext>
            </a:extLst>
          </p:cNvPr>
          <p:cNvSpPr>
            <a:spLocks noGrp="1"/>
          </p:cNvSpPr>
          <p:nvPr>
            <p:custDataLst>
              <p:tags r:id="rId37"/>
            </p:custDataLst>
          </p:nvPr>
        </p:nvSpPr>
        <p:spPr bwMode="auto">
          <a:xfrm>
            <a:off x="10188575" y="5969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066F67C1-0D36-4F89-B310-CA0BCD6C6BB5}" type="datetime'''''''''''''''''''''''''20''''4''''''0'''''''''''''''''''''">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89" name="Text Placeholder 19">
            <a:extLst>
              <a:ext uri="{FF2B5EF4-FFF2-40B4-BE49-F238E27FC236}">
                <a16:creationId xmlns:a16="http://schemas.microsoft.com/office/drawing/2014/main" id="{429D964E-CC5D-C77B-3554-FF87CA44472C}"/>
              </a:ext>
            </a:extLst>
          </p:cNvPr>
          <p:cNvSpPr>
            <a:spLocks noGrp="1"/>
          </p:cNvSpPr>
          <p:nvPr>
            <p:custDataLst>
              <p:tags r:id="rId38"/>
            </p:custDataLst>
          </p:nvPr>
        </p:nvSpPr>
        <p:spPr bwMode="auto">
          <a:xfrm>
            <a:off x="10842625" y="5969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B09C62B-0824-447F-AAF3-88F0BAAD146D}" type="datetime'''2''''''''''0''''''''''5''''''''''''''''0'''''''''''">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92" name="Text Placeholder 19">
            <a:extLst>
              <a:ext uri="{FF2B5EF4-FFF2-40B4-BE49-F238E27FC236}">
                <a16:creationId xmlns:a16="http://schemas.microsoft.com/office/drawing/2014/main" id="{EBE9B6D7-0E9B-A958-1E30-4146108C1FEC}"/>
              </a:ext>
            </a:extLst>
          </p:cNvPr>
          <p:cNvSpPr>
            <a:spLocks noGrp="1"/>
          </p:cNvSpPr>
          <p:nvPr>
            <p:custDataLst>
              <p:tags r:id="rId39"/>
            </p:custDataLst>
          </p:nvPr>
        </p:nvSpPr>
        <p:spPr bwMode="auto">
          <a:xfrm>
            <a:off x="11495088" y="59690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E918310-5B7F-4015-94D7-EA131522F438}" type="datetime'''''''''''''''2''0''''''''''''''''''''''''''6''0'''''''''''''">
              <a:rPr kumimoji="0" lang="de-DE"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6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93" name="Text Placeholder 19">
            <a:extLst>
              <a:ext uri="{FF2B5EF4-FFF2-40B4-BE49-F238E27FC236}">
                <a16:creationId xmlns:a16="http://schemas.microsoft.com/office/drawing/2014/main" id="{CA463AA5-1E55-2AB2-6484-31C9C4D3F430}"/>
              </a:ext>
            </a:extLst>
          </p:cNvPr>
          <p:cNvSpPr>
            <a:spLocks noGrp="1"/>
          </p:cNvSpPr>
          <p:nvPr>
            <p:custDataLst>
              <p:tags r:id="rId40"/>
            </p:custDataLst>
          </p:nvPr>
        </p:nvSpPr>
        <p:spPr bwMode="auto">
          <a:xfrm>
            <a:off x="11045826" y="5035550"/>
            <a:ext cx="415925" cy="258763"/>
          </a:xfrm>
          <a:prstGeom prst="ellipse">
            <a:avLst/>
          </a:prstGeom>
          <a:solidFill>
            <a:schemeClr val="accent2"/>
          </a:solidFill>
          <a:ln w="9525" cmpd="sng" algn="ctr">
            <a:solidFill>
              <a:schemeClr val="accent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de-DE" altLang="en-US"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de-DE"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35" name="TextBox 434">
            <a:extLst>
              <a:ext uri="{FF2B5EF4-FFF2-40B4-BE49-F238E27FC236}">
                <a16:creationId xmlns:a16="http://schemas.microsoft.com/office/drawing/2014/main" id="{78EA8129-E698-82AC-CF1E-611E6C924A0C}"/>
              </a:ext>
            </a:extLst>
          </p:cNvPr>
          <p:cNvSpPr txBox="1"/>
          <p:nvPr/>
        </p:nvSpPr>
        <p:spPr>
          <a:xfrm>
            <a:off x="9078913" y="3801034"/>
            <a:ext cx="25701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Average redispatch offer price</a:t>
            </a:r>
            <a:r>
              <a:rPr kumimoji="0" lang="en-GB" sz="1200" b="1" i="0" u="none" strike="noStrike" kern="1200" cap="none" spc="0" normalizeH="0" baseline="30000" noProof="0">
                <a:ln>
                  <a:noFill/>
                </a:ln>
                <a:solidFill>
                  <a:srgbClr val="3C3C3B"/>
                </a:solidFill>
                <a:effectLst/>
                <a:uLnTx/>
                <a:uFillTx/>
                <a:latin typeface="Lato"/>
                <a:ea typeface="+mn-ea"/>
                <a:cs typeface="+mn-cs"/>
              </a:rPr>
              <a:t>4</a:t>
            </a:r>
            <a:r>
              <a:rPr kumimoji="0" lang="en-GB" sz="1200" b="1" i="0" u="none" strike="noStrike" kern="1200" cap="none" spc="0" normalizeH="0" baseline="0" noProof="0">
                <a:ln>
                  <a:noFill/>
                </a:ln>
                <a:solidFill>
                  <a:srgbClr val="3C3C3B"/>
                </a:solidFill>
                <a:effectLst/>
                <a:uLnTx/>
                <a:uFillTx/>
                <a:latin typeface="Lato"/>
                <a:ea typeface="+mn-ea"/>
                <a:cs typeface="+mn-cs"/>
              </a:rPr>
              <a:t>, </a:t>
            </a:r>
            <a:r>
              <a:rPr kumimoji="0" lang="en-US" sz="1200" b="0" i="0" u="none" strike="noStrike" kern="1200" cap="none" spc="0" normalizeH="0" baseline="0" noProof="0">
                <a:ln>
                  <a:noFill/>
                </a:ln>
                <a:solidFill>
                  <a:srgbClr val="838383"/>
                </a:solidFill>
                <a:effectLst/>
                <a:uLnTx/>
                <a:uFillTx/>
                <a:latin typeface="Lato"/>
                <a:ea typeface="+mn-ea"/>
                <a:cs typeface="+mn-cs"/>
              </a:rPr>
              <a:t>EUR/MWh</a:t>
            </a:r>
            <a:endParaRPr kumimoji="0" lang="en-GB" sz="1200" b="0" i="0" u="none" strike="noStrike" kern="1200" cap="none" spc="0" normalizeH="0" baseline="30000" noProof="0">
              <a:ln>
                <a:noFill/>
              </a:ln>
              <a:solidFill>
                <a:srgbClr val="838383"/>
              </a:solidFill>
              <a:effectLst/>
              <a:uLnTx/>
              <a:uFillTx/>
              <a:latin typeface="Lato"/>
              <a:ea typeface="+mn-ea"/>
              <a:cs typeface="+mn-cs"/>
            </a:endParaRPr>
          </a:p>
        </p:txBody>
      </p:sp>
      <p:sp>
        <p:nvSpPr>
          <p:cNvPr id="443" name="Oval 442">
            <a:extLst>
              <a:ext uri="{FF2B5EF4-FFF2-40B4-BE49-F238E27FC236}">
                <a16:creationId xmlns:a16="http://schemas.microsoft.com/office/drawing/2014/main" id="{7C56C0A2-61D2-E9FC-F5E7-FC657B0F7197}"/>
              </a:ext>
            </a:extLst>
          </p:cNvPr>
          <p:cNvSpPr/>
          <p:nvPr/>
        </p:nvSpPr>
        <p:spPr>
          <a:xfrm>
            <a:off x="6386215" y="1347294"/>
            <a:ext cx="495776" cy="495776"/>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1" i="0" u="none" strike="noStrike" kern="1200" cap="none" spc="0" normalizeH="0" baseline="0" noProof="0">
              <a:ln>
                <a:noFill/>
              </a:ln>
              <a:solidFill>
                <a:srgbClr val="3C3C3B"/>
              </a:solidFill>
              <a:effectLst/>
              <a:uLnTx/>
              <a:uFillTx/>
              <a:latin typeface="Lato"/>
              <a:ea typeface="+mn-ea"/>
              <a:cs typeface="+mn-cs"/>
            </a:endParaRPr>
          </a:p>
        </p:txBody>
      </p:sp>
      <p:sp>
        <p:nvSpPr>
          <p:cNvPr id="23" name="Freeform 33">
            <a:extLst>
              <a:ext uri="{FF2B5EF4-FFF2-40B4-BE49-F238E27FC236}">
                <a16:creationId xmlns:a16="http://schemas.microsoft.com/office/drawing/2014/main" id="{5044CE75-F614-58CE-F1D0-AE6E553363EE}"/>
              </a:ext>
            </a:extLst>
          </p:cNvPr>
          <p:cNvSpPr>
            <a:spLocks noEditPoints="1"/>
          </p:cNvSpPr>
          <p:nvPr/>
        </p:nvSpPr>
        <p:spPr bwMode="auto">
          <a:xfrm>
            <a:off x="6430963" y="1450940"/>
            <a:ext cx="388938" cy="311150"/>
          </a:xfrm>
          <a:custGeom>
            <a:avLst/>
            <a:gdLst/>
            <a:ahLst/>
            <a:cxnLst>
              <a:cxn ang="0">
                <a:pos x="122" y="171"/>
              </a:cxn>
              <a:cxn ang="0">
                <a:pos x="120" y="221"/>
              </a:cxn>
              <a:cxn ang="0">
                <a:pos x="80" y="191"/>
              </a:cxn>
              <a:cxn ang="0">
                <a:pos x="86" y="187"/>
              </a:cxn>
              <a:cxn ang="0">
                <a:pos x="86" y="187"/>
              </a:cxn>
              <a:cxn ang="0">
                <a:pos x="56" y="229"/>
              </a:cxn>
              <a:cxn ang="0">
                <a:pos x="128" y="233"/>
              </a:cxn>
              <a:cxn ang="0">
                <a:pos x="86" y="259"/>
              </a:cxn>
              <a:cxn ang="0">
                <a:pos x="80" y="255"/>
              </a:cxn>
              <a:cxn ang="0">
                <a:pos x="80" y="255"/>
              </a:cxn>
              <a:cxn ang="0">
                <a:pos x="138" y="317"/>
              </a:cxn>
              <a:cxn ang="0">
                <a:pos x="50" y="116"/>
              </a:cxn>
              <a:cxn ang="0">
                <a:pos x="0" y="110"/>
              </a:cxn>
              <a:cxn ang="0">
                <a:pos x="10" y="62"/>
              </a:cxn>
              <a:cxn ang="0">
                <a:pos x="62" y="0"/>
              </a:cxn>
              <a:cxn ang="0">
                <a:pos x="174" y="62"/>
              </a:cxn>
              <a:cxn ang="0">
                <a:pos x="174" y="74"/>
              </a:cxn>
              <a:cxn ang="0">
                <a:pos x="144" y="82"/>
              </a:cxn>
              <a:cxn ang="0">
                <a:pos x="168" y="333"/>
              </a:cxn>
              <a:cxn ang="0">
                <a:pos x="28" y="317"/>
              </a:cxn>
              <a:cxn ang="0">
                <a:pos x="58" y="122"/>
              </a:cxn>
              <a:cxn ang="0">
                <a:pos x="52" y="82"/>
              </a:cxn>
              <a:cxn ang="0">
                <a:pos x="54" y="74"/>
              </a:cxn>
              <a:cxn ang="0">
                <a:pos x="54" y="74"/>
              </a:cxn>
              <a:cxn ang="0">
                <a:pos x="140" y="74"/>
              </a:cxn>
              <a:cxn ang="0">
                <a:pos x="120" y="82"/>
              </a:cxn>
              <a:cxn ang="0">
                <a:pos x="120" y="82"/>
              </a:cxn>
              <a:cxn ang="0">
                <a:pos x="58" y="112"/>
              </a:cxn>
              <a:cxn ang="0">
                <a:pos x="108" y="34"/>
              </a:cxn>
              <a:cxn ang="0">
                <a:pos x="112" y="74"/>
              </a:cxn>
              <a:cxn ang="0">
                <a:pos x="68" y="26"/>
              </a:cxn>
              <a:cxn ang="0">
                <a:pos x="462" y="16"/>
              </a:cxn>
              <a:cxn ang="0">
                <a:pos x="466" y="50"/>
              </a:cxn>
              <a:cxn ang="0">
                <a:pos x="380" y="142"/>
              </a:cxn>
              <a:cxn ang="0">
                <a:pos x="477" y="159"/>
              </a:cxn>
              <a:cxn ang="0">
                <a:pos x="485" y="219"/>
              </a:cxn>
              <a:cxn ang="0">
                <a:pos x="495" y="159"/>
              </a:cxn>
              <a:cxn ang="0">
                <a:pos x="531" y="142"/>
              </a:cxn>
              <a:cxn ang="0">
                <a:pos x="364" y="142"/>
              </a:cxn>
              <a:cxn ang="0">
                <a:pos x="364" y="142"/>
              </a:cxn>
              <a:cxn ang="0">
                <a:pos x="334" y="159"/>
              </a:cxn>
              <a:cxn ang="0">
                <a:pos x="493" y="307"/>
              </a:cxn>
              <a:cxn ang="0">
                <a:pos x="362" y="307"/>
              </a:cxn>
              <a:cxn ang="0">
                <a:pos x="278" y="159"/>
              </a:cxn>
              <a:cxn ang="0">
                <a:pos x="308" y="142"/>
              </a:cxn>
              <a:cxn ang="0">
                <a:pos x="262" y="50"/>
              </a:cxn>
              <a:cxn ang="0">
                <a:pos x="483" y="50"/>
              </a:cxn>
              <a:cxn ang="0">
                <a:pos x="579" y="88"/>
              </a:cxn>
              <a:cxn ang="0">
                <a:pos x="579" y="213"/>
              </a:cxn>
              <a:cxn ang="0">
                <a:pos x="543" y="613"/>
              </a:cxn>
              <a:cxn ang="0">
                <a:pos x="270" y="613"/>
              </a:cxn>
              <a:cxn ang="0">
                <a:pos x="334" y="563"/>
              </a:cxn>
              <a:cxn ang="0">
                <a:pos x="521" y="563"/>
              </a:cxn>
              <a:cxn ang="0">
                <a:pos x="412" y="491"/>
              </a:cxn>
              <a:cxn ang="0">
                <a:pos x="354" y="547"/>
              </a:cxn>
              <a:cxn ang="0">
                <a:pos x="519" y="539"/>
              </a:cxn>
              <a:cxn ang="0">
                <a:pos x="366" y="443"/>
              </a:cxn>
              <a:cxn ang="0">
                <a:pos x="366" y="443"/>
              </a:cxn>
              <a:cxn ang="0">
                <a:pos x="428" y="359"/>
              </a:cxn>
              <a:cxn ang="0">
                <a:pos x="360" y="329"/>
              </a:cxn>
              <a:cxn ang="0">
                <a:pos x="364" y="427"/>
              </a:cxn>
              <a:cxn ang="0">
                <a:pos x="497" y="329"/>
              </a:cxn>
              <a:cxn ang="0">
                <a:pos x="497" y="329"/>
              </a:cxn>
            </a:cxnLst>
            <a:rect l="0" t="0" r="r" b="b"/>
            <a:pathLst>
              <a:path w="595" h="645">
                <a:moveTo>
                  <a:pt x="122" y="171"/>
                </a:moveTo>
                <a:lnTo>
                  <a:pt x="94" y="191"/>
                </a:lnTo>
                <a:lnTo>
                  <a:pt x="126" y="217"/>
                </a:lnTo>
                <a:lnTo>
                  <a:pt x="122" y="171"/>
                </a:lnTo>
                <a:lnTo>
                  <a:pt x="122" y="171"/>
                </a:lnTo>
                <a:close/>
                <a:moveTo>
                  <a:pt x="86" y="197"/>
                </a:moveTo>
                <a:lnTo>
                  <a:pt x="54" y="221"/>
                </a:lnTo>
                <a:lnTo>
                  <a:pt x="120" y="221"/>
                </a:lnTo>
                <a:lnTo>
                  <a:pt x="86" y="197"/>
                </a:lnTo>
                <a:lnTo>
                  <a:pt x="86" y="197"/>
                </a:lnTo>
                <a:close/>
                <a:moveTo>
                  <a:pt x="48" y="217"/>
                </a:moveTo>
                <a:lnTo>
                  <a:pt x="80" y="191"/>
                </a:lnTo>
                <a:lnTo>
                  <a:pt x="52" y="171"/>
                </a:lnTo>
                <a:lnTo>
                  <a:pt x="48" y="217"/>
                </a:lnTo>
                <a:lnTo>
                  <a:pt x="48" y="217"/>
                </a:lnTo>
                <a:close/>
                <a:moveTo>
                  <a:pt x="86" y="187"/>
                </a:moveTo>
                <a:lnTo>
                  <a:pt x="114" y="167"/>
                </a:lnTo>
                <a:lnTo>
                  <a:pt x="60" y="167"/>
                </a:lnTo>
                <a:lnTo>
                  <a:pt x="86" y="187"/>
                </a:lnTo>
                <a:lnTo>
                  <a:pt x="86" y="187"/>
                </a:lnTo>
                <a:close/>
                <a:moveTo>
                  <a:pt x="56" y="229"/>
                </a:moveTo>
                <a:lnTo>
                  <a:pt x="86" y="249"/>
                </a:lnTo>
                <a:lnTo>
                  <a:pt x="118" y="229"/>
                </a:lnTo>
                <a:lnTo>
                  <a:pt x="56" y="229"/>
                </a:lnTo>
                <a:lnTo>
                  <a:pt x="56" y="229"/>
                </a:lnTo>
                <a:close/>
                <a:moveTo>
                  <a:pt x="94" y="255"/>
                </a:moveTo>
                <a:lnTo>
                  <a:pt x="134" y="279"/>
                </a:lnTo>
                <a:lnTo>
                  <a:pt x="128" y="233"/>
                </a:lnTo>
                <a:lnTo>
                  <a:pt x="94" y="255"/>
                </a:lnTo>
                <a:lnTo>
                  <a:pt x="94" y="255"/>
                </a:lnTo>
                <a:close/>
                <a:moveTo>
                  <a:pt x="124" y="283"/>
                </a:moveTo>
                <a:lnTo>
                  <a:pt x="86" y="259"/>
                </a:lnTo>
                <a:lnTo>
                  <a:pt x="48" y="283"/>
                </a:lnTo>
                <a:lnTo>
                  <a:pt x="124" y="283"/>
                </a:lnTo>
                <a:lnTo>
                  <a:pt x="124" y="283"/>
                </a:lnTo>
                <a:close/>
                <a:moveTo>
                  <a:pt x="80" y="255"/>
                </a:moveTo>
                <a:lnTo>
                  <a:pt x="46" y="233"/>
                </a:lnTo>
                <a:lnTo>
                  <a:pt x="40" y="279"/>
                </a:lnTo>
                <a:lnTo>
                  <a:pt x="80" y="255"/>
                </a:lnTo>
                <a:lnTo>
                  <a:pt x="80" y="255"/>
                </a:lnTo>
                <a:close/>
                <a:moveTo>
                  <a:pt x="136" y="293"/>
                </a:moveTo>
                <a:lnTo>
                  <a:pt x="38" y="293"/>
                </a:lnTo>
                <a:lnTo>
                  <a:pt x="36" y="317"/>
                </a:lnTo>
                <a:lnTo>
                  <a:pt x="138" y="317"/>
                </a:lnTo>
                <a:lnTo>
                  <a:pt x="136" y="293"/>
                </a:lnTo>
                <a:lnTo>
                  <a:pt x="136" y="293"/>
                </a:lnTo>
                <a:close/>
                <a:moveTo>
                  <a:pt x="28" y="317"/>
                </a:moveTo>
                <a:lnTo>
                  <a:pt x="50" y="116"/>
                </a:lnTo>
                <a:lnTo>
                  <a:pt x="30" y="82"/>
                </a:lnTo>
                <a:lnTo>
                  <a:pt x="10" y="82"/>
                </a:lnTo>
                <a:lnTo>
                  <a:pt x="10" y="110"/>
                </a:lnTo>
                <a:lnTo>
                  <a:pt x="0" y="110"/>
                </a:lnTo>
                <a:lnTo>
                  <a:pt x="0" y="74"/>
                </a:lnTo>
                <a:lnTo>
                  <a:pt x="24" y="74"/>
                </a:lnTo>
                <a:lnTo>
                  <a:pt x="10" y="46"/>
                </a:lnTo>
                <a:lnTo>
                  <a:pt x="10" y="62"/>
                </a:lnTo>
                <a:lnTo>
                  <a:pt x="0" y="62"/>
                </a:lnTo>
                <a:lnTo>
                  <a:pt x="0" y="26"/>
                </a:lnTo>
                <a:lnTo>
                  <a:pt x="58" y="26"/>
                </a:lnTo>
                <a:lnTo>
                  <a:pt x="62" y="0"/>
                </a:lnTo>
                <a:lnTo>
                  <a:pt x="112" y="0"/>
                </a:lnTo>
                <a:lnTo>
                  <a:pt x="114" y="26"/>
                </a:lnTo>
                <a:lnTo>
                  <a:pt x="174" y="26"/>
                </a:lnTo>
                <a:lnTo>
                  <a:pt x="174" y="62"/>
                </a:lnTo>
                <a:lnTo>
                  <a:pt x="164" y="62"/>
                </a:lnTo>
                <a:lnTo>
                  <a:pt x="164" y="46"/>
                </a:lnTo>
                <a:lnTo>
                  <a:pt x="150" y="74"/>
                </a:lnTo>
                <a:lnTo>
                  <a:pt x="174" y="74"/>
                </a:lnTo>
                <a:lnTo>
                  <a:pt x="174" y="110"/>
                </a:lnTo>
                <a:lnTo>
                  <a:pt x="164" y="110"/>
                </a:lnTo>
                <a:lnTo>
                  <a:pt x="164" y="82"/>
                </a:lnTo>
                <a:lnTo>
                  <a:pt x="144" y="82"/>
                </a:lnTo>
                <a:lnTo>
                  <a:pt x="124" y="116"/>
                </a:lnTo>
                <a:lnTo>
                  <a:pt x="146" y="317"/>
                </a:lnTo>
                <a:lnTo>
                  <a:pt x="168" y="317"/>
                </a:lnTo>
                <a:lnTo>
                  <a:pt x="168" y="333"/>
                </a:lnTo>
                <a:lnTo>
                  <a:pt x="6" y="333"/>
                </a:lnTo>
                <a:lnTo>
                  <a:pt x="6" y="317"/>
                </a:lnTo>
                <a:lnTo>
                  <a:pt x="28" y="317"/>
                </a:lnTo>
                <a:lnTo>
                  <a:pt x="28" y="317"/>
                </a:lnTo>
                <a:close/>
                <a:moveTo>
                  <a:pt x="54" y="159"/>
                </a:moveTo>
                <a:lnTo>
                  <a:pt x="120" y="159"/>
                </a:lnTo>
                <a:lnTo>
                  <a:pt x="116" y="122"/>
                </a:lnTo>
                <a:lnTo>
                  <a:pt x="58" y="122"/>
                </a:lnTo>
                <a:lnTo>
                  <a:pt x="54" y="159"/>
                </a:lnTo>
                <a:lnTo>
                  <a:pt x="54" y="159"/>
                </a:lnTo>
                <a:close/>
                <a:moveTo>
                  <a:pt x="50" y="102"/>
                </a:moveTo>
                <a:lnTo>
                  <a:pt x="52" y="82"/>
                </a:lnTo>
                <a:lnTo>
                  <a:pt x="38" y="82"/>
                </a:lnTo>
                <a:lnTo>
                  <a:pt x="50" y="102"/>
                </a:lnTo>
                <a:lnTo>
                  <a:pt x="50" y="102"/>
                </a:lnTo>
                <a:close/>
                <a:moveTo>
                  <a:pt x="54" y="74"/>
                </a:moveTo>
                <a:lnTo>
                  <a:pt x="58" y="34"/>
                </a:lnTo>
                <a:lnTo>
                  <a:pt x="12" y="34"/>
                </a:lnTo>
                <a:lnTo>
                  <a:pt x="34" y="74"/>
                </a:lnTo>
                <a:lnTo>
                  <a:pt x="54" y="74"/>
                </a:lnTo>
                <a:lnTo>
                  <a:pt x="54" y="74"/>
                </a:lnTo>
                <a:close/>
                <a:moveTo>
                  <a:pt x="116" y="34"/>
                </a:moveTo>
                <a:lnTo>
                  <a:pt x="120" y="74"/>
                </a:lnTo>
                <a:lnTo>
                  <a:pt x="140" y="74"/>
                </a:lnTo>
                <a:lnTo>
                  <a:pt x="162" y="34"/>
                </a:lnTo>
                <a:lnTo>
                  <a:pt x="116" y="34"/>
                </a:lnTo>
                <a:lnTo>
                  <a:pt x="116" y="34"/>
                </a:lnTo>
                <a:close/>
                <a:moveTo>
                  <a:pt x="120" y="82"/>
                </a:moveTo>
                <a:lnTo>
                  <a:pt x="124" y="102"/>
                </a:lnTo>
                <a:lnTo>
                  <a:pt x="134" y="82"/>
                </a:lnTo>
                <a:lnTo>
                  <a:pt x="120" y="82"/>
                </a:lnTo>
                <a:lnTo>
                  <a:pt x="120" y="82"/>
                </a:lnTo>
                <a:close/>
                <a:moveTo>
                  <a:pt x="116" y="112"/>
                </a:moveTo>
                <a:lnTo>
                  <a:pt x="112" y="82"/>
                </a:lnTo>
                <a:lnTo>
                  <a:pt x="62" y="82"/>
                </a:lnTo>
                <a:lnTo>
                  <a:pt x="58" y="112"/>
                </a:lnTo>
                <a:lnTo>
                  <a:pt x="116" y="112"/>
                </a:lnTo>
                <a:lnTo>
                  <a:pt x="116" y="112"/>
                </a:lnTo>
                <a:close/>
                <a:moveTo>
                  <a:pt x="112" y="74"/>
                </a:moveTo>
                <a:lnTo>
                  <a:pt x="108" y="34"/>
                </a:lnTo>
                <a:lnTo>
                  <a:pt x="66" y="34"/>
                </a:lnTo>
                <a:lnTo>
                  <a:pt x="62" y="74"/>
                </a:lnTo>
                <a:lnTo>
                  <a:pt x="112" y="74"/>
                </a:lnTo>
                <a:lnTo>
                  <a:pt x="112" y="74"/>
                </a:lnTo>
                <a:close/>
                <a:moveTo>
                  <a:pt x="106" y="26"/>
                </a:moveTo>
                <a:lnTo>
                  <a:pt x="104" y="8"/>
                </a:lnTo>
                <a:lnTo>
                  <a:pt x="70" y="8"/>
                </a:lnTo>
                <a:lnTo>
                  <a:pt x="68" y="26"/>
                </a:lnTo>
                <a:lnTo>
                  <a:pt x="106" y="26"/>
                </a:lnTo>
                <a:lnTo>
                  <a:pt x="106" y="26"/>
                </a:lnTo>
                <a:close/>
                <a:moveTo>
                  <a:pt x="466" y="50"/>
                </a:moveTo>
                <a:lnTo>
                  <a:pt x="462" y="16"/>
                </a:lnTo>
                <a:lnTo>
                  <a:pt x="394" y="16"/>
                </a:lnTo>
                <a:lnTo>
                  <a:pt x="390" y="50"/>
                </a:lnTo>
                <a:lnTo>
                  <a:pt x="466" y="50"/>
                </a:lnTo>
                <a:lnTo>
                  <a:pt x="466" y="50"/>
                </a:lnTo>
                <a:close/>
                <a:moveTo>
                  <a:pt x="477" y="142"/>
                </a:moveTo>
                <a:lnTo>
                  <a:pt x="468" y="66"/>
                </a:lnTo>
                <a:lnTo>
                  <a:pt x="388" y="66"/>
                </a:lnTo>
                <a:lnTo>
                  <a:pt x="380" y="142"/>
                </a:lnTo>
                <a:lnTo>
                  <a:pt x="477" y="142"/>
                </a:lnTo>
                <a:lnTo>
                  <a:pt x="477" y="142"/>
                </a:lnTo>
                <a:close/>
                <a:moveTo>
                  <a:pt x="485" y="219"/>
                </a:moveTo>
                <a:lnTo>
                  <a:pt x="477" y="159"/>
                </a:lnTo>
                <a:lnTo>
                  <a:pt x="378" y="159"/>
                </a:lnTo>
                <a:lnTo>
                  <a:pt x="372" y="219"/>
                </a:lnTo>
                <a:lnTo>
                  <a:pt x="485" y="219"/>
                </a:lnTo>
                <a:lnTo>
                  <a:pt x="485" y="219"/>
                </a:lnTo>
                <a:close/>
                <a:moveTo>
                  <a:pt x="495" y="159"/>
                </a:moveTo>
                <a:lnTo>
                  <a:pt x="499" y="199"/>
                </a:lnTo>
                <a:lnTo>
                  <a:pt x="521" y="159"/>
                </a:lnTo>
                <a:lnTo>
                  <a:pt x="495" y="159"/>
                </a:lnTo>
                <a:lnTo>
                  <a:pt x="495" y="159"/>
                </a:lnTo>
                <a:close/>
                <a:moveTo>
                  <a:pt x="485" y="66"/>
                </a:moveTo>
                <a:lnTo>
                  <a:pt x="493" y="142"/>
                </a:lnTo>
                <a:lnTo>
                  <a:pt x="531" y="142"/>
                </a:lnTo>
                <a:lnTo>
                  <a:pt x="573" y="66"/>
                </a:lnTo>
                <a:lnTo>
                  <a:pt x="485" y="66"/>
                </a:lnTo>
                <a:lnTo>
                  <a:pt x="485" y="66"/>
                </a:lnTo>
                <a:close/>
                <a:moveTo>
                  <a:pt x="364" y="142"/>
                </a:moveTo>
                <a:lnTo>
                  <a:pt x="372" y="66"/>
                </a:lnTo>
                <a:lnTo>
                  <a:pt x="284" y="66"/>
                </a:lnTo>
                <a:lnTo>
                  <a:pt x="326" y="142"/>
                </a:lnTo>
                <a:lnTo>
                  <a:pt x="364" y="142"/>
                </a:lnTo>
                <a:lnTo>
                  <a:pt x="364" y="142"/>
                </a:lnTo>
                <a:close/>
                <a:moveTo>
                  <a:pt x="358" y="199"/>
                </a:moveTo>
                <a:lnTo>
                  <a:pt x="362" y="159"/>
                </a:lnTo>
                <a:lnTo>
                  <a:pt x="334" y="159"/>
                </a:lnTo>
                <a:lnTo>
                  <a:pt x="358" y="199"/>
                </a:lnTo>
                <a:lnTo>
                  <a:pt x="358" y="199"/>
                </a:lnTo>
                <a:close/>
                <a:moveTo>
                  <a:pt x="362" y="307"/>
                </a:moveTo>
                <a:lnTo>
                  <a:pt x="493" y="307"/>
                </a:lnTo>
                <a:lnTo>
                  <a:pt x="487" y="235"/>
                </a:lnTo>
                <a:lnTo>
                  <a:pt x="370" y="235"/>
                </a:lnTo>
                <a:lnTo>
                  <a:pt x="362" y="307"/>
                </a:lnTo>
                <a:lnTo>
                  <a:pt x="362" y="307"/>
                </a:lnTo>
                <a:close/>
                <a:moveTo>
                  <a:pt x="314" y="613"/>
                </a:moveTo>
                <a:lnTo>
                  <a:pt x="354" y="227"/>
                </a:lnTo>
                <a:lnTo>
                  <a:pt x="316" y="159"/>
                </a:lnTo>
                <a:lnTo>
                  <a:pt x="278" y="159"/>
                </a:lnTo>
                <a:lnTo>
                  <a:pt x="278" y="213"/>
                </a:lnTo>
                <a:lnTo>
                  <a:pt x="262" y="213"/>
                </a:lnTo>
                <a:lnTo>
                  <a:pt x="262" y="142"/>
                </a:lnTo>
                <a:lnTo>
                  <a:pt x="308" y="142"/>
                </a:lnTo>
                <a:lnTo>
                  <a:pt x="278" y="88"/>
                </a:lnTo>
                <a:lnTo>
                  <a:pt x="278" y="120"/>
                </a:lnTo>
                <a:lnTo>
                  <a:pt x="262" y="120"/>
                </a:lnTo>
                <a:lnTo>
                  <a:pt x="262" y="50"/>
                </a:lnTo>
                <a:lnTo>
                  <a:pt x="374" y="50"/>
                </a:lnTo>
                <a:lnTo>
                  <a:pt x="378" y="0"/>
                </a:lnTo>
                <a:lnTo>
                  <a:pt x="477" y="0"/>
                </a:lnTo>
                <a:lnTo>
                  <a:pt x="483" y="50"/>
                </a:lnTo>
                <a:lnTo>
                  <a:pt x="595" y="50"/>
                </a:lnTo>
                <a:lnTo>
                  <a:pt x="595" y="120"/>
                </a:lnTo>
                <a:lnTo>
                  <a:pt x="579" y="120"/>
                </a:lnTo>
                <a:lnTo>
                  <a:pt x="579" y="88"/>
                </a:lnTo>
                <a:lnTo>
                  <a:pt x="549" y="142"/>
                </a:lnTo>
                <a:lnTo>
                  <a:pt x="595" y="142"/>
                </a:lnTo>
                <a:lnTo>
                  <a:pt x="595" y="213"/>
                </a:lnTo>
                <a:lnTo>
                  <a:pt x="579" y="213"/>
                </a:lnTo>
                <a:lnTo>
                  <a:pt x="579" y="159"/>
                </a:lnTo>
                <a:lnTo>
                  <a:pt x="539" y="159"/>
                </a:lnTo>
                <a:lnTo>
                  <a:pt x="501" y="227"/>
                </a:lnTo>
                <a:lnTo>
                  <a:pt x="543" y="613"/>
                </a:lnTo>
                <a:lnTo>
                  <a:pt x="585" y="613"/>
                </a:lnTo>
                <a:lnTo>
                  <a:pt x="585" y="645"/>
                </a:lnTo>
                <a:lnTo>
                  <a:pt x="270" y="645"/>
                </a:lnTo>
                <a:lnTo>
                  <a:pt x="270" y="613"/>
                </a:lnTo>
                <a:lnTo>
                  <a:pt x="314" y="613"/>
                </a:lnTo>
                <a:lnTo>
                  <a:pt x="314" y="613"/>
                </a:lnTo>
                <a:close/>
                <a:moveTo>
                  <a:pt x="521" y="563"/>
                </a:moveTo>
                <a:lnTo>
                  <a:pt x="334" y="563"/>
                </a:lnTo>
                <a:lnTo>
                  <a:pt x="330" y="613"/>
                </a:lnTo>
                <a:lnTo>
                  <a:pt x="527" y="613"/>
                </a:lnTo>
                <a:lnTo>
                  <a:pt x="521" y="563"/>
                </a:lnTo>
                <a:lnTo>
                  <a:pt x="521" y="563"/>
                </a:lnTo>
                <a:close/>
                <a:moveTo>
                  <a:pt x="412" y="491"/>
                </a:moveTo>
                <a:lnTo>
                  <a:pt x="346" y="449"/>
                </a:lnTo>
                <a:lnTo>
                  <a:pt x="338" y="539"/>
                </a:lnTo>
                <a:lnTo>
                  <a:pt x="412" y="491"/>
                </a:lnTo>
                <a:lnTo>
                  <a:pt x="412" y="491"/>
                </a:lnTo>
                <a:close/>
                <a:moveTo>
                  <a:pt x="501" y="547"/>
                </a:moveTo>
                <a:lnTo>
                  <a:pt x="428" y="501"/>
                </a:lnTo>
                <a:lnTo>
                  <a:pt x="354" y="547"/>
                </a:lnTo>
                <a:lnTo>
                  <a:pt x="501" y="547"/>
                </a:lnTo>
                <a:lnTo>
                  <a:pt x="501" y="547"/>
                </a:lnTo>
                <a:close/>
                <a:moveTo>
                  <a:pt x="442" y="491"/>
                </a:moveTo>
                <a:lnTo>
                  <a:pt x="519" y="539"/>
                </a:lnTo>
                <a:lnTo>
                  <a:pt x="509" y="449"/>
                </a:lnTo>
                <a:lnTo>
                  <a:pt x="442" y="491"/>
                </a:lnTo>
                <a:lnTo>
                  <a:pt x="442" y="491"/>
                </a:lnTo>
                <a:close/>
                <a:moveTo>
                  <a:pt x="366" y="443"/>
                </a:moveTo>
                <a:lnTo>
                  <a:pt x="428" y="481"/>
                </a:lnTo>
                <a:lnTo>
                  <a:pt x="489" y="443"/>
                </a:lnTo>
                <a:lnTo>
                  <a:pt x="366" y="443"/>
                </a:lnTo>
                <a:lnTo>
                  <a:pt x="366" y="443"/>
                </a:lnTo>
                <a:close/>
                <a:moveTo>
                  <a:pt x="428" y="359"/>
                </a:moveTo>
                <a:lnTo>
                  <a:pt x="479" y="323"/>
                </a:lnTo>
                <a:lnTo>
                  <a:pt x="376" y="323"/>
                </a:lnTo>
                <a:lnTo>
                  <a:pt x="428" y="359"/>
                </a:lnTo>
                <a:lnTo>
                  <a:pt x="428" y="359"/>
                </a:lnTo>
                <a:close/>
                <a:moveTo>
                  <a:pt x="350" y="417"/>
                </a:moveTo>
                <a:lnTo>
                  <a:pt x="414" y="369"/>
                </a:lnTo>
                <a:lnTo>
                  <a:pt x="360" y="329"/>
                </a:lnTo>
                <a:lnTo>
                  <a:pt x="350" y="417"/>
                </a:lnTo>
                <a:lnTo>
                  <a:pt x="350" y="417"/>
                </a:lnTo>
                <a:close/>
                <a:moveTo>
                  <a:pt x="428" y="379"/>
                </a:moveTo>
                <a:lnTo>
                  <a:pt x="364" y="427"/>
                </a:lnTo>
                <a:lnTo>
                  <a:pt x="493" y="427"/>
                </a:lnTo>
                <a:lnTo>
                  <a:pt x="428" y="379"/>
                </a:lnTo>
                <a:lnTo>
                  <a:pt x="428" y="379"/>
                </a:lnTo>
                <a:close/>
                <a:moveTo>
                  <a:pt x="497" y="329"/>
                </a:moveTo>
                <a:lnTo>
                  <a:pt x="442" y="369"/>
                </a:lnTo>
                <a:lnTo>
                  <a:pt x="505" y="417"/>
                </a:lnTo>
                <a:lnTo>
                  <a:pt x="497" y="329"/>
                </a:lnTo>
                <a:lnTo>
                  <a:pt x="497" y="329"/>
                </a:lnTo>
                <a:close/>
              </a:path>
            </a:pathLst>
          </a:custGeom>
          <a:solidFill>
            <a:schemeClr val="tx1"/>
          </a:solidFill>
          <a:ln w="317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548" name="Text Placeholder 9">
            <a:extLst>
              <a:ext uri="{FF2B5EF4-FFF2-40B4-BE49-F238E27FC236}">
                <a16:creationId xmlns:a16="http://schemas.microsoft.com/office/drawing/2014/main" id="{6DB3C9C3-D6A3-6204-BD8F-C8259A9DB763}"/>
              </a:ext>
            </a:extLst>
          </p:cNvPr>
          <p:cNvSpPr txBox="1">
            <a:spLocks/>
          </p:cNvSpPr>
          <p:nvPr/>
        </p:nvSpPr>
        <p:spPr>
          <a:xfrm>
            <a:off x="381599" y="79401"/>
            <a:ext cx="5503430"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Introduction to battery storage – </a:t>
            </a:r>
            <a:r>
              <a:rPr lang="en-GB" sz="1200"/>
              <a:t>Battery storage drivers, risks and markets</a:t>
            </a:r>
            <a:endParaRPr lang="en-GB"/>
          </a:p>
        </p:txBody>
      </p:sp>
      <p:sp>
        <p:nvSpPr>
          <p:cNvPr id="549" name="Oval 548">
            <a:extLst>
              <a:ext uri="{FF2B5EF4-FFF2-40B4-BE49-F238E27FC236}">
                <a16:creationId xmlns:a16="http://schemas.microsoft.com/office/drawing/2014/main" id="{D0AE0E47-8E95-AF41-FD0E-87E6AC2E1253}"/>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550" name="Oval 549">
            <a:extLst>
              <a:ext uri="{FF2B5EF4-FFF2-40B4-BE49-F238E27FC236}">
                <a16:creationId xmlns:a16="http://schemas.microsoft.com/office/drawing/2014/main" id="{120196A5-1CC7-0BF8-702B-D0650ACB2001}"/>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21" name="Oval 20">
            <a:extLst>
              <a:ext uri="{FF2B5EF4-FFF2-40B4-BE49-F238E27FC236}">
                <a16:creationId xmlns:a16="http://schemas.microsoft.com/office/drawing/2014/main" id="{C3C6E548-74EB-11F8-D415-52AADCB0F2CD}"/>
              </a:ext>
            </a:extLst>
          </p:cNvPr>
          <p:cNvSpPr/>
          <p:nvPr/>
        </p:nvSpPr>
        <p:spPr>
          <a:xfrm>
            <a:off x="400461" y="557061"/>
            <a:ext cx="288000" cy="288000"/>
          </a:xfrm>
          <a:prstGeom prst="ellipse">
            <a:avLst/>
          </a:prstGeom>
          <a:solidFill>
            <a:srgbClr val="B97800"/>
          </a:solidFill>
          <a:ln w="38100">
            <a:solidFill>
              <a:srgbClr val="B97800"/>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400" b="1">
                <a:solidFill>
                  <a:schemeClr val="bg1"/>
                </a:solidFill>
              </a:rPr>
              <a:t>2</a:t>
            </a:r>
          </a:p>
        </p:txBody>
      </p:sp>
      <p:cxnSp>
        <p:nvCxnSpPr>
          <p:cNvPr id="6" name="Straight Connector 5">
            <a:extLst>
              <a:ext uri="{FF2B5EF4-FFF2-40B4-BE49-F238E27FC236}">
                <a16:creationId xmlns:a16="http://schemas.microsoft.com/office/drawing/2014/main" id="{5F61034A-BC04-7AB6-1557-2D1AE3B3E1E3}"/>
              </a:ext>
            </a:extLst>
          </p:cNvPr>
          <p:cNvCxnSpPr/>
          <p:nvPr>
            <p:custDataLst>
              <p:tags r:id="rId41"/>
            </p:custDataLst>
          </p:nvPr>
        </p:nvCxnSpPr>
        <p:spPr bwMode="gray">
          <a:xfrm>
            <a:off x="13173076" y="5330825"/>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AC277A96-31E7-4098-8AB1-665F2D0D50F7}"/>
              </a:ext>
            </a:extLst>
          </p:cNvPr>
          <p:cNvCxnSpPr/>
          <p:nvPr>
            <p:custDataLst>
              <p:tags r:id="rId42"/>
            </p:custDataLst>
          </p:nvPr>
        </p:nvCxnSpPr>
        <p:spPr bwMode="gray">
          <a:xfrm>
            <a:off x="13173075" y="5092700"/>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B27D5530-20A8-16A6-F0B7-0408CDD66A87}"/>
              </a:ext>
            </a:extLst>
          </p:cNvPr>
          <p:cNvCxnSpPr/>
          <p:nvPr>
            <p:custDataLst>
              <p:tags r:id="rId43"/>
            </p:custDataLst>
          </p:nvPr>
        </p:nvCxnSpPr>
        <p:spPr bwMode="gray">
          <a:xfrm>
            <a:off x="13173075" y="4854575"/>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D6DD7BB-F5FE-12CE-2DCC-29913B9092AE}"/>
              </a:ext>
            </a:extLst>
          </p:cNvPr>
          <p:cNvCxnSpPr/>
          <p:nvPr>
            <p:custDataLst>
              <p:tags r:id="rId44"/>
            </p:custDataLst>
          </p:nvPr>
        </p:nvCxnSpPr>
        <p:spPr bwMode="gray">
          <a:xfrm>
            <a:off x="13173075" y="4618038"/>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099F9E58-281B-60BF-9501-569FC2CF0464}"/>
              </a:ext>
            </a:extLst>
          </p:cNvPr>
          <p:cNvCxnSpPr/>
          <p:nvPr>
            <p:custDataLst>
              <p:tags r:id="rId45"/>
            </p:custDataLst>
          </p:nvPr>
        </p:nvCxnSpPr>
        <p:spPr bwMode="gray">
          <a:xfrm>
            <a:off x="13173075" y="4379913"/>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2099870-54F1-AB3F-5D0D-D498F2236778}"/>
              </a:ext>
            </a:extLst>
          </p:cNvPr>
          <p:cNvCxnSpPr/>
          <p:nvPr>
            <p:custDataLst>
              <p:tags r:id="rId46"/>
            </p:custDataLst>
          </p:nvPr>
        </p:nvCxnSpPr>
        <p:spPr bwMode="gray">
          <a:xfrm>
            <a:off x="13173076" y="4141788"/>
            <a:ext cx="26193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2DC77FE-33AB-18D8-C776-D339C4407503}"/>
              </a:ext>
            </a:extLst>
          </p:cNvPr>
          <p:cNvCxnSpPr/>
          <p:nvPr>
            <p:custDataLst>
              <p:tags r:id="rId47"/>
            </p:custDataLst>
          </p:nvPr>
        </p:nvCxnSpPr>
        <p:spPr bwMode="gray">
          <a:xfrm>
            <a:off x="13173075" y="3903663"/>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E8CF99B-5AB0-D2A9-72AE-E1689B328B0B}"/>
              </a:ext>
            </a:extLst>
          </p:cNvPr>
          <p:cNvCxnSpPr/>
          <p:nvPr>
            <p:custDataLst>
              <p:tags r:id="rId48"/>
            </p:custDataLst>
          </p:nvPr>
        </p:nvCxnSpPr>
        <p:spPr bwMode="gray">
          <a:xfrm>
            <a:off x="13173075" y="3667125"/>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DF91BE97-0658-463F-436C-31CFBA7F9394}"/>
              </a:ext>
            </a:extLst>
          </p:cNvPr>
          <p:cNvCxnSpPr/>
          <p:nvPr>
            <p:custDataLst>
              <p:tags r:id="rId49"/>
            </p:custDataLst>
          </p:nvPr>
        </p:nvCxnSpPr>
        <p:spPr bwMode="gray">
          <a:xfrm>
            <a:off x="13173075" y="3429000"/>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F2012E54-9A83-97BE-2E47-6E1D52FCE4EF}"/>
              </a:ext>
            </a:extLst>
          </p:cNvPr>
          <p:cNvCxnSpPr/>
          <p:nvPr>
            <p:custDataLst>
              <p:tags r:id="rId50"/>
            </p:custDataLst>
          </p:nvPr>
        </p:nvCxnSpPr>
        <p:spPr bwMode="gray">
          <a:xfrm>
            <a:off x="13173075" y="3190875"/>
            <a:ext cx="2619375"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63" name="Chart 462">
            <a:extLst>
              <a:ext uri="{FF2B5EF4-FFF2-40B4-BE49-F238E27FC236}">
                <a16:creationId xmlns:a16="http://schemas.microsoft.com/office/drawing/2014/main" id="{C3971F71-A0F8-BF3F-07CD-32372C8B9291}"/>
              </a:ext>
            </a:extLst>
          </p:cNvPr>
          <p:cNvGraphicFramePr/>
          <p:nvPr>
            <p:custDataLst>
              <p:tags r:id="rId51"/>
            </p:custDataLst>
            <p:extLst>
              <p:ext uri="{D42A27DB-BD31-4B8C-83A1-F6EECF244321}">
                <p14:modId xmlns:p14="http://schemas.microsoft.com/office/powerpoint/2010/main" val="787773812"/>
              </p:ext>
            </p:extLst>
          </p:nvPr>
        </p:nvGraphicFramePr>
        <p:xfrm>
          <a:off x="13090525" y="3108325"/>
          <a:ext cx="2784475" cy="2305050"/>
        </p:xfrm>
        <a:graphic>
          <a:graphicData uri="http://schemas.openxmlformats.org/drawingml/2006/chart">
            <c:chart xmlns:c="http://schemas.openxmlformats.org/drawingml/2006/chart" xmlns:r="http://schemas.openxmlformats.org/officeDocument/2006/relationships" r:id="rId66"/>
          </a:graphicData>
        </a:graphic>
      </p:graphicFrame>
      <p:sp>
        <p:nvSpPr>
          <p:cNvPr id="456" name="Rectangle 455">
            <a:extLst>
              <a:ext uri="{FF2B5EF4-FFF2-40B4-BE49-F238E27FC236}">
                <a16:creationId xmlns:a16="http://schemas.microsoft.com/office/drawing/2014/main" id="{F1322A15-F77B-14F7-B04D-938BDFF917B8}"/>
              </a:ext>
            </a:extLst>
          </p:cNvPr>
          <p:cNvSpPr/>
          <p:nvPr>
            <p:custDataLst>
              <p:tags r:id="rId52"/>
            </p:custDataLst>
          </p:nvPr>
        </p:nvSpPr>
        <p:spPr bwMode="auto">
          <a:xfrm>
            <a:off x="6804025" y="6215063"/>
            <a:ext cx="214313" cy="160338"/>
          </a:xfrm>
          <a:prstGeom prst="rect">
            <a:avLst/>
          </a:prstGeom>
          <a:solidFill>
            <a:schemeClr val="accent6"/>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57" name="Rectangle 456">
            <a:extLst>
              <a:ext uri="{FF2B5EF4-FFF2-40B4-BE49-F238E27FC236}">
                <a16:creationId xmlns:a16="http://schemas.microsoft.com/office/drawing/2014/main" id="{7B743482-41C6-6686-8D67-C91B95DB0833}"/>
              </a:ext>
            </a:extLst>
          </p:cNvPr>
          <p:cNvSpPr/>
          <p:nvPr>
            <p:custDataLst>
              <p:tags r:id="rId53"/>
            </p:custDataLst>
          </p:nvPr>
        </p:nvSpPr>
        <p:spPr bwMode="auto">
          <a:xfrm>
            <a:off x="8270875" y="6215063"/>
            <a:ext cx="214313" cy="160338"/>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58" name="Text Placeholder 19">
            <a:extLst>
              <a:ext uri="{FF2B5EF4-FFF2-40B4-BE49-F238E27FC236}">
                <a16:creationId xmlns:a16="http://schemas.microsoft.com/office/drawing/2014/main" id="{732CC41E-1B6B-40F6-E955-B55F3AD953F2}"/>
              </a:ext>
            </a:extLst>
          </p:cNvPr>
          <p:cNvSpPr>
            <a:spLocks noGrp="1"/>
          </p:cNvSpPr>
          <p:nvPr>
            <p:custDataLst>
              <p:tags r:id="rId54"/>
            </p:custDataLst>
          </p:nvPr>
        </p:nvSpPr>
        <p:spPr bwMode="auto">
          <a:xfrm>
            <a:off x="7069138" y="6210300"/>
            <a:ext cx="1100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Central scenario</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9" name="Text Placeholder 19">
            <a:extLst>
              <a:ext uri="{FF2B5EF4-FFF2-40B4-BE49-F238E27FC236}">
                <a16:creationId xmlns:a16="http://schemas.microsoft.com/office/drawing/2014/main" id="{DCCDFFA1-5A9B-6ACD-17C3-EA270E4AE73C}"/>
              </a:ext>
            </a:extLst>
          </p:cNvPr>
          <p:cNvSpPr>
            <a:spLocks noGrp="1"/>
          </p:cNvSpPr>
          <p:nvPr>
            <p:custDataLst>
              <p:tags r:id="rId55"/>
            </p:custDataLst>
          </p:nvPr>
        </p:nvSpPr>
        <p:spPr bwMode="auto">
          <a:xfrm>
            <a:off x="8535988" y="6210300"/>
            <a:ext cx="1439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rPr>
              <a:t>Delayed grid buildout</a:t>
            </a:r>
          </a:p>
        </p:txBody>
      </p:sp>
      <p:sp>
        <p:nvSpPr>
          <p:cNvPr id="13" name="Rectangle 12">
            <a:extLst>
              <a:ext uri="{FF2B5EF4-FFF2-40B4-BE49-F238E27FC236}">
                <a16:creationId xmlns:a16="http://schemas.microsoft.com/office/drawing/2014/main" id="{8897D00F-1E88-A7B5-3C83-6D805C699A88}"/>
              </a:ext>
            </a:extLst>
          </p:cNvPr>
          <p:cNvSpPr/>
          <p:nvPr/>
        </p:nvSpPr>
        <p:spPr>
          <a:xfrm>
            <a:off x="241229" y="1297479"/>
            <a:ext cx="11601886" cy="5276563"/>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de-DE" sz="1200" err="1">
              <a:solidFill>
                <a:schemeClr val="tx1"/>
              </a:solidFill>
            </a:endParaRPr>
          </a:p>
        </p:txBody>
      </p:sp>
      <p:grpSp>
        <p:nvGrpSpPr>
          <p:cNvPr id="17" name="Group 16">
            <a:extLst>
              <a:ext uri="{FF2B5EF4-FFF2-40B4-BE49-F238E27FC236}">
                <a16:creationId xmlns:a16="http://schemas.microsoft.com/office/drawing/2014/main" id="{34F24D28-5DE4-AF4D-18CB-60D2F5A4FCED}"/>
              </a:ext>
            </a:extLst>
          </p:cNvPr>
          <p:cNvGrpSpPr/>
          <p:nvPr/>
        </p:nvGrpSpPr>
        <p:grpSpPr>
          <a:xfrm>
            <a:off x="4772297" y="2928257"/>
            <a:ext cx="2647407" cy="1001486"/>
            <a:chOff x="8251369" y="2255520"/>
            <a:chExt cx="2647407" cy="1001486"/>
          </a:xfrm>
        </p:grpSpPr>
        <p:sp>
          <p:nvSpPr>
            <p:cNvPr id="18" name="Rectangle: Rounded Corners 17">
              <a:extLst>
                <a:ext uri="{FF2B5EF4-FFF2-40B4-BE49-F238E27FC236}">
                  <a16:creationId xmlns:a16="http://schemas.microsoft.com/office/drawing/2014/main" id="{951245C7-7513-945F-802D-29DBA1FA7BA2}"/>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9" name="TextBox 18">
              <a:extLst>
                <a:ext uri="{FF2B5EF4-FFF2-40B4-BE49-F238E27FC236}">
                  <a16:creationId xmlns:a16="http://schemas.microsoft.com/office/drawing/2014/main" id="{6D81511D-7070-6C93-9024-B9C96CC66786}"/>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3427785039"/>
      </p:ext>
    </p:extLst>
  </p:cSld>
  <p:clrMapOvr>
    <a:masterClrMapping/>
  </p:clrMapOvr>
  <p:extLst>
    <p:ext uri="{6950BFC3-D8DA-4A85-94F7-54DA5524770B}">
      <p188:commentRel xmlns:p188="http://schemas.microsoft.com/office/powerpoint/2018/8/main" r:id="rId58"/>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164814-1E4A-47CD-829C-4E37A8D8FA53}"/>
              </a:ext>
            </a:extLst>
          </p:cNvPr>
          <p:cNvGraphicFramePr>
            <a:graphicFrameLocks noChangeAspect="1"/>
          </p:cNvGraphicFramePr>
          <p:nvPr>
            <p:custDataLst>
              <p:tags r:id="rId1"/>
            </p:custDataLst>
            <p:extLst>
              <p:ext uri="{D42A27DB-BD31-4B8C-83A1-F6EECF244321}">
                <p14:modId xmlns:p14="http://schemas.microsoft.com/office/powerpoint/2010/main" val="577518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CE164814-1E4A-47CD-829C-4E37A8D8FA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56B0F56-8511-4C0F-A53B-BFC3CACD8AD6}"/>
              </a:ext>
            </a:extLst>
          </p:cNvPr>
          <p:cNvSpPr>
            <a:spLocks noGrp="1"/>
          </p:cNvSpPr>
          <p:nvPr>
            <p:ph type="body" sz="quarter" idx="22"/>
          </p:nvPr>
        </p:nvSpPr>
        <p:spPr>
          <a:xfrm>
            <a:off x="381001" y="6715169"/>
            <a:ext cx="2146421" cy="110800"/>
          </a:xfrm>
        </p:spPr>
        <p:txBody>
          <a:bodyPr/>
          <a:lstStyle/>
          <a:p>
            <a:r>
              <a:rPr lang="en-GB"/>
              <a:t>Sources: Aurora Energy Research, National Grid</a:t>
            </a:r>
          </a:p>
        </p:txBody>
      </p:sp>
      <p:sp>
        <p:nvSpPr>
          <p:cNvPr id="4" name="Title 3">
            <a:extLst>
              <a:ext uri="{FF2B5EF4-FFF2-40B4-BE49-F238E27FC236}">
                <a16:creationId xmlns:a16="http://schemas.microsoft.com/office/drawing/2014/main" id="{C8CE5C4F-EED9-4C51-807B-B486DB66715D}"/>
              </a:ext>
            </a:extLst>
          </p:cNvPr>
          <p:cNvSpPr>
            <a:spLocks noGrp="1"/>
          </p:cNvSpPr>
          <p:nvPr>
            <p:ph type="title"/>
          </p:nvPr>
        </p:nvSpPr>
        <p:spPr/>
        <p:txBody>
          <a:bodyPr vert="horz"/>
          <a:lstStyle/>
          <a:p>
            <a:pPr marL="452438"/>
            <a:r>
              <a:rPr lang="en-GB"/>
              <a:t>To ensure continued grid operability, additional markets are used across Europe to procure a variety of ancillary services</a:t>
            </a:r>
          </a:p>
        </p:txBody>
      </p:sp>
      <p:sp>
        <p:nvSpPr>
          <p:cNvPr id="6" name="Text Placeholder 5">
            <a:extLst>
              <a:ext uri="{FF2B5EF4-FFF2-40B4-BE49-F238E27FC236}">
                <a16:creationId xmlns:a16="http://schemas.microsoft.com/office/drawing/2014/main" id="{737243D4-08C6-45B4-A490-9A6B5ADDEF42}"/>
              </a:ext>
            </a:extLst>
          </p:cNvPr>
          <p:cNvSpPr>
            <a:spLocks noGrp="1"/>
          </p:cNvSpPr>
          <p:nvPr>
            <p:ph type="body" sz="quarter" idx="31"/>
          </p:nvPr>
        </p:nvSpPr>
        <p:spPr>
          <a:xfrm>
            <a:off x="381599" y="79401"/>
            <a:ext cx="5503430" cy="184666"/>
          </a:xfrm>
        </p:spPr>
        <p:txBody>
          <a:bodyPr/>
          <a:lstStyle/>
          <a:p>
            <a:r>
              <a:rPr lang="en-GB"/>
              <a:t>		Introduction to battery storage – </a:t>
            </a:r>
            <a:r>
              <a:rPr lang="en-GB" sz="1200"/>
              <a:t>Battery storage drivers, risks and markets</a:t>
            </a:r>
            <a:endParaRPr lang="en-GB"/>
          </a:p>
        </p:txBody>
      </p:sp>
      <p:graphicFrame>
        <p:nvGraphicFramePr>
          <p:cNvPr id="5" name="Table 4">
            <a:extLst>
              <a:ext uri="{FF2B5EF4-FFF2-40B4-BE49-F238E27FC236}">
                <a16:creationId xmlns:a16="http://schemas.microsoft.com/office/drawing/2014/main" id="{FBAC1BBC-74E5-A7FE-065D-8583C8F2A369}"/>
              </a:ext>
            </a:extLst>
          </p:cNvPr>
          <p:cNvGraphicFramePr>
            <a:graphicFrameLocks noGrp="1"/>
          </p:cNvGraphicFramePr>
          <p:nvPr>
            <p:extLst>
              <p:ext uri="{D42A27DB-BD31-4B8C-83A1-F6EECF244321}">
                <p14:modId xmlns:p14="http://schemas.microsoft.com/office/powerpoint/2010/main" val="2535115698"/>
              </p:ext>
            </p:extLst>
          </p:nvPr>
        </p:nvGraphicFramePr>
        <p:xfrm>
          <a:off x="535261" y="1266982"/>
          <a:ext cx="11279452" cy="5131276"/>
        </p:xfrm>
        <a:graphic>
          <a:graphicData uri="http://schemas.openxmlformats.org/drawingml/2006/table">
            <a:tbl>
              <a:tblPr firstRow="1" bandRow="1">
                <a:effectLst/>
                <a:tableStyleId>{5C22544A-7EE6-4342-B048-85BDC9FD1C3A}</a:tableStyleId>
              </a:tblPr>
              <a:tblGrid>
                <a:gridCol w="2015152">
                  <a:extLst>
                    <a:ext uri="{9D8B030D-6E8A-4147-A177-3AD203B41FA5}">
                      <a16:colId xmlns:a16="http://schemas.microsoft.com/office/drawing/2014/main" val="2767320327"/>
                    </a:ext>
                  </a:extLst>
                </a:gridCol>
                <a:gridCol w="163571">
                  <a:extLst>
                    <a:ext uri="{9D8B030D-6E8A-4147-A177-3AD203B41FA5}">
                      <a16:colId xmlns:a16="http://schemas.microsoft.com/office/drawing/2014/main" val="1802363565"/>
                    </a:ext>
                  </a:extLst>
                </a:gridCol>
                <a:gridCol w="4621370">
                  <a:extLst>
                    <a:ext uri="{9D8B030D-6E8A-4147-A177-3AD203B41FA5}">
                      <a16:colId xmlns:a16="http://schemas.microsoft.com/office/drawing/2014/main" val="3455283744"/>
                    </a:ext>
                  </a:extLst>
                </a:gridCol>
                <a:gridCol w="4479359">
                  <a:extLst>
                    <a:ext uri="{9D8B030D-6E8A-4147-A177-3AD203B41FA5}">
                      <a16:colId xmlns:a16="http://schemas.microsoft.com/office/drawing/2014/main" val="2018858849"/>
                    </a:ext>
                  </a:extLst>
                </a:gridCol>
              </a:tblGrid>
              <a:tr h="267059">
                <a:tc>
                  <a:txBody>
                    <a:bodyPr/>
                    <a:lstStyle/>
                    <a:p>
                      <a:pPr algn="l"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ysClr val="windowText" lastClr="000000"/>
                          </a:solidFill>
                        </a:rPr>
                        <a:t>Objective</a:t>
                      </a:r>
                    </a:p>
                  </a:txBody>
                  <a:tcPr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noProof="0">
                          <a:solidFill>
                            <a:sysClr val="windowText" lastClr="000000"/>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ethods</a:t>
                      </a:r>
                      <a:endParaRPr lang="en-GB" sz="1100" b="1">
                        <a:solidFill>
                          <a:sysClr val="windowText" lastClr="000000"/>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42328266"/>
                  </a:ext>
                </a:extLst>
              </a:tr>
              <a:tr h="738277">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Frequency</a:t>
                      </a: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Response)</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0" baseline="0">
                          <a:solidFill>
                            <a:schemeClr val="tx1"/>
                          </a:solidFill>
                        </a:rPr>
                        <a:t>System frequency is required to ensure proper system function. Deviations from standard must be corrected in a timely fash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altLang="ko-KR" sz="1100" b="0">
                          <a:solidFill>
                            <a:schemeClr val="tx1"/>
                          </a:solidFill>
                          <a:cs typeface="Arial" pitchFamily="34" charset="0"/>
                        </a:rPr>
                        <a:t>Automatic dispatch of ultra-fast increase or decrease of energy in real time determined by deviations in the system frequency</a:t>
                      </a:r>
                      <a:endParaRPr lang="en-GB" altLang="ko-KR" sz="1100" b="1">
                        <a:solidFill>
                          <a:schemeClr val="tx1"/>
                        </a:solidFill>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980078"/>
                  </a:ext>
                </a:extLst>
              </a:tr>
              <a:tr h="738277">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Energy Balancing</a:t>
                      </a: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Reserve)</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a:solidFill>
                            <a:schemeClr val="tx1"/>
                          </a:solidFill>
                        </a:rPr>
                        <a:t>Energy supply and demand should be kept equal, to ensure an efficient market and well-functioning syste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altLang="ko-KR" sz="1100" b="0">
                          <a:solidFill>
                            <a:schemeClr val="tx1"/>
                          </a:solidFill>
                          <a:cs typeface="Arial" pitchFamily="34" charset="0"/>
                        </a:rPr>
                        <a:t>Instructing plants to either increase or decrease generation, both ahead of gate closure and in real time, often manually dispatch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211608"/>
                  </a:ext>
                </a:extLst>
              </a:tr>
              <a:tr h="738277">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Inertia </a:t>
                      </a: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Stability)</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0">
                          <a:solidFill>
                            <a:schemeClr val="tx1"/>
                          </a:solidFill>
                        </a:rPr>
                        <a:t>Sufficient inertia is required to reduce the speed of frequency deviations, and enable a timely respon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altLang="ko-KR" sz="1100" b="0">
                          <a:solidFill>
                            <a:schemeClr val="tx1"/>
                          </a:solidFill>
                          <a:cs typeface="Arial" pitchFamily="34" charset="0"/>
                        </a:rPr>
                        <a:t>Increasing the amount of synchronous generation on the system, both ahead of gate closure and in real time either through conventional sources or </a:t>
                      </a:r>
                      <a:r>
                        <a:rPr lang="en-GB" sz="1100" b="0" kern="1200">
                          <a:solidFill>
                            <a:schemeClr val="tx1"/>
                          </a:solidFill>
                          <a:latin typeface="+mn-lt"/>
                          <a:ea typeface="+mn-ea"/>
                          <a:cs typeface="Arial" pitchFamily="34" charset="0"/>
                        </a:rPr>
                        <a:t>alternatives such as synchronous compensators, synthetic inertia from batteries etc</a:t>
                      </a:r>
                      <a:endParaRPr lang="en-GB" altLang="ko-KR" sz="1100" b="0" kern="1200">
                        <a:solidFill>
                          <a:schemeClr val="tx1"/>
                        </a:solidFill>
                        <a:latin typeface="+mn-lt"/>
                        <a:ea typeface="+mn-ea"/>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8113508"/>
                  </a:ext>
                </a:extLst>
              </a:tr>
              <a:tr h="564672">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Congestion and constraint resolution</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0" baseline="0">
                          <a:solidFill>
                            <a:schemeClr val="tx1"/>
                          </a:solidFill>
                        </a:rPr>
                        <a:t>Transmission constraints and grid congestion can make cost-effective generation infeasible to transmit to demand</a:t>
                      </a:r>
                      <a:endParaRPr lang="en-GB" sz="11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ltLang="ko-KR" sz="1100" b="0">
                          <a:solidFill>
                            <a:schemeClr val="tx1"/>
                          </a:solidFill>
                          <a:cs typeface="Arial" pitchFamily="34" charset="0"/>
                        </a:rPr>
                        <a:t>Instruction to curtail generation in congested areas ahead of gate closure and in real time or increase demand e.g.. through batteries</a:t>
                      </a:r>
                      <a:endParaRPr lang="en-GB" altLang="ko-KR" sz="1100" b="1">
                        <a:solidFill>
                          <a:schemeClr val="tx1"/>
                        </a:solidFill>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94571962"/>
                  </a:ext>
                </a:extLst>
              </a:tr>
              <a:tr h="575856">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Voltage</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0">
                          <a:solidFill>
                            <a:schemeClr val="tx1"/>
                          </a:solidFill>
                        </a:rPr>
                        <a:t>Voltage levels must be maintained to ensure proper functioning of the syste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ltLang="ko-KR" sz="1100" b="0">
                          <a:solidFill>
                            <a:schemeClr val="tx1"/>
                          </a:solidFill>
                          <a:cs typeface="Arial" pitchFamily="34" charset="0"/>
                        </a:rPr>
                        <a:t>Procurement of reactive power, potentially alongside active power, to increase voltage levels</a:t>
                      </a:r>
                      <a:endParaRPr lang="en-GB" altLang="ko-KR" sz="1100" b="1">
                        <a:solidFill>
                          <a:schemeClr val="tx1"/>
                        </a:solidFill>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2363105"/>
                  </a:ext>
                </a:extLst>
              </a:tr>
              <a:tr h="738277">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Restoration / Black start</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0" baseline="0">
                          <a:solidFill>
                            <a:schemeClr val="tx1"/>
                          </a:solidFill>
                        </a:rPr>
                        <a:t>In the unlikely event of a blackout, grid operators must maintain the capability to restore the system</a:t>
                      </a:r>
                      <a:endParaRPr lang="en-GB" altLang="ko-KR" sz="1100" b="0">
                        <a:solidFill>
                          <a:schemeClr val="tx1"/>
                        </a:solidFill>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0">
                          <a:solidFill>
                            <a:schemeClr val="tx1"/>
                          </a:solidFill>
                        </a:rPr>
                        <a:t>Pre-contracted service which can repower the power system in the event of a black-ou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6579644"/>
                  </a:ext>
                </a:extLst>
              </a:tr>
              <a:tr h="738277">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Short circuit levels (SCL)</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0"/>
                        <a:t>SCL is the amount of current that flows during a short-circuit fault </a:t>
                      </a:r>
                      <a:br>
                        <a:rPr lang="en-GB" sz="1100" b="0"/>
                      </a:br>
                      <a:r>
                        <a:rPr lang="en-GB" sz="1100" b="0"/>
                        <a:t>(e.g.. equipment failure). High SCL must be maintained to ensure system stability in the event of a faul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ltLang="ko-KR" sz="1100" b="0">
                          <a:solidFill>
                            <a:schemeClr val="tx1"/>
                          </a:solidFill>
                          <a:cs typeface="Arial" pitchFamily="34" charset="0"/>
                        </a:rPr>
                        <a:t>Increasing the amount of synchronous generation on the system, </a:t>
                      </a:r>
                      <a:endParaRPr lang="en-GB" altLang="ko-KR" sz="1100" b="0" kern="1200">
                        <a:solidFill>
                          <a:schemeClr val="tx1"/>
                        </a:solidFill>
                        <a:latin typeface="+mn-lt"/>
                        <a:ea typeface="+mn-ea"/>
                        <a:cs typeface="Arial" pitchFamily="34" charset="0"/>
                      </a:endParaRPr>
                    </a:p>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0">
                          <a:solidFill>
                            <a:schemeClr val="tx1"/>
                          </a:solidFill>
                        </a:rPr>
                        <a:t>Procurement of long term SCL contracts e.g.. through the Stability Pathfinders in Great Brit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2793222"/>
                  </a:ext>
                </a:extLst>
              </a:tr>
            </a:tbl>
          </a:graphicData>
        </a:graphic>
      </p:graphicFrame>
      <p:sp>
        <p:nvSpPr>
          <p:cNvPr id="7" name="Oval 6">
            <a:extLst>
              <a:ext uri="{FF2B5EF4-FFF2-40B4-BE49-F238E27FC236}">
                <a16:creationId xmlns:a16="http://schemas.microsoft.com/office/drawing/2014/main" id="{9B50BF27-302E-0455-FE1C-7FFF88AD2D94}"/>
              </a:ext>
            </a:extLst>
          </p:cNvPr>
          <p:cNvSpPr/>
          <p:nvPr/>
        </p:nvSpPr>
        <p:spPr>
          <a:xfrm>
            <a:off x="429114" y="1548219"/>
            <a:ext cx="216000" cy="215900"/>
          </a:xfrm>
          <a:prstGeom prst="ellipse">
            <a:avLst/>
          </a:prstGeom>
          <a:solidFill>
            <a:schemeClr val="accent1">
              <a:lumMod val="50000"/>
            </a:schemeClr>
          </a:solidFill>
          <a:ln w="38100">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1</a:t>
            </a:r>
          </a:p>
        </p:txBody>
      </p:sp>
      <p:sp>
        <p:nvSpPr>
          <p:cNvPr id="10" name="Oval 9">
            <a:extLst>
              <a:ext uri="{FF2B5EF4-FFF2-40B4-BE49-F238E27FC236}">
                <a16:creationId xmlns:a16="http://schemas.microsoft.com/office/drawing/2014/main" id="{0C7935C3-841A-E79A-C208-8E0F32C46F14}"/>
              </a:ext>
            </a:extLst>
          </p:cNvPr>
          <p:cNvSpPr/>
          <p:nvPr/>
        </p:nvSpPr>
        <p:spPr>
          <a:xfrm>
            <a:off x="433042" y="3073159"/>
            <a:ext cx="216000" cy="215900"/>
          </a:xfrm>
          <a:prstGeom prst="ellipse">
            <a:avLst/>
          </a:prstGeom>
          <a:solidFill>
            <a:schemeClr val="accent1"/>
          </a:solidFill>
          <a:ln w="38100">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3</a:t>
            </a:r>
          </a:p>
        </p:txBody>
      </p:sp>
      <p:sp>
        <p:nvSpPr>
          <p:cNvPr id="11" name="Oval 10">
            <a:extLst>
              <a:ext uri="{FF2B5EF4-FFF2-40B4-BE49-F238E27FC236}">
                <a16:creationId xmlns:a16="http://schemas.microsoft.com/office/drawing/2014/main" id="{D9CF88AE-9FBF-7BDA-7521-27BF5F84A9A2}"/>
              </a:ext>
            </a:extLst>
          </p:cNvPr>
          <p:cNvSpPr/>
          <p:nvPr/>
        </p:nvSpPr>
        <p:spPr>
          <a:xfrm>
            <a:off x="430234" y="4944432"/>
            <a:ext cx="216000" cy="215900"/>
          </a:xfrm>
          <a:prstGeom prst="ellipse">
            <a:avLst/>
          </a:prstGeom>
          <a:solidFill>
            <a:schemeClr val="accent4"/>
          </a:solidFill>
          <a:ln w="38100">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6</a:t>
            </a:r>
          </a:p>
        </p:txBody>
      </p:sp>
      <p:sp>
        <p:nvSpPr>
          <p:cNvPr id="12" name="Oval 11">
            <a:extLst>
              <a:ext uri="{FF2B5EF4-FFF2-40B4-BE49-F238E27FC236}">
                <a16:creationId xmlns:a16="http://schemas.microsoft.com/office/drawing/2014/main" id="{D9FD2F28-24DC-862D-6FA7-D35F0ED38AB8}"/>
              </a:ext>
            </a:extLst>
          </p:cNvPr>
          <p:cNvSpPr/>
          <p:nvPr/>
        </p:nvSpPr>
        <p:spPr>
          <a:xfrm>
            <a:off x="429766" y="2314275"/>
            <a:ext cx="216000" cy="215900"/>
          </a:xfrm>
          <a:prstGeom prst="ellipse">
            <a:avLst/>
          </a:prstGeom>
          <a:solidFill>
            <a:schemeClr val="accent1">
              <a:lumMod val="75000"/>
            </a:schemeClr>
          </a:solidFill>
          <a:ln w="38100">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2</a:t>
            </a:r>
          </a:p>
        </p:txBody>
      </p:sp>
      <p:sp>
        <p:nvSpPr>
          <p:cNvPr id="13" name="Oval 12">
            <a:extLst>
              <a:ext uri="{FF2B5EF4-FFF2-40B4-BE49-F238E27FC236}">
                <a16:creationId xmlns:a16="http://schemas.microsoft.com/office/drawing/2014/main" id="{D33ADB58-4933-51D3-0D0A-7514A386949F}"/>
              </a:ext>
            </a:extLst>
          </p:cNvPr>
          <p:cNvSpPr/>
          <p:nvPr/>
        </p:nvSpPr>
        <p:spPr>
          <a:xfrm>
            <a:off x="429114" y="3786245"/>
            <a:ext cx="216000" cy="215900"/>
          </a:xfrm>
          <a:prstGeom prst="ellipse">
            <a:avLst/>
          </a:prstGeom>
          <a:solidFill>
            <a:schemeClr val="accent2"/>
          </a:solidFill>
          <a:ln w="38100">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4</a:t>
            </a:r>
          </a:p>
        </p:txBody>
      </p:sp>
      <p:sp>
        <p:nvSpPr>
          <p:cNvPr id="14" name="Oval 13">
            <a:extLst>
              <a:ext uri="{FF2B5EF4-FFF2-40B4-BE49-F238E27FC236}">
                <a16:creationId xmlns:a16="http://schemas.microsoft.com/office/drawing/2014/main" id="{AC8CEAAF-6933-F907-7E18-80173E1C54F0}"/>
              </a:ext>
            </a:extLst>
          </p:cNvPr>
          <p:cNvSpPr/>
          <p:nvPr/>
        </p:nvSpPr>
        <p:spPr>
          <a:xfrm>
            <a:off x="425838" y="4376605"/>
            <a:ext cx="216000" cy="215900"/>
          </a:xfrm>
          <a:prstGeom prst="ellipse">
            <a:avLst/>
          </a:prstGeom>
          <a:solidFill>
            <a:schemeClr val="accent3"/>
          </a:solidFill>
          <a:ln w="38100">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5</a:t>
            </a:r>
          </a:p>
        </p:txBody>
      </p:sp>
      <p:sp>
        <p:nvSpPr>
          <p:cNvPr id="15" name="Oval 14">
            <a:extLst>
              <a:ext uri="{FF2B5EF4-FFF2-40B4-BE49-F238E27FC236}">
                <a16:creationId xmlns:a16="http://schemas.microsoft.com/office/drawing/2014/main" id="{6534DD0E-D995-091E-3530-6B94FC75F56B}"/>
              </a:ext>
            </a:extLst>
          </p:cNvPr>
          <p:cNvSpPr/>
          <p:nvPr/>
        </p:nvSpPr>
        <p:spPr>
          <a:xfrm>
            <a:off x="430234" y="5694042"/>
            <a:ext cx="216000" cy="215900"/>
          </a:xfrm>
          <a:prstGeom prst="ellipse">
            <a:avLst/>
          </a:prstGeom>
          <a:solidFill>
            <a:schemeClr val="accent3">
              <a:lumMod val="20000"/>
              <a:lumOff val="80000"/>
            </a:schemeClr>
          </a:solidFill>
          <a:ln w="38100">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7</a:t>
            </a:r>
          </a:p>
        </p:txBody>
      </p:sp>
      <p:sp>
        <p:nvSpPr>
          <p:cNvPr id="16" name="Oval 15">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17" name="Oval 16">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22" name="Oval 21">
            <a:extLst>
              <a:ext uri="{FF2B5EF4-FFF2-40B4-BE49-F238E27FC236}">
                <a16:creationId xmlns:a16="http://schemas.microsoft.com/office/drawing/2014/main" id="{2999A915-3CAE-5966-0852-D9EB42234488}"/>
              </a:ext>
            </a:extLst>
          </p:cNvPr>
          <p:cNvSpPr/>
          <p:nvPr/>
        </p:nvSpPr>
        <p:spPr>
          <a:xfrm>
            <a:off x="400461" y="557061"/>
            <a:ext cx="288000" cy="288000"/>
          </a:xfrm>
          <a:prstGeom prst="ellipse">
            <a:avLst/>
          </a:prstGeom>
          <a:solidFill>
            <a:srgbClr val="B97800"/>
          </a:solidFill>
          <a:ln w="38100">
            <a:solidFill>
              <a:srgbClr val="B97800"/>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400" b="1">
                <a:solidFill>
                  <a:schemeClr val="bg1"/>
                </a:solidFill>
              </a:rPr>
              <a:t>2</a:t>
            </a:r>
          </a:p>
        </p:txBody>
      </p:sp>
    </p:spTree>
    <p:extLst>
      <p:ext uri="{BB962C8B-B14F-4D97-AF65-F5344CB8AC3E}">
        <p14:creationId xmlns:p14="http://schemas.microsoft.com/office/powerpoint/2010/main" val="34529833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32818FF-10FD-4264-A6CA-178BD0102F8A}"/>
              </a:ext>
            </a:extLst>
          </p:cNvPr>
          <p:cNvGraphicFramePr>
            <a:graphicFrameLocks noChangeAspect="1"/>
          </p:cNvGraphicFramePr>
          <p:nvPr>
            <p:custDataLst>
              <p:tags r:id="rId1"/>
            </p:custDataLst>
            <p:extLst>
              <p:ext uri="{D42A27DB-BD31-4B8C-83A1-F6EECF244321}">
                <p14:modId xmlns:p14="http://schemas.microsoft.com/office/powerpoint/2010/main" val="1980688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17" name="Object 16" hidden="1">
                        <a:extLst>
                          <a:ext uri="{FF2B5EF4-FFF2-40B4-BE49-F238E27FC236}">
                            <a16:creationId xmlns:a16="http://schemas.microsoft.com/office/drawing/2014/main" id="{E32818FF-10FD-4264-A6CA-178BD0102F8A}"/>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graphicFrame>
        <p:nvGraphicFramePr>
          <p:cNvPr id="10" name="Chart 9">
            <a:extLst>
              <a:ext uri="{FF2B5EF4-FFF2-40B4-BE49-F238E27FC236}">
                <a16:creationId xmlns:a16="http://schemas.microsoft.com/office/drawing/2014/main" id="{85FFE3BE-63C6-5F51-21EF-F9512E9FFD4F}"/>
              </a:ext>
            </a:extLst>
          </p:cNvPr>
          <p:cNvGraphicFramePr/>
          <p:nvPr>
            <p:custDataLst>
              <p:tags r:id="rId2"/>
            </p:custDataLst>
            <p:extLst>
              <p:ext uri="{D42A27DB-BD31-4B8C-83A1-F6EECF244321}">
                <p14:modId xmlns:p14="http://schemas.microsoft.com/office/powerpoint/2010/main" val="3075057620"/>
              </p:ext>
            </p:extLst>
          </p:nvPr>
        </p:nvGraphicFramePr>
        <p:xfrm>
          <a:off x="5513388" y="1628775"/>
          <a:ext cx="3233737" cy="4586288"/>
        </p:xfrm>
        <a:graphic>
          <a:graphicData uri="http://schemas.openxmlformats.org/drawingml/2006/chart">
            <c:chart xmlns:c="http://schemas.openxmlformats.org/drawingml/2006/chart" xmlns:r="http://schemas.openxmlformats.org/officeDocument/2006/relationships" r:id="rId50"/>
          </a:graphicData>
        </a:graphic>
      </p:graphicFrame>
      <p:sp>
        <p:nvSpPr>
          <p:cNvPr id="2" name="Text Placeholder 1">
            <a:extLst>
              <a:ext uri="{FF2B5EF4-FFF2-40B4-BE49-F238E27FC236}">
                <a16:creationId xmlns:a16="http://schemas.microsoft.com/office/drawing/2014/main" id="{6EB213B4-8F62-44AD-A3DD-651D7212B762}"/>
              </a:ext>
            </a:extLst>
          </p:cNvPr>
          <p:cNvSpPr>
            <a:spLocks noGrp="1"/>
          </p:cNvSpPr>
          <p:nvPr>
            <p:ph type="body" sz="quarter" idx="22"/>
          </p:nvPr>
        </p:nvSpPr>
        <p:spPr/>
        <p:txBody>
          <a:bodyPr/>
          <a:lstStyle/>
          <a:p>
            <a:r>
              <a:rPr lang="en-GB"/>
              <a:t>Sources: Aurora Energy Research, Eurostat</a:t>
            </a:r>
          </a:p>
        </p:txBody>
      </p:sp>
      <p:sp>
        <p:nvSpPr>
          <p:cNvPr id="3" name="Title 2">
            <a:extLst>
              <a:ext uri="{FF2B5EF4-FFF2-40B4-BE49-F238E27FC236}">
                <a16:creationId xmlns:a16="http://schemas.microsoft.com/office/drawing/2014/main" id="{FD0EC9C9-C636-46A9-AF20-02E13AE18A78}"/>
              </a:ext>
            </a:extLst>
          </p:cNvPr>
          <p:cNvSpPr>
            <a:spLocks noGrp="1"/>
          </p:cNvSpPr>
          <p:nvPr>
            <p:ph type="title"/>
          </p:nvPr>
        </p:nvSpPr>
        <p:spPr/>
        <p:txBody>
          <a:bodyPr vert="horz"/>
          <a:lstStyle/>
          <a:p>
            <a:pPr marL="446088"/>
            <a:r>
              <a:rPr lang="en-GB">
                <a:solidFill>
                  <a:schemeClr val="tx1"/>
                </a:solidFill>
              </a:rPr>
              <a:t>Power demand in Europe is expected to increase by </a:t>
            </a:r>
            <a:r>
              <a:rPr kumimoji="0" lang="en-GB" sz="2400" b="0" i="0" u="none" strike="noStrike" kern="1200" cap="none" spc="0" normalizeH="0" baseline="0" noProof="0">
                <a:ln>
                  <a:noFill/>
                </a:ln>
                <a:solidFill>
                  <a:srgbClr val="3C3C3B"/>
                </a:solidFill>
                <a:effectLst/>
                <a:uLnTx/>
                <a:uFillTx/>
                <a:latin typeface="Lato"/>
                <a:ea typeface="+mn-ea"/>
                <a:cs typeface="+mn-cs"/>
              </a:rPr>
              <a:t> </a:t>
            </a:r>
            <a:r>
              <a:rPr lang="en-GB" sz="2400">
                <a:solidFill>
                  <a:srgbClr val="808080"/>
                </a:solidFill>
                <a:highlight>
                  <a:srgbClr val="808080"/>
                </a:highlight>
              </a:rPr>
              <a:t>xx</a:t>
            </a:r>
            <a:r>
              <a:rPr lang="en-GB">
                <a:solidFill>
                  <a:schemeClr val="tx1"/>
                </a:solidFill>
              </a:rPr>
              <a:t>% to 2050, driven by increased electrification across sectors</a:t>
            </a:r>
          </a:p>
        </p:txBody>
      </p:sp>
      <p:sp>
        <p:nvSpPr>
          <p:cNvPr id="19" name="Text Placeholder 18">
            <a:extLst>
              <a:ext uri="{FF2B5EF4-FFF2-40B4-BE49-F238E27FC236}">
                <a16:creationId xmlns:a16="http://schemas.microsoft.com/office/drawing/2014/main" id="{0A3F85A5-186C-492A-D946-F7D616F5B30E}"/>
              </a:ext>
            </a:extLst>
          </p:cNvPr>
          <p:cNvSpPr>
            <a:spLocks noGrp="1"/>
          </p:cNvSpPr>
          <p:nvPr>
            <p:ph type="body" sz="quarter" idx="32"/>
          </p:nvPr>
        </p:nvSpPr>
        <p:spPr>
          <a:xfrm>
            <a:off x="381600" y="6474841"/>
            <a:ext cx="8601074" cy="221599"/>
          </a:xfrm>
        </p:spPr>
        <p:txBody>
          <a:bodyPr/>
          <a:lstStyle/>
          <a:p>
            <a:r>
              <a:rPr lang="en-US"/>
              <a:t>1) EU27 plus Great Britain and Norway, minus Malta and Cyprus; 2) Demand for green hydrogen production from electrolysis; 3) Underlying demand excluding heat and EVs. 4) Aurora Central Scenario.</a:t>
            </a:r>
          </a:p>
        </p:txBody>
      </p:sp>
      <p:sp>
        <p:nvSpPr>
          <p:cNvPr id="124" name="Text Placeholder 13">
            <a:extLst>
              <a:ext uri="{FF2B5EF4-FFF2-40B4-BE49-F238E27FC236}">
                <a16:creationId xmlns:a16="http://schemas.microsoft.com/office/drawing/2014/main" id="{1C13B8A3-0C0B-4AA8-B3E3-DD4712FB8091}"/>
              </a:ext>
            </a:extLst>
          </p:cNvPr>
          <p:cNvSpPr txBox="1">
            <a:spLocks/>
          </p:cNvSpPr>
          <p:nvPr/>
        </p:nvSpPr>
        <p:spPr>
          <a:xfrm>
            <a:off x="381599" y="79401"/>
            <a:ext cx="5503430"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Introduction to battery storage – </a:t>
            </a:r>
            <a:r>
              <a:rPr lang="en-GB" sz="1200"/>
              <a:t>Battery storage drivers, risks and markets</a:t>
            </a:r>
            <a:endParaRPr lang="en-GB"/>
          </a:p>
        </p:txBody>
      </p:sp>
      <p:sp>
        <p:nvSpPr>
          <p:cNvPr id="134" name="Oval 13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135" name="Oval 134">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graphicFrame>
        <p:nvGraphicFramePr>
          <p:cNvPr id="9" name="Chart 8">
            <a:extLst>
              <a:ext uri="{FF2B5EF4-FFF2-40B4-BE49-F238E27FC236}">
                <a16:creationId xmlns:a16="http://schemas.microsoft.com/office/drawing/2014/main" id="{B6877F9D-C768-1723-0934-283404DC0C24}"/>
              </a:ext>
            </a:extLst>
          </p:cNvPr>
          <p:cNvGraphicFramePr/>
          <p:nvPr>
            <p:custDataLst>
              <p:tags r:id="rId3"/>
            </p:custDataLst>
            <p:extLst>
              <p:ext uri="{D42A27DB-BD31-4B8C-83A1-F6EECF244321}">
                <p14:modId xmlns:p14="http://schemas.microsoft.com/office/powerpoint/2010/main" val="1847047570"/>
              </p:ext>
            </p:extLst>
          </p:nvPr>
        </p:nvGraphicFramePr>
        <p:xfrm>
          <a:off x="898525" y="1812925"/>
          <a:ext cx="3589338" cy="2525713"/>
        </p:xfrm>
        <a:graphic>
          <a:graphicData uri="http://schemas.openxmlformats.org/drawingml/2006/chart">
            <c:chart xmlns:c="http://schemas.openxmlformats.org/drawingml/2006/chart" xmlns:r="http://schemas.openxmlformats.org/officeDocument/2006/relationships" r:id="rId51"/>
          </a:graphicData>
        </a:graphic>
      </p:graphicFrame>
      <p:sp>
        <p:nvSpPr>
          <p:cNvPr id="471" name="Text Placeholder 19">
            <a:extLst>
              <a:ext uri="{FF2B5EF4-FFF2-40B4-BE49-F238E27FC236}">
                <a16:creationId xmlns:a16="http://schemas.microsoft.com/office/drawing/2014/main" id="{22989C98-80E6-643D-DB17-64BCE710F0F7}"/>
              </a:ext>
            </a:extLst>
          </p:cNvPr>
          <p:cNvSpPr>
            <a:spLocks noGrp="1"/>
          </p:cNvSpPr>
          <p:nvPr>
            <p:custDataLst>
              <p:tags r:id="rId4"/>
            </p:custDataLst>
          </p:nvPr>
        </p:nvSpPr>
        <p:spPr bwMode="gray">
          <a:xfrm>
            <a:off x="790575" y="4178300"/>
            <a:ext cx="889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5D25ACD3-899A-47D6-BDF7-1969B66F37D4}" type="datetime'''''''''''''''''''''''''''''''''''''0'''''''''''''''''''''''">
              <a:rPr kumimoji="0" lang="en-GB" altLang="en-US" sz="1200" b="0" i="0" u="none" strike="noStrike" kern="1200" cap="none" spc="0" normalizeH="0" baseline="0" noProof="0" smtClean="0">
                <a:ln>
                  <a:noFill/>
                </a:ln>
                <a:solidFill>
                  <a:srgbClr val="3C3C3B"/>
                </a:solidFill>
                <a:effectLst/>
                <a:uLnTx/>
                <a:uFillTx/>
                <a:latin typeface="+mn-lt"/>
                <a:ea typeface="+mn-ea"/>
                <a:cs typeface="+mn-cs"/>
                <a:sym typeface="+mn-lt"/>
              </a:rPr>
              <a:pPr marL="0" marR="0" lvl="0" indent="0" algn="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0</a:t>
            </a:fld>
            <a:endParaRPr kumimoji="0" lang="en-GB" sz="1200" b="0" i="0" u="none" strike="noStrike" kern="1200" cap="none" spc="0" normalizeH="0" baseline="0" noProof="0">
              <a:ln>
                <a:noFill/>
              </a:ln>
              <a:solidFill>
                <a:srgbClr val="3C3C3B"/>
              </a:solidFill>
              <a:effectLst/>
              <a:uLnTx/>
              <a:uFillTx/>
              <a:latin typeface="+mn-lt"/>
              <a:ea typeface="+mn-ea"/>
              <a:cs typeface="+mn-cs"/>
              <a:sym typeface="+mn-lt"/>
            </a:endParaRPr>
          </a:p>
        </p:txBody>
      </p:sp>
      <p:sp>
        <p:nvSpPr>
          <p:cNvPr id="472" name="Text Placeholder 19">
            <a:extLst>
              <a:ext uri="{FF2B5EF4-FFF2-40B4-BE49-F238E27FC236}">
                <a16:creationId xmlns:a16="http://schemas.microsoft.com/office/drawing/2014/main" id="{57621E05-813F-6150-EC77-08AAAE697507}"/>
              </a:ext>
            </a:extLst>
          </p:cNvPr>
          <p:cNvSpPr>
            <a:spLocks noGrp="1"/>
          </p:cNvSpPr>
          <p:nvPr>
            <p:custDataLst>
              <p:tags r:id="rId5"/>
            </p:custDataLst>
          </p:nvPr>
        </p:nvSpPr>
        <p:spPr bwMode="gray">
          <a:xfrm>
            <a:off x="584200" y="3951288"/>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73" name="Text Placeholder 19">
            <a:extLst>
              <a:ext uri="{FF2B5EF4-FFF2-40B4-BE49-F238E27FC236}">
                <a16:creationId xmlns:a16="http://schemas.microsoft.com/office/drawing/2014/main" id="{AFEDC679-D7AA-A017-0F45-759540AE3F06}"/>
              </a:ext>
            </a:extLst>
          </p:cNvPr>
          <p:cNvSpPr>
            <a:spLocks noGrp="1"/>
          </p:cNvSpPr>
          <p:nvPr>
            <p:custDataLst>
              <p:tags r:id="rId6"/>
            </p:custDataLst>
          </p:nvPr>
        </p:nvSpPr>
        <p:spPr bwMode="gray">
          <a:xfrm>
            <a:off x="584201" y="3736975"/>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74" name="Text Placeholder 19">
            <a:extLst>
              <a:ext uri="{FF2B5EF4-FFF2-40B4-BE49-F238E27FC236}">
                <a16:creationId xmlns:a16="http://schemas.microsoft.com/office/drawing/2014/main" id="{35F4618C-4436-07A3-2081-A1597310E9FB}"/>
              </a:ext>
            </a:extLst>
          </p:cNvPr>
          <p:cNvSpPr>
            <a:spLocks noGrp="1"/>
          </p:cNvSpPr>
          <p:nvPr>
            <p:custDataLst>
              <p:tags r:id="rId7"/>
            </p:custDataLst>
          </p:nvPr>
        </p:nvSpPr>
        <p:spPr bwMode="gray">
          <a:xfrm>
            <a:off x="584201" y="3521075"/>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75" name="Text Placeholder 19">
            <a:extLst>
              <a:ext uri="{FF2B5EF4-FFF2-40B4-BE49-F238E27FC236}">
                <a16:creationId xmlns:a16="http://schemas.microsoft.com/office/drawing/2014/main" id="{1B695D39-F38D-1866-667D-E4A164AE88FD}"/>
              </a:ext>
            </a:extLst>
          </p:cNvPr>
          <p:cNvSpPr>
            <a:spLocks noGrp="1"/>
          </p:cNvSpPr>
          <p:nvPr>
            <p:custDataLst>
              <p:tags r:id="rId8"/>
            </p:custDataLst>
          </p:nvPr>
        </p:nvSpPr>
        <p:spPr bwMode="gray">
          <a:xfrm>
            <a:off x="584201" y="3306763"/>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76" name="Text Placeholder 19">
            <a:extLst>
              <a:ext uri="{FF2B5EF4-FFF2-40B4-BE49-F238E27FC236}">
                <a16:creationId xmlns:a16="http://schemas.microsoft.com/office/drawing/2014/main" id="{32EDE08F-052A-D7B1-1FC2-46F091F88858}"/>
              </a:ext>
            </a:extLst>
          </p:cNvPr>
          <p:cNvSpPr>
            <a:spLocks noGrp="1"/>
          </p:cNvSpPr>
          <p:nvPr>
            <p:custDataLst>
              <p:tags r:id="rId9"/>
            </p:custDataLst>
          </p:nvPr>
        </p:nvSpPr>
        <p:spPr bwMode="gray">
          <a:xfrm>
            <a:off x="584201" y="3092450"/>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77" name="Text Placeholder 19">
            <a:extLst>
              <a:ext uri="{FF2B5EF4-FFF2-40B4-BE49-F238E27FC236}">
                <a16:creationId xmlns:a16="http://schemas.microsoft.com/office/drawing/2014/main" id="{88B6C0AB-BE51-60A8-D1E5-F0B504F0C7EF}"/>
              </a:ext>
            </a:extLst>
          </p:cNvPr>
          <p:cNvSpPr>
            <a:spLocks noGrp="1"/>
          </p:cNvSpPr>
          <p:nvPr>
            <p:custDataLst>
              <p:tags r:id="rId10"/>
            </p:custDataLst>
          </p:nvPr>
        </p:nvSpPr>
        <p:spPr bwMode="gray">
          <a:xfrm>
            <a:off x="584201" y="2878138"/>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78" name="Text Placeholder 19">
            <a:extLst>
              <a:ext uri="{FF2B5EF4-FFF2-40B4-BE49-F238E27FC236}">
                <a16:creationId xmlns:a16="http://schemas.microsoft.com/office/drawing/2014/main" id="{D516578D-36E8-6947-03E6-B5C8C6D4E084}"/>
              </a:ext>
            </a:extLst>
          </p:cNvPr>
          <p:cNvSpPr>
            <a:spLocks noGrp="1"/>
          </p:cNvSpPr>
          <p:nvPr>
            <p:custDataLst>
              <p:tags r:id="rId11"/>
            </p:custDataLst>
          </p:nvPr>
        </p:nvSpPr>
        <p:spPr bwMode="gray">
          <a:xfrm>
            <a:off x="584201" y="2663825"/>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79" name="Text Placeholder 19">
            <a:extLst>
              <a:ext uri="{FF2B5EF4-FFF2-40B4-BE49-F238E27FC236}">
                <a16:creationId xmlns:a16="http://schemas.microsoft.com/office/drawing/2014/main" id="{D0CCB31E-DE1D-1814-9BCA-40CE91229850}"/>
              </a:ext>
            </a:extLst>
          </p:cNvPr>
          <p:cNvSpPr>
            <a:spLocks noGrp="1"/>
          </p:cNvSpPr>
          <p:nvPr>
            <p:custDataLst>
              <p:tags r:id="rId12"/>
            </p:custDataLst>
          </p:nvPr>
        </p:nvSpPr>
        <p:spPr bwMode="gray">
          <a:xfrm>
            <a:off x="584201" y="2449513"/>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80" name="Text Placeholder 19">
            <a:extLst>
              <a:ext uri="{FF2B5EF4-FFF2-40B4-BE49-F238E27FC236}">
                <a16:creationId xmlns:a16="http://schemas.microsoft.com/office/drawing/2014/main" id="{219DD218-3B59-DB11-8B8F-A86372DE2DF6}"/>
              </a:ext>
            </a:extLst>
          </p:cNvPr>
          <p:cNvSpPr>
            <a:spLocks noGrp="1"/>
          </p:cNvSpPr>
          <p:nvPr>
            <p:custDataLst>
              <p:tags r:id="rId13"/>
            </p:custDataLst>
          </p:nvPr>
        </p:nvSpPr>
        <p:spPr bwMode="gray">
          <a:xfrm>
            <a:off x="584201" y="2233613"/>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81" name="Text Placeholder 19">
            <a:extLst>
              <a:ext uri="{FF2B5EF4-FFF2-40B4-BE49-F238E27FC236}">
                <a16:creationId xmlns:a16="http://schemas.microsoft.com/office/drawing/2014/main" id="{782A2986-72AC-4BF5-4D59-F0ACEC87D67E}"/>
              </a:ext>
            </a:extLst>
          </p:cNvPr>
          <p:cNvSpPr>
            <a:spLocks noGrp="1"/>
          </p:cNvSpPr>
          <p:nvPr>
            <p:custDataLst>
              <p:tags r:id="rId14"/>
            </p:custDataLst>
          </p:nvPr>
        </p:nvSpPr>
        <p:spPr bwMode="gray">
          <a:xfrm>
            <a:off x="584201" y="2019300"/>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sp>
        <p:nvSpPr>
          <p:cNvPr id="482" name="Text Placeholder 19">
            <a:extLst>
              <a:ext uri="{FF2B5EF4-FFF2-40B4-BE49-F238E27FC236}">
                <a16:creationId xmlns:a16="http://schemas.microsoft.com/office/drawing/2014/main" id="{FACF0D6E-4162-31E5-BAAC-B3235E554D35}"/>
              </a:ext>
            </a:extLst>
          </p:cNvPr>
          <p:cNvSpPr>
            <a:spLocks noGrp="1"/>
          </p:cNvSpPr>
          <p:nvPr>
            <p:custDataLst>
              <p:tags r:id="rId15"/>
            </p:custDataLst>
          </p:nvPr>
        </p:nvSpPr>
        <p:spPr bwMode="gray">
          <a:xfrm>
            <a:off x="584201" y="1804989"/>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b="0" i="0" u="none" strike="noStrike" kern="1200" cap="none" spc="0" normalizeH="0" baseline="0" noProof="0">
                <a:ln>
                  <a:noFill/>
                </a:ln>
                <a:solidFill>
                  <a:srgbClr val="3C3C3B"/>
                </a:solidFill>
                <a:effectLst/>
                <a:uLnTx/>
                <a:uFillTx/>
                <a:ea typeface="+mn-ea"/>
                <a:cs typeface="+mn-cs"/>
                <a:sym typeface="+mn-lt"/>
              </a:rPr>
              <a:t>XXX</a:t>
            </a:r>
            <a:endParaRPr kumimoji="0" lang="en-GB" b="0" i="0" u="none" strike="noStrike" kern="1200" cap="none" spc="0" normalizeH="0" baseline="0" noProof="0">
              <a:ln>
                <a:noFill/>
              </a:ln>
              <a:solidFill>
                <a:srgbClr val="3C3C3B"/>
              </a:solidFill>
              <a:effectLst/>
              <a:uLnTx/>
              <a:uFillTx/>
              <a:ea typeface="+mn-ea"/>
              <a:cs typeface="+mn-cs"/>
              <a:sym typeface="+mn-lt"/>
            </a:endParaRPr>
          </a:p>
        </p:txBody>
      </p:sp>
      <p:cxnSp>
        <p:nvCxnSpPr>
          <p:cNvPr id="483" name="Straight Connector 482">
            <a:extLst>
              <a:ext uri="{FF2B5EF4-FFF2-40B4-BE49-F238E27FC236}">
                <a16:creationId xmlns:a16="http://schemas.microsoft.com/office/drawing/2014/main" id="{AF9D478F-6902-87A9-2416-E8F50042F598}"/>
              </a:ext>
            </a:extLst>
          </p:cNvPr>
          <p:cNvCxnSpPr/>
          <p:nvPr>
            <p:custDataLst>
              <p:tags r:id="rId16"/>
            </p:custDataLst>
          </p:nvPr>
        </p:nvCxnSpPr>
        <p:spPr bwMode="gray">
          <a:xfrm flipV="1">
            <a:off x="1322388" y="2668588"/>
            <a:ext cx="0" cy="2778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0EA362AA-0C77-DC87-1ED6-A6EDF737442E}"/>
              </a:ext>
            </a:extLst>
          </p:cNvPr>
          <p:cNvCxnSpPr/>
          <p:nvPr>
            <p:custDataLst>
              <p:tags r:id="rId17"/>
            </p:custDataLst>
          </p:nvPr>
        </p:nvCxnSpPr>
        <p:spPr bwMode="gray">
          <a:xfrm>
            <a:off x="1322388" y="2668588"/>
            <a:ext cx="6477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769B58BA-611A-328A-B2ED-96B4074C8A4F}"/>
              </a:ext>
            </a:extLst>
          </p:cNvPr>
          <p:cNvCxnSpPr/>
          <p:nvPr>
            <p:custDataLst>
              <p:tags r:id="rId18"/>
            </p:custDataLst>
          </p:nvPr>
        </p:nvCxnSpPr>
        <p:spPr bwMode="gray">
          <a:xfrm>
            <a:off x="1970088" y="2668588"/>
            <a:ext cx="0" cy="1682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2F7E114-C735-1DEC-CAB6-E9186CE28C83}"/>
              </a:ext>
            </a:extLst>
          </p:cNvPr>
          <p:cNvCxnSpPr/>
          <p:nvPr>
            <p:custDataLst>
              <p:tags r:id="rId19"/>
            </p:custDataLst>
          </p:nvPr>
        </p:nvCxnSpPr>
        <p:spPr bwMode="gray">
          <a:xfrm>
            <a:off x="2692400" y="1885949"/>
            <a:ext cx="0" cy="7366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BB43A302-180D-9631-03F3-B2C8F4F465DE}"/>
              </a:ext>
            </a:extLst>
          </p:cNvPr>
          <p:cNvCxnSpPr/>
          <p:nvPr>
            <p:custDataLst>
              <p:tags r:id="rId20"/>
            </p:custDataLst>
          </p:nvPr>
        </p:nvCxnSpPr>
        <p:spPr bwMode="gray">
          <a:xfrm flipV="1">
            <a:off x="2046288" y="1885950"/>
            <a:ext cx="0" cy="9509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DDC0109D-BE05-2972-E4F9-500C593DA3CC}"/>
              </a:ext>
            </a:extLst>
          </p:cNvPr>
          <p:cNvCxnSpPr/>
          <p:nvPr>
            <p:custDataLst>
              <p:tags r:id="rId21"/>
            </p:custDataLst>
          </p:nvPr>
        </p:nvCxnSpPr>
        <p:spPr bwMode="gray">
          <a:xfrm>
            <a:off x="2046289" y="1885950"/>
            <a:ext cx="201612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EF699E5C-14FC-42CC-FCE3-94C97427C91B}"/>
              </a:ext>
            </a:extLst>
          </p:cNvPr>
          <p:cNvCxnSpPr/>
          <p:nvPr>
            <p:custDataLst>
              <p:tags r:id="rId22"/>
            </p:custDataLst>
          </p:nvPr>
        </p:nvCxnSpPr>
        <p:spPr bwMode="gray">
          <a:xfrm>
            <a:off x="4062413" y="1885950"/>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90" name="Text Placeholder 1">
            <a:extLst>
              <a:ext uri="{FF2B5EF4-FFF2-40B4-BE49-F238E27FC236}">
                <a16:creationId xmlns:a16="http://schemas.microsoft.com/office/drawing/2014/main" id="{3A69F84C-DECB-3E42-E1B3-D30DE94AE23E}"/>
              </a:ext>
            </a:extLst>
          </p:cNvPr>
          <p:cNvSpPr>
            <a:spLocks noGrp="1"/>
          </p:cNvSpPr>
          <p:nvPr>
            <p:custDataLst>
              <p:tags r:id="rId23"/>
            </p:custDataLst>
          </p:nvPr>
        </p:nvSpPr>
        <p:spPr bwMode="auto">
          <a:xfrm>
            <a:off x="1138238" y="43068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2210E403-BEF9-424B-8C78-7849830E06A3}" type="datetime'''''''''''''''''''2''0''1''''''''''''5'''''''''">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15</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64" name="Text Placeholder 1">
            <a:extLst>
              <a:ext uri="{FF2B5EF4-FFF2-40B4-BE49-F238E27FC236}">
                <a16:creationId xmlns:a16="http://schemas.microsoft.com/office/drawing/2014/main" id="{87A09D2B-5E35-3C0A-C20E-4CB27DAA557C}"/>
              </a:ext>
            </a:extLst>
          </p:cNvPr>
          <p:cNvSpPr>
            <a:spLocks noGrp="1"/>
          </p:cNvSpPr>
          <p:nvPr>
            <p:custDataLst>
              <p:tags r:id="rId24"/>
            </p:custDataLst>
          </p:nvPr>
        </p:nvSpPr>
        <p:spPr bwMode="auto">
          <a:xfrm>
            <a:off x="1824038" y="43068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8A3B173A-A020-46D1-91C5-56857E8EB4AE}" type="datetime'2''0''''''''''''''''''''''2''''''''''3'''''''''">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23</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96" name="Text Placeholder 1">
            <a:extLst>
              <a:ext uri="{FF2B5EF4-FFF2-40B4-BE49-F238E27FC236}">
                <a16:creationId xmlns:a16="http://schemas.microsoft.com/office/drawing/2014/main" id="{CDF55C0D-D49D-064A-9C5C-AEB5467D4C61}"/>
              </a:ext>
            </a:extLst>
          </p:cNvPr>
          <p:cNvSpPr>
            <a:spLocks noGrp="1"/>
          </p:cNvSpPr>
          <p:nvPr>
            <p:custDataLst>
              <p:tags r:id="rId25"/>
            </p:custDataLst>
          </p:nvPr>
        </p:nvSpPr>
        <p:spPr bwMode="auto">
          <a:xfrm>
            <a:off x="2508250" y="43068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AC3BD905-1179-4E84-86F2-629FB8BCFE42}" type="datetime'''''''''''2''''''0''''''''''''''3''''''''''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03" name="Text Placeholder 1">
            <a:extLst>
              <a:ext uri="{FF2B5EF4-FFF2-40B4-BE49-F238E27FC236}">
                <a16:creationId xmlns:a16="http://schemas.microsoft.com/office/drawing/2014/main" id="{581A193C-046B-EC13-AF27-781EA6CE9FEF}"/>
              </a:ext>
            </a:extLst>
          </p:cNvPr>
          <p:cNvSpPr>
            <a:spLocks noGrp="1"/>
          </p:cNvSpPr>
          <p:nvPr>
            <p:custDataLst>
              <p:tags r:id="rId26"/>
            </p:custDataLst>
          </p:nvPr>
        </p:nvSpPr>
        <p:spPr bwMode="auto">
          <a:xfrm>
            <a:off x="3194050" y="43068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C0BEE70E-AA0A-4B5C-8E0E-6CEDA9DD5D1E}" type="datetime'''2''''''''''''''''''''''0''''''''''''''''''4''''''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09" name="Text Placeholder 1">
            <a:extLst>
              <a:ext uri="{FF2B5EF4-FFF2-40B4-BE49-F238E27FC236}">
                <a16:creationId xmlns:a16="http://schemas.microsoft.com/office/drawing/2014/main" id="{E48FC474-3B41-236D-24AC-F60BE2090D5F}"/>
              </a:ext>
            </a:extLst>
          </p:cNvPr>
          <p:cNvSpPr>
            <a:spLocks noGrp="1"/>
          </p:cNvSpPr>
          <p:nvPr>
            <p:custDataLst>
              <p:tags r:id="rId27"/>
            </p:custDataLst>
          </p:nvPr>
        </p:nvSpPr>
        <p:spPr bwMode="auto">
          <a:xfrm>
            <a:off x="3878263" y="4306888"/>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93C33526-0D3B-4842-8821-3695219E29B7}" type="datetime'''''''20''''5''''''''''''''''''''''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73" name="Text Placeholder 19">
            <a:extLst>
              <a:ext uri="{FF2B5EF4-FFF2-40B4-BE49-F238E27FC236}">
                <a16:creationId xmlns:a16="http://schemas.microsoft.com/office/drawing/2014/main" id="{5864AE00-1500-3F4D-1C47-6C5863C6F711}"/>
              </a:ext>
            </a:extLst>
          </p:cNvPr>
          <p:cNvSpPr>
            <a:spLocks noGrp="1"/>
          </p:cNvSpPr>
          <p:nvPr>
            <p:custDataLst>
              <p:tags r:id="rId28"/>
            </p:custDataLst>
          </p:nvPr>
        </p:nvSpPr>
        <p:spPr bwMode="auto">
          <a:xfrm>
            <a:off x="1414463" y="2540000"/>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sym typeface="+mn-lt"/>
              </a:rPr>
              <a:t>XX%</a:t>
            </a:r>
          </a:p>
        </p:txBody>
      </p:sp>
      <p:sp>
        <p:nvSpPr>
          <p:cNvPr id="7" name="Text Placeholder 19">
            <a:extLst>
              <a:ext uri="{FF2B5EF4-FFF2-40B4-BE49-F238E27FC236}">
                <a16:creationId xmlns:a16="http://schemas.microsoft.com/office/drawing/2014/main" id="{9F9869AF-B0F6-4E89-B216-4EC18C7334C2}"/>
              </a:ext>
            </a:extLst>
          </p:cNvPr>
          <p:cNvSpPr>
            <a:spLocks noGrp="1"/>
          </p:cNvSpPr>
          <p:nvPr>
            <p:custDataLst>
              <p:tags r:id="rId29"/>
            </p:custDataLst>
          </p:nvPr>
        </p:nvSpPr>
        <p:spPr bwMode="auto">
          <a:xfrm>
            <a:off x="2136775" y="1757363"/>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74" name="Text Placeholder 19">
            <a:extLst>
              <a:ext uri="{FF2B5EF4-FFF2-40B4-BE49-F238E27FC236}">
                <a16:creationId xmlns:a16="http://schemas.microsoft.com/office/drawing/2014/main" id="{463B5770-76F6-D71C-E163-DEB427AFF318}"/>
              </a:ext>
            </a:extLst>
          </p:cNvPr>
          <p:cNvSpPr>
            <a:spLocks noGrp="1"/>
          </p:cNvSpPr>
          <p:nvPr>
            <p:custDataLst>
              <p:tags r:id="rId30"/>
            </p:custDataLst>
          </p:nvPr>
        </p:nvSpPr>
        <p:spPr bwMode="auto">
          <a:xfrm>
            <a:off x="3144838" y="1757363"/>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75" name="Rectangle 74">
            <a:extLst>
              <a:ext uri="{FF2B5EF4-FFF2-40B4-BE49-F238E27FC236}">
                <a16:creationId xmlns:a16="http://schemas.microsoft.com/office/drawing/2014/main" id="{9A04EE42-0519-00FF-2E17-CE69CE94CF51}"/>
              </a:ext>
            </a:extLst>
          </p:cNvPr>
          <p:cNvSpPr/>
          <p:nvPr>
            <p:custDataLst>
              <p:tags r:id="rId31"/>
            </p:custDataLst>
          </p:nvPr>
        </p:nvSpPr>
        <p:spPr bwMode="auto">
          <a:xfrm>
            <a:off x="431800" y="6291263"/>
            <a:ext cx="179388" cy="133350"/>
          </a:xfrm>
          <a:prstGeom prst="rect">
            <a:avLst/>
          </a:prstGeom>
          <a:solidFill>
            <a:srgbClr val="5A5A5A"/>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76" name="Rectangle 75">
            <a:extLst>
              <a:ext uri="{FF2B5EF4-FFF2-40B4-BE49-F238E27FC236}">
                <a16:creationId xmlns:a16="http://schemas.microsoft.com/office/drawing/2014/main" id="{1FE770D2-E4DE-1180-08F4-7F306BEBE714}"/>
              </a:ext>
            </a:extLst>
          </p:cNvPr>
          <p:cNvSpPr/>
          <p:nvPr>
            <p:custDataLst>
              <p:tags r:id="rId32"/>
            </p:custDataLst>
          </p:nvPr>
        </p:nvSpPr>
        <p:spPr bwMode="auto">
          <a:xfrm>
            <a:off x="1301750" y="6291263"/>
            <a:ext cx="179388" cy="133350"/>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rgbClr val="3C3C3B"/>
              </a:solidFill>
              <a:effectLst/>
              <a:uLnTx/>
              <a:uFillTx/>
              <a:latin typeface="Lato"/>
              <a:ea typeface="+mn-ea"/>
              <a:cs typeface="+mn-cs"/>
            </a:endParaRPr>
          </a:p>
        </p:txBody>
      </p:sp>
      <p:sp>
        <p:nvSpPr>
          <p:cNvPr id="77" name="Rectangle 76">
            <a:extLst>
              <a:ext uri="{FF2B5EF4-FFF2-40B4-BE49-F238E27FC236}">
                <a16:creationId xmlns:a16="http://schemas.microsoft.com/office/drawing/2014/main" id="{9842D26C-C15C-C517-2D75-F192661AB63C}"/>
              </a:ext>
            </a:extLst>
          </p:cNvPr>
          <p:cNvSpPr/>
          <p:nvPr>
            <p:custDataLst>
              <p:tags r:id="rId33"/>
            </p:custDataLst>
          </p:nvPr>
        </p:nvSpPr>
        <p:spPr bwMode="auto">
          <a:xfrm>
            <a:off x="2803525" y="6291263"/>
            <a:ext cx="179388" cy="133350"/>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rgbClr val="3C3C3B"/>
              </a:solidFill>
              <a:effectLst/>
              <a:uLnTx/>
              <a:uFillTx/>
              <a:latin typeface="Lato"/>
              <a:ea typeface="+mn-ea"/>
              <a:cs typeface="+mn-cs"/>
            </a:endParaRPr>
          </a:p>
        </p:txBody>
      </p:sp>
      <p:sp>
        <p:nvSpPr>
          <p:cNvPr id="78" name="Rectangle 77">
            <a:extLst>
              <a:ext uri="{FF2B5EF4-FFF2-40B4-BE49-F238E27FC236}">
                <a16:creationId xmlns:a16="http://schemas.microsoft.com/office/drawing/2014/main" id="{0F73C09E-5854-E6E1-D0F9-721C84917192}"/>
              </a:ext>
            </a:extLst>
          </p:cNvPr>
          <p:cNvSpPr/>
          <p:nvPr>
            <p:custDataLst>
              <p:tags r:id="rId34"/>
            </p:custDataLst>
          </p:nvPr>
        </p:nvSpPr>
        <p:spPr bwMode="auto">
          <a:xfrm>
            <a:off x="3409950" y="6291263"/>
            <a:ext cx="179388" cy="133350"/>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rgbClr val="3C3C3B"/>
              </a:solidFill>
              <a:effectLst/>
              <a:uLnTx/>
              <a:uFillTx/>
              <a:latin typeface="Lato"/>
              <a:ea typeface="+mn-ea"/>
              <a:cs typeface="+mn-cs"/>
            </a:endParaRPr>
          </a:p>
        </p:txBody>
      </p:sp>
      <p:sp>
        <p:nvSpPr>
          <p:cNvPr id="79" name="Rectangle 78">
            <a:extLst>
              <a:ext uri="{FF2B5EF4-FFF2-40B4-BE49-F238E27FC236}">
                <a16:creationId xmlns:a16="http://schemas.microsoft.com/office/drawing/2014/main" id="{8D220A6B-D03E-8BE7-6E2E-358FB646B1A9}"/>
              </a:ext>
            </a:extLst>
          </p:cNvPr>
          <p:cNvSpPr/>
          <p:nvPr>
            <p:custDataLst>
              <p:tags r:id="rId35"/>
            </p:custDataLst>
          </p:nvPr>
        </p:nvSpPr>
        <p:spPr bwMode="auto">
          <a:xfrm>
            <a:off x="4581525" y="6291263"/>
            <a:ext cx="179388" cy="133350"/>
          </a:xfrm>
          <a:prstGeom prst="rect">
            <a:avLst/>
          </a:prstGeom>
          <a:solidFill>
            <a:srgbClr val="E1C4E1"/>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80" name="Text Placeholder 1">
            <a:extLst>
              <a:ext uri="{FF2B5EF4-FFF2-40B4-BE49-F238E27FC236}">
                <a16:creationId xmlns:a16="http://schemas.microsoft.com/office/drawing/2014/main" id="{0C0DE249-934E-A242-CA1B-328E1FC30A9B}"/>
              </a:ext>
            </a:extLst>
          </p:cNvPr>
          <p:cNvSpPr>
            <a:spLocks noGrp="1"/>
          </p:cNvSpPr>
          <p:nvPr>
            <p:custDataLst>
              <p:tags r:id="rId36"/>
            </p:custDataLst>
          </p:nvPr>
        </p:nvSpPr>
        <p:spPr bwMode="auto">
          <a:xfrm>
            <a:off x="661988" y="6299200"/>
            <a:ext cx="538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08CDCD78-4F7A-4B81-8B56-8D4CAEC0061D}" type="datetime'''''''''''H''''i''''''''st''or''''''i''''''''''''c''a''l'''">
              <a:rPr kumimoji="0" lang="en-GB" altLang="en-US" sz="1000" b="0" i="0" u="none" strike="noStrike" kern="1200" cap="none" spc="0" normalizeH="0" baseline="0" noProof="0" smtClean="0">
                <a:ln>
                  <a:noFill/>
                </a:ln>
                <a:solidFill>
                  <a:srgbClr val="3C3C3B"/>
                </a:solidFill>
                <a:effectLst/>
                <a:uLnTx/>
                <a:uFillTx/>
                <a:latin typeface="Lato"/>
                <a:ea typeface="+mn-ea"/>
                <a:cs typeface="+mn-cs"/>
              </a:rPr>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Historical</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81" name="Text Placeholder 1">
            <a:extLst>
              <a:ext uri="{FF2B5EF4-FFF2-40B4-BE49-F238E27FC236}">
                <a16:creationId xmlns:a16="http://schemas.microsoft.com/office/drawing/2014/main" id="{2B288F1F-D5BE-29C5-1E5A-2680BEEC48BB}"/>
              </a:ext>
            </a:extLst>
          </p:cNvPr>
          <p:cNvSpPr>
            <a:spLocks noGrp="1"/>
          </p:cNvSpPr>
          <p:nvPr>
            <p:custDataLst>
              <p:tags r:id="rId37"/>
            </p:custDataLst>
          </p:nvPr>
        </p:nvSpPr>
        <p:spPr bwMode="auto">
          <a:xfrm>
            <a:off x="1531938" y="6299200"/>
            <a:ext cx="11699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5140E455-C603-4A02-A11C-2FD05B5801A3}" type="datetime'''B''''''a''s''e ''po''''we''''r'''' d''''''em''''''an''d'">
              <a:rPr kumimoji="0" lang="en-GB" altLang="en-US" sz="1000" b="0" i="0" u="none" strike="noStrike" kern="1200" cap="none" spc="0" normalizeH="0" baseline="0" noProof="0" smtClean="0">
                <a:ln>
                  <a:noFill/>
                </a:ln>
                <a:solidFill>
                  <a:srgbClr val="3C3C3B"/>
                </a:solidFill>
                <a:effectLst/>
                <a:uLnTx/>
                <a:uFillTx/>
                <a:latin typeface="Lato"/>
                <a:ea typeface="+mn-ea"/>
                <a:cs typeface="+mn-cs"/>
              </a:rPr>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Base power demand</a:t>
            </a:fld>
            <a:r>
              <a:rPr kumimoji="0" lang="en-GB" altLang="en-US" sz="1000" b="0" i="0" u="none" strike="noStrike" kern="1200" cap="none" spc="0" normalizeH="0" baseline="30000" noProof="0">
                <a:ln>
                  <a:noFill/>
                </a:ln>
                <a:solidFill>
                  <a:srgbClr val="3C3C3B"/>
                </a:solidFill>
                <a:effectLst/>
                <a:uLnTx/>
                <a:uFillTx/>
                <a:latin typeface="Lato"/>
                <a:ea typeface="+mn-ea"/>
                <a:cs typeface="+mn-cs"/>
              </a:rPr>
              <a:t>3</a:t>
            </a:r>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82" name="Text Placeholder 1">
            <a:extLst>
              <a:ext uri="{FF2B5EF4-FFF2-40B4-BE49-F238E27FC236}">
                <a16:creationId xmlns:a16="http://schemas.microsoft.com/office/drawing/2014/main" id="{0CFF0FC9-1270-3CF0-1DAA-902BA71FB47F}"/>
              </a:ext>
            </a:extLst>
          </p:cNvPr>
          <p:cNvSpPr>
            <a:spLocks noGrp="1"/>
          </p:cNvSpPr>
          <p:nvPr>
            <p:custDataLst>
              <p:tags r:id="rId38"/>
            </p:custDataLst>
          </p:nvPr>
        </p:nvSpPr>
        <p:spPr bwMode="auto">
          <a:xfrm>
            <a:off x="3033713" y="6299200"/>
            <a:ext cx="2746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55EBB82B-EE42-4725-9AB5-C9A27563A896}" type="datetime'''''''''''''H''''''''''''''''''''''e''a''''t'''''''''''''">
              <a:rPr kumimoji="0" lang="en-GB" altLang="en-US" sz="1000" b="0" i="0" u="none" strike="noStrike" kern="1200" cap="none" spc="0" normalizeH="0" baseline="0" noProof="0" smtClean="0">
                <a:ln>
                  <a:noFill/>
                </a:ln>
                <a:solidFill>
                  <a:srgbClr val="3C3C3B"/>
                </a:solidFill>
                <a:effectLst/>
                <a:uLnTx/>
                <a:uFillTx/>
                <a:latin typeface="Lato"/>
                <a:ea typeface="+mn-ea"/>
                <a:cs typeface="+mn-cs"/>
              </a:rPr>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Heat</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83" name="Text Placeholder 1">
            <a:extLst>
              <a:ext uri="{FF2B5EF4-FFF2-40B4-BE49-F238E27FC236}">
                <a16:creationId xmlns:a16="http://schemas.microsoft.com/office/drawing/2014/main" id="{3FFB9F9C-FF98-1C82-55CD-CA7E40805C00}"/>
              </a:ext>
            </a:extLst>
          </p:cNvPr>
          <p:cNvSpPr>
            <a:spLocks noGrp="1"/>
          </p:cNvSpPr>
          <p:nvPr>
            <p:custDataLst>
              <p:tags r:id="rId39"/>
            </p:custDataLst>
          </p:nvPr>
        </p:nvSpPr>
        <p:spPr bwMode="auto">
          <a:xfrm>
            <a:off x="3640137" y="6299200"/>
            <a:ext cx="8397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5D6BE83D-2874-40C8-9CE6-7EBE1525DCC3}" type="datetime'''''''''''Ro''ad ''''t''r''a''ns''''''p''''o''''''''rt'''">
              <a:rPr kumimoji="0" lang="en-GB" altLang="en-US" sz="1000" b="0" i="0" u="none" strike="noStrike" kern="1200" cap="none" spc="0" normalizeH="0" baseline="0" noProof="0" smtClean="0">
                <a:ln>
                  <a:noFill/>
                </a:ln>
                <a:solidFill>
                  <a:srgbClr val="3C3C3B"/>
                </a:solidFill>
                <a:effectLst/>
                <a:uLnTx/>
                <a:uFillTx/>
                <a:latin typeface="Lato"/>
                <a:ea typeface="+mn-ea"/>
                <a:cs typeface="+mn-cs"/>
              </a:rPr>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Road transport</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85" name="Text Placeholder 1">
            <a:extLst>
              <a:ext uri="{FF2B5EF4-FFF2-40B4-BE49-F238E27FC236}">
                <a16:creationId xmlns:a16="http://schemas.microsoft.com/office/drawing/2014/main" id="{2D1B18C1-D03F-8E39-F20F-C8C8F1743CA7}"/>
              </a:ext>
            </a:extLst>
          </p:cNvPr>
          <p:cNvSpPr>
            <a:spLocks noGrp="1"/>
          </p:cNvSpPr>
          <p:nvPr>
            <p:custDataLst>
              <p:tags r:id="rId40"/>
            </p:custDataLst>
          </p:nvPr>
        </p:nvSpPr>
        <p:spPr bwMode="auto">
          <a:xfrm>
            <a:off x="4811713" y="6299200"/>
            <a:ext cx="577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fld id="{7FAED0A2-9C98-4616-A865-8A3078030714}" type="datetime'''''H''yd''''''''''''''r''''''''o''''''''g''''''''''e''''''n '">
              <a:rPr kumimoji="0" lang="en-GB" altLang="en-US" sz="1000" b="0" i="0" u="none" strike="noStrike" kern="1200" cap="none" spc="0" normalizeH="0" baseline="0" noProof="0" smtClean="0">
                <a:ln>
                  <a:noFill/>
                </a:ln>
                <a:solidFill>
                  <a:srgbClr val="3C3C3B"/>
                </a:solidFill>
                <a:effectLst/>
                <a:uLnTx/>
                <a:uFillTx/>
                <a:latin typeface="Lato"/>
                <a:ea typeface="+mn-ea"/>
                <a:cs typeface="+mn-cs"/>
              </a:rPr>
              <a:pPr marL="0" marR="0" lvl="0" indent="0" algn="l" defTabSz="685783" rtl="0" eaLnBrk="1" fontAlgn="auto" latinLnBrk="0" hangingPunct="1">
                <a:lnSpc>
                  <a:spcPct val="90000"/>
                </a:lnSpc>
                <a:spcBef>
                  <a:spcPct val="0"/>
                </a:spcBef>
                <a:spcAft>
                  <a:spcPct val="0"/>
                </a:spcAft>
                <a:buClrTx/>
                <a:buSzTx/>
                <a:buFont typeface="Wingdings" panose="05000000000000000000" pitchFamily="2" charset="2"/>
                <a:buNone/>
                <a:tabLst/>
                <a:defRPr/>
              </a:pPr>
              <a:t>Hydrogen </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87" name="Text Placeholder 30">
            <a:extLst>
              <a:ext uri="{FF2B5EF4-FFF2-40B4-BE49-F238E27FC236}">
                <a16:creationId xmlns:a16="http://schemas.microsoft.com/office/drawing/2014/main" id="{F7EBDE63-29A5-1F0D-EC77-72D43C4FAA40}"/>
              </a:ext>
            </a:extLst>
          </p:cNvPr>
          <p:cNvSpPr txBox="1">
            <a:spLocks/>
          </p:cNvSpPr>
          <p:nvPr/>
        </p:nvSpPr>
        <p:spPr>
          <a:xfrm>
            <a:off x="406599" y="1265524"/>
            <a:ext cx="5376000" cy="368300"/>
          </a:xfrm>
          <a:prstGeom prst="rect">
            <a:avLst/>
          </a:prstGeom>
        </p:spPr>
        <p:txBody>
          <a:bodyPr lIns="0" tIns="0" rIns="0" bIns="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nnual power demand in Europe (Aurora Central scenario)</a:t>
            </a:r>
            <a:r>
              <a:rPr kumimoji="0" lang="en-GB" sz="1200" b="1" i="0" u="none" strike="noStrike" kern="1200" cap="none" spc="0" normalizeH="0" baseline="30000" noProof="0">
                <a:ln>
                  <a:noFill/>
                </a:ln>
                <a:solidFill>
                  <a:srgbClr val="3C3C3B"/>
                </a:solidFill>
                <a:effectLst/>
                <a:uLnTx/>
                <a:uFillTx/>
                <a:latin typeface="Lato"/>
                <a:ea typeface="Lato"/>
                <a:cs typeface="Lato"/>
                <a:sym typeface="Lato" panose="020F0502020204030203" pitchFamily="34" charset="0"/>
              </a:rPr>
              <a:t>1</a:t>
            </a:r>
            <a:br>
              <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rPr>
            </a:br>
            <a:r>
              <a:rPr kumimoji="0" lang="en-GB" sz="1200" b="0" i="0" u="none" strike="noStrike" kern="1200" cap="none" spc="0" normalizeH="0" baseline="0" noProof="0">
                <a:ln>
                  <a:noFill/>
                </a:ln>
                <a:solidFill>
                  <a:srgbClr val="838383"/>
                </a:solidFill>
                <a:effectLst/>
                <a:uLnTx/>
                <a:uFillTx/>
                <a:latin typeface="Lato"/>
                <a:ea typeface="Lato"/>
                <a:cs typeface="Lato"/>
                <a:sym typeface="Lato" panose="020F0502020204030203" pitchFamily="34" charset="0"/>
              </a:rPr>
              <a:t>TWh</a:t>
            </a:r>
          </a:p>
        </p:txBody>
      </p:sp>
      <p:sp>
        <p:nvSpPr>
          <p:cNvPr id="88" name="Text Placeholder 30">
            <a:extLst>
              <a:ext uri="{FF2B5EF4-FFF2-40B4-BE49-F238E27FC236}">
                <a16:creationId xmlns:a16="http://schemas.microsoft.com/office/drawing/2014/main" id="{9F95DD74-3249-9597-9C72-463290B95B62}"/>
              </a:ext>
            </a:extLst>
          </p:cNvPr>
          <p:cNvSpPr txBox="1">
            <a:spLocks/>
          </p:cNvSpPr>
          <p:nvPr/>
        </p:nvSpPr>
        <p:spPr>
          <a:xfrm>
            <a:off x="5001353" y="1242472"/>
            <a:ext cx="3980718" cy="305960"/>
          </a:xfrm>
          <a:prstGeom prst="rect">
            <a:avLst/>
          </a:prstGeom>
        </p:spPr>
        <p:txBody>
          <a:bodyPr lIns="0" tIns="0" rIns="0" bIns="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b="1">
                <a:solidFill>
                  <a:srgbClr val="3C3C3B"/>
                </a:solidFill>
                <a:latin typeface="Lato"/>
                <a:ea typeface="Lato"/>
                <a:cs typeface="Lato"/>
              </a:rPr>
              <a:t>P</a:t>
            </a:r>
            <a:r>
              <a:rPr kumimoji="0" lang="en-GB" sz="1200" b="1" i="0" u="none" strike="noStrike" kern="1200" cap="none" spc="0" normalizeH="0" baseline="0" noProof="0" err="1">
                <a:ln>
                  <a:noFill/>
                </a:ln>
                <a:solidFill>
                  <a:srgbClr val="3C3C3B"/>
                </a:solidFill>
                <a:effectLst/>
                <a:uLnTx/>
                <a:uFillTx/>
                <a:latin typeface="Lato"/>
                <a:ea typeface="Lato"/>
                <a:cs typeface="Lato"/>
                <a:sym typeface="Lato" panose="020F0502020204030203" pitchFamily="34" charset="0"/>
              </a:rPr>
              <a:t>ercentage</a:t>
            </a: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 growth in demand by 2050</a:t>
            </a:r>
            <a:r>
              <a:rPr kumimoji="0" lang="en-GB" sz="1200" b="1" i="0" u="none" strike="noStrike" kern="1200" cap="none" spc="0" normalizeH="0" baseline="30000" noProof="0">
                <a:ln>
                  <a:noFill/>
                </a:ln>
                <a:solidFill>
                  <a:srgbClr val="3C3C3B"/>
                </a:solidFill>
                <a:effectLst/>
                <a:uLnTx/>
                <a:uFillTx/>
                <a:latin typeface="Lato"/>
                <a:ea typeface="Lato"/>
                <a:cs typeface="Lato"/>
                <a:sym typeface="Lato" panose="020F0502020204030203" pitchFamily="34" charset="0"/>
              </a:rPr>
              <a:t>1</a:t>
            </a:r>
            <a:r>
              <a:rPr lang="en-GB" sz="1200" b="1">
                <a:solidFill>
                  <a:srgbClr val="3C3C3B"/>
                </a:solidFill>
                <a:latin typeface="Lato"/>
                <a:ea typeface="Lato"/>
                <a:cs typeface="Lato"/>
              </a:rPr>
              <a:t> </a:t>
            </a: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relative to 2023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838383"/>
                </a:solidFill>
                <a:effectLst/>
                <a:uLnTx/>
                <a:uFillTx/>
                <a:latin typeface="Lato"/>
                <a:ea typeface="Lato"/>
                <a:cs typeface="Lato"/>
                <a:sym typeface="Lato" panose="020F0502020204030203" pitchFamily="34" charset="0"/>
              </a:rPr>
              <a:t>%</a:t>
            </a:r>
          </a:p>
        </p:txBody>
      </p:sp>
      <p:sp>
        <p:nvSpPr>
          <p:cNvPr id="91" name="TextBox 90">
            <a:extLst>
              <a:ext uri="{FF2B5EF4-FFF2-40B4-BE49-F238E27FC236}">
                <a16:creationId xmlns:a16="http://schemas.microsoft.com/office/drawing/2014/main" id="{5DEECA41-F513-6783-D971-0E6F392C8169}"/>
              </a:ext>
            </a:extLst>
          </p:cNvPr>
          <p:cNvSpPr txBox="1"/>
          <p:nvPr/>
        </p:nvSpPr>
        <p:spPr>
          <a:xfrm>
            <a:off x="393699" y="4519142"/>
            <a:ext cx="4011613" cy="1554272"/>
          </a:xfrm>
          <a:prstGeom prst="rect">
            <a:avLst/>
          </a:prstGeom>
          <a:noFill/>
        </p:spPr>
        <p:txBody>
          <a:bodyPr wrap="square" lIns="0" tIns="0" rIns="0" bIns="0" rtlCol="0">
            <a:spAutoFit/>
          </a:bodyPr>
          <a:lstStyle/>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In Aurora’s Central outlook, European power demand increases by </a:t>
            </a:r>
            <a:r>
              <a:rPr lang="en-GB" sz="1200">
                <a:solidFill>
                  <a:srgbClr val="808080"/>
                </a:solidFill>
                <a:highlight>
                  <a:srgbClr val="808080"/>
                </a:highlight>
              </a:rPr>
              <a:t>xx</a:t>
            </a:r>
            <a:r>
              <a:rPr kumimoji="0" lang="en-GB" sz="1200" b="0" i="0" u="none" strike="noStrike" kern="1200" cap="none" spc="0" normalizeH="0" baseline="0" noProof="0">
                <a:ln>
                  <a:noFill/>
                </a:ln>
                <a:solidFill>
                  <a:srgbClr val="3C3C3B"/>
                </a:solidFill>
                <a:effectLst/>
                <a:uLnTx/>
                <a:uFillTx/>
                <a:latin typeface="Lato"/>
                <a:ea typeface="+mn-ea"/>
                <a:cs typeface="+mn-cs"/>
              </a:rPr>
              <a:t>% to 2030 and </a:t>
            </a:r>
            <a:r>
              <a:rPr lang="en-GB" sz="1200">
                <a:solidFill>
                  <a:srgbClr val="808080"/>
                </a:solidFill>
                <a:highlight>
                  <a:srgbClr val="808080"/>
                </a:highlight>
              </a:rPr>
              <a:t>xx</a:t>
            </a:r>
            <a:r>
              <a:rPr kumimoji="0" lang="en-GB" sz="1200" b="0" i="0" u="none" strike="noStrike" kern="1200" cap="none" spc="0" normalizeH="0" baseline="0" noProof="0">
                <a:ln>
                  <a:noFill/>
                </a:ln>
                <a:solidFill>
                  <a:srgbClr val="3C3C3B"/>
                </a:solidFill>
                <a:effectLst/>
                <a:uLnTx/>
                <a:uFillTx/>
                <a:latin typeface="Lato"/>
                <a:ea typeface="+mn-ea"/>
                <a:cs typeface="+mn-cs"/>
              </a:rPr>
              <a:t>% to 2050. Hydrogen makes up the largest share of new demand, followed by electric vehicles, electrification of industry (included in base demand) and heating.</a:t>
            </a:r>
          </a:p>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808080"/>
                </a:solidFill>
                <a:effectLst/>
                <a:highlight>
                  <a:srgbClr val="808080"/>
                </a:highlight>
                <a:uLnTx/>
                <a:uFillTx/>
                <a:latin typeface="Lato"/>
                <a:ea typeface="+mn-ea"/>
                <a:cs typeface="+mn-cs"/>
              </a:rPr>
              <a:t>xx</a:t>
            </a:r>
            <a:r>
              <a:rPr kumimoji="0" lang="en-GB" sz="1200" b="0" i="0" u="none" strike="noStrike" kern="1200" cap="none" spc="0" normalizeH="0" baseline="0" noProof="0">
                <a:ln>
                  <a:noFill/>
                </a:ln>
                <a:solidFill>
                  <a:srgbClr val="808080"/>
                </a:solidFill>
                <a:effectLst/>
                <a:uLnTx/>
                <a:uFillTx/>
                <a:latin typeface="Lato"/>
                <a:ea typeface="+mn-ea"/>
                <a:cs typeface="+mn-cs"/>
              </a:rPr>
              <a:t> </a:t>
            </a:r>
            <a:r>
              <a:rPr kumimoji="0" lang="en-GB" sz="1200" b="0" i="0" u="none" strike="noStrike" kern="1200" cap="none" spc="0" normalizeH="0" baseline="0" noProof="0">
                <a:ln>
                  <a:noFill/>
                </a:ln>
                <a:solidFill>
                  <a:srgbClr val="3C3C3B"/>
                </a:solidFill>
                <a:effectLst/>
                <a:uLnTx/>
                <a:uFillTx/>
                <a:latin typeface="Lato"/>
                <a:ea typeface="+mn-ea"/>
                <a:cs typeface="+mn-cs"/>
              </a:rPr>
              <a:t>TWh of electricity </a:t>
            </a:r>
            <a:r>
              <a:rPr lang="en-GB" sz="1200">
                <a:solidFill>
                  <a:srgbClr val="808080"/>
                </a:solidFill>
                <a:highlight>
                  <a:srgbClr val="808080"/>
                </a:highlight>
              </a:rPr>
              <a:t>xx</a:t>
            </a:r>
            <a:r>
              <a:rPr kumimoji="0" lang="en-GB" sz="1200" b="0" i="0" u="none" strike="noStrike" kern="1200" cap="none" spc="0" normalizeH="0" baseline="0" noProof="0">
                <a:ln>
                  <a:noFill/>
                </a:ln>
                <a:solidFill>
                  <a:srgbClr val="3C3C3B"/>
                </a:solidFill>
                <a:effectLst/>
                <a:uLnTx/>
                <a:uFillTx/>
                <a:latin typeface="Lato"/>
                <a:ea typeface="+mn-ea"/>
                <a:cs typeface="+mn-cs"/>
              </a:rPr>
              <a:t>% of demand) in 2050 is used by electrolysers to produce green hydrogen, largely for consumption in industrial processes.</a:t>
            </a:r>
          </a:p>
        </p:txBody>
      </p:sp>
      <p:sp>
        <p:nvSpPr>
          <p:cNvPr id="209" name="Rectangle 208">
            <a:extLst>
              <a:ext uri="{FF2B5EF4-FFF2-40B4-BE49-F238E27FC236}">
                <a16:creationId xmlns:a16="http://schemas.microsoft.com/office/drawing/2014/main" id="{FC0DDD4E-C2AB-4402-2479-0B02FA76C7FD}"/>
              </a:ext>
            </a:extLst>
          </p:cNvPr>
          <p:cNvSpPr/>
          <p:nvPr>
            <p:custDataLst>
              <p:tags r:id="rId41"/>
            </p:custDataLst>
          </p:nvPr>
        </p:nvSpPr>
        <p:spPr bwMode="auto">
          <a:xfrm>
            <a:off x="8072438" y="5873750"/>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54" name="Rectangle 553">
            <a:extLst>
              <a:ext uri="{FF2B5EF4-FFF2-40B4-BE49-F238E27FC236}">
                <a16:creationId xmlns:a16="http://schemas.microsoft.com/office/drawing/2014/main" id="{999E9BD8-9062-4991-5C38-5151267A3590}"/>
              </a:ext>
            </a:extLst>
          </p:cNvPr>
          <p:cNvSpPr/>
          <p:nvPr>
            <p:custDataLst>
              <p:tags r:id="rId42"/>
            </p:custDataLst>
          </p:nvPr>
        </p:nvSpPr>
        <p:spPr bwMode="auto">
          <a:xfrm>
            <a:off x="8072438" y="6076950"/>
            <a:ext cx="179388" cy="133350"/>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11" name="Text Placeholder 19">
            <a:extLst>
              <a:ext uri="{FF2B5EF4-FFF2-40B4-BE49-F238E27FC236}">
                <a16:creationId xmlns:a16="http://schemas.microsoft.com/office/drawing/2014/main" id="{586A419E-DCF7-432E-4884-ECD73ECDB073}"/>
              </a:ext>
            </a:extLst>
          </p:cNvPr>
          <p:cNvSpPr>
            <a:spLocks noGrp="1"/>
          </p:cNvSpPr>
          <p:nvPr>
            <p:custDataLst>
              <p:tags r:id="rId43"/>
            </p:custDataLst>
          </p:nvPr>
        </p:nvSpPr>
        <p:spPr bwMode="auto">
          <a:xfrm>
            <a:off x="8302625" y="5868988"/>
            <a:ext cx="628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sz="1000">
                <a:solidFill>
                  <a:srgbClr val="3C3C3B"/>
                </a:solidFill>
                <a:latin typeface="Lato"/>
              </a:rPr>
              <a:t>2024-2030</a:t>
            </a:r>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93" name="Text Placeholder 19">
            <a:extLst>
              <a:ext uri="{FF2B5EF4-FFF2-40B4-BE49-F238E27FC236}">
                <a16:creationId xmlns:a16="http://schemas.microsoft.com/office/drawing/2014/main" id="{0750CC39-5462-53DC-6DD0-D6ACF32E2411}"/>
              </a:ext>
            </a:extLst>
          </p:cNvPr>
          <p:cNvSpPr>
            <a:spLocks noGrp="1"/>
          </p:cNvSpPr>
          <p:nvPr>
            <p:custDataLst>
              <p:tags r:id="rId44"/>
            </p:custDataLst>
          </p:nvPr>
        </p:nvSpPr>
        <p:spPr bwMode="auto">
          <a:xfrm>
            <a:off x="8302625" y="6072188"/>
            <a:ext cx="628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000" b="0" i="0" u="none" strike="noStrike" kern="1200" cap="none" spc="0" normalizeH="0" baseline="0" noProof="0">
                <a:ln>
                  <a:noFill/>
                </a:ln>
                <a:solidFill>
                  <a:srgbClr val="3C3C3B"/>
                </a:solidFill>
                <a:effectLst/>
                <a:uLnTx/>
                <a:uFillTx/>
                <a:latin typeface="Lato"/>
                <a:sym typeface="Lato" panose="020F0502020204030203" pitchFamily="34" charset="0"/>
              </a:rPr>
              <a:t>2031-2050</a:t>
            </a:r>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93" name="Oval 592">
            <a:extLst>
              <a:ext uri="{FF2B5EF4-FFF2-40B4-BE49-F238E27FC236}">
                <a16:creationId xmlns:a16="http://schemas.microsoft.com/office/drawing/2014/main" id="{8C097628-201D-855B-FF64-9584FE4F4695}"/>
              </a:ext>
            </a:extLst>
          </p:cNvPr>
          <p:cNvSpPr/>
          <p:nvPr/>
        </p:nvSpPr>
        <p:spPr>
          <a:xfrm>
            <a:off x="400461" y="557061"/>
            <a:ext cx="288000" cy="288000"/>
          </a:xfrm>
          <a:prstGeom prst="ellipse">
            <a:avLst/>
          </a:prstGeom>
          <a:solidFill>
            <a:schemeClr val="accent1"/>
          </a:solidFill>
          <a:ln w="38100">
            <a:solidFill>
              <a:schemeClr val="accent1"/>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400" b="1">
                <a:solidFill>
                  <a:schemeClr val="tx1"/>
                </a:solidFill>
              </a:rPr>
              <a:t>3</a:t>
            </a:r>
          </a:p>
        </p:txBody>
      </p:sp>
      <p:sp>
        <p:nvSpPr>
          <p:cNvPr id="4" name="Rectangle 3">
            <a:extLst>
              <a:ext uri="{FF2B5EF4-FFF2-40B4-BE49-F238E27FC236}">
                <a16:creationId xmlns:a16="http://schemas.microsoft.com/office/drawing/2014/main" id="{76636715-FC4F-27AD-E8F3-580FD9C9AC21}"/>
              </a:ext>
            </a:extLst>
          </p:cNvPr>
          <p:cNvSpPr/>
          <p:nvPr/>
        </p:nvSpPr>
        <p:spPr>
          <a:xfrm>
            <a:off x="454659" y="1832060"/>
            <a:ext cx="444500" cy="2506578"/>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bg1"/>
              </a:solidFill>
            </a:endParaRPr>
          </a:p>
        </p:txBody>
      </p:sp>
      <p:sp>
        <p:nvSpPr>
          <p:cNvPr id="5" name="Text Placeholder 16">
            <a:extLst>
              <a:ext uri="{FF2B5EF4-FFF2-40B4-BE49-F238E27FC236}">
                <a16:creationId xmlns:a16="http://schemas.microsoft.com/office/drawing/2014/main" id="{052E9BC3-39D2-3F82-3B9E-1B3E489410BB}"/>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6" name="Rectangle 5">
            <a:extLst>
              <a:ext uri="{FF2B5EF4-FFF2-40B4-BE49-F238E27FC236}">
                <a16:creationId xmlns:a16="http://schemas.microsoft.com/office/drawing/2014/main" id="{416ED29F-0680-07C9-A2A3-75BC5EB03FB5}"/>
              </a:ext>
            </a:extLst>
          </p:cNvPr>
          <p:cNvSpPr/>
          <p:nvPr/>
        </p:nvSpPr>
        <p:spPr>
          <a:xfrm>
            <a:off x="204787" y="1632421"/>
            <a:ext cx="4200525" cy="2624239"/>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837128005"/>
      </p:ext>
    </p:extLst>
  </p:cSld>
  <p:clrMapOvr>
    <a:masterClrMapping/>
  </p:clrMapOvr>
  <p:extLst>
    <p:ext uri="{6950BFC3-D8DA-4A85-94F7-54DA5524770B}">
      <p188:commentRel xmlns:p188="http://schemas.microsoft.com/office/powerpoint/2018/8/main" r:id="rId47"/>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78AC6D5A-4FB4-E575-FC6D-AE1C4979CAC8}"/>
              </a:ext>
            </a:extLst>
          </p:cNvPr>
          <p:cNvGraphicFramePr>
            <a:graphicFrameLocks noChangeAspect="1"/>
          </p:cNvGraphicFramePr>
          <p:nvPr>
            <p:custDataLst>
              <p:tags r:id="rId1"/>
            </p:custDataLst>
            <p:extLst>
              <p:ext uri="{D42A27DB-BD31-4B8C-83A1-F6EECF244321}">
                <p14:modId xmlns:p14="http://schemas.microsoft.com/office/powerpoint/2010/main" val="2087123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30" name="Object 29" hidden="1">
                        <a:extLst>
                          <a:ext uri="{FF2B5EF4-FFF2-40B4-BE49-F238E27FC236}">
                            <a16:creationId xmlns:a16="http://schemas.microsoft.com/office/drawing/2014/main" id="{78AC6D5A-4FB4-E575-FC6D-AE1C4979CAC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85" name="Text Placeholder 384">
            <a:extLst>
              <a:ext uri="{FF2B5EF4-FFF2-40B4-BE49-F238E27FC236}">
                <a16:creationId xmlns:a16="http://schemas.microsoft.com/office/drawing/2014/main" id="{BB6EE797-52FF-49CB-2735-9F741DDD6E13}"/>
              </a:ext>
            </a:extLst>
          </p:cNvPr>
          <p:cNvSpPr>
            <a:spLocks noGrp="1"/>
          </p:cNvSpPr>
          <p:nvPr>
            <p:ph type="body" sz="quarter" idx="29"/>
          </p:nvPr>
        </p:nvSpPr>
        <p:spPr>
          <a:xfrm>
            <a:off x="381000" y="1268129"/>
            <a:ext cx="8601074" cy="369332"/>
          </a:xfrm>
        </p:spPr>
        <p:txBody>
          <a:bodyPr/>
          <a:lstStyle/>
          <a:p>
            <a:r>
              <a:rPr lang="en-GB"/>
              <a:t>Residual demand curves, </a:t>
            </a:r>
            <a:r>
              <a:rPr kumimoji="0" lang="en-GB" sz="1200" b="0" i="0" u="none" strike="noStrike" kern="1200" cap="none" spc="0" normalizeH="0" baseline="0" noProof="0">
                <a:ln>
                  <a:noFill/>
                </a:ln>
                <a:solidFill>
                  <a:srgbClr val="808080"/>
                </a:solidFill>
                <a:effectLst/>
                <a:highlight>
                  <a:srgbClr val="808080"/>
                </a:highlight>
                <a:uLnTx/>
                <a:uFillTx/>
                <a:latin typeface="Lato"/>
                <a:ea typeface="+mn-ea"/>
                <a:cs typeface="+mn-cs"/>
              </a:rPr>
              <a:t>xx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 </a:t>
            </a:r>
            <a:r>
              <a:rPr lang="en-GB"/>
              <a:t>example </a:t>
            </a:r>
          </a:p>
          <a:p>
            <a:r>
              <a:rPr lang="en-GB" b="0">
                <a:solidFill>
                  <a:schemeClr val="bg1">
                    <a:lumMod val="50000"/>
                  </a:schemeClr>
                </a:solidFill>
              </a:rPr>
              <a:t>GW</a:t>
            </a:r>
            <a:endParaRPr lang="en-GB" b="0"/>
          </a:p>
        </p:txBody>
      </p:sp>
      <p:sp>
        <p:nvSpPr>
          <p:cNvPr id="2" name="Text Placeholder 1">
            <a:extLst>
              <a:ext uri="{FF2B5EF4-FFF2-40B4-BE49-F238E27FC236}">
                <a16:creationId xmlns:a16="http://schemas.microsoft.com/office/drawing/2014/main" id="{EA446BDB-A4AB-7A97-2B7E-69094B36EE53}"/>
              </a:ext>
            </a:extLst>
          </p:cNvPr>
          <p:cNvSpPr>
            <a:spLocks noGrp="1"/>
          </p:cNvSpPr>
          <p:nvPr>
            <p:ph type="body" sz="quarter" idx="22"/>
          </p:nvPr>
        </p:nvSpPr>
        <p:spPr>
          <a:xfrm>
            <a:off x="381001" y="6715169"/>
            <a:ext cx="1455527" cy="110800"/>
          </a:xfrm>
        </p:spPr>
        <p:txBody>
          <a:bodyPr/>
          <a:lstStyle/>
          <a:p>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urce: Aurora Energy Research</a:t>
            </a:r>
            <a:endParaRPr lang="en-GB"/>
          </a:p>
        </p:txBody>
      </p:sp>
      <p:sp>
        <p:nvSpPr>
          <p:cNvPr id="417" name="Title 416">
            <a:extLst>
              <a:ext uri="{FF2B5EF4-FFF2-40B4-BE49-F238E27FC236}">
                <a16:creationId xmlns:a16="http://schemas.microsoft.com/office/drawing/2014/main" id="{D8D677EB-28C6-3CF1-979F-F81B54939348}"/>
              </a:ext>
            </a:extLst>
          </p:cNvPr>
          <p:cNvSpPr>
            <a:spLocks noGrp="1"/>
          </p:cNvSpPr>
          <p:nvPr>
            <p:ph type="title"/>
          </p:nvPr>
        </p:nvSpPr>
        <p:spPr/>
        <p:txBody>
          <a:bodyPr vert="horz"/>
          <a:lstStyle/>
          <a:p>
            <a:r>
              <a:rPr lang="en-GB"/>
              <a:t>Periods of high renewables generation will increase by </a:t>
            </a:r>
            <a:r>
              <a:rPr kumimoji="0" lang="en-GB" sz="2400" b="0" i="0" u="none" strike="noStrike" kern="1200" cap="none" spc="0" normalizeH="0" baseline="0" noProof="0">
                <a:ln>
                  <a:noFill/>
                </a:ln>
                <a:solidFill>
                  <a:srgbClr val="808080"/>
                </a:solidFill>
                <a:effectLst/>
                <a:highlight>
                  <a:srgbClr val="808080"/>
                </a:highlight>
                <a:uLnTx/>
                <a:uFillTx/>
                <a:latin typeface="Lato"/>
                <a:ea typeface="+mn-ea"/>
                <a:cs typeface="+mn-cs"/>
              </a:rPr>
              <a:t>xx </a:t>
            </a:r>
            <a:r>
              <a:rPr lang="en-GB"/>
              <a:t>p.p. in the 2030s, creating significant opportunities for battery charging</a:t>
            </a:r>
          </a:p>
        </p:txBody>
      </p:sp>
      <p:sp>
        <p:nvSpPr>
          <p:cNvPr id="11" name="Text Placeholder 10">
            <a:extLst>
              <a:ext uri="{FF2B5EF4-FFF2-40B4-BE49-F238E27FC236}">
                <a16:creationId xmlns:a16="http://schemas.microsoft.com/office/drawing/2014/main" id="{F67AE36D-E18F-BB38-DEC3-9970EB0A5AAD}"/>
              </a:ext>
            </a:extLst>
          </p:cNvPr>
          <p:cNvSpPr>
            <a:spLocks noGrp="1"/>
          </p:cNvSpPr>
          <p:nvPr>
            <p:ph type="body" sz="quarter" idx="32"/>
          </p:nvPr>
        </p:nvSpPr>
        <p:spPr>
          <a:xfrm>
            <a:off x="381600" y="6474841"/>
            <a:ext cx="8601074" cy="221599"/>
          </a:xfrm>
        </p:spPr>
        <p:txBody>
          <a:bodyPr/>
          <a:lstStyle/>
          <a:p>
            <a:r>
              <a:rPr lang="en-GB"/>
              <a:t>1) Residual demand is defined as ‘inflexible generation (wind, solar, biomass, run-of-</a:t>
            </a:r>
            <a:r>
              <a:rPr lang="en-GB" err="1"/>
              <a:t>river</a:t>
            </a:r>
            <a:r>
              <a:rPr lang="en-GB"/>
              <a:t>, hydro, tidal, nuclear) minus “base” demand (i.e. excluding electric vehicles, electrolysers, flexible heat pumps)</a:t>
            </a:r>
          </a:p>
        </p:txBody>
      </p:sp>
      <p:sp>
        <p:nvSpPr>
          <p:cNvPr id="10" name="Text Placeholder 9">
            <a:extLst>
              <a:ext uri="{FF2B5EF4-FFF2-40B4-BE49-F238E27FC236}">
                <a16:creationId xmlns:a16="http://schemas.microsoft.com/office/drawing/2014/main" id="{44631132-653A-F7E0-F240-997EF4264386}"/>
              </a:ext>
            </a:extLst>
          </p:cNvPr>
          <p:cNvSpPr>
            <a:spLocks noGrp="1"/>
          </p:cNvSpPr>
          <p:nvPr>
            <p:ph type="body" sz="quarter" idx="31"/>
          </p:nvPr>
        </p:nvSpPr>
        <p:spPr>
          <a:xfrm>
            <a:off x="381599" y="79401"/>
            <a:ext cx="5503430" cy="184666"/>
          </a:xfrm>
        </p:spPr>
        <p:txBody>
          <a:bodyPr/>
          <a:lstStyle/>
          <a:p>
            <a:r>
              <a:rPr lang="en-GB"/>
              <a:t>		Introduction to battery storage – </a:t>
            </a:r>
            <a:r>
              <a:rPr lang="en-GB" sz="1200"/>
              <a:t>Battery storage drivers, risks and markets</a:t>
            </a:r>
            <a:endParaRPr lang="en-GB"/>
          </a:p>
        </p:txBody>
      </p:sp>
      <p:graphicFrame>
        <p:nvGraphicFramePr>
          <p:cNvPr id="5" name="Chart 4">
            <a:extLst>
              <a:ext uri="{FF2B5EF4-FFF2-40B4-BE49-F238E27FC236}">
                <a16:creationId xmlns:a16="http://schemas.microsoft.com/office/drawing/2014/main" id="{ECBEC275-703D-95A3-6EB5-E8C9F878A206}"/>
              </a:ext>
            </a:extLst>
          </p:cNvPr>
          <p:cNvGraphicFramePr/>
          <p:nvPr>
            <p:custDataLst>
              <p:tags r:id="rId2"/>
            </p:custDataLst>
            <p:extLst>
              <p:ext uri="{D42A27DB-BD31-4B8C-83A1-F6EECF244321}">
                <p14:modId xmlns:p14="http://schemas.microsoft.com/office/powerpoint/2010/main" val="1272196956"/>
              </p:ext>
            </p:extLst>
          </p:nvPr>
        </p:nvGraphicFramePr>
        <p:xfrm>
          <a:off x="736600" y="1701800"/>
          <a:ext cx="8328025" cy="4108450"/>
        </p:xfrm>
        <a:graphic>
          <a:graphicData uri="http://schemas.openxmlformats.org/drawingml/2006/chart">
            <c:chart xmlns:c="http://schemas.openxmlformats.org/drawingml/2006/chart" xmlns:r="http://schemas.openxmlformats.org/officeDocument/2006/relationships" r:id="rId14"/>
          </a:graphicData>
        </a:graphic>
      </p:graphicFrame>
      <p:cxnSp>
        <p:nvCxnSpPr>
          <p:cNvPr id="22" name="Straight Connector 21">
            <a:extLst>
              <a:ext uri="{FF2B5EF4-FFF2-40B4-BE49-F238E27FC236}">
                <a16:creationId xmlns:a16="http://schemas.microsoft.com/office/drawing/2014/main" id="{E783AE8C-DA4C-8CAA-5EEF-40CB18790577}"/>
              </a:ext>
            </a:extLst>
          </p:cNvPr>
          <p:cNvCxnSpPr/>
          <p:nvPr>
            <p:custDataLst>
              <p:tags r:id="rId3"/>
            </p:custDataLst>
          </p:nvPr>
        </p:nvCxnSpPr>
        <p:spPr bwMode="gray">
          <a:xfrm>
            <a:off x="442913" y="6219825"/>
            <a:ext cx="157163" cy="0"/>
          </a:xfrm>
          <a:prstGeom prst="line">
            <a:avLst/>
          </a:prstGeom>
          <a:ln w="22225" cap="rnd" cmpd="sng" algn="ctr">
            <a:solidFill>
              <a:srgbClr val="4C6C9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190325C0-DEA7-8808-0C05-0D5A213DE5C5}"/>
              </a:ext>
            </a:extLst>
          </p:cNvPr>
          <p:cNvCxnSpPr/>
          <p:nvPr>
            <p:custDataLst>
              <p:tags r:id="rId4"/>
            </p:custDataLst>
          </p:nvPr>
        </p:nvCxnSpPr>
        <p:spPr bwMode="gray">
          <a:xfrm>
            <a:off x="1066800" y="6219825"/>
            <a:ext cx="157163" cy="0"/>
          </a:xfrm>
          <a:prstGeom prst="line">
            <a:avLst/>
          </a:prstGeom>
          <a:ln w="22225" cap="rnd" cmpd="sng" algn="ctr">
            <a:solidFill>
              <a:srgbClr val="F59E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5404CF9-609C-F699-35FE-0CF514EEFB3D}"/>
              </a:ext>
            </a:extLst>
          </p:cNvPr>
          <p:cNvCxnSpPr/>
          <p:nvPr>
            <p:custDataLst>
              <p:tags r:id="rId5"/>
            </p:custDataLst>
          </p:nvPr>
        </p:nvCxnSpPr>
        <p:spPr bwMode="gray">
          <a:xfrm>
            <a:off x="1690688" y="6219825"/>
            <a:ext cx="157163" cy="0"/>
          </a:xfrm>
          <a:prstGeom prst="line">
            <a:avLst/>
          </a:prstGeom>
          <a:ln w="22225" cap="rnd" cmpd="sng" algn="ctr">
            <a:solidFill>
              <a:srgbClr val="441A0D"/>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19">
            <a:extLst>
              <a:ext uri="{FF2B5EF4-FFF2-40B4-BE49-F238E27FC236}">
                <a16:creationId xmlns:a16="http://schemas.microsoft.com/office/drawing/2014/main" id="{7F20E493-A0F3-A90D-0A9A-519E347831BA}"/>
              </a:ext>
            </a:extLst>
          </p:cNvPr>
          <p:cNvSpPr>
            <a:spLocks noGrp="1"/>
          </p:cNvSpPr>
          <p:nvPr>
            <p:custDataLst>
              <p:tags r:id="rId6"/>
            </p:custDataLst>
          </p:nvPr>
        </p:nvSpPr>
        <p:spPr bwMode="auto">
          <a:xfrm>
            <a:off x="661988" y="614838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5ACAA79-6A59-47E6-B172-8A1E5F8322A8}" type="datetime'''''''203''''''''''''''''''''''0'''''">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6" name="Text Placeholder 19">
            <a:extLst>
              <a:ext uri="{FF2B5EF4-FFF2-40B4-BE49-F238E27FC236}">
                <a16:creationId xmlns:a16="http://schemas.microsoft.com/office/drawing/2014/main" id="{1AE01596-9789-2F89-E147-109358860C0A}"/>
              </a:ext>
            </a:extLst>
          </p:cNvPr>
          <p:cNvSpPr>
            <a:spLocks noGrp="1"/>
          </p:cNvSpPr>
          <p:nvPr>
            <p:custDataLst>
              <p:tags r:id="rId7"/>
            </p:custDataLst>
          </p:nvPr>
        </p:nvSpPr>
        <p:spPr bwMode="auto">
          <a:xfrm>
            <a:off x="1285875" y="614838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41866C4-C523-4C04-827C-F33BB3B7DC99}" type="datetime'2''''0''''''''''3''''''''''''''''''''''''5'''''''''''''">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5</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5" name="Text Placeholder 19">
            <a:extLst>
              <a:ext uri="{FF2B5EF4-FFF2-40B4-BE49-F238E27FC236}">
                <a16:creationId xmlns:a16="http://schemas.microsoft.com/office/drawing/2014/main" id="{32FA9746-CDF7-4FB3-8EB9-E78D51EB6398}"/>
              </a:ext>
            </a:extLst>
          </p:cNvPr>
          <p:cNvSpPr>
            <a:spLocks noGrp="1"/>
          </p:cNvSpPr>
          <p:nvPr>
            <p:custDataLst>
              <p:tags r:id="rId8"/>
            </p:custDataLst>
          </p:nvPr>
        </p:nvSpPr>
        <p:spPr bwMode="auto">
          <a:xfrm>
            <a:off x="1909763" y="6148388"/>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9608016-F600-4E94-90D0-C7486B16987B}" type="datetime'''2''''''0''''4''''''''''''0'''''">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cxnSp>
        <p:nvCxnSpPr>
          <p:cNvPr id="3" name="Straight Arrow Connector 2">
            <a:extLst>
              <a:ext uri="{FF2B5EF4-FFF2-40B4-BE49-F238E27FC236}">
                <a16:creationId xmlns:a16="http://schemas.microsoft.com/office/drawing/2014/main" id="{FA6659B1-8648-F739-3328-42993F3DA9E8}"/>
              </a:ext>
            </a:extLst>
          </p:cNvPr>
          <p:cNvCxnSpPr>
            <a:cxnSpLocks/>
          </p:cNvCxnSpPr>
          <p:nvPr/>
        </p:nvCxnSpPr>
        <p:spPr>
          <a:xfrm>
            <a:off x="757238" y="3458952"/>
            <a:ext cx="0" cy="2314578"/>
          </a:xfrm>
          <a:prstGeom prst="straightConnector1">
            <a:avLst/>
          </a:prstGeom>
          <a:ln w="76200">
            <a:solidFill>
              <a:srgbClr val="FF7F7F"/>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696C28-A2ED-1D95-A185-886B78B99F64}"/>
              </a:ext>
            </a:extLst>
          </p:cNvPr>
          <p:cNvSpPr txBox="1"/>
          <p:nvPr/>
        </p:nvSpPr>
        <p:spPr>
          <a:xfrm>
            <a:off x="1014413" y="1892476"/>
            <a:ext cx="211296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CFDE63"/>
                </a:solidFill>
                <a:effectLst/>
                <a:uLnTx/>
                <a:uFillTx/>
                <a:latin typeface="Lato"/>
                <a:ea typeface="+mn-ea"/>
                <a:cs typeface="+mn-cs"/>
              </a:rPr>
              <a:t>Inflexible generation &gt; Demand</a:t>
            </a:r>
          </a:p>
        </p:txBody>
      </p:sp>
      <p:sp>
        <p:nvSpPr>
          <p:cNvPr id="12" name="TextBox 11">
            <a:extLst>
              <a:ext uri="{FF2B5EF4-FFF2-40B4-BE49-F238E27FC236}">
                <a16:creationId xmlns:a16="http://schemas.microsoft.com/office/drawing/2014/main" id="{883AA575-D747-918B-A1C8-E2E101994FC3}"/>
              </a:ext>
            </a:extLst>
          </p:cNvPr>
          <p:cNvSpPr txBox="1"/>
          <p:nvPr/>
        </p:nvSpPr>
        <p:spPr>
          <a:xfrm>
            <a:off x="1023938" y="5513918"/>
            <a:ext cx="211296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FF7F7F"/>
                </a:solidFill>
                <a:effectLst/>
                <a:uLnTx/>
                <a:uFillTx/>
                <a:latin typeface="Lato"/>
                <a:ea typeface="+mn-ea"/>
                <a:cs typeface="+mn-cs"/>
              </a:rPr>
              <a:t>Demand &gt; Inflexible generation</a:t>
            </a:r>
            <a:endParaRPr kumimoji="0" lang="en-GB" sz="1200" b="1" i="0" u="none" strike="noStrike" kern="1200" cap="none" spc="0" normalizeH="0" baseline="0" noProof="0">
              <a:ln>
                <a:noFill/>
              </a:ln>
              <a:solidFill>
                <a:srgbClr val="FF7F7F"/>
              </a:solidFill>
              <a:effectLst/>
              <a:uLnTx/>
              <a:uFillTx/>
              <a:latin typeface="Lato"/>
              <a:ea typeface="+mn-ea"/>
              <a:cs typeface="+mn-cs"/>
            </a:endParaRPr>
          </a:p>
        </p:txBody>
      </p:sp>
      <p:cxnSp>
        <p:nvCxnSpPr>
          <p:cNvPr id="13" name="Straight Arrow Connector 12">
            <a:extLst>
              <a:ext uri="{FF2B5EF4-FFF2-40B4-BE49-F238E27FC236}">
                <a16:creationId xmlns:a16="http://schemas.microsoft.com/office/drawing/2014/main" id="{8CB855A2-708C-0984-0FA6-2917DFBBB6F2}"/>
              </a:ext>
            </a:extLst>
          </p:cNvPr>
          <p:cNvCxnSpPr>
            <a:cxnSpLocks/>
          </p:cNvCxnSpPr>
          <p:nvPr/>
        </p:nvCxnSpPr>
        <p:spPr>
          <a:xfrm flipV="1">
            <a:off x="757238" y="1740318"/>
            <a:ext cx="0" cy="2332068"/>
          </a:xfrm>
          <a:prstGeom prst="straightConnector1">
            <a:avLst/>
          </a:prstGeom>
          <a:ln w="76200">
            <a:solidFill>
              <a:srgbClr val="CFDE63"/>
            </a:solidFill>
            <a:tailEnd type="triangle"/>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247EFD12-416E-9C92-DF5B-E9E2A4A5660D}"/>
              </a:ext>
            </a:extLst>
          </p:cNvPr>
          <p:cNvSpPr txBox="1">
            <a:spLocks/>
          </p:cNvSpPr>
          <p:nvPr/>
        </p:nvSpPr>
        <p:spPr>
          <a:xfrm>
            <a:off x="6811483" y="6011488"/>
            <a:ext cx="2170587"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Hours of year (%)</a:t>
            </a:r>
          </a:p>
        </p:txBody>
      </p:sp>
      <p:sp>
        <p:nvSpPr>
          <p:cNvPr id="21" name="Rectangle 20">
            <a:extLst>
              <a:ext uri="{FF2B5EF4-FFF2-40B4-BE49-F238E27FC236}">
                <a16:creationId xmlns:a16="http://schemas.microsoft.com/office/drawing/2014/main" id="{3C7BD4AC-23AF-4AE7-097A-681612E30A34}"/>
              </a:ext>
            </a:extLst>
          </p:cNvPr>
          <p:cNvSpPr/>
          <p:nvPr/>
        </p:nvSpPr>
        <p:spPr>
          <a:xfrm>
            <a:off x="3781425" y="4655612"/>
            <a:ext cx="2112963" cy="760857"/>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Periods where demand is greater than inflexible generation reflects a deficit of low carbon generation on the system.</a:t>
            </a:r>
          </a:p>
        </p:txBody>
      </p:sp>
      <p:cxnSp>
        <p:nvCxnSpPr>
          <p:cNvPr id="28" name="Straight Connector 27">
            <a:extLst>
              <a:ext uri="{FF2B5EF4-FFF2-40B4-BE49-F238E27FC236}">
                <a16:creationId xmlns:a16="http://schemas.microsoft.com/office/drawing/2014/main" id="{6D8C4F0F-C9C8-9F9D-A609-ED935C27EDC8}"/>
              </a:ext>
            </a:extLst>
          </p:cNvPr>
          <p:cNvCxnSpPr>
            <a:cxnSpLocks/>
            <a:stCxn id="21" idx="1"/>
          </p:cNvCxnSpPr>
          <p:nvPr/>
        </p:nvCxnSpPr>
        <p:spPr>
          <a:xfrm flipH="1" flipV="1">
            <a:off x="2307771" y="4819891"/>
            <a:ext cx="1473654" cy="21615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492F991-136D-5A56-8B49-C6F8F22AA9A0}"/>
              </a:ext>
            </a:extLst>
          </p:cNvPr>
          <p:cNvSpPr/>
          <p:nvPr/>
        </p:nvSpPr>
        <p:spPr>
          <a:xfrm>
            <a:off x="3519176" y="1805359"/>
            <a:ext cx="2449981" cy="144912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Periods where inflexible generation is greater than demand reflects the opportunities available for flexible capacities</a:t>
            </a:r>
            <a:r>
              <a:rPr lang="en-GB" sz="1050">
                <a:solidFill>
                  <a:srgbClr val="3C3C3B"/>
                </a:solidFill>
                <a:latin typeface="Lato"/>
              </a:rPr>
              <a:t> </a:t>
            </a:r>
            <a:r>
              <a:rPr kumimoji="0" lang="en-GB" sz="1050" b="0" i="0" u="none" strike="noStrike" kern="1200" cap="none" spc="0" normalizeH="0" baseline="0" noProof="0">
                <a:ln>
                  <a:noFill/>
                </a:ln>
                <a:solidFill>
                  <a:srgbClr val="3C3C3B"/>
                </a:solidFill>
                <a:effectLst/>
                <a:uLnTx/>
                <a:uFillTx/>
                <a:latin typeface="Lato"/>
                <a:ea typeface="+mn-ea"/>
                <a:cs typeface="+mn-cs"/>
              </a:rPr>
              <a:t>to shift suppl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050">
                <a:solidFill>
                  <a:srgbClr val="3C3C3B"/>
                </a:solidFill>
                <a:latin typeface="Lato"/>
              </a:rPr>
              <a:t>During these periods of excess inflexible generation, batteries have increased opportunity to charge at low or near zero prices</a:t>
            </a:r>
            <a:endParaRPr kumimoji="0" lang="en-GB" sz="1050" b="0" i="0" u="none" strike="noStrike" kern="1200" cap="none" spc="0" normalizeH="0" baseline="0" noProof="0">
              <a:ln>
                <a:noFill/>
              </a:ln>
              <a:solidFill>
                <a:srgbClr val="3C3C3B"/>
              </a:solidFill>
              <a:effectLst/>
              <a:uLnTx/>
              <a:uFillTx/>
              <a:latin typeface="Lato"/>
              <a:ea typeface="+mn-ea"/>
              <a:cs typeface="+mn-cs"/>
            </a:endParaRPr>
          </a:p>
        </p:txBody>
      </p:sp>
      <p:cxnSp>
        <p:nvCxnSpPr>
          <p:cNvPr id="31" name="Straight Connector 30">
            <a:extLst>
              <a:ext uri="{FF2B5EF4-FFF2-40B4-BE49-F238E27FC236}">
                <a16:creationId xmlns:a16="http://schemas.microsoft.com/office/drawing/2014/main" id="{6EAAB5D4-1E93-82ED-2E89-038F0C470297}"/>
              </a:ext>
            </a:extLst>
          </p:cNvPr>
          <p:cNvCxnSpPr>
            <a:cxnSpLocks/>
            <a:stCxn id="29" idx="3"/>
          </p:cNvCxnSpPr>
          <p:nvPr/>
        </p:nvCxnSpPr>
        <p:spPr>
          <a:xfrm>
            <a:off x="5969157" y="2529919"/>
            <a:ext cx="1237186" cy="322138"/>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33" name="Oval 32">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41" name="Text Placeholder 16">
            <a:extLst>
              <a:ext uri="{FF2B5EF4-FFF2-40B4-BE49-F238E27FC236}">
                <a16:creationId xmlns:a16="http://schemas.microsoft.com/office/drawing/2014/main" id="{AC8AFE66-3776-BDBD-54DF-D25495A0BECF}"/>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4" name="Rectangle 3">
            <a:extLst>
              <a:ext uri="{FF2B5EF4-FFF2-40B4-BE49-F238E27FC236}">
                <a16:creationId xmlns:a16="http://schemas.microsoft.com/office/drawing/2014/main" id="{E7A3AF84-1921-BF4D-55AC-06CF26949C8F}"/>
              </a:ext>
            </a:extLst>
          </p:cNvPr>
          <p:cNvSpPr/>
          <p:nvPr/>
        </p:nvSpPr>
        <p:spPr>
          <a:xfrm>
            <a:off x="381000" y="1701800"/>
            <a:ext cx="8784265" cy="4135635"/>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1082070002"/>
      </p:ext>
    </p:extLst>
  </p:cSld>
  <p:clrMapOvr>
    <a:masterClrMapping/>
  </p:clrMapOvr>
  <p:extLst>
    <p:ext uri="{6950BFC3-D8DA-4A85-94F7-54DA5524770B}">
      <p188:commentRel xmlns:p188="http://schemas.microsoft.com/office/powerpoint/2018/8/main" r:id="rId11"/>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7">
            <a:hlinkClick r:id="rId6" action="ppaction://hlinksldjump"/>
            <a:extLst>
              <a:ext uri="{FF2B5EF4-FFF2-40B4-BE49-F238E27FC236}">
                <a16:creationId xmlns:a16="http://schemas.microsoft.com/office/drawing/2014/main" id="{5C85BDB8-20E4-19E6-02E9-ECC3C46387FB}"/>
              </a:ext>
            </a:extLst>
          </p:cNvPr>
          <p:cNvSpPr txBox="1">
            <a:spLocks/>
          </p:cNvSpPr>
          <p:nvPr/>
        </p:nvSpPr>
        <p:spPr>
          <a:xfrm>
            <a:off x="0" y="2308212"/>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6" name="Text Placeholder 7">
            <a:hlinkClick r:id="rId7" action="ppaction://hlinksldjump"/>
            <a:extLst>
              <a:ext uri="{FF2B5EF4-FFF2-40B4-BE49-F238E27FC236}">
                <a16:creationId xmlns:a16="http://schemas.microsoft.com/office/drawing/2014/main" id="{00E63B54-8D33-146F-D3DC-401CCC0EE0EC}"/>
              </a:ext>
            </a:extLst>
          </p:cNvPr>
          <p:cNvSpPr txBox="1">
            <a:spLocks/>
          </p:cNvSpPr>
          <p:nvPr/>
        </p:nvSpPr>
        <p:spPr>
          <a:xfrm>
            <a:off x="0" y="2019457"/>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1722390"/>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3912866"/>
          </a:xfrm>
        </p:spPr>
        <p:txBody>
          <a:bodyPr/>
          <a:lstStyle/>
          <a:p>
            <a:r>
              <a:rPr lang="en-GB" sz="1400" dirty="0">
                <a:hlinkClick r:id="rId8" action="ppaction://hlinksldjump"/>
              </a:rPr>
              <a:t>Executive summary</a:t>
            </a:r>
            <a:endParaRPr lang="en-GB" sz="1400" dirty="0"/>
          </a:p>
          <a:p>
            <a:r>
              <a:rPr lang="en-GB" sz="1400" dirty="0">
                <a:hlinkClick r:id="rId9" action="ppaction://hlinksldjump"/>
              </a:rPr>
              <a:t>Introduction to battery storage</a:t>
            </a:r>
            <a:r>
              <a:rPr lang="en-GB" sz="1400" dirty="0"/>
              <a:t> </a:t>
            </a:r>
          </a:p>
          <a:p>
            <a:pPr lvl="1"/>
            <a:r>
              <a:rPr lang="en-GB" sz="1400" dirty="0"/>
              <a:t>Battery storage drivers, risks and markets</a:t>
            </a:r>
          </a:p>
          <a:p>
            <a:pPr lvl="1"/>
            <a:r>
              <a:rPr lang="en-GB" sz="1400" dirty="0"/>
              <a:t>Battery technologies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GB" sz="1400" u="sng" dirty="0"/>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2" name="Group 1">
            <a:extLst>
              <a:ext uri="{FF2B5EF4-FFF2-40B4-BE49-F238E27FC236}">
                <a16:creationId xmlns:a16="http://schemas.microsoft.com/office/drawing/2014/main" id="{C95AD5A1-9F64-947E-709C-AD807809EE7C}"/>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6618B4BB-0C31-0242-9ADF-19F1259BF9E4}"/>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9" name="TextBox 8">
              <a:extLst>
                <a:ext uri="{FF2B5EF4-FFF2-40B4-BE49-F238E27FC236}">
                  <a16:creationId xmlns:a16="http://schemas.microsoft.com/office/drawing/2014/main" id="{AA8D9A28-2701-CA12-F1F9-33DD400510F7}"/>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34063952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205425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53" imgH="363" progId="TCLayout.ActiveDocument.1">
                  <p:embed/>
                </p:oleObj>
              </mc:Choice>
              <mc:Fallback>
                <p:oleObj name="think-cell Slide" r:id="rId56" imgW="353" imgH="363" progId="TCLayout.ActiveDocument.1">
                  <p:embed/>
                  <p:pic>
                    <p:nvPicPr>
                      <p:cNvPr id="12" name="Object 11"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2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ext Placeholder 2"/>
          <p:cNvSpPr>
            <a:spLocks noGrp="1"/>
          </p:cNvSpPr>
          <p:nvPr>
            <p:ph type="body" sz="quarter" idx="22"/>
          </p:nvPr>
        </p:nvSpPr>
        <p:spPr>
          <a:xfrm>
            <a:off x="381001" y="6715169"/>
            <a:ext cx="1452321" cy="110800"/>
          </a:xfrm>
        </p:spPr>
        <p:txBody>
          <a:bodyPr/>
          <a:lstStyle/>
          <a:p>
            <a:r>
              <a:rPr lang="en-GB"/>
              <a:t>Source: Aurora Energy Research</a:t>
            </a:r>
          </a:p>
        </p:txBody>
      </p:sp>
      <p:sp>
        <p:nvSpPr>
          <p:cNvPr id="6" name="Title 5"/>
          <p:cNvSpPr>
            <a:spLocks noGrp="1"/>
          </p:cNvSpPr>
          <p:nvPr>
            <p:ph type="title"/>
          </p:nvPr>
        </p:nvSpPr>
        <p:spPr>
          <a:xfrm>
            <a:off x="381599" y="411856"/>
            <a:ext cx="8799346" cy="609398"/>
          </a:xfrm>
        </p:spPr>
        <p:txBody>
          <a:bodyPr vert="horz"/>
          <a:lstStyle/>
          <a:p>
            <a:r>
              <a:rPr lang="en-GB"/>
              <a:t>Batteries are one of multiple established technologies able to provide system services, with a competitive edge over other technologies</a:t>
            </a:r>
          </a:p>
        </p:txBody>
      </p:sp>
      <p:sp>
        <p:nvSpPr>
          <p:cNvPr id="26" name="Text Placeholder 25"/>
          <p:cNvSpPr>
            <a:spLocks noGrp="1"/>
          </p:cNvSpPr>
          <p:nvPr>
            <p:ph type="body" sz="quarter" idx="32"/>
          </p:nvPr>
        </p:nvSpPr>
        <p:spPr>
          <a:xfrm>
            <a:off x="381600" y="6474841"/>
            <a:ext cx="11428800" cy="110800"/>
          </a:xfrm>
        </p:spPr>
        <p:txBody>
          <a:bodyPr/>
          <a:lstStyle/>
          <a:p>
            <a:endParaRPr lang="en-GB"/>
          </a:p>
        </p:txBody>
      </p:sp>
      <p:sp>
        <p:nvSpPr>
          <p:cNvPr id="9" name="Text Placeholder 8">
            <a:extLst>
              <a:ext uri="{FF2B5EF4-FFF2-40B4-BE49-F238E27FC236}">
                <a16:creationId xmlns:a16="http://schemas.microsoft.com/office/drawing/2014/main" id="{7B8D7258-5F54-0534-3B75-55BBC2F7005D}"/>
              </a:ext>
            </a:extLst>
          </p:cNvPr>
          <p:cNvSpPr>
            <a:spLocks noGrp="1"/>
          </p:cNvSpPr>
          <p:nvPr>
            <p:ph type="body" sz="quarter" idx="31"/>
          </p:nvPr>
        </p:nvSpPr>
        <p:spPr>
          <a:xfrm>
            <a:off x="381599" y="79401"/>
            <a:ext cx="4097597" cy="184666"/>
          </a:xfrm>
        </p:spPr>
        <p:txBody>
          <a:bodyPr/>
          <a:lstStyle/>
          <a:p>
            <a:r>
              <a:rPr lang="en-GB"/>
              <a:t>		Introduction to battery storage – </a:t>
            </a:r>
            <a:r>
              <a:rPr lang="en-GB" sz="1200"/>
              <a:t>Battery technologies</a:t>
            </a:r>
            <a:endParaRPr lang="en-GB"/>
          </a:p>
        </p:txBody>
      </p:sp>
      <p:graphicFrame>
        <p:nvGraphicFramePr>
          <p:cNvPr id="8" name="Table 7">
            <a:extLst>
              <a:ext uri="{FF2B5EF4-FFF2-40B4-BE49-F238E27FC236}">
                <a16:creationId xmlns:a16="http://schemas.microsoft.com/office/drawing/2014/main" id="{C852B434-CF48-058A-7412-1A4096938B32}"/>
              </a:ext>
            </a:extLst>
          </p:cNvPr>
          <p:cNvGraphicFramePr>
            <a:graphicFrameLocks noGrp="1"/>
          </p:cNvGraphicFramePr>
          <p:nvPr>
            <p:extLst>
              <p:ext uri="{D42A27DB-BD31-4B8C-83A1-F6EECF244321}">
                <p14:modId xmlns:p14="http://schemas.microsoft.com/office/powerpoint/2010/main" val="3143698986"/>
              </p:ext>
            </p:extLst>
          </p:nvPr>
        </p:nvGraphicFramePr>
        <p:xfrm>
          <a:off x="390236" y="1543576"/>
          <a:ext cx="11429399" cy="4578739"/>
        </p:xfrm>
        <a:graphic>
          <a:graphicData uri="http://schemas.openxmlformats.org/drawingml/2006/table">
            <a:tbl>
              <a:tblPr firstRow="1" bandRow="1">
                <a:tableStyleId>{5C22544A-7EE6-4342-B048-85BDC9FD1C3A}</a:tableStyleId>
              </a:tblPr>
              <a:tblGrid>
                <a:gridCol w="422564">
                  <a:extLst>
                    <a:ext uri="{9D8B030D-6E8A-4147-A177-3AD203B41FA5}">
                      <a16:colId xmlns:a16="http://schemas.microsoft.com/office/drawing/2014/main" val="1614563499"/>
                    </a:ext>
                  </a:extLst>
                </a:gridCol>
                <a:gridCol w="1791855">
                  <a:extLst>
                    <a:ext uri="{9D8B030D-6E8A-4147-A177-3AD203B41FA5}">
                      <a16:colId xmlns:a16="http://schemas.microsoft.com/office/drawing/2014/main" val="20000"/>
                    </a:ext>
                  </a:extLst>
                </a:gridCol>
                <a:gridCol w="2303745">
                  <a:extLst>
                    <a:ext uri="{9D8B030D-6E8A-4147-A177-3AD203B41FA5}">
                      <a16:colId xmlns:a16="http://schemas.microsoft.com/office/drawing/2014/main" val="20001"/>
                    </a:ext>
                  </a:extLst>
                </a:gridCol>
                <a:gridCol w="2303745">
                  <a:extLst>
                    <a:ext uri="{9D8B030D-6E8A-4147-A177-3AD203B41FA5}">
                      <a16:colId xmlns:a16="http://schemas.microsoft.com/office/drawing/2014/main" val="20003"/>
                    </a:ext>
                  </a:extLst>
                </a:gridCol>
                <a:gridCol w="2303745">
                  <a:extLst>
                    <a:ext uri="{9D8B030D-6E8A-4147-A177-3AD203B41FA5}">
                      <a16:colId xmlns:a16="http://schemas.microsoft.com/office/drawing/2014/main" val="3510462976"/>
                    </a:ext>
                  </a:extLst>
                </a:gridCol>
                <a:gridCol w="2303745">
                  <a:extLst>
                    <a:ext uri="{9D8B030D-6E8A-4147-A177-3AD203B41FA5}">
                      <a16:colId xmlns:a16="http://schemas.microsoft.com/office/drawing/2014/main" val="2158187934"/>
                    </a:ext>
                  </a:extLst>
                </a:gridCol>
              </a:tblGrid>
              <a:tr h="264273">
                <a:tc>
                  <a:txBody>
                    <a:bodyPr/>
                    <a:lstStyle/>
                    <a:p>
                      <a:pPr algn="ctr" rtl="0"/>
                      <a:endParaRPr lang="en-GB" sz="1100" b="1">
                        <a:solidFill>
                          <a:schemeClr val="bg2">
                            <a:lumMod val="25000"/>
                          </a:schemeClr>
                        </a:solidFill>
                      </a:endParaRPr>
                    </a:p>
                  </a:txBody>
                  <a:tcPr marL="45720" marR="45720" vert="vert27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GB" sz="1100" b="1">
                        <a:solidFill>
                          <a:schemeClr val="bg2">
                            <a:lumMod val="25000"/>
                          </a:schemeClr>
                        </a:solidFill>
                      </a:endParaRPr>
                    </a:p>
                  </a:txBody>
                  <a:tcPr marL="45720" marR="4572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1100" b="1">
                          <a:solidFill>
                            <a:schemeClr val="bg1"/>
                          </a:solidFill>
                        </a:rPr>
                        <a:t>Pumped Storage</a:t>
                      </a:r>
                    </a:p>
                  </a:txBody>
                  <a:tcPr marL="45720" marR="45720"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a:r>
                        <a:rPr lang="en-GB" sz="1100" b="1">
                          <a:solidFill>
                            <a:schemeClr val="bg1"/>
                          </a:solidFill>
                        </a:rPr>
                        <a:t>Lithium-ion battery storage</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lvl="1" indent="0" algn="ctr" rtl="0">
                        <a:spcAft>
                          <a:spcPts val="600"/>
                        </a:spcAft>
                        <a:buFont typeface="Wingdings" panose="05000000000000000000" pitchFamily="2" charset="2"/>
                        <a:buNone/>
                        <a:tabLst>
                          <a:tab pos="357188" algn="l"/>
                        </a:tabLst>
                      </a:pPr>
                      <a:r>
                        <a:rPr lang="en-GB" sz="1200" b="1"/>
                        <a:t> Reciprocating Engine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lvl="1" indent="0" algn="ctr" rtl="0">
                        <a:spcAft>
                          <a:spcPts val="600"/>
                        </a:spcAft>
                        <a:buFont typeface="Wingdings" panose="05000000000000000000" pitchFamily="2" charset="2"/>
                        <a:buNone/>
                        <a:tabLst>
                          <a:tab pos="357188" algn="l"/>
                        </a:tabLst>
                      </a:pPr>
                      <a:r>
                        <a:rPr lang="en-GB" sz="1200" b="1"/>
                        <a:t>Demand Side Response (DSR)</a:t>
                      </a:r>
                    </a:p>
                  </a:txBody>
                  <a:tcPr marL="45720" marR="45720"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021640769"/>
                  </a:ext>
                </a:extLst>
              </a:tr>
              <a:tr h="410186">
                <a:tc rowSpan="3">
                  <a:txBody>
                    <a:bodyPr/>
                    <a:lstStyle/>
                    <a:p>
                      <a:pPr marL="0" indent="0" algn="ctr" rtl="0">
                        <a:buFontTx/>
                        <a:buNone/>
                      </a:pPr>
                      <a:r>
                        <a:rPr lang="en-GB" sz="1100" b="1"/>
                        <a:t>Characteristics</a:t>
                      </a:r>
                      <a:endParaRPr lang="en-GB" sz="1100" b="1">
                        <a:solidFill>
                          <a:schemeClr val="accent5"/>
                        </a:solidFill>
                      </a:endParaRPr>
                    </a:p>
                  </a:txBody>
                  <a:tcPr marR="45720"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rtl="0">
                        <a:buFontTx/>
                        <a:buNone/>
                      </a:pPr>
                      <a:r>
                        <a:rPr lang="en-GB" sz="1100" b="1">
                          <a:solidFill>
                            <a:schemeClr val="tx1"/>
                          </a:solidFill>
                        </a:rPr>
                        <a:t>CAPEX</a:t>
                      </a:r>
                      <a:r>
                        <a:rPr lang="en-GB" sz="1100" b="1">
                          <a:solidFill>
                            <a:schemeClr val="bg2">
                              <a:lumMod val="25000"/>
                            </a:schemeClr>
                          </a:solidFill>
                        </a:rPr>
                        <a:t>, </a:t>
                      </a:r>
                      <a:r>
                        <a:rPr lang="en-GB" sz="1100" b="0">
                          <a:solidFill>
                            <a:schemeClr val="accent5"/>
                          </a:solidFill>
                        </a:rPr>
                        <a:t>€/kW</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rtl="0">
                        <a:spcAft>
                          <a:spcPts val="0"/>
                        </a:spcAft>
                        <a:buFontTx/>
                        <a:buNone/>
                      </a:pPr>
                      <a:r>
                        <a:rPr lang="en-GB" sz="1100" b="0">
                          <a:solidFill>
                            <a:schemeClr val="tx1"/>
                          </a:solidFill>
                        </a:rPr>
                        <a:t>Variable</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buFontTx/>
                        <a:buNone/>
                      </a:pP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100" b="0">
                          <a:solidFill>
                            <a:schemeClr val="tx1"/>
                          </a:solidFill>
                        </a:rPr>
                        <a:t> </a:t>
                      </a:r>
                      <a:r>
                        <a:rPr kumimoji="0" lang="en-GB" sz="11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100" b="0" baseline="30000">
                          <a:solidFill>
                            <a:schemeClr val="tx1"/>
                          </a:solidFill>
                        </a:rPr>
                        <a:t>2</a:t>
                      </a:r>
                      <a:endParaRPr lang="en-GB" sz="1100" b="0">
                        <a:solidFill>
                          <a:schemeClr val="tx1"/>
                        </a:solidFill>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buFontTx/>
                        <a:buNone/>
                      </a:pP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kumimoji="0" lang="en-GB" sz="11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endParaRPr lang="en-GB" sz="1100" b="0">
                        <a:solidFill>
                          <a:schemeClr val="tx1"/>
                        </a:solidFill>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buFontTx/>
                        <a:buNone/>
                      </a:pPr>
                      <a:r>
                        <a:rPr lang="en-GB" sz="1100" b="0">
                          <a:solidFill>
                            <a:schemeClr val="tx1"/>
                          </a:solidFill>
                        </a:rPr>
                        <a:t>Variable</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9276120"/>
                  </a:ext>
                </a:extLst>
              </a:tr>
              <a:tr h="410186">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100" b="0">
                        <a:solidFill>
                          <a:schemeClr val="accent5"/>
                        </a:solidFill>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Efficiency,</a:t>
                      </a:r>
                      <a:r>
                        <a:rPr lang="en-GB" sz="1100" b="0">
                          <a:solidFill>
                            <a:schemeClr val="accent5"/>
                          </a:solidFill>
                        </a:rPr>
                        <a:t> %</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rtl="0">
                        <a:spcAft>
                          <a:spcPts val="0"/>
                        </a:spcAft>
                        <a:buFontTx/>
                        <a:buNone/>
                      </a:pP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100" b="0">
                          <a:solidFill>
                            <a:schemeClr val="tx1"/>
                          </a:solidFill>
                        </a:rPr>
                        <a:t> -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endParaRPr lang="en-GB" sz="1100" b="0">
                        <a:solidFill>
                          <a:schemeClr val="tx1"/>
                        </a:solidFill>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buFontTx/>
                        <a:buNone/>
                      </a:pPr>
                      <a:r>
                        <a:rPr lang="en-GB" sz="1100" b="0">
                          <a:solidFill>
                            <a:schemeClr val="tx1"/>
                          </a:solidFill>
                        </a:rPr>
                        <a:t>~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endParaRPr lang="en-GB" sz="1100" b="0">
                        <a:solidFill>
                          <a:schemeClr val="tx1"/>
                        </a:solidFill>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buFontTx/>
                        <a:buNone/>
                      </a:pP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100" b="0">
                          <a:solidFill>
                            <a:schemeClr val="tx1"/>
                          </a:solidFill>
                        </a:rPr>
                        <a:t> –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endParaRPr lang="en-GB" sz="1100" b="0">
                        <a:solidFill>
                          <a:schemeClr val="tx1"/>
                        </a:solidFill>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buFontTx/>
                        <a:buNone/>
                      </a:pPr>
                      <a:r>
                        <a:rPr lang="en-GB" sz="1100" b="0">
                          <a:solidFill>
                            <a:schemeClr val="tx1"/>
                          </a:solidFill>
                        </a:rPr>
                        <a:t>-</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0186">
                <a:tc vMerge="1">
                  <a:txBody>
                    <a:bodyPr/>
                    <a:lstStyle/>
                    <a:p>
                      <a:pPr marL="0" indent="0" rtl="0">
                        <a:buFontTx/>
                        <a:buNone/>
                      </a:pPr>
                      <a:endParaRPr lang="en-GB" sz="1100" b="0">
                        <a:solidFill>
                          <a:schemeClr val="accent5"/>
                        </a:solidFill>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rtl="0">
                        <a:buFontTx/>
                        <a:buNone/>
                      </a:pPr>
                      <a:r>
                        <a:rPr lang="en-GB" sz="1100" b="1">
                          <a:solidFill>
                            <a:schemeClr val="tx1"/>
                          </a:solidFill>
                        </a:rPr>
                        <a:t>Response time</a:t>
                      </a:r>
                      <a:endParaRPr lang="en-GB" sz="1100" b="0">
                        <a:solidFill>
                          <a:schemeClr val="accent5"/>
                        </a:solidFill>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rtl="0">
                        <a:spcAft>
                          <a:spcPts val="0"/>
                        </a:spcAft>
                        <a:buFontTx/>
                        <a:buNone/>
                      </a:pPr>
                      <a:r>
                        <a:rPr lang="en-GB" sz="1100" b="0">
                          <a:solidFill>
                            <a:schemeClr val="tx1"/>
                          </a:solidFill>
                        </a:rPr>
                        <a:t>≈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100" b="0">
                          <a:solidFill>
                            <a:schemeClr val="tx1"/>
                          </a:solidFill>
                        </a:rPr>
                        <a:t> secs</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buFontTx/>
                        <a:buNone/>
                      </a:pPr>
                      <a:r>
                        <a:rPr lang="en-GB" sz="1100" b="0">
                          <a:solidFill>
                            <a:schemeClr val="tx1"/>
                          </a:solidFill>
                        </a:rPr>
                        <a:t>≈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100" b="0">
                          <a:solidFill>
                            <a:schemeClr val="tx1"/>
                          </a:solidFill>
                        </a:rPr>
                        <a:t> secs</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0">
                          <a:solidFill>
                            <a:schemeClr val="tx1"/>
                          </a:solidFill>
                        </a:rPr>
                        <a:t>≈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100" b="0">
                          <a:solidFill>
                            <a:schemeClr val="tx1"/>
                          </a:solidFill>
                        </a:rPr>
                        <a:t> minutes</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0">
                          <a:solidFill>
                            <a:schemeClr val="tx1"/>
                          </a:solidFill>
                        </a:rPr>
                        <a:t>≈ </a:t>
                      </a:r>
                      <a:r>
                        <a:rPr kumimoji="0" lang="en-GB" sz="11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100" b="0">
                          <a:solidFill>
                            <a:schemeClr val="tx1"/>
                          </a:solidFill>
                        </a:rPr>
                        <a:t> secs</a:t>
                      </a: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0186">
                <a:tc rowSpan="7">
                  <a:txBody>
                    <a:bodyPr/>
                    <a:lstStyle/>
                    <a:p>
                      <a:pPr algn="ctr" rtl="0" fontAlgn="b"/>
                      <a:r>
                        <a:rPr lang="en-GB" sz="1100" b="1" i="0" u="none" strike="noStrike">
                          <a:solidFill>
                            <a:srgbClr val="000000"/>
                          </a:solidFill>
                          <a:effectLst/>
                          <a:latin typeface="+mn-lt"/>
                        </a:rPr>
                        <a:t>Ancillary Services</a:t>
                      </a:r>
                    </a:p>
                  </a:txBody>
                  <a:tcPr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Frequency (Response)</a:t>
                      </a:r>
                    </a:p>
                  </a:txBody>
                  <a:tcPr marL="45720" marR="45720" anchor="ctr">
                    <a:lnL w="19050" cap="flat" cmpd="sng" algn="ctr">
                      <a:no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marR="45720" anchor="ctr">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10186">
                <a:tc vMerge="1">
                  <a:txBody>
                    <a:bodyPr/>
                    <a:lstStyle/>
                    <a:p>
                      <a:pPr algn="l" fontAlgn="b"/>
                      <a:endParaRPr lang="en-GB" sz="1100" b="1" kern="1200">
                        <a:solidFill>
                          <a:schemeClr val="tx1"/>
                        </a:solidFill>
                        <a:latin typeface="+mn-lt"/>
                        <a:ea typeface="+mn-ea"/>
                        <a:cs typeface="+mn-cs"/>
                      </a:endParaRPr>
                    </a:p>
                  </a:txBody>
                  <a:tcPr vert="vert27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Inertia (Stability)</a:t>
                      </a:r>
                      <a:r>
                        <a:rPr lang="en-GB" sz="1100" b="1" baseline="30000">
                          <a:solidFill>
                            <a:schemeClr val="tx1"/>
                          </a:solidFill>
                        </a:rPr>
                        <a:t>1</a:t>
                      </a:r>
                    </a:p>
                  </a:txBody>
                  <a:tcPr marL="45720" marR="45720" anchor="ctr">
                    <a:lnL w="19050" cap="flat" cmpd="sng" algn="ctr">
                      <a:no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nchor="ctr">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lang="en-GB" sz="2000">
                        <a:solidFill>
                          <a:schemeClr val="tx1"/>
                        </a:solidFill>
                        <a:latin typeface="+mn-lt"/>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8241958"/>
                  </a:ext>
                </a:extLst>
              </a:tr>
              <a:tr h="410186">
                <a:tc vMerge="1">
                  <a:txBody>
                    <a:bodyPr/>
                    <a:lstStyle/>
                    <a:p>
                      <a:pPr algn="l" fontAlgn="b"/>
                      <a:endParaRPr lang="en-GB" sz="1100" b="1" kern="1200">
                        <a:solidFill>
                          <a:schemeClr val="tx1"/>
                        </a:solidFill>
                        <a:latin typeface="+mn-lt"/>
                        <a:ea typeface="+mn-ea"/>
                        <a:cs typeface="+mn-cs"/>
                      </a:endParaRPr>
                    </a:p>
                  </a:txBody>
                  <a:tcPr vert="vert27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Energy Balancing (Reserve)</a:t>
                      </a:r>
                    </a:p>
                  </a:txBody>
                  <a:tcPr marL="45720" marR="45720" anchor="ctr">
                    <a:lnL w="19050" cap="flat" cmpd="sng" algn="ctr">
                      <a:no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8104730"/>
                  </a:ext>
                </a:extLst>
              </a:tr>
              <a:tr h="612745">
                <a:tc vMerge="1">
                  <a:txBody>
                    <a:bodyPr/>
                    <a:lstStyle/>
                    <a:p>
                      <a:pPr algn="l" fontAlgn="b"/>
                      <a:endParaRPr lang="en-GB" sz="1100" b="1" i="0" u="none" strike="noStrike">
                        <a:solidFill>
                          <a:srgbClr val="000000"/>
                        </a:solidFill>
                        <a:effectLst/>
                        <a:latin typeface="+mn-lt"/>
                      </a:endParaRPr>
                    </a:p>
                  </a:txBody>
                  <a:tcPr vert="vert27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Congestion and constraint resolution</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lang="en-GB" sz="2000">
                        <a:solidFill>
                          <a:schemeClr val="tx1"/>
                        </a:solidFill>
                        <a:latin typeface="+mn-lt"/>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9009891"/>
                  </a:ext>
                </a:extLst>
              </a:tr>
              <a:tr h="410186">
                <a:tc vMerge="1">
                  <a:txBody>
                    <a:bodyPr/>
                    <a:lstStyle/>
                    <a:p>
                      <a:pPr algn="ctr" fontAlgn="b"/>
                      <a:endParaRPr lang="en-GB" sz="1100" b="1" kern="1200">
                        <a:solidFill>
                          <a:schemeClr val="tx1"/>
                        </a:solidFill>
                        <a:latin typeface="+mn-lt"/>
                        <a:ea typeface="+mn-ea"/>
                        <a:cs typeface="+mn-cs"/>
                      </a:endParaRPr>
                    </a:p>
                  </a:txBody>
                  <a:tcPr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Voltage</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Lato"/>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3385847"/>
                  </a:ext>
                </a:extLst>
              </a:tr>
              <a:tr h="410186">
                <a:tc vMerge="1">
                  <a:txBody>
                    <a:bodyPr/>
                    <a:lstStyle/>
                    <a:p>
                      <a:pPr algn="ctr" fontAlgn="b"/>
                      <a:endParaRPr lang="en-GB" sz="1100" b="1" kern="1200">
                        <a:solidFill>
                          <a:schemeClr val="tx1"/>
                        </a:solidFill>
                        <a:latin typeface="+mn-lt"/>
                        <a:ea typeface="+mn-ea"/>
                        <a:cs typeface="+mn-cs"/>
                      </a:endParaRPr>
                    </a:p>
                  </a:txBody>
                  <a:tcPr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Restoration / Black start</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kumimoji="0" lang="en-GB" sz="2000" b="0" i="0" u="none" strike="noStrike" kern="1200" cap="none" spc="0" normalizeH="0" baseline="0" noProof="0">
                        <a:ln>
                          <a:noFill/>
                        </a:ln>
                        <a:solidFill>
                          <a:srgbClr val="3C3C3B"/>
                        </a:solidFill>
                        <a:effectLst/>
                        <a:uLnTx/>
                        <a:uFillTx/>
                        <a:latin typeface="Lato"/>
                        <a:ea typeface="+mn-ea"/>
                        <a:cs typeface="+mn-cs"/>
                      </a:endParaRPr>
                    </a:p>
                  </a:txBody>
                  <a:tcPr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6582047"/>
                  </a:ext>
                </a:extLst>
              </a:tr>
              <a:tr h="410186">
                <a:tc vMerge="1">
                  <a:txBody>
                    <a:bodyPr/>
                    <a:lstStyle/>
                    <a:p>
                      <a:pPr algn="ctr" fontAlgn="b"/>
                      <a:endParaRPr lang="en-GB" sz="1100" b="1" i="0" u="none" strike="noStrike">
                        <a:solidFill>
                          <a:srgbClr val="000000"/>
                        </a:solidFill>
                        <a:effectLst/>
                        <a:latin typeface="+mn-lt"/>
                      </a:endParaRPr>
                    </a:p>
                  </a:txBody>
                  <a:tcPr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Short circuit levels (SCL)</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2000" b="0" i="0" u="none" strike="noStrike" kern="1200" cap="none" spc="0" normalizeH="0" baseline="0" noProof="0">
                          <a:ln>
                            <a:noFill/>
                          </a:ln>
                          <a:solidFill>
                            <a:srgbClr val="3C3C3B"/>
                          </a:solidFill>
                          <a:effectLst/>
                          <a:uLnTx/>
                          <a:uFillTx/>
                          <a:latin typeface="+mn-lt"/>
                          <a:ea typeface="Segoe UI Symbol" panose="020B0502040204020203" pitchFamily="34" charset="0"/>
                          <a:cs typeface="+mn-cs"/>
                        </a:rPr>
                        <a:t> </a:t>
                      </a:r>
                      <a:endParaRPr kumimoji="0" lang="en-GB" sz="2000" b="0" i="0" u="none" strike="noStrike" kern="1200" cap="none" spc="0" normalizeH="0" baseline="0" noProof="0">
                        <a:ln>
                          <a:noFill/>
                        </a:ln>
                        <a:solidFill>
                          <a:srgbClr val="3C3C3B"/>
                        </a:solidFill>
                        <a:effectLst/>
                        <a:uLnTx/>
                        <a:uFillTx/>
                        <a:latin typeface="+mn-lt"/>
                        <a:ea typeface="+mn-ea"/>
                        <a:cs typeface="+mn-cs"/>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3C3C3B"/>
                        </a:solidFill>
                        <a:effectLst/>
                        <a:uLnTx/>
                        <a:uFillTx/>
                        <a:latin typeface="Harvey Balls" panose="020B0604020202020204" charset="0"/>
                        <a:ea typeface="+mn-ea"/>
                        <a:cs typeface="+mn-cs"/>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endParaRPr lang="en-GB" sz="2000">
                        <a:solidFill>
                          <a:schemeClr val="tx1"/>
                        </a:solidFill>
                        <a:latin typeface="+mn-lt"/>
                      </a:endParaRPr>
                    </a:p>
                  </a:txBody>
                  <a:tcPr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1764417"/>
                  </a:ext>
                </a:extLst>
              </a:tr>
            </a:tbl>
          </a:graphicData>
        </a:graphic>
      </p:graphicFrame>
      <p:sp>
        <p:nvSpPr>
          <p:cNvPr id="10" name="Rectangle 9">
            <a:extLst>
              <a:ext uri="{FF2B5EF4-FFF2-40B4-BE49-F238E27FC236}">
                <a16:creationId xmlns:a16="http://schemas.microsoft.com/office/drawing/2014/main" id="{47323D8D-4073-A2E7-E404-40BB53C5339E}"/>
              </a:ext>
            </a:extLst>
          </p:cNvPr>
          <p:cNvSpPr/>
          <p:nvPr/>
        </p:nvSpPr>
        <p:spPr>
          <a:xfrm>
            <a:off x="4839036" y="1493451"/>
            <a:ext cx="2476982" cy="4721426"/>
          </a:xfrm>
          <a:prstGeom prst="rect">
            <a:avLst/>
          </a:prstGeom>
          <a:noFill/>
          <a:ln w="31750">
            <a:solidFill>
              <a:srgbClr val="FF0000"/>
            </a:solidFill>
            <a:prstDash val="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13" name="Text Placeholder 18">
            <a:extLst>
              <a:ext uri="{FF2B5EF4-FFF2-40B4-BE49-F238E27FC236}">
                <a16:creationId xmlns:a16="http://schemas.microsoft.com/office/drawing/2014/main" id="{28FEA651-053D-0AEF-D1A4-F5FDCC9CCEF4}"/>
              </a:ext>
            </a:extLst>
          </p:cNvPr>
          <p:cNvSpPr txBox="1">
            <a:spLocks/>
          </p:cNvSpPr>
          <p:nvPr/>
        </p:nvSpPr>
        <p:spPr>
          <a:xfrm>
            <a:off x="5158271" y="1242246"/>
            <a:ext cx="1733205"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FF0000"/>
                </a:solidFill>
                <a:effectLst/>
                <a:uLnTx/>
                <a:uFillTx/>
                <a:latin typeface="Lato" panose="020F0502020204030203" pitchFamily="34" charset="0"/>
                <a:sym typeface="Lato" panose="020F0502020204030203" pitchFamily="34" charset="0"/>
              </a:rPr>
              <a:t>Focus of this report</a:t>
            </a:r>
          </a:p>
        </p:txBody>
      </p:sp>
      <p:grpSp>
        <p:nvGrpSpPr>
          <p:cNvPr id="14" name="Group 13">
            <a:extLst>
              <a:ext uri="{FF2B5EF4-FFF2-40B4-BE49-F238E27FC236}">
                <a16:creationId xmlns:a16="http://schemas.microsoft.com/office/drawing/2014/main" id="{7FF7AB74-88DA-6449-23B0-4D0F2CBEE5FB}"/>
              </a:ext>
            </a:extLst>
          </p:cNvPr>
          <p:cNvGrpSpPr/>
          <p:nvPr/>
        </p:nvGrpSpPr>
        <p:grpSpPr>
          <a:xfrm>
            <a:off x="671337" y="6241795"/>
            <a:ext cx="2266577" cy="161583"/>
            <a:chOff x="9568580" y="1090323"/>
            <a:chExt cx="2266577" cy="161583"/>
          </a:xfrm>
        </p:grpSpPr>
        <p:sp>
          <p:nvSpPr>
            <p:cNvPr id="16" name="TextBox 15">
              <a:extLst>
                <a:ext uri="{FF2B5EF4-FFF2-40B4-BE49-F238E27FC236}">
                  <a16:creationId xmlns:a16="http://schemas.microsoft.com/office/drawing/2014/main" id="{9F0D4F0F-DDD0-DA9F-2BFF-31584A679C3B}"/>
                </a:ext>
              </a:extLst>
            </p:cNvPr>
            <p:cNvSpPr txBox="1"/>
            <p:nvPr/>
          </p:nvSpPr>
          <p:spPr>
            <a:xfrm>
              <a:off x="9568580" y="1098018"/>
              <a:ext cx="149886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More applicable</a:t>
              </a:r>
            </a:p>
          </p:txBody>
        </p:sp>
        <p:sp>
          <p:nvSpPr>
            <p:cNvPr id="17" name="TextBox 16">
              <a:extLst>
                <a:ext uri="{FF2B5EF4-FFF2-40B4-BE49-F238E27FC236}">
                  <a16:creationId xmlns:a16="http://schemas.microsoft.com/office/drawing/2014/main" id="{0DABA355-78AA-B9E3-31C9-92244AB15D22}"/>
                </a:ext>
              </a:extLst>
            </p:cNvPr>
            <p:cNvSpPr txBox="1"/>
            <p:nvPr/>
          </p:nvSpPr>
          <p:spPr>
            <a:xfrm>
              <a:off x="10854455" y="1090323"/>
              <a:ext cx="980702"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Less applicable</a:t>
              </a:r>
            </a:p>
          </p:txBody>
        </p:sp>
      </p:grpSp>
      <p:sp>
        <p:nvSpPr>
          <p:cNvPr id="4" name="Oval 3">
            <a:extLst>
              <a:ext uri="{FF2B5EF4-FFF2-40B4-BE49-F238E27FC236}">
                <a16:creationId xmlns:a16="http://schemas.microsoft.com/office/drawing/2014/main" id="{9C995DCD-CA70-E7EC-5292-86D67708D68A}"/>
              </a:ext>
            </a:extLst>
          </p:cNvPr>
          <p:cNvSpPr/>
          <p:nvPr>
            <p:custDataLst>
              <p:tags r:id="rId3"/>
            </p:custDataLst>
          </p:nvPr>
        </p:nvSpPr>
        <p:spPr bwMode="auto">
          <a:xfrm>
            <a:off x="3671887" y="31480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 name="Arc 4">
            <a:extLst>
              <a:ext uri="{FF2B5EF4-FFF2-40B4-BE49-F238E27FC236}">
                <a16:creationId xmlns:a16="http://schemas.microsoft.com/office/drawing/2014/main" id="{CF72A79C-1F4C-6E75-5429-E839B48244F1}"/>
              </a:ext>
            </a:extLst>
          </p:cNvPr>
          <p:cNvSpPr/>
          <p:nvPr>
            <p:custDataLst>
              <p:tags r:id="rId4"/>
            </p:custDataLst>
          </p:nvPr>
        </p:nvSpPr>
        <p:spPr bwMode="gray">
          <a:xfrm>
            <a:off x="3671888" y="3148013"/>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15" name="Oval 14">
            <a:extLst>
              <a:ext uri="{FF2B5EF4-FFF2-40B4-BE49-F238E27FC236}">
                <a16:creationId xmlns:a16="http://schemas.microsoft.com/office/drawing/2014/main" id="{A091A134-1BA0-C239-C21C-F4339B46979B}"/>
              </a:ext>
            </a:extLst>
          </p:cNvPr>
          <p:cNvSpPr/>
          <p:nvPr>
            <p:custDataLst>
              <p:tags r:id="rId5"/>
            </p:custDataLst>
          </p:nvPr>
        </p:nvSpPr>
        <p:spPr bwMode="auto">
          <a:xfrm>
            <a:off x="3671888" y="3567113"/>
            <a:ext cx="215900" cy="215900"/>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22" name="Oval 21">
            <a:extLst>
              <a:ext uri="{FF2B5EF4-FFF2-40B4-BE49-F238E27FC236}">
                <a16:creationId xmlns:a16="http://schemas.microsoft.com/office/drawing/2014/main" id="{EE105046-EBF2-E778-1C0A-0C00FF11FCAC}"/>
              </a:ext>
            </a:extLst>
          </p:cNvPr>
          <p:cNvSpPr/>
          <p:nvPr>
            <p:custDataLst>
              <p:tags r:id="rId6"/>
            </p:custDataLst>
          </p:nvPr>
        </p:nvSpPr>
        <p:spPr bwMode="auto">
          <a:xfrm>
            <a:off x="3671888" y="3995738"/>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28" name="Arc 27">
            <a:extLst>
              <a:ext uri="{FF2B5EF4-FFF2-40B4-BE49-F238E27FC236}">
                <a16:creationId xmlns:a16="http://schemas.microsoft.com/office/drawing/2014/main" id="{CBAD25CF-66CC-86B3-43B2-FE973E1489F7}"/>
              </a:ext>
            </a:extLst>
          </p:cNvPr>
          <p:cNvSpPr/>
          <p:nvPr>
            <p:custDataLst>
              <p:tags r:id="rId7"/>
            </p:custDataLst>
          </p:nvPr>
        </p:nvSpPr>
        <p:spPr bwMode="gray">
          <a:xfrm>
            <a:off x="3671888" y="3995738"/>
            <a:ext cx="215900" cy="215900"/>
          </a:xfrm>
          <a:prstGeom prst="arc">
            <a:avLst>
              <a:gd name="adj1" fmla="val 16200000"/>
              <a:gd name="adj2" fmla="val 54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23" name="Oval 22">
            <a:extLst>
              <a:ext uri="{FF2B5EF4-FFF2-40B4-BE49-F238E27FC236}">
                <a16:creationId xmlns:a16="http://schemas.microsoft.com/office/drawing/2014/main" id="{B18853EA-F958-E768-0ED3-4A94FCB15432}"/>
              </a:ext>
            </a:extLst>
          </p:cNvPr>
          <p:cNvSpPr/>
          <p:nvPr>
            <p:custDataLst>
              <p:tags r:id="rId8"/>
            </p:custDataLst>
          </p:nvPr>
        </p:nvSpPr>
        <p:spPr bwMode="auto">
          <a:xfrm>
            <a:off x="3671888" y="44815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29" name="Arc 28">
            <a:extLst>
              <a:ext uri="{FF2B5EF4-FFF2-40B4-BE49-F238E27FC236}">
                <a16:creationId xmlns:a16="http://schemas.microsoft.com/office/drawing/2014/main" id="{4ADB63E0-B5B5-1C20-09FD-C6DC5C49D888}"/>
              </a:ext>
            </a:extLst>
          </p:cNvPr>
          <p:cNvSpPr/>
          <p:nvPr>
            <p:custDataLst>
              <p:tags r:id="rId9"/>
            </p:custDataLst>
          </p:nvPr>
        </p:nvSpPr>
        <p:spPr bwMode="gray">
          <a:xfrm>
            <a:off x="3671888" y="4481513"/>
            <a:ext cx="215900" cy="215900"/>
          </a:xfrm>
          <a:prstGeom prst="arc">
            <a:avLst>
              <a:gd name="adj1" fmla="val 16200000"/>
              <a:gd name="adj2" fmla="val 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24" name="Oval 23">
            <a:extLst>
              <a:ext uri="{FF2B5EF4-FFF2-40B4-BE49-F238E27FC236}">
                <a16:creationId xmlns:a16="http://schemas.microsoft.com/office/drawing/2014/main" id="{0CC416FA-2594-6542-3FE8-7EB616000081}"/>
              </a:ext>
            </a:extLst>
          </p:cNvPr>
          <p:cNvSpPr/>
          <p:nvPr>
            <p:custDataLst>
              <p:tags r:id="rId10"/>
            </p:custDataLst>
          </p:nvPr>
        </p:nvSpPr>
        <p:spPr bwMode="auto">
          <a:xfrm>
            <a:off x="3671888" y="500697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0" name="Arc 29">
            <a:extLst>
              <a:ext uri="{FF2B5EF4-FFF2-40B4-BE49-F238E27FC236}">
                <a16:creationId xmlns:a16="http://schemas.microsoft.com/office/drawing/2014/main" id="{C242F496-ABD2-C41A-AECE-761483935DB1}"/>
              </a:ext>
            </a:extLst>
          </p:cNvPr>
          <p:cNvSpPr/>
          <p:nvPr>
            <p:custDataLst>
              <p:tags r:id="rId11"/>
            </p:custDataLst>
          </p:nvPr>
        </p:nvSpPr>
        <p:spPr bwMode="gray">
          <a:xfrm>
            <a:off x="3671888" y="5006975"/>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25" name="Oval 24">
            <a:extLst>
              <a:ext uri="{FF2B5EF4-FFF2-40B4-BE49-F238E27FC236}">
                <a16:creationId xmlns:a16="http://schemas.microsoft.com/office/drawing/2014/main" id="{E8CE9BE6-A440-A8ED-1CE9-566D1806A567}"/>
              </a:ext>
            </a:extLst>
          </p:cNvPr>
          <p:cNvSpPr/>
          <p:nvPr>
            <p:custDataLst>
              <p:tags r:id="rId12"/>
            </p:custDataLst>
          </p:nvPr>
        </p:nvSpPr>
        <p:spPr bwMode="auto">
          <a:xfrm>
            <a:off x="3671888" y="542607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1" name="Arc 30">
            <a:extLst>
              <a:ext uri="{FF2B5EF4-FFF2-40B4-BE49-F238E27FC236}">
                <a16:creationId xmlns:a16="http://schemas.microsoft.com/office/drawing/2014/main" id="{F7710FC1-B312-8D3A-64C2-39C34695F776}"/>
              </a:ext>
            </a:extLst>
          </p:cNvPr>
          <p:cNvSpPr/>
          <p:nvPr>
            <p:custDataLst>
              <p:tags r:id="rId13"/>
            </p:custDataLst>
          </p:nvPr>
        </p:nvSpPr>
        <p:spPr bwMode="gray">
          <a:xfrm>
            <a:off x="3671888" y="5426075"/>
            <a:ext cx="215900" cy="215900"/>
          </a:xfrm>
          <a:prstGeom prst="arc">
            <a:avLst>
              <a:gd name="adj1" fmla="val 16200000"/>
              <a:gd name="adj2" fmla="val 54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27" name="Oval 26">
            <a:extLst>
              <a:ext uri="{FF2B5EF4-FFF2-40B4-BE49-F238E27FC236}">
                <a16:creationId xmlns:a16="http://schemas.microsoft.com/office/drawing/2014/main" id="{B7B78600-DEB4-F838-4434-BAFE36371BE0}"/>
              </a:ext>
            </a:extLst>
          </p:cNvPr>
          <p:cNvSpPr/>
          <p:nvPr>
            <p:custDataLst>
              <p:tags r:id="rId14"/>
            </p:custDataLst>
          </p:nvPr>
        </p:nvSpPr>
        <p:spPr bwMode="auto">
          <a:xfrm>
            <a:off x="3671888" y="5826125"/>
            <a:ext cx="215900" cy="215900"/>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2" name="Oval 31">
            <a:extLst>
              <a:ext uri="{FF2B5EF4-FFF2-40B4-BE49-F238E27FC236}">
                <a16:creationId xmlns:a16="http://schemas.microsoft.com/office/drawing/2014/main" id="{4DC17D64-8D1E-6945-4EFE-01543CB1AB05}"/>
              </a:ext>
            </a:extLst>
          </p:cNvPr>
          <p:cNvSpPr/>
          <p:nvPr>
            <p:custDataLst>
              <p:tags r:id="rId15"/>
            </p:custDataLst>
          </p:nvPr>
        </p:nvSpPr>
        <p:spPr bwMode="auto">
          <a:xfrm>
            <a:off x="5976938" y="3148013"/>
            <a:ext cx="215900" cy="215900"/>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4" name="Oval 33">
            <a:extLst>
              <a:ext uri="{FF2B5EF4-FFF2-40B4-BE49-F238E27FC236}">
                <a16:creationId xmlns:a16="http://schemas.microsoft.com/office/drawing/2014/main" id="{F556E4FD-5F58-3810-D6F8-E8005AC382E6}"/>
              </a:ext>
            </a:extLst>
          </p:cNvPr>
          <p:cNvSpPr/>
          <p:nvPr>
            <p:custDataLst>
              <p:tags r:id="rId16"/>
            </p:custDataLst>
          </p:nvPr>
        </p:nvSpPr>
        <p:spPr bwMode="auto">
          <a:xfrm>
            <a:off x="5976938" y="35671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4" name="Arc 43">
            <a:extLst>
              <a:ext uri="{FF2B5EF4-FFF2-40B4-BE49-F238E27FC236}">
                <a16:creationId xmlns:a16="http://schemas.microsoft.com/office/drawing/2014/main" id="{334F620D-C9C7-9395-C74E-59FB7B3053F3}"/>
              </a:ext>
            </a:extLst>
          </p:cNvPr>
          <p:cNvSpPr/>
          <p:nvPr>
            <p:custDataLst>
              <p:tags r:id="rId17"/>
            </p:custDataLst>
          </p:nvPr>
        </p:nvSpPr>
        <p:spPr bwMode="gray">
          <a:xfrm>
            <a:off x="5976938" y="3567113"/>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35" name="Oval 34">
            <a:extLst>
              <a:ext uri="{FF2B5EF4-FFF2-40B4-BE49-F238E27FC236}">
                <a16:creationId xmlns:a16="http://schemas.microsoft.com/office/drawing/2014/main" id="{FCF857C7-4EF6-5B03-A9FD-1DBDAD90B1FD}"/>
              </a:ext>
            </a:extLst>
          </p:cNvPr>
          <p:cNvSpPr/>
          <p:nvPr>
            <p:custDataLst>
              <p:tags r:id="rId18"/>
            </p:custDataLst>
          </p:nvPr>
        </p:nvSpPr>
        <p:spPr bwMode="auto">
          <a:xfrm>
            <a:off x="5976938" y="3995738"/>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6" name="Arc 35">
            <a:extLst>
              <a:ext uri="{FF2B5EF4-FFF2-40B4-BE49-F238E27FC236}">
                <a16:creationId xmlns:a16="http://schemas.microsoft.com/office/drawing/2014/main" id="{61C920D9-AA34-6575-C17B-FCA868A30E1A}"/>
              </a:ext>
            </a:extLst>
          </p:cNvPr>
          <p:cNvSpPr/>
          <p:nvPr>
            <p:custDataLst>
              <p:tags r:id="rId19"/>
            </p:custDataLst>
          </p:nvPr>
        </p:nvSpPr>
        <p:spPr bwMode="gray">
          <a:xfrm>
            <a:off x="5976938" y="3995738"/>
            <a:ext cx="215900" cy="215900"/>
          </a:xfrm>
          <a:prstGeom prst="arc">
            <a:avLst>
              <a:gd name="adj1" fmla="val 16200000"/>
              <a:gd name="adj2" fmla="val 54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37" name="Oval 36">
            <a:extLst>
              <a:ext uri="{FF2B5EF4-FFF2-40B4-BE49-F238E27FC236}">
                <a16:creationId xmlns:a16="http://schemas.microsoft.com/office/drawing/2014/main" id="{13DA85B9-7482-7460-AE05-6E5A59860073}"/>
              </a:ext>
            </a:extLst>
          </p:cNvPr>
          <p:cNvSpPr/>
          <p:nvPr>
            <p:custDataLst>
              <p:tags r:id="rId20"/>
            </p:custDataLst>
          </p:nvPr>
        </p:nvSpPr>
        <p:spPr bwMode="auto">
          <a:xfrm>
            <a:off x="5976938" y="44815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8" name="Arc 37">
            <a:extLst>
              <a:ext uri="{FF2B5EF4-FFF2-40B4-BE49-F238E27FC236}">
                <a16:creationId xmlns:a16="http://schemas.microsoft.com/office/drawing/2014/main" id="{9438EA3D-59DE-BCE1-7C0A-A1478BF7722F}"/>
              </a:ext>
            </a:extLst>
          </p:cNvPr>
          <p:cNvSpPr/>
          <p:nvPr>
            <p:custDataLst>
              <p:tags r:id="rId21"/>
            </p:custDataLst>
          </p:nvPr>
        </p:nvSpPr>
        <p:spPr bwMode="gray">
          <a:xfrm>
            <a:off x="5976938" y="4481513"/>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39" name="Oval 38">
            <a:extLst>
              <a:ext uri="{FF2B5EF4-FFF2-40B4-BE49-F238E27FC236}">
                <a16:creationId xmlns:a16="http://schemas.microsoft.com/office/drawing/2014/main" id="{34D46AE5-8B01-11E9-1B80-E755A39CD764}"/>
              </a:ext>
            </a:extLst>
          </p:cNvPr>
          <p:cNvSpPr/>
          <p:nvPr>
            <p:custDataLst>
              <p:tags r:id="rId22"/>
            </p:custDataLst>
          </p:nvPr>
        </p:nvSpPr>
        <p:spPr bwMode="auto">
          <a:xfrm>
            <a:off x="5976938" y="500697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0" name="Arc 39">
            <a:extLst>
              <a:ext uri="{FF2B5EF4-FFF2-40B4-BE49-F238E27FC236}">
                <a16:creationId xmlns:a16="http://schemas.microsoft.com/office/drawing/2014/main" id="{896E1921-90D6-1ECB-B88F-4B049C35A985}"/>
              </a:ext>
            </a:extLst>
          </p:cNvPr>
          <p:cNvSpPr/>
          <p:nvPr>
            <p:custDataLst>
              <p:tags r:id="rId23"/>
            </p:custDataLst>
          </p:nvPr>
        </p:nvSpPr>
        <p:spPr bwMode="gray">
          <a:xfrm>
            <a:off x="5976938" y="5006975"/>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41" name="Oval 40">
            <a:extLst>
              <a:ext uri="{FF2B5EF4-FFF2-40B4-BE49-F238E27FC236}">
                <a16:creationId xmlns:a16="http://schemas.microsoft.com/office/drawing/2014/main" id="{31C8BFD9-D594-C9DF-5A27-0D105D4C61B4}"/>
              </a:ext>
            </a:extLst>
          </p:cNvPr>
          <p:cNvSpPr/>
          <p:nvPr>
            <p:custDataLst>
              <p:tags r:id="rId24"/>
            </p:custDataLst>
          </p:nvPr>
        </p:nvSpPr>
        <p:spPr bwMode="auto">
          <a:xfrm>
            <a:off x="5976938" y="542607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2" name="Arc 41">
            <a:extLst>
              <a:ext uri="{FF2B5EF4-FFF2-40B4-BE49-F238E27FC236}">
                <a16:creationId xmlns:a16="http://schemas.microsoft.com/office/drawing/2014/main" id="{7E68071B-8FFF-D1E6-ABD8-87688201F8B5}"/>
              </a:ext>
            </a:extLst>
          </p:cNvPr>
          <p:cNvSpPr/>
          <p:nvPr>
            <p:custDataLst>
              <p:tags r:id="rId25"/>
            </p:custDataLst>
          </p:nvPr>
        </p:nvSpPr>
        <p:spPr bwMode="gray">
          <a:xfrm>
            <a:off x="5976938" y="5426075"/>
            <a:ext cx="215900" cy="215900"/>
          </a:xfrm>
          <a:prstGeom prst="arc">
            <a:avLst>
              <a:gd name="adj1" fmla="val 16200000"/>
              <a:gd name="adj2" fmla="val 54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43" name="Oval 42">
            <a:extLst>
              <a:ext uri="{FF2B5EF4-FFF2-40B4-BE49-F238E27FC236}">
                <a16:creationId xmlns:a16="http://schemas.microsoft.com/office/drawing/2014/main" id="{27FA844D-50CE-10E9-8732-83768E56CBDD}"/>
              </a:ext>
            </a:extLst>
          </p:cNvPr>
          <p:cNvSpPr/>
          <p:nvPr>
            <p:custDataLst>
              <p:tags r:id="rId26"/>
            </p:custDataLst>
          </p:nvPr>
        </p:nvSpPr>
        <p:spPr bwMode="auto">
          <a:xfrm>
            <a:off x="5976938" y="582612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5" name="Arc 44">
            <a:extLst>
              <a:ext uri="{FF2B5EF4-FFF2-40B4-BE49-F238E27FC236}">
                <a16:creationId xmlns:a16="http://schemas.microsoft.com/office/drawing/2014/main" id="{9F43D48B-8F77-5F84-9342-29C5C58A194F}"/>
              </a:ext>
            </a:extLst>
          </p:cNvPr>
          <p:cNvSpPr/>
          <p:nvPr>
            <p:custDataLst>
              <p:tags r:id="rId27"/>
            </p:custDataLst>
          </p:nvPr>
        </p:nvSpPr>
        <p:spPr bwMode="gray">
          <a:xfrm>
            <a:off x="5976938" y="5826125"/>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46" name="Oval 45">
            <a:extLst>
              <a:ext uri="{FF2B5EF4-FFF2-40B4-BE49-F238E27FC236}">
                <a16:creationId xmlns:a16="http://schemas.microsoft.com/office/drawing/2014/main" id="{629A18E5-D789-3DAF-043D-45387AF01FF6}"/>
              </a:ext>
            </a:extLst>
          </p:cNvPr>
          <p:cNvSpPr/>
          <p:nvPr>
            <p:custDataLst>
              <p:tags r:id="rId28"/>
            </p:custDataLst>
          </p:nvPr>
        </p:nvSpPr>
        <p:spPr bwMode="auto">
          <a:xfrm>
            <a:off x="8291513" y="31480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72" name="Arc 71">
            <a:extLst>
              <a:ext uri="{FF2B5EF4-FFF2-40B4-BE49-F238E27FC236}">
                <a16:creationId xmlns:a16="http://schemas.microsoft.com/office/drawing/2014/main" id="{976F0241-ED63-EE15-73D9-DB2BB54E35BB}"/>
              </a:ext>
            </a:extLst>
          </p:cNvPr>
          <p:cNvSpPr/>
          <p:nvPr>
            <p:custDataLst>
              <p:tags r:id="rId29"/>
            </p:custDataLst>
          </p:nvPr>
        </p:nvSpPr>
        <p:spPr bwMode="gray">
          <a:xfrm>
            <a:off x="8291513" y="3148013"/>
            <a:ext cx="215900" cy="215900"/>
          </a:xfrm>
          <a:prstGeom prst="arc">
            <a:avLst>
              <a:gd name="adj1" fmla="val 16200000"/>
              <a:gd name="adj2" fmla="val 54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47" name="Oval 46">
            <a:extLst>
              <a:ext uri="{FF2B5EF4-FFF2-40B4-BE49-F238E27FC236}">
                <a16:creationId xmlns:a16="http://schemas.microsoft.com/office/drawing/2014/main" id="{9996EAF9-9FD4-FAA3-8E5A-C06379B63407}"/>
              </a:ext>
            </a:extLst>
          </p:cNvPr>
          <p:cNvSpPr/>
          <p:nvPr>
            <p:custDataLst>
              <p:tags r:id="rId30"/>
            </p:custDataLst>
          </p:nvPr>
        </p:nvSpPr>
        <p:spPr bwMode="auto">
          <a:xfrm>
            <a:off x="8291513" y="3567113"/>
            <a:ext cx="215900" cy="215900"/>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9" name="Oval 48">
            <a:extLst>
              <a:ext uri="{FF2B5EF4-FFF2-40B4-BE49-F238E27FC236}">
                <a16:creationId xmlns:a16="http://schemas.microsoft.com/office/drawing/2014/main" id="{6F409DD5-D0DC-09F4-0EFF-7C1E2AF43DC0}"/>
              </a:ext>
            </a:extLst>
          </p:cNvPr>
          <p:cNvSpPr/>
          <p:nvPr>
            <p:custDataLst>
              <p:tags r:id="rId31"/>
            </p:custDataLst>
          </p:nvPr>
        </p:nvSpPr>
        <p:spPr bwMode="auto">
          <a:xfrm>
            <a:off x="8291513" y="3995738"/>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0" name="Arc 49">
            <a:extLst>
              <a:ext uri="{FF2B5EF4-FFF2-40B4-BE49-F238E27FC236}">
                <a16:creationId xmlns:a16="http://schemas.microsoft.com/office/drawing/2014/main" id="{74800CA1-2594-2809-1ACA-47D195122A5D}"/>
              </a:ext>
            </a:extLst>
          </p:cNvPr>
          <p:cNvSpPr/>
          <p:nvPr>
            <p:custDataLst>
              <p:tags r:id="rId32"/>
            </p:custDataLst>
          </p:nvPr>
        </p:nvSpPr>
        <p:spPr bwMode="gray">
          <a:xfrm>
            <a:off x="8291513" y="3995738"/>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1" name="Oval 50">
            <a:extLst>
              <a:ext uri="{FF2B5EF4-FFF2-40B4-BE49-F238E27FC236}">
                <a16:creationId xmlns:a16="http://schemas.microsoft.com/office/drawing/2014/main" id="{B1500B0F-18A0-58D6-F4F2-A30FA42E8FDF}"/>
              </a:ext>
            </a:extLst>
          </p:cNvPr>
          <p:cNvSpPr/>
          <p:nvPr>
            <p:custDataLst>
              <p:tags r:id="rId33"/>
            </p:custDataLst>
          </p:nvPr>
        </p:nvSpPr>
        <p:spPr bwMode="auto">
          <a:xfrm>
            <a:off x="8291513" y="44815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2" name="Arc 51">
            <a:extLst>
              <a:ext uri="{FF2B5EF4-FFF2-40B4-BE49-F238E27FC236}">
                <a16:creationId xmlns:a16="http://schemas.microsoft.com/office/drawing/2014/main" id="{205EB909-CF8B-4BE2-8442-B01ACDF9FA01}"/>
              </a:ext>
            </a:extLst>
          </p:cNvPr>
          <p:cNvSpPr/>
          <p:nvPr>
            <p:custDataLst>
              <p:tags r:id="rId34"/>
            </p:custDataLst>
          </p:nvPr>
        </p:nvSpPr>
        <p:spPr bwMode="gray">
          <a:xfrm>
            <a:off x="8291513" y="4481513"/>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3" name="Oval 52">
            <a:extLst>
              <a:ext uri="{FF2B5EF4-FFF2-40B4-BE49-F238E27FC236}">
                <a16:creationId xmlns:a16="http://schemas.microsoft.com/office/drawing/2014/main" id="{14C46F01-910D-0547-D8A0-393F334115BB}"/>
              </a:ext>
            </a:extLst>
          </p:cNvPr>
          <p:cNvSpPr/>
          <p:nvPr>
            <p:custDataLst>
              <p:tags r:id="rId35"/>
            </p:custDataLst>
          </p:nvPr>
        </p:nvSpPr>
        <p:spPr bwMode="auto">
          <a:xfrm>
            <a:off x="8291513" y="5006975"/>
            <a:ext cx="215900" cy="215900"/>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5" name="Oval 54">
            <a:extLst>
              <a:ext uri="{FF2B5EF4-FFF2-40B4-BE49-F238E27FC236}">
                <a16:creationId xmlns:a16="http://schemas.microsoft.com/office/drawing/2014/main" id="{772F0D76-9831-8346-953E-D01E2A924383}"/>
              </a:ext>
            </a:extLst>
          </p:cNvPr>
          <p:cNvSpPr/>
          <p:nvPr>
            <p:custDataLst>
              <p:tags r:id="rId36"/>
            </p:custDataLst>
          </p:nvPr>
        </p:nvSpPr>
        <p:spPr bwMode="auto">
          <a:xfrm>
            <a:off x="8291513" y="5426075"/>
            <a:ext cx="215900" cy="215900"/>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7" name="Oval 56">
            <a:extLst>
              <a:ext uri="{FF2B5EF4-FFF2-40B4-BE49-F238E27FC236}">
                <a16:creationId xmlns:a16="http://schemas.microsoft.com/office/drawing/2014/main" id="{FB7EEDB2-FEB3-8FEC-986D-6B4CD7AC7A8B}"/>
              </a:ext>
            </a:extLst>
          </p:cNvPr>
          <p:cNvSpPr/>
          <p:nvPr>
            <p:custDataLst>
              <p:tags r:id="rId37"/>
            </p:custDataLst>
          </p:nvPr>
        </p:nvSpPr>
        <p:spPr bwMode="auto">
          <a:xfrm>
            <a:off x="8291513" y="5826125"/>
            <a:ext cx="215900" cy="215900"/>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9" name="Oval 58">
            <a:extLst>
              <a:ext uri="{FF2B5EF4-FFF2-40B4-BE49-F238E27FC236}">
                <a16:creationId xmlns:a16="http://schemas.microsoft.com/office/drawing/2014/main" id="{B95E4CE4-DA37-9156-EE4D-78CA1F0866D3}"/>
              </a:ext>
            </a:extLst>
          </p:cNvPr>
          <p:cNvSpPr/>
          <p:nvPr>
            <p:custDataLst>
              <p:tags r:id="rId38"/>
            </p:custDataLst>
          </p:nvPr>
        </p:nvSpPr>
        <p:spPr bwMode="auto">
          <a:xfrm>
            <a:off x="10598150" y="31480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73" name="Arc 72">
            <a:extLst>
              <a:ext uri="{FF2B5EF4-FFF2-40B4-BE49-F238E27FC236}">
                <a16:creationId xmlns:a16="http://schemas.microsoft.com/office/drawing/2014/main" id="{CF167C3F-FEE2-03B7-5CCE-D36BE290865F}"/>
              </a:ext>
            </a:extLst>
          </p:cNvPr>
          <p:cNvSpPr/>
          <p:nvPr>
            <p:custDataLst>
              <p:tags r:id="rId39"/>
            </p:custDataLst>
          </p:nvPr>
        </p:nvSpPr>
        <p:spPr bwMode="gray">
          <a:xfrm>
            <a:off x="10598150" y="3148013"/>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60" name="Oval 59">
            <a:extLst>
              <a:ext uri="{FF2B5EF4-FFF2-40B4-BE49-F238E27FC236}">
                <a16:creationId xmlns:a16="http://schemas.microsoft.com/office/drawing/2014/main" id="{0FB6FCE7-55C0-2CEB-5F39-59A9AE572CB7}"/>
              </a:ext>
            </a:extLst>
          </p:cNvPr>
          <p:cNvSpPr/>
          <p:nvPr>
            <p:custDataLst>
              <p:tags r:id="rId40"/>
            </p:custDataLst>
          </p:nvPr>
        </p:nvSpPr>
        <p:spPr bwMode="auto">
          <a:xfrm>
            <a:off x="10598150" y="35671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61" name="Arc 60">
            <a:extLst>
              <a:ext uri="{FF2B5EF4-FFF2-40B4-BE49-F238E27FC236}">
                <a16:creationId xmlns:a16="http://schemas.microsoft.com/office/drawing/2014/main" id="{EA11EA5E-1274-D385-235D-82339BBADC19}"/>
              </a:ext>
            </a:extLst>
          </p:cNvPr>
          <p:cNvSpPr/>
          <p:nvPr>
            <p:custDataLst>
              <p:tags r:id="rId41"/>
            </p:custDataLst>
          </p:nvPr>
        </p:nvSpPr>
        <p:spPr bwMode="gray">
          <a:xfrm>
            <a:off x="10598150" y="3567113"/>
            <a:ext cx="215900" cy="215900"/>
          </a:xfrm>
          <a:prstGeom prst="arc">
            <a:avLst>
              <a:gd name="adj1" fmla="val 16200000"/>
              <a:gd name="adj2" fmla="val 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62" name="Oval 61">
            <a:extLst>
              <a:ext uri="{FF2B5EF4-FFF2-40B4-BE49-F238E27FC236}">
                <a16:creationId xmlns:a16="http://schemas.microsoft.com/office/drawing/2014/main" id="{6DEFDF79-5FD3-D7C3-284F-020699EBC475}"/>
              </a:ext>
            </a:extLst>
          </p:cNvPr>
          <p:cNvSpPr/>
          <p:nvPr>
            <p:custDataLst>
              <p:tags r:id="rId42"/>
            </p:custDataLst>
          </p:nvPr>
        </p:nvSpPr>
        <p:spPr bwMode="auto">
          <a:xfrm>
            <a:off x="10598150" y="3995738"/>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63" name="Arc 62">
            <a:extLst>
              <a:ext uri="{FF2B5EF4-FFF2-40B4-BE49-F238E27FC236}">
                <a16:creationId xmlns:a16="http://schemas.microsoft.com/office/drawing/2014/main" id="{B9E9F23F-594F-CC75-E42D-503D2F96953D}"/>
              </a:ext>
            </a:extLst>
          </p:cNvPr>
          <p:cNvSpPr/>
          <p:nvPr>
            <p:custDataLst>
              <p:tags r:id="rId43"/>
            </p:custDataLst>
          </p:nvPr>
        </p:nvSpPr>
        <p:spPr bwMode="gray">
          <a:xfrm>
            <a:off x="10598150" y="3995738"/>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64" name="Oval 63">
            <a:extLst>
              <a:ext uri="{FF2B5EF4-FFF2-40B4-BE49-F238E27FC236}">
                <a16:creationId xmlns:a16="http://schemas.microsoft.com/office/drawing/2014/main" id="{1EEB24EC-F949-6D7E-12CB-5E71B8B8E9F1}"/>
              </a:ext>
            </a:extLst>
          </p:cNvPr>
          <p:cNvSpPr/>
          <p:nvPr>
            <p:custDataLst>
              <p:tags r:id="rId44"/>
            </p:custDataLst>
          </p:nvPr>
        </p:nvSpPr>
        <p:spPr bwMode="auto">
          <a:xfrm>
            <a:off x="10598150" y="4481513"/>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65" name="Arc 64">
            <a:extLst>
              <a:ext uri="{FF2B5EF4-FFF2-40B4-BE49-F238E27FC236}">
                <a16:creationId xmlns:a16="http://schemas.microsoft.com/office/drawing/2014/main" id="{979FCA78-AAD0-A814-4EC5-64AE3E2828DA}"/>
              </a:ext>
            </a:extLst>
          </p:cNvPr>
          <p:cNvSpPr/>
          <p:nvPr>
            <p:custDataLst>
              <p:tags r:id="rId45"/>
            </p:custDataLst>
          </p:nvPr>
        </p:nvSpPr>
        <p:spPr bwMode="gray">
          <a:xfrm>
            <a:off x="10598150" y="4481513"/>
            <a:ext cx="215900" cy="215900"/>
          </a:xfrm>
          <a:prstGeom prst="arc">
            <a:avLst>
              <a:gd name="adj1" fmla="val 16200000"/>
              <a:gd name="adj2" fmla="val 1080000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66" name="Oval 65">
            <a:extLst>
              <a:ext uri="{FF2B5EF4-FFF2-40B4-BE49-F238E27FC236}">
                <a16:creationId xmlns:a16="http://schemas.microsoft.com/office/drawing/2014/main" id="{0FEB77D2-60C9-12BD-1913-4AD650D756FA}"/>
              </a:ext>
            </a:extLst>
          </p:cNvPr>
          <p:cNvSpPr/>
          <p:nvPr>
            <p:custDataLst>
              <p:tags r:id="rId46"/>
            </p:custDataLst>
          </p:nvPr>
        </p:nvSpPr>
        <p:spPr bwMode="auto">
          <a:xfrm>
            <a:off x="10598150" y="500697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67" name="Arc 66">
            <a:extLst>
              <a:ext uri="{FF2B5EF4-FFF2-40B4-BE49-F238E27FC236}">
                <a16:creationId xmlns:a16="http://schemas.microsoft.com/office/drawing/2014/main" id="{474F0908-B7A7-C47E-F183-CFA73E69F105}"/>
              </a:ext>
            </a:extLst>
          </p:cNvPr>
          <p:cNvSpPr/>
          <p:nvPr>
            <p:custDataLst>
              <p:tags r:id="rId47"/>
            </p:custDataLst>
          </p:nvPr>
        </p:nvSpPr>
        <p:spPr bwMode="gray">
          <a:xfrm>
            <a:off x="10598150" y="5006975"/>
            <a:ext cx="215900" cy="215900"/>
          </a:xfrm>
          <a:prstGeom prst="arc">
            <a:avLst>
              <a:gd name="adj1" fmla="val 16200000"/>
              <a:gd name="adj2" fmla="val 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68" name="Oval 67">
            <a:extLst>
              <a:ext uri="{FF2B5EF4-FFF2-40B4-BE49-F238E27FC236}">
                <a16:creationId xmlns:a16="http://schemas.microsoft.com/office/drawing/2014/main" id="{55903300-C8F6-CB4A-C9A0-EFC6B25C9DB2}"/>
              </a:ext>
            </a:extLst>
          </p:cNvPr>
          <p:cNvSpPr/>
          <p:nvPr>
            <p:custDataLst>
              <p:tags r:id="rId48"/>
            </p:custDataLst>
          </p:nvPr>
        </p:nvSpPr>
        <p:spPr bwMode="auto">
          <a:xfrm>
            <a:off x="10598150" y="542607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70" name="Oval 69">
            <a:extLst>
              <a:ext uri="{FF2B5EF4-FFF2-40B4-BE49-F238E27FC236}">
                <a16:creationId xmlns:a16="http://schemas.microsoft.com/office/drawing/2014/main" id="{B4B836E0-3356-47BA-39DC-6D0BAA8937C3}"/>
              </a:ext>
            </a:extLst>
          </p:cNvPr>
          <p:cNvSpPr/>
          <p:nvPr>
            <p:custDataLst>
              <p:tags r:id="rId49"/>
            </p:custDataLst>
          </p:nvPr>
        </p:nvSpPr>
        <p:spPr bwMode="auto">
          <a:xfrm>
            <a:off x="10598150" y="582612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71" name="Arc 70">
            <a:extLst>
              <a:ext uri="{FF2B5EF4-FFF2-40B4-BE49-F238E27FC236}">
                <a16:creationId xmlns:a16="http://schemas.microsoft.com/office/drawing/2014/main" id="{7DC93A8D-85E9-7A92-B40E-862A23F68B5B}"/>
              </a:ext>
            </a:extLst>
          </p:cNvPr>
          <p:cNvSpPr/>
          <p:nvPr>
            <p:custDataLst>
              <p:tags r:id="rId50"/>
            </p:custDataLst>
          </p:nvPr>
        </p:nvSpPr>
        <p:spPr bwMode="gray">
          <a:xfrm>
            <a:off x="10598150" y="5826125"/>
            <a:ext cx="215900" cy="215900"/>
          </a:xfrm>
          <a:prstGeom prst="arc">
            <a:avLst>
              <a:gd name="adj1" fmla="val 16200000"/>
              <a:gd name="adj2" fmla="val 0"/>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74" name="Oval 73">
            <a:extLst>
              <a:ext uri="{FF2B5EF4-FFF2-40B4-BE49-F238E27FC236}">
                <a16:creationId xmlns:a16="http://schemas.microsoft.com/office/drawing/2014/main" id="{CE1E9082-0D1B-3AB8-275E-EE430C897CEC}"/>
              </a:ext>
            </a:extLst>
          </p:cNvPr>
          <p:cNvSpPr/>
          <p:nvPr>
            <p:custDataLst>
              <p:tags r:id="rId51"/>
            </p:custDataLst>
          </p:nvPr>
        </p:nvSpPr>
        <p:spPr bwMode="auto">
          <a:xfrm>
            <a:off x="385763" y="6200775"/>
            <a:ext cx="215900" cy="215900"/>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75" name="Oval 74">
            <a:extLst>
              <a:ext uri="{FF2B5EF4-FFF2-40B4-BE49-F238E27FC236}">
                <a16:creationId xmlns:a16="http://schemas.microsoft.com/office/drawing/2014/main" id="{51A46234-0FF8-569A-9F82-D5404095BBC6}"/>
              </a:ext>
            </a:extLst>
          </p:cNvPr>
          <p:cNvSpPr/>
          <p:nvPr>
            <p:custDataLst>
              <p:tags r:id="rId52"/>
            </p:custDataLst>
          </p:nvPr>
        </p:nvSpPr>
        <p:spPr bwMode="auto">
          <a:xfrm>
            <a:off x="1706563" y="6200775"/>
            <a:ext cx="215900" cy="215900"/>
          </a:xfrm>
          <a:prstGeom prst="ellipse">
            <a:avLst/>
          </a:prstGeom>
          <a:solidFill>
            <a:schemeClr val="bg1"/>
          </a:solidFill>
          <a:ln w="9525" cap="flat" cmpd="sng" algn="ctr">
            <a:solidFill>
              <a:schemeClr val="tx2"/>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69" name="Oval 6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76" name="Oval 75">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Rectangle 6">
            <a:extLst>
              <a:ext uri="{FF2B5EF4-FFF2-40B4-BE49-F238E27FC236}">
                <a16:creationId xmlns:a16="http://schemas.microsoft.com/office/drawing/2014/main" id="{6F819EDF-FCDE-A520-BB63-710A1869B611}"/>
              </a:ext>
            </a:extLst>
          </p:cNvPr>
          <p:cNvSpPr/>
          <p:nvPr/>
        </p:nvSpPr>
        <p:spPr>
          <a:xfrm>
            <a:off x="381000" y="1242246"/>
            <a:ext cx="11559363" cy="5203898"/>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4206264426"/>
      </p:ext>
    </p:extLst>
  </p:cSld>
  <p:clrMapOvr>
    <a:masterClrMapping/>
  </p:clrMapOvr>
  <p:extLst>
    <p:ext uri="{6950BFC3-D8DA-4A85-94F7-54DA5524770B}">
      <p188:commentRel xmlns:p188="http://schemas.microsoft.com/office/powerpoint/2018/8/main" r:id="rId55"/>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5C07BF-3F36-D8DD-877E-8246EDA8872E}"/>
              </a:ext>
            </a:extLst>
          </p:cNvPr>
          <p:cNvGraphicFramePr>
            <a:graphicFrameLocks noChangeAspect="1"/>
          </p:cNvGraphicFramePr>
          <p:nvPr>
            <p:custDataLst>
              <p:tags r:id="rId1"/>
            </p:custDataLst>
            <p:extLst>
              <p:ext uri="{D42A27DB-BD31-4B8C-83A1-F6EECF244321}">
                <p14:modId xmlns:p14="http://schemas.microsoft.com/office/powerpoint/2010/main" val="304382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6" name="Object 5" hidden="1">
                        <a:extLst>
                          <a:ext uri="{FF2B5EF4-FFF2-40B4-BE49-F238E27FC236}">
                            <a16:creationId xmlns:a16="http://schemas.microsoft.com/office/drawing/2014/main" id="{F25C07BF-3F36-D8DD-877E-8246EDA8872E}"/>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graphicFrame>
        <p:nvGraphicFramePr>
          <p:cNvPr id="34" name="Chart 33">
            <a:extLst>
              <a:ext uri="{FF2B5EF4-FFF2-40B4-BE49-F238E27FC236}">
                <a16:creationId xmlns:a16="http://schemas.microsoft.com/office/drawing/2014/main" id="{E37214E1-8C24-BB14-A6DD-82E909C6BD61}"/>
              </a:ext>
            </a:extLst>
          </p:cNvPr>
          <p:cNvGraphicFramePr/>
          <p:nvPr>
            <p:custDataLst>
              <p:tags r:id="rId2"/>
            </p:custDataLst>
            <p:extLst>
              <p:ext uri="{D42A27DB-BD31-4B8C-83A1-F6EECF244321}">
                <p14:modId xmlns:p14="http://schemas.microsoft.com/office/powerpoint/2010/main" val="1039285449"/>
              </p:ext>
            </p:extLst>
          </p:nvPr>
        </p:nvGraphicFramePr>
        <p:xfrm>
          <a:off x="8936038" y="1816100"/>
          <a:ext cx="2917825" cy="1987550"/>
        </p:xfrm>
        <a:graphic>
          <a:graphicData uri="http://schemas.openxmlformats.org/drawingml/2006/chart">
            <c:chart xmlns:c="http://schemas.openxmlformats.org/drawingml/2006/chart" xmlns:r="http://schemas.openxmlformats.org/officeDocument/2006/relationships" r:id="rId32"/>
          </a:graphicData>
        </a:graphic>
      </p:graphicFrame>
      <p:cxnSp>
        <p:nvCxnSpPr>
          <p:cNvPr id="38" name="Straight Connector 37">
            <a:extLst>
              <a:ext uri="{FF2B5EF4-FFF2-40B4-BE49-F238E27FC236}">
                <a16:creationId xmlns:a16="http://schemas.microsoft.com/office/drawing/2014/main" id="{CB17C663-8088-2E03-DE2A-F9BE24E85ED3}"/>
              </a:ext>
            </a:extLst>
          </p:cNvPr>
          <p:cNvCxnSpPr/>
          <p:nvPr>
            <p:custDataLst>
              <p:tags r:id="rId3"/>
            </p:custDataLst>
          </p:nvPr>
        </p:nvCxnSpPr>
        <p:spPr bwMode="auto">
          <a:xfrm flipH="1">
            <a:off x="8967788" y="372110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A94DC2B6-ABDE-4611-CAC6-92AEE5E8CDC1}"/>
              </a:ext>
            </a:extLst>
          </p:cNvPr>
          <p:cNvCxnSpPr/>
          <p:nvPr>
            <p:custDataLst>
              <p:tags r:id="rId4"/>
            </p:custDataLst>
          </p:nvPr>
        </p:nvCxnSpPr>
        <p:spPr bwMode="auto">
          <a:xfrm flipH="1">
            <a:off x="8967788" y="337502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1D0631B1-1876-0837-021A-344D4F5F17BF}"/>
              </a:ext>
            </a:extLst>
          </p:cNvPr>
          <p:cNvCxnSpPr/>
          <p:nvPr>
            <p:custDataLst>
              <p:tags r:id="rId5"/>
            </p:custDataLst>
          </p:nvPr>
        </p:nvCxnSpPr>
        <p:spPr bwMode="auto">
          <a:xfrm flipH="1">
            <a:off x="8967788" y="30289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475EDACF-567B-553D-FE11-717A2A66EA66}"/>
              </a:ext>
            </a:extLst>
          </p:cNvPr>
          <p:cNvCxnSpPr/>
          <p:nvPr>
            <p:custDataLst>
              <p:tags r:id="rId6"/>
            </p:custDataLst>
          </p:nvPr>
        </p:nvCxnSpPr>
        <p:spPr bwMode="auto">
          <a:xfrm flipH="1">
            <a:off x="8967788" y="268287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9D942854-0FD3-4A2A-844A-191D59CEBE88}"/>
              </a:ext>
            </a:extLst>
          </p:cNvPr>
          <p:cNvCxnSpPr/>
          <p:nvPr>
            <p:custDataLst>
              <p:tags r:id="rId7"/>
            </p:custDataLst>
          </p:nvPr>
        </p:nvCxnSpPr>
        <p:spPr bwMode="auto">
          <a:xfrm flipH="1">
            <a:off x="8967788" y="233838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39CFED02-B77C-D061-4950-5B3C42089CF0}"/>
              </a:ext>
            </a:extLst>
          </p:cNvPr>
          <p:cNvCxnSpPr/>
          <p:nvPr>
            <p:custDataLst>
              <p:tags r:id="rId8"/>
            </p:custDataLst>
          </p:nvPr>
        </p:nvCxnSpPr>
        <p:spPr bwMode="auto">
          <a:xfrm flipH="1">
            <a:off x="8967788" y="18986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Text Placeholder 19">
            <a:extLst>
              <a:ext uri="{FF2B5EF4-FFF2-40B4-BE49-F238E27FC236}">
                <a16:creationId xmlns:a16="http://schemas.microsoft.com/office/drawing/2014/main" id="{92476BCB-1CDF-8CDF-01B3-748E5AE5BF3C}"/>
              </a:ext>
            </a:extLst>
          </p:cNvPr>
          <p:cNvSpPr>
            <a:spLocks noGrp="1"/>
          </p:cNvSpPr>
          <p:nvPr>
            <p:custDataLst>
              <p:tags r:id="rId9"/>
            </p:custDataLst>
          </p:nvPr>
        </p:nvSpPr>
        <p:spPr bwMode="gray">
          <a:xfrm>
            <a:off x="8777288" y="3630613"/>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defRPr/>
            </a:pPr>
            <a:fld id="{221B7274-141B-48EC-A97C-E2614C4ED50C}" type="datetime'''''''''''''''''''''''0'''''''''''''''''">
              <a:rPr lang="en-GB" altLang="en-US" smtClean="0">
                <a:solidFill>
                  <a:srgbClr val="3C3C3B"/>
                </a:solidFill>
              </a:rPr>
              <a:pPr lvl="0" algn="r">
                <a:spcBef>
                  <a:spcPct val="0"/>
                </a:spcBef>
                <a:spcAft>
                  <a:spcPct val="0"/>
                </a:spcAft>
                <a:defRPr/>
              </a:pPr>
              <a:t>0</a:t>
            </a:fld>
            <a:endParaRPr kumimoji="0" lang="en-GB" b="0" i="0" strike="noStrike" kern="1200" cap="none" spc="0" normalizeH="0" baseline="0" noProof="0">
              <a:ln>
                <a:noFill/>
              </a:ln>
              <a:solidFill>
                <a:srgbClr val="3C3C3B"/>
              </a:solidFill>
              <a:effectLst/>
              <a:uLnTx/>
              <a:uFillTx/>
              <a:sym typeface="Lato" panose="020F0502020204030203" pitchFamily="34" charset="0"/>
            </a:endParaRPr>
          </a:p>
        </p:txBody>
      </p:sp>
      <p:sp useBgFill="1">
        <p:nvSpPr>
          <p:cNvPr id="20" name="Freeform: Shape 19">
            <a:extLst>
              <a:ext uri="{FF2B5EF4-FFF2-40B4-BE49-F238E27FC236}">
                <a16:creationId xmlns:a16="http://schemas.microsoft.com/office/drawing/2014/main" id="{546560A3-83E6-C074-A069-6FE96594B411}"/>
              </a:ext>
            </a:extLst>
          </p:cNvPr>
          <p:cNvSpPr/>
          <p:nvPr>
            <p:custDataLst>
              <p:tags r:id="rId10"/>
            </p:custDataLst>
          </p:nvPr>
        </p:nvSpPr>
        <p:spPr bwMode="auto">
          <a:xfrm>
            <a:off x="8945563" y="2122488"/>
            <a:ext cx="146051" cy="96838"/>
          </a:xfrm>
          <a:custGeom>
            <a:avLst/>
            <a:gdLst/>
            <a:ahLst/>
            <a:cxnLst/>
            <a:rect l="0" t="0" r="0" b="0"/>
            <a:pathLst>
              <a:path w="146051" h="96838">
                <a:moveTo>
                  <a:pt x="0" y="39687"/>
                </a:moveTo>
                <a:lnTo>
                  <a:pt x="146050" y="0"/>
                </a:lnTo>
                <a:lnTo>
                  <a:pt x="146050" y="57150"/>
                </a:lnTo>
                <a:lnTo>
                  <a:pt x="0" y="96837"/>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useBgFill="1">
        <p:nvSpPr>
          <p:cNvPr id="23" name="Freeform: Shape 22">
            <a:extLst>
              <a:ext uri="{FF2B5EF4-FFF2-40B4-BE49-F238E27FC236}">
                <a16:creationId xmlns:a16="http://schemas.microsoft.com/office/drawing/2014/main" id="{15CDD4B4-E2A1-10FC-4445-BBFE84821825}"/>
              </a:ext>
            </a:extLst>
          </p:cNvPr>
          <p:cNvSpPr/>
          <p:nvPr>
            <p:custDataLst>
              <p:tags r:id="rId11"/>
            </p:custDataLst>
          </p:nvPr>
        </p:nvSpPr>
        <p:spPr bwMode="auto">
          <a:xfrm>
            <a:off x="11010900" y="2060575"/>
            <a:ext cx="603251" cy="219076"/>
          </a:xfrm>
          <a:custGeom>
            <a:avLst/>
            <a:gdLst/>
            <a:ahLst/>
            <a:cxnLst/>
            <a:rect l="0" t="0" r="0" b="0"/>
            <a:pathLst>
              <a:path w="603251" h="219076">
                <a:moveTo>
                  <a:pt x="0" y="161925"/>
                </a:moveTo>
                <a:lnTo>
                  <a:pt x="603250" y="0"/>
                </a:lnTo>
                <a:lnTo>
                  <a:pt x="603250" y="57150"/>
                </a:lnTo>
                <a:lnTo>
                  <a:pt x="0" y="219075"/>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6" name="Freeform: Shape 15">
            <a:extLst>
              <a:ext uri="{FF2B5EF4-FFF2-40B4-BE49-F238E27FC236}">
                <a16:creationId xmlns:a16="http://schemas.microsoft.com/office/drawing/2014/main" id="{111506C1-3283-A3A5-1D32-52306A323A80}"/>
              </a:ext>
            </a:extLst>
          </p:cNvPr>
          <p:cNvSpPr/>
          <p:nvPr>
            <p:custDataLst>
              <p:tags r:id="rId12"/>
            </p:custDataLst>
          </p:nvPr>
        </p:nvSpPr>
        <p:spPr bwMode="auto">
          <a:xfrm>
            <a:off x="8945563" y="21224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Freeform: Shape 17">
            <a:extLst>
              <a:ext uri="{FF2B5EF4-FFF2-40B4-BE49-F238E27FC236}">
                <a16:creationId xmlns:a16="http://schemas.microsoft.com/office/drawing/2014/main" id="{6A01F24E-26FD-B401-3471-2464DAB7FC0E}"/>
              </a:ext>
            </a:extLst>
          </p:cNvPr>
          <p:cNvSpPr/>
          <p:nvPr>
            <p:custDataLst>
              <p:tags r:id="rId13"/>
            </p:custDataLst>
          </p:nvPr>
        </p:nvSpPr>
        <p:spPr bwMode="auto">
          <a:xfrm>
            <a:off x="8945563" y="21796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Freeform: Shape 20">
            <a:extLst>
              <a:ext uri="{FF2B5EF4-FFF2-40B4-BE49-F238E27FC236}">
                <a16:creationId xmlns:a16="http://schemas.microsoft.com/office/drawing/2014/main" id="{DCD83DB9-3F3B-D7D1-8C7D-40605C853B33}"/>
              </a:ext>
            </a:extLst>
          </p:cNvPr>
          <p:cNvSpPr/>
          <p:nvPr>
            <p:custDataLst>
              <p:tags r:id="rId14"/>
            </p:custDataLst>
          </p:nvPr>
        </p:nvSpPr>
        <p:spPr bwMode="auto">
          <a:xfrm>
            <a:off x="11010900" y="2060575"/>
            <a:ext cx="603251" cy="161926"/>
          </a:xfrm>
          <a:custGeom>
            <a:avLst/>
            <a:gdLst/>
            <a:ahLst/>
            <a:cxnLst/>
            <a:rect l="0" t="0" r="0" b="0"/>
            <a:pathLst>
              <a:path w="603251" h="161926">
                <a:moveTo>
                  <a:pt x="0" y="161925"/>
                </a:moveTo>
                <a:lnTo>
                  <a:pt x="6032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 name="Freeform: Shape 21">
            <a:extLst>
              <a:ext uri="{FF2B5EF4-FFF2-40B4-BE49-F238E27FC236}">
                <a16:creationId xmlns:a16="http://schemas.microsoft.com/office/drawing/2014/main" id="{F7224A60-D56D-FEF9-AA73-5BA65D3C8BA8}"/>
              </a:ext>
            </a:extLst>
          </p:cNvPr>
          <p:cNvSpPr/>
          <p:nvPr>
            <p:custDataLst>
              <p:tags r:id="rId15"/>
            </p:custDataLst>
          </p:nvPr>
        </p:nvSpPr>
        <p:spPr bwMode="auto">
          <a:xfrm>
            <a:off x="11010900" y="2117725"/>
            <a:ext cx="603251" cy="161926"/>
          </a:xfrm>
          <a:custGeom>
            <a:avLst/>
            <a:gdLst/>
            <a:ahLst/>
            <a:cxnLst/>
            <a:rect l="0" t="0" r="0" b="0"/>
            <a:pathLst>
              <a:path w="603251" h="161926">
                <a:moveTo>
                  <a:pt x="0" y="161925"/>
                </a:moveTo>
                <a:lnTo>
                  <a:pt x="6032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59" name="Straight Connector 58">
            <a:extLst>
              <a:ext uri="{FF2B5EF4-FFF2-40B4-BE49-F238E27FC236}">
                <a16:creationId xmlns:a16="http://schemas.microsoft.com/office/drawing/2014/main" id="{BD11A5D7-1E69-1E8C-9B53-0F601916DB4B}"/>
              </a:ext>
            </a:extLst>
          </p:cNvPr>
          <p:cNvCxnSpPr/>
          <p:nvPr>
            <p:custDataLst>
              <p:tags r:id="rId16"/>
            </p:custDataLst>
          </p:nvPr>
        </p:nvCxnSpPr>
        <p:spPr bwMode="auto">
          <a:xfrm flipV="1">
            <a:off x="9477375" y="3505200"/>
            <a:ext cx="0" cy="1682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A8E15AFB-71E6-28EA-5123-8025BDA1FA96}"/>
              </a:ext>
            </a:extLst>
          </p:cNvPr>
          <p:cNvCxnSpPr/>
          <p:nvPr>
            <p:custDataLst>
              <p:tags r:id="rId17"/>
            </p:custDataLst>
          </p:nvPr>
        </p:nvCxnSpPr>
        <p:spPr bwMode="auto">
          <a:xfrm>
            <a:off x="9477375" y="3505200"/>
            <a:ext cx="9175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9DAAB06E-8429-E561-A50A-325A25F0AD1E}"/>
              </a:ext>
            </a:extLst>
          </p:cNvPr>
          <p:cNvCxnSpPr/>
          <p:nvPr>
            <p:custDataLst>
              <p:tags r:id="rId18"/>
            </p:custDataLst>
          </p:nvPr>
        </p:nvCxnSpPr>
        <p:spPr bwMode="auto">
          <a:xfrm>
            <a:off x="10394950" y="3505200"/>
            <a:ext cx="0" cy="1698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4" name="Text Placeholder 19">
            <a:extLst>
              <a:ext uri="{FF2B5EF4-FFF2-40B4-BE49-F238E27FC236}">
                <a16:creationId xmlns:a16="http://schemas.microsoft.com/office/drawing/2014/main" id="{B68B2DB5-9FEF-4DF0-0DD0-CBE2E90A18F7}"/>
              </a:ext>
            </a:extLst>
          </p:cNvPr>
          <p:cNvSpPr>
            <a:spLocks noGrp="1"/>
          </p:cNvSpPr>
          <p:nvPr>
            <p:custDataLst>
              <p:tags r:id="rId19"/>
            </p:custDataLst>
          </p:nvPr>
        </p:nvSpPr>
        <p:spPr bwMode="auto">
          <a:xfrm>
            <a:off x="9043988" y="3771900"/>
            <a:ext cx="866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812D71D7-1C39-4247-94FF-58703BCB5A57}" type="datetime'''''F''l''ow'''''' ''b''''''a''t''te''ry'''">
              <a:rPr lang="en-GB" altLang="en-US" smtClean="0">
                <a:solidFill>
                  <a:srgbClr val="3C3C3B"/>
                </a:solidFill>
              </a:rPr>
              <a:pPr lvl="0" algn="ctr">
                <a:spcBef>
                  <a:spcPct val="0"/>
                </a:spcBef>
                <a:spcAft>
                  <a:spcPct val="0"/>
                </a:spcAft>
                <a:defRPr/>
              </a:pPr>
              <a:t>Flow battery</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66" name="Text Placeholder 19">
            <a:extLst>
              <a:ext uri="{FF2B5EF4-FFF2-40B4-BE49-F238E27FC236}">
                <a16:creationId xmlns:a16="http://schemas.microsoft.com/office/drawing/2014/main" id="{ABDF97AB-006C-B748-2456-6D288C344B2D}"/>
              </a:ext>
            </a:extLst>
          </p:cNvPr>
          <p:cNvSpPr>
            <a:spLocks noGrp="1"/>
          </p:cNvSpPr>
          <p:nvPr>
            <p:custDataLst>
              <p:tags r:id="rId20"/>
            </p:custDataLst>
          </p:nvPr>
        </p:nvSpPr>
        <p:spPr bwMode="auto">
          <a:xfrm>
            <a:off x="10112375" y="3771900"/>
            <a:ext cx="565150"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108527FD-4F25-4194-9E9A-6DADEBC7AB6C}" type="datetime'Sod''''i''um''-b''''''''a''sed ''''''''b''''at''''t''''e''ry'">
              <a:rPr lang="en-GB" altLang="en-US" smtClean="0">
                <a:solidFill>
                  <a:srgbClr val="3C3C3B"/>
                </a:solidFill>
              </a:rPr>
              <a:pPr lvl="0" algn="ctr">
                <a:spcBef>
                  <a:spcPct val="0"/>
                </a:spcBef>
                <a:spcAft>
                  <a:spcPct val="0"/>
                </a:spcAft>
                <a:defRPr/>
              </a:pPr>
              <a:t>Sodium-based battery</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69" name="Text Placeholder 19">
            <a:extLst>
              <a:ext uri="{FF2B5EF4-FFF2-40B4-BE49-F238E27FC236}">
                <a16:creationId xmlns:a16="http://schemas.microsoft.com/office/drawing/2014/main" id="{7CDA66C9-5233-B6EA-6200-E7842620AFAA}"/>
              </a:ext>
            </a:extLst>
          </p:cNvPr>
          <p:cNvSpPr>
            <a:spLocks noGrp="1"/>
          </p:cNvSpPr>
          <p:nvPr>
            <p:custDataLst>
              <p:tags r:id="rId21"/>
            </p:custDataLst>
          </p:nvPr>
        </p:nvSpPr>
        <p:spPr bwMode="auto">
          <a:xfrm>
            <a:off x="10939463" y="3771900"/>
            <a:ext cx="7477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84F6A7D8-9D0C-446D-B511-2BED64BAF1AC}" type="datetime'''''''L''ith''''''iu''''m-i''on ''ba''''t''t''''''''er''''y'''">
              <a:rPr lang="en-GB" altLang="en-US" smtClean="0">
                <a:solidFill>
                  <a:srgbClr val="3C3C3B"/>
                </a:solidFill>
              </a:rPr>
              <a:pPr lvl="0" algn="ctr">
                <a:spcBef>
                  <a:spcPct val="0"/>
                </a:spcBef>
                <a:spcAft>
                  <a:spcPct val="0"/>
                </a:spcAft>
                <a:defRPr/>
              </a:pPr>
              <a:t>Lithium-ion battery</a:t>
            </a:fld>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70" name="Text Placeholder 19">
            <a:extLst>
              <a:ext uri="{FF2B5EF4-FFF2-40B4-BE49-F238E27FC236}">
                <a16:creationId xmlns:a16="http://schemas.microsoft.com/office/drawing/2014/main" id="{A19ED497-F463-0CDF-C9D8-77333D57FB58}"/>
              </a:ext>
            </a:extLst>
          </p:cNvPr>
          <p:cNvSpPr>
            <a:spLocks noGrp="1"/>
          </p:cNvSpPr>
          <p:nvPr>
            <p:custDataLst>
              <p:tags r:id="rId22"/>
            </p:custDataLst>
          </p:nvPr>
        </p:nvSpPr>
        <p:spPr bwMode="auto">
          <a:xfrm>
            <a:off x="9718675" y="3376613"/>
            <a:ext cx="436563" cy="2587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sz="1200" b="1" i="0" strike="noStrike" kern="1200" cap="none" spc="0" normalizeH="0" baseline="0" noProof="0" err="1">
                <a:ln>
                  <a:noFill/>
                </a:ln>
                <a:solidFill>
                  <a:srgbClr val="3C3C3B"/>
                </a:solidFill>
                <a:effectLst/>
                <a:uLnTx/>
                <a:uFillTx/>
                <a:sym typeface="Lato" panose="020F0502020204030203" pitchFamily="34" charset="0"/>
              </a:rPr>
              <a:t>Xx</a:t>
            </a:r>
            <a:r>
              <a:rPr kumimoji="0" lang="en-GB" sz="1200" b="1" i="0" strike="noStrike" kern="1200" cap="none" spc="0" normalizeH="0" baseline="0" noProof="0">
                <a:ln>
                  <a:noFill/>
                </a:ln>
                <a:solidFill>
                  <a:srgbClr val="3C3C3B"/>
                </a:solidFill>
                <a:effectLst/>
                <a:uLnTx/>
                <a:uFillTx/>
                <a:sym typeface="Lato" panose="020F0502020204030203" pitchFamily="34" charset="0"/>
              </a:rPr>
              <a:t>%</a:t>
            </a:r>
          </a:p>
        </p:txBody>
      </p:sp>
      <p:sp>
        <p:nvSpPr>
          <p:cNvPr id="19" name="Text Placeholder 18"/>
          <p:cNvSpPr>
            <a:spLocks noGrp="1"/>
          </p:cNvSpPr>
          <p:nvPr>
            <p:ph type="body" sz="quarter" idx="29"/>
          </p:nvPr>
        </p:nvSpPr>
        <p:spPr>
          <a:xfrm>
            <a:off x="381599" y="1263129"/>
            <a:ext cx="11428800" cy="184666"/>
          </a:xfrm>
        </p:spPr>
        <p:txBody>
          <a:bodyPr/>
          <a:lstStyle/>
          <a:p>
            <a:r>
              <a:rPr lang="en-GB"/>
              <a:t>Overview of emerging alternative electrochemical energy storage technologies</a:t>
            </a:r>
          </a:p>
        </p:txBody>
      </p:sp>
      <p:sp>
        <p:nvSpPr>
          <p:cNvPr id="3" name="Text Placeholder 2"/>
          <p:cNvSpPr>
            <a:spLocks noGrp="1"/>
          </p:cNvSpPr>
          <p:nvPr>
            <p:ph type="body" sz="quarter" idx="22"/>
          </p:nvPr>
        </p:nvSpPr>
        <p:spPr>
          <a:xfrm>
            <a:off x="381001" y="6715169"/>
            <a:ext cx="10098918" cy="110800"/>
          </a:xfrm>
        </p:spPr>
        <p:txBody>
          <a:bodyPr/>
          <a:lstStyle/>
          <a:p>
            <a:r>
              <a:rPr lang="en-GB"/>
              <a:t>Sources: Aurora Energy Research, </a:t>
            </a:r>
            <a:r>
              <a:rPr lang="en-GB" b="0" i="0" u="none" strike="noStrike">
                <a:solidFill>
                  <a:srgbClr val="3C3C3B"/>
                </a:solidFill>
                <a:effectLst/>
                <a:latin typeface="Lato" panose="020F0502020204030203" pitchFamily="34" charset="0"/>
              </a:rPr>
              <a:t>EASE, </a:t>
            </a:r>
            <a:r>
              <a:rPr lang="en-GB" err="1"/>
              <a:t>RedT</a:t>
            </a:r>
            <a:r>
              <a:rPr lang="en-GB"/>
              <a:t>, </a:t>
            </a:r>
            <a:r>
              <a:rPr lang="en-GB" err="1"/>
              <a:t>Invinity</a:t>
            </a:r>
            <a:r>
              <a:rPr lang="en-GB"/>
              <a:t>, Highview Power, Lazard, </a:t>
            </a:r>
            <a:r>
              <a:rPr lang="en-GB" err="1"/>
              <a:t>REEM</a:t>
            </a:r>
            <a:r>
              <a:rPr lang="en-GB"/>
              <a:t>, Hydrowires, </a:t>
            </a:r>
            <a:r>
              <a:rPr lang="en-GB" b="0" i="0" u="none" strike="noStrike">
                <a:solidFill>
                  <a:srgbClr val="3C3C3B"/>
                </a:solidFill>
                <a:effectLst/>
                <a:latin typeface="Lato" panose="020F0502020204030203" pitchFamily="34" charset="0"/>
              </a:rPr>
              <a:t>IRENA, Fraunhofer ICT, TU Delft, Enel, Stadtwerke Rostock</a:t>
            </a:r>
            <a:r>
              <a:rPr lang="en-GB">
                <a:solidFill>
                  <a:srgbClr val="3C3C3B"/>
                </a:solidFill>
              </a:rPr>
              <a:t> </a:t>
            </a:r>
            <a:r>
              <a:rPr lang="en-GB" b="0" i="0" u="none" strike="noStrike">
                <a:solidFill>
                  <a:srgbClr val="3C3C3B"/>
                </a:solidFill>
                <a:effectLst/>
                <a:latin typeface="Lato" panose="020F0502020204030203" pitchFamily="34" charset="0"/>
              </a:rPr>
              <a:t>and Kiel</a:t>
            </a:r>
            <a:r>
              <a:rPr lang="en-GB" b="0" i="0">
                <a:solidFill>
                  <a:srgbClr val="3C3C3B"/>
                </a:solidFill>
                <a:effectLst/>
                <a:latin typeface="Lato" panose="020F0502020204030203" pitchFamily="34" charset="0"/>
              </a:rPr>
              <a:t>​, US EIA, L. Tang et al (2023), Utility Dive, </a:t>
            </a:r>
            <a:r>
              <a:rPr lang="en-GB"/>
              <a:t>, </a:t>
            </a:r>
            <a:r>
              <a:rPr lang="en-GB" err="1"/>
              <a:t>Invinity</a:t>
            </a:r>
            <a:r>
              <a:rPr lang="en-GB"/>
              <a:t>, Terna </a:t>
            </a:r>
            <a:r>
              <a:rPr lang="en-GB" b="0" i="0">
                <a:solidFill>
                  <a:srgbClr val="3C3C3B"/>
                </a:solidFill>
                <a:effectLst/>
                <a:latin typeface="Lato" panose="020F0502020204030203" pitchFamily="34" charset="0"/>
              </a:rPr>
              <a:t>​</a:t>
            </a:r>
            <a:endParaRPr lang="en-GB"/>
          </a:p>
        </p:txBody>
      </p:sp>
      <p:graphicFrame>
        <p:nvGraphicFramePr>
          <p:cNvPr id="31" name="Table 30"/>
          <p:cNvGraphicFramePr>
            <a:graphicFrameLocks noGrp="1"/>
          </p:cNvGraphicFramePr>
          <p:nvPr>
            <p:extLst>
              <p:ext uri="{D42A27DB-BD31-4B8C-83A1-F6EECF244321}">
                <p14:modId xmlns:p14="http://schemas.microsoft.com/office/powerpoint/2010/main" val="2187643442"/>
              </p:ext>
            </p:extLst>
          </p:nvPr>
        </p:nvGraphicFramePr>
        <p:xfrm>
          <a:off x="381001" y="1612583"/>
          <a:ext cx="7743823" cy="4760995"/>
        </p:xfrm>
        <a:graphic>
          <a:graphicData uri="http://schemas.openxmlformats.org/drawingml/2006/table">
            <a:tbl>
              <a:tblPr firstRow="1" bandRow="1">
                <a:tableStyleId>{5C22544A-7EE6-4342-B048-85BDC9FD1C3A}</a:tableStyleId>
              </a:tblPr>
              <a:tblGrid>
                <a:gridCol w="681176">
                  <a:extLst>
                    <a:ext uri="{9D8B030D-6E8A-4147-A177-3AD203B41FA5}">
                      <a16:colId xmlns:a16="http://schemas.microsoft.com/office/drawing/2014/main" val="20000"/>
                    </a:ext>
                  </a:extLst>
                </a:gridCol>
                <a:gridCol w="1660703">
                  <a:extLst>
                    <a:ext uri="{9D8B030D-6E8A-4147-A177-3AD203B41FA5}">
                      <a16:colId xmlns:a16="http://schemas.microsoft.com/office/drawing/2014/main" val="20003"/>
                    </a:ext>
                  </a:extLst>
                </a:gridCol>
                <a:gridCol w="1818640">
                  <a:extLst>
                    <a:ext uri="{9D8B030D-6E8A-4147-A177-3AD203B41FA5}">
                      <a16:colId xmlns:a16="http://schemas.microsoft.com/office/drawing/2014/main" val="821504125"/>
                    </a:ext>
                  </a:extLst>
                </a:gridCol>
                <a:gridCol w="944880">
                  <a:extLst>
                    <a:ext uri="{9D8B030D-6E8A-4147-A177-3AD203B41FA5}">
                      <a16:colId xmlns:a16="http://schemas.microsoft.com/office/drawing/2014/main" val="3353388619"/>
                    </a:ext>
                  </a:extLst>
                </a:gridCol>
                <a:gridCol w="975360">
                  <a:extLst>
                    <a:ext uri="{9D8B030D-6E8A-4147-A177-3AD203B41FA5}">
                      <a16:colId xmlns:a16="http://schemas.microsoft.com/office/drawing/2014/main" val="4116008246"/>
                    </a:ext>
                  </a:extLst>
                </a:gridCol>
                <a:gridCol w="879865">
                  <a:extLst>
                    <a:ext uri="{9D8B030D-6E8A-4147-A177-3AD203B41FA5}">
                      <a16:colId xmlns:a16="http://schemas.microsoft.com/office/drawing/2014/main" val="2210146037"/>
                    </a:ext>
                  </a:extLst>
                </a:gridCol>
                <a:gridCol w="783199">
                  <a:extLst>
                    <a:ext uri="{9D8B030D-6E8A-4147-A177-3AD203B41FA5}">
                      <a16:colId xmlns:a16="http://schemas.microsoft.com/office/drawing/2014/main" val="3277240061"/>
                    </a:ext>
                  </a:extLst>
                </a:gridCol>
              </a:tblGrid>
              <a:tr h="599634">
                <a:tc>
                  <a:txBody>
                    <a:bodyPr/>
                    <a:lstStyle/>
                    <a:p>
                      <a:pPr rtl="0"/>
                      <a:endParaRPr lang="en-GB" sz="1200" b="1">
                        <a:solidFill>
                          <a:schemeClr val="bg2">
                            <a:lumMod val="25000"/>
                          </a:schemeClr>
                        </a:solidFill>
                        <a:latin typeface="+mj-lt"/>
                      </a:endParaRPr>
                    </a:p>
                  </a:txBody>
                  <a:tcPr marL="45720" marR="4572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1200" b="1">
                          <a:solidFill>
                            <a:schemeClr val="bg1"/>
                          </a:solidFill>
                          <a:latin typeface="+mj-lt"/>
                        </a:rPr>
                        <a:t>Description</a:t>
                      </a:r>
                    </a:p>
                  </a:txBody>
                  <a:tcPr marL="45720" marR="45720"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a:r>
                        <a:rPr lang="en-GB" sz="1200" b="1">
                          <a:solidFill>
                            <a:schemeClr val="bg1"/>
                          </a:solidFill>
                          <a:latin typeface="+mj-lt"/>
                        </a:rPr>
                        <a:t>Advantages and Disadvantage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a:r>
                        <a:rPr lang="en-GB" sz="1200" b="1">
                          <a:solidFill>
                            <a:schemeClr val="bg1"/>
                          </a:solidFill>
                          <a:latin typeface="+mj-lt"/>
                        </a:rPr>
                        <a:t>Scale of Deploymen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a:r>
                        <a:rPr lang="en-GB" sz="1200" b="1" baseline="0">
                          <a:solidFill>
                            <a:schemeClr val="bg1"/>
                          </a:solidFill>
                          <a:latin typeface="+mj-lt"/>
                        </a:rPr>
                        <a:t>Size</a:t>
                      </a:r>
                      <a:r>
                        <a:rPr lang="en-GB" sz="1200" b="1" baseline="30000">
                          <a:solidFill>
                            <a:schemeClr val="bg1"/>
                          </a:solidFill>
                          <a:latin typeface="+mj-lt"/>
                        </a:rPr>
                        <a:t>1</a:t>
                      </a:r>
                      <a:r>
                        <a:rPr lang="en-GB" sz="1200" b="1" baseline="0">
                          <a:solidFill>
                            <a:schemeClr val="bg1"/>
                          </a:solidFill>
                          <a:latin typeface="+mj-lt"/>
                        </a:rPr>
                        <a:t>/typical</a:t>
                      </a:r>
                      <a:r>
                        <a:rPr lang="en-GB" sz="1200" b="1">
                          <a:solidFill>
                            <a:schemeClr val="bg1"/>
                          </a:solidFill>
                          <a:latin typeface="+mj-lt"/>
                        </a:rPr>
                        <a:t> duratio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a:r>
                        <a:rPr lang="en-GB" sz="1200" b="1">
                          <a:solidFill>
                            <a:schemeClr val="bg1"/>
                          </a:solidFill>
                          <a:latin typeface="+mj-lt"/>
                        </a:rPr>
                        <a:t>CAPEX</a:t>
                      </a:r>
                      <a:r>
                        <a:rPr lang="en-GB" sz="1200" b="1" baseline="30000">
                          <a:solidFill>
                            <a:schemeClr val="bg1"/>
                          </a:solidFill>
                          <a:latin typeface="+mj-lt"/>
                        </a:rPr>
                        <a:t>2</a:t>
                      </a:r>
                      <a:endParaRPr lang="en-GB" sz="1200" b="1">
                        <a:solidFill>
                          <a:schemeClr val="bg1"/>
                        </a:solidFill>
                        <a:latin typeface="+mj-lt"/>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a:r>
                        <a:rPr lang="en-GB" sz="1200" b="1">
                          <a:solidFill>
                            <a:schemeClr val="bg1"/>
                          </a:solidFill>
                          <a:latin typeface="+mj-lt"/>
                        </a:rPr>
                        <a:t>Efficiency</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021640769"/>
                  </a:ext>
                </a:extLst>
              </a:tr>
              <a:tr h="1266719">
                <a:tc>
                  <a:txBody>
                    <a:bodyPr/>
                    <a:lstStyle/>
                    <a:p>
                      <a:pPr algn="ctr" rtl="0" fontAlgn="ctr"/>
                      <a:r>
                        <a:rPr lang="en-GB" sz="1200" b="1" i="0" u="none" strike="noStrike">
                          <a:solidFill>
                            <a:schemeClr val="tx1"/>
                          </a:solidFill>
                          <a:effectLst/>
                          <a:latin typeface="+mj-lt"/>
                        </a:rPr>
                        <a:t>Li-ion battery </a:t>
                      </a:r>
                    </a:p>
                  </a:txBody>
                  <a:tcPr marL="7620" marR="7620" marT="762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solidFill>
                            <a:schemeClr val="tx1"/>
                          </a:solidFill>
                          <a:latin typeface="+mn-lt"/>
                        </a:rPr>
                        <a:t>The movement of lithium ions between the anode and cathode in an electrochemical reaction results in charge and discharge</a:t>
                      </a:r>
                    </a:p>
                  </a:txBody>
                  <a:tcPr marL="108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marR="0" lvl="0" indent="-171450" algn="l" defTabSz="685783" rtl="0" eaLnBrk="1" fontAlgn="auto" latinLnBrk="0" hangingPunct="1">
                        <a:lnSpc>
                          <a:spcPct val="100000"/>
                        </a:lnSpc>
                        <a:spcBef>
                          <a:spcPts val="0"/>
                        </a:spcBef>
                        <a:spcAft>
                          <a:spcPts val="200"/>
                        </a:spcAft>
                        <a:buClr>
                          <a:srgbClr val="00B050"/>
                        </a:buClr>
                        <a:buSzPct val="110000"/>
                        <a:buFont typeface="Wingdings" panose="05000000000000000000" pitchFamily="2" charset="2"/>
                        <a:buChar char="ü"/>
                        <a:tabLst/>
                        <a:defRPr/>
                      </a:pPr>
                      <a:endParaRPr lang="en-GB" sz="1200" b="0" kern="1200">
                        <a:solidFill>
                          <a:schemeClr val="tx1"/>
                        </a:solidFill>
                        <a:latin typeface="+mn-lt"/>
                        <a:ea typeface="+mn-ea"/>
                        <a:cs typeface="+mn-cs"/>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b="1">
                          <a:solidFill>
                            <a:schemeClr val="tx1"/>
                          </a:solidFill>
                          <a:latin typeface="+mn-lt"/>
                        </a:rPr>
                        <a:t>High</a:t>
                      </a:r>
                      <a:r>
                        <a:rPr lang="en-GB" sz="1200" b="1" baseline="30000">
                          <a:solidFill>
                            <a:schemeClr val="tx1"/>
                          </a:solidFill>
                          <a:latin typeface="+mn-lt"/>
                        </a:rPr>
                        <a:t>3</a:t>
                      </a:r>
                      <a:endParaRPr lang="en-GB" sz="1200" b="1">
                        <a:solidFill>
                          <a:schemeClr val="tx1"/>
                        </a:solidFill>
                        <a:latin typeface="+mn-lt"/>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a:solidFill>
                            <a:schemeClr val="tx1"/>
                          </a:solidFill>
                          <a:latin typeface="+mn-lt"/>
                        </a:rPr>
                        <a:t>MW</a:t>
                      </a:r>
                    </a:p>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a:solidFill>
                            <a:schemeClr val="tx1"/>
                          </a:solidFill>
                          <a:latin typeface="+mn-lt"/>
                        </a:rPr>
                        <a:t> </a:t>
                      </a:r>
                      <a:r>
                        <a:rPr lang="en-GB" sz="1200">
                          <a:solidFill>
                            <a:schemeClr val="tx1"/>
                          </a:solidFill>
                          <a:latin typeface="+mn-lt"/>
                        </a:rPr>
                        <a:t>hrs</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buFont typeface="Wingdings" panose="05000000000000000000" pitchFamily="2" charset="2"/>
                        <a:buNone/>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a:solidFill>
                            <a:schemeClr val="tx1"/>
                          </a:solidFill>
                          <a:latin typeface="+mn-lt"/>
                        </a:rPr>
                        <a:t> (4hr) - </a:t>
                      </a: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a:solidFill>
                            <a:schemeClr val="tx1"/>
                          </a:solidFill>
                          <a:latin typeface="+mn-lt"/>
                        </a:rPr>
                        <a:t> (1hr) </a:t>
                      </a:r>
                      <a:r>
                        <a:rPr lang="en-GB" sz="1200" b="0" kern="1200">
                          <a:solidFill>
                            <a:schemeClr val="tx1"/>
                          </a:solidFill>
                          <a:latin typeface="+mn-lt"/>
                          <a:ea typeface="+mn-ea"/>
                          <a:cs typeface="Arial" pitchFamily="34" charset="0"/>
                        </a:rPr>
                        <a:t>€</a:t>
                      </a:r>
                      <a:r>
                        <a:rPr lang="en-GB" sz="1200">
                          <a:solidFill>
                            <a:schemeClr val="tx1"/>
                          </a:solidFill>
                          <a:latin typeface="+mn-lt"/>
                        </a:rPr>
                        <a:t>/kWh</a:t>
                      </a:r>
                      <a:r>
                        <a:rPr lang="en-GB" sz="1200" baseline="30000">
                          <a:solidFill>
                            <a:schemeClr val="tx1"/>
                          </a:solidFill>
                          <a:latin typeface="+mn-lt"/>
                        </a:rPr>
                        <a:t>4</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kern="1200">
                          <a:solidFill>
                            <a:schemeClr val="tx1"/>
                          </a:solidFill>
                          <a:latin typeface="+mn-lt"/>
                          <a:ea typeface="+mn-ea"/>
                          <a:cs typeface="+mn-cs"/>
                        </a:rPr>
                        <a:t>- </a:t>
                      </a: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kern="1200">
                          <a:solidFill>
                            <a:schemeClr val="tx1"/>
                          </a:solidFill>
                          <a:latin typeface="+mn-lt"/>
                          <a:ea typeface="+mn-ea"/>
                          <a:cs typeface="+mn-cs"/>
                        </a:rPr>
                        <a:t>% </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0372242"/>
                  </a:ext>
                </a:extLst>
              </a:tr>
              <a:tr h="1511444">
                <a:tc>
                  <a:txBody>
                    <a:bodyPr/>
                    <a:lstStyle/>
                    <a:p>
                      <a:pPr algn="ctr" rtl="0" fontAlgn="ctr"/>
                      <a:r>
                        <a:rPr lang="en-GB" sz="1200" b="1" i="0" u="none" strike="noStrike">
                          <a:solidFill>
                            <a:schemeClr val="tx1"/>
                          </a:solidFill>
                          <a:effectLst/>
                          <a:latin typeface="+mj-lt"/>
                        </a:rPr>
                        <a:t>Flow battery</a:t>
                      </a:r>
                    </a:p>
                  </a:txBody>
                  <a:tcPr marL="7620" marR="7620" marT="762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altLang="ko-KR" sz="1200" b="0">
                          <a:solidFill>
                            <a:schemeClr val="tx1"/>
                          </a:solidFill>
                          <a:latin typeface="+mn-lt"/>
                          <a:cs typeface="Arial" pitchFamily="34" charset="0"/>
                        </a:rPr>
                        <a:t>Electrolytes are stored in separate tanks; where they meet, ion exchange occurs causing charge/discharge</a:t>
                      </a:r>
                    </a:p>
                  </a:txBody>
                  <a:tcPr marL="108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lvl="0" indent="-171450" algn="l" defTabSz="685783" rtl="0" eaLnBrk="1" latinLnBrk="0" hangingPunct="1">
                        <a:spcAft>
                          <a:spcPts val="200"/>
                        </a:spcAft>
                        <a:buClr>
                          <a:srgbClr val="00B050"/>
                        </a:buClr>
                        <a:buSzPct val="110000"/>
                        <a:buFont typeface="Wingdings" panose="05000000000000000000" pitchFamily="2" charset="2"/>
                        <a:buChar char="ü"/>
                      </a:pPr>
                      <a:endParaRPr lang="en-GB" sz="1200" b="0" kern="1200">
                        <a:solidFill>
                          <a:schemeClr val="tx1"/>
                        </a:solidFill>
                        <a:latin typeface="+mn-lt"/>
                        <a:ea typeface="+mn-ea"/>
                        <a:cs typeface="+mn-cs"/>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b="1">
                          <a:solidFill>
                            <a:schemeClr val="tx1"/>
                          </a:solidFill>
                          <a:latin typeface="+mn-lt"/>
                        </a:rPr>
                        <a:t>Low</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a:solidFill>
                            <a:schemeClr val="tx1"/>
                          </a:solidFill>
                          <a:latin typeface="+mn-lt"/>
                        </a:rPr>
                        <a:t>MW</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a:solidFill>
                            <a:schemeClr val="tx1"/>
                          </a:solidFill>
                          <a:latin typeface="+mn-lt"/>
                        </a:rPr>
                        <a:t>to </a:t>
                      </a: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altLang="ko-KR" sz="1200" b="0">
                          <a:solidFill>
                            <a:schemeClr val="tx1"/>
                          </a:solidFill>
                          <a:latin typeface="+mn-lt"/>
                          <a:cs typeface="Arial" pitchFamily="34" charset="0"/>
                        </a:rPr>
                        <a:t>h</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kern="1200">
                          <a:solidFill>
                            <a:schemeClr val="tx1"/>
                          </a:solidFill>
                          <a:latin typeface="+mn-lt"/>
                          <a:ea typeface="+mn-ea"/>
                          <a:cs typeface="Arial" pitchFamily="34" charset="0"/>
                        </a:rPr>
                        <a:t> – </a:t>
                      </a: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kern="1200">
                          <a:solidFill>
                            <a:schemeClr val="tx1"/>
                          </a:solidFill>
                          <a:latin typeface="+mn-lt"/>
                          <a:ea typeface="+mn-ea"/>
                          <a:cs typeface="Arial" pitchFamily="34" charset="0"/>
                        </a:rPr>
                        <a:t> €</a:t>
                      </a:r>
                      <a:r>
                        <a:rPr lang="en-GB" sz="1200" b="0">
                          <a:solidFill>
                            <a:schemeClr val="tx1"/>
                          </a:solidFill>
                          <a:latin typeface="+mn-lt"/>
                        </a:rPr>
                        <a:t>/kWh</a:t>
                      </a:r>
                    </a:p>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200" b="0">
                        <a:solidFill>
                          <a:schemeClr val="tx1"/>
                        </a:solidFill>
                        <a:latin typeface="+mn-lt"/>
                      </a:endParaRPr>
                    </a:p>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b="0" i="1">
                          <a:solidFill>
                            <a:schemeClr val="tx1"/>
                          </a:solidFill>
                          <a:latin typeface="+mn-lt"/>
                        </a:rPr>
                        <a:t>Electrolyte rent</a:t>
                      </a:r>
                    </a:p>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b="0" i="1">
                          <a:solidFill>
                            <a:schemeClr val="tx1"/>
                          </a:solidFill>
                          <a:latin typeface="+mn-lt"/>
                        </a:rPr>
                        <a:t> ~</a:t>
                      </a: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i="1">
                          <a:solidFill>
                            <a:schemeClr val="tx1"/>
                          </a:solidFill>
                          <a:latin typeface="+mn-lt"/>
                        </a:rPr>
                        <a:t> </a:t>
                      </a:r>
                      <a:r>
                        <a:rPr lang="en-GB" sz="1200" b="0" i="1" kern="1200">
                          <a:solidFill>
                            <a:schemeClr val="tx1"/>
                          </a:solidFill>
                          <a:latin typeface="+mn-lt"/>
                          <a:ea typeface="+mn-ea"/>
                          <a:cs typeface="Arial" pitchFamily="34" charset="0"/>
                        </a:rPr>
                        <a:t>€</a:t>
                      </a:r>
                      <a:r>
                        <a:rPr lang="en-GB" sz="1200" b="0" i="1">
                          <a:solidFill>
                            <a:schemeClr val="tx1"/>
                          </a:solidFill>
                          <a:latin typeface="+mn-lt"/>
                        </a:rPr>
                        <a:t>/kWh</a:t>
                      </a:r>
                    </a:p>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b="0" i="1">
                          <a:solidFill>
                            <a:schemeClr val="tx1"/>
                          </a:solidFill>
                          <a:latin typeface="+mn-lt"/>
                        </a:rPr>
                        <a:t>per annum</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685783" rtl="0" eaLnBrk="1" latinLnBrk="0" hangingPunct="1">
                        <a:spcAft>
                          <a:spcPts val="200"/>
                        </a:spcAft>
                        <a:buFont typeface="Wingdings" panose="05000000000000000000" pitchFamily="2" charset="2"/>
                        <a:buNone/>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kern="1200">
                          <a:solidFill>
                            <a:schemeClr val="tx1"/>
                          </a:solidFill>
                          <a:latin typeface="+mj-lt"/>
                          <a:ea typeface="+mn-ea"/>
                          <a:cs typeface="+mn-cs"/>
                        </a:rPr>
                        <a:t>-</a:t>
                      </a: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kern="1200">
                          <a:solidFill>
                            <a:schemeClr val="tx1"/>
                          </a:solidFill>
                          <a:latin typeface="+mj-lt"/>
                          <a:ea typeface="+mn-ea"/>
                          <a:cs typeface="+mn-cs"/>
                        </a:rPr>
                        <a:t>%</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0277551"/>
                  </a:ext>
                </a:extLst>
              </a:tr>
              <a:tr h="1297757">
                <a:tc>
                  <a:txBody>
                    <a:bodyPr/>
                    <a:lstStyle/>
                    <a:p>
                      <a:pPr algn="ctr" rtl="0" fontAlgn="ctr"/>
                      <a:r>
                        <a:rPr lang="en-GB" sz="1200" b="1" i="0" u="none" strike="noStrike" err="1">
                          <a:solidFill>
                            <a:schemeClr val="tx1"/>
                          </a:solidFill>
                          <a:effectLst/>
                          <a:latin typeface="+mj-lt"/>
                        </a:rPr>
                        <a:t>NaS</a:t>
                      </a:r>
                      <a:r>
                        <a:rPr lang="en-GB" sz="1200" b="1" i="0" u="none" strike="noStrike">
                          <a:solidFill>
                            <a:schemeClr val="tx1"/>
                          </a:solidFill>
                          <a:effectLst/>
                          <a:latin typeface="+mj-lt"/>
                        </a:rPr>
                        <a:t> (Sodium Sulphur) </a:t>
                      </a:r>
                      <a:br>
                        <a:rPr lang="en-GB" sz="1200" b="1" i="0" u="none" strike="noStrike">
                          <a:solidFill>
                            <a:schemeClr val="tx1"/>
                          </a:solidFill>
                          <a:effectLst/>
                          <a:latin typeface="+mj-lt"/>
                        </a:rPr>
                      </a:br>
                      <a:r>
                        <a:rPr lang="en-GB" sz="1200" b="1" i="0" u="none" strike="noStrike">
                          <a:solidFill>
                            <a:schemeClr val="tx1"/>
                          </a:solidFill>
                          <a:effectLst/>
                          <a:latin typeface="+mj-lt"/>
                        </a:rPr>
                        <a:t>battery</a:t>
                      </a:r>
                    </a:p>
                  </a:txBody>
                  <a:tcPr marL="7620" marR="7620" marT="762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0">
                          <a:solidFill>
                            <a:schemeClr val="tx1"/>
                          </a:solidFill>
                          <a:latin typeface="+mn-lt"/>
                        </a:rPr>
                        <a:t>Similar to Li-ion battery: molten sodium ions serve as the anode and sulphur ions as the electrolyte</a:t>
                      </a:r>
                    </a:p>
                  </a:txBody>
                  <a:tcPr marL="108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lvl="0" indent="-171450" algn="l" defTabSz="685783" rtl="0" eaLnBrk="1" latinLnBrk="0" hangingPunct="1">
                        <a:spcAft>
                          <a:spcPts val="200"/>
                        </a:spcAft>
                        <a:buClr>
                          <a:srgbClr val="00B050"/>
                        </a:buClr>
                        <a:buSzPct val="110000"/>
                        <a:buFont typeface="Wingdings" panose="05000000000000000000" pitchFamily="2" charset="2"/>
                        <a:buChar char="ü"/>
                      </a:pPr>
                      <a:endParaRPr lang="en-GB" sz="1200" b="0" kern="1200">
                        <a:solidFill>
                          <a:schemeClr val="tx1"/>
                        </a:solidFill>
                        <a:latin typeface="+mn-lt"/>
                        <a:ea typeface="+mn-ea"/>
                        <a:cs typeface="+mn-cs"/>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latin typeface="+mn-lt"/>
                        </a:rPr>
                        <a:t>Low</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a:solidFill>
                            <a:schemeClr val="tx1"/>
                          </a:solidFill>
                          <a:latin typeface="+mn-lt"/>
                        </a:rPr>
                        <a:t>MW</a:t>
                      </a: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0">
                          <a:solidFill>
                            <a:schemeClr val="tx1"/>
                          </a:solidFill>
                          <a:latin typeface="+mn-lt"/>
                        </a:rPr>
                        <a:t>≤ </a:t>
                      </a: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a:solidFill>
                            <a:schemeClr val="tx1"/>
                          </a:solidFill>
                          <a:latin typeface="+mn-lt"/>
                        </a:rPr>
                        <a:t> </a:t>
                      </a:r>
                      <a:r>
                        <a:rPr lang="en-GB" sz="1200">
                          <a:solidFill>
                            <a:schemeClr val="tx1"/>
                          </a:solidFill>
                          <a:latin typeface="+mn-lt"/>
                        </a:rPr>
                        <a:t>hrs</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a:solidFill>
                            <a:schemeClr val="tx1"/>
                          </a:solidFill>
                          <a:latin typeface="+mn-lt"/>
                        </a:rPr>
                        <a:t> – </a:t>
                      </a: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a:solidFill>
                            <a:schemeClr val="tx1"/>
                          </a:solidFill>
                          <a:latin typeface="+mn-lt"/>
                        </a:rPr>
                        <a:t> </a:t>
                      </a:r>
                      <a:r>
                        <a:rPr lang="en-GB" sz="1200" b="0" kern="1200">
                          <a:solidFill>
                            <a:schemeClr val="tx1"/>
                          </a:solidFill>
                          <a:latin typeface="+mn-lt"/>
                          <a:ea typeface="+mn-ea"/>
                          <a:cs typeface="Arial" pitchFamily="34" charset="0"/>
                        </a:rPr>
                        <a:t>€</a:t>
                      </a:r>
                      <a:r>
                        <a:rPr lang="en-GB" sz="1200" b="0">
                          <a:solidFill>
                            <a:schemeClr val="tx1"/>
                          </a:solidFill>
                          <a:latin typeface="+mn-lt"/>
                        </a:rPr>
                        <a:t>/kWh </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20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accent5"/>
                          </a:solidFill>
                          <a:effectLst/>
                          <a:highlight>
                            <a:srgbClr val="808080"/>
                          </a:highlight>
                          <a:uLnTx/>
                          <a:uFillTx/>
                          <a:latin typeface="+mn-lt"/>
                          <a:ea typeface="+mn-ea"/>
                          <a:cs typeface="+mn-cs"/>
                        </a:rPr>
                        <a:t>xx</a:t>
                      </a:r>
                      <a:r>
                        <a:rPr lang="en-GB" sz="1200" b="0" kern="1200">
                          <a:solidFill>
                            <a:schemeClr val="tx1"/>
                          </a:solidFill>
                          <a:latin typeface="+mn-lt"/>
                          <a:ea typeface="+mn-ea"/>
                          <a:cs typeface="+mn-cs"/>
                        </a:rPr>
                        <a:t>%</a:t>
                      </a:r>
                    </a:p>
                  </a:txBody>
                  <a:tcPr marL="72000" marR="36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6636621"/>
                  </a:ext>
                </a:extLst>
              </a:tr>
            </a:tbl>
          </a:graphicData>
        </a:graphic>
      </p:graphicFrame>
      <p:sp>
        <p:nvSpPr>
          <p:cNvPr id="4" name="Text Placeholder 3">
            <a:extLst>
              <a:ext uri="{FF2B5EF4-FFF2-40B4-BE49-F238E27FC236}">
                <a16:creationId xmlns:a16="http://schemas.microsoft.com/office/drawing/2014/main" id="{EB2A31BA-B00C-58EF-3AD0-426C6E020C55}"/>
              </a:ext>
            </a:extLst>
          </p:cNvPr>
          <p:cNvSpPr>
            <a:spLocks noGrp="1"/>
          </p:cNvSpPr>
          <p:nvPr>
            <p:ph type="body" sz="quarter" idx="32"/>
          </p:nvPr>
        </p:nvSpPr>
        <p:spPr>
          <a:xfrm>
            <a:off x="381600" y="6474841"/>
            <a:ext cx="11428800" cy="443198"/>
          </a:xfrm>
        </p:spPr>
        <p:txBody>
          <a:bodyPr/>
          <a:lstStyle/>
          <a:p>
            <a:r>
              <a:rPr lang="en-GB"/>
              <a:t>1) Largest known project 2) CAPEX numbers are in terms of today's costs, and they are calculated assuming the supply and commissioning costs. 3) While Li-ion battery technology is very mature, few long duration (8hrs +)  Li-ion projects have been built at commercial scale yet. 4) Includes EPC, grid connection, balance of system and development costs. 4) Includes in construction and pre-construction. Limited public information available on the pipeline of flow /sodium batteries due to their typically small scale.</a:t>
            </a:r>
          </a:p>
          <a:p>
            <a:r>
              <a:rPr lang="en-GB"/>
              <a:t>. </a:t>
            </a:r>
          </a:p>
          <a:p>
            <a:endParaRPr lang="en-GB"/>
          </a:p>
        </p:txBody>
      </p:sp>
      <p:sp>
        <p:nvSpPr>
          <p:cNvPr id="17" name="Title 2">
            <a:extLst>
              <a:ext uri="{FF2B5EF4-FFF2-40B4-BE49-F238E27FC236}">
                <a16:creationId xmlns:a16="http://schemas.microsoft.com/office/drawing/2014/main" id="{8A874F9F-B63E-CBB3-F718-60C96190FCCF}"/>
              </a:ext>
            </a:extLst>
          </p:cNvPr>
          <p:cNvSpPr txBox="1">
            <a:spLocks/>
          </p:cNvSpPr>
          <p:nvPr/>
        </p:nvSpPr>
        <p:spPr>
          <a:xfrm>
            <a:off x="381599" y="411856"/>
            <a:ext cx="9926184" cy="609398"/>
          </a:xfrm>
          <a:prstGeom prst="rect">
            <a:avLst/>
          </a:prstGeom>
        </p:spPr>
        <p:txBody>
          <a:bodyPr vert="horz" lIns="0" tIns="0" rIns="0" bIns="0" rtlCol="0" anchor="t" anchorCtr="0">
            <a:noAutofit/>
          </a:bodyPr>
          <a:lstStyle>
            <a:lvl1pPr algn="l" defTabSz="685783" rtl="0" eaLnBrk="1" latinLnBrk="0" hangingPunct="1">
              <a:lnSpc>
                <a:spcPct val="90000"/>
              </a:lnSpc>
              <a:spcBef>
                <a:spcPct val="0"/>
              </a:spcBef>
              <a:buNone/>
              <a:defRPr lang="en-GB" sz="2200" b="1" kern="120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endParaRPr kumimoji="0" lang="en-GB" sz="2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5" name="Title 6">
            <a:extLst>
              <a:ext uri="{FF2B5EF4-FFF2-40B4-BE49-F238E27FC236}">
                <a16:creationId xmlns:a16="http://schemas.microsoft.com/office/drawing/2014/main" id="{4B094DD0-1E83-72DC-3C7F-D1FDF9B02E3C}"/>
              </a:ext>
            </a:extLst>
          </p:cNvPr>
          <p:cNvSpPr>
            <a:spLocks noGrp="1"/>
          </p:cNvSpPr>
          <p:nvPr>
            <p:ph type="title"/>
          </p:nvPr>
        </p:nvSpPr>
        <p:spPr bwMode="gray">
          <a:xfrm>
            <a:off x="381001" y="411163"/>
            <a:ext cx="9042400" cy="609600"/>
          </a:xfrm>
        </p:spPr>
        <p:txBody>
          <a:bodyPr vert="horz"/>
          <a:lstStyle/>
          <a:p>
            <a:r>
              <a:rPr lang="en-GB"/>
              <a:t>Lithium-ion batteries remain the dominant electrochemical technology for grid-scale storage due to technical and market maturity</a:t>
            </a:r>
          </a:p>
        </p:txBody>
      </p:sp>
      <p:sp>
        <p:nvSpPr>
          <p:cNvPr id="2" name="Text Placeholder 2">
            <a:extLst>
              <a:ext uri="{FF2B5EF4-FFF2-40B4-BE49-F238E27FC236}">
                <a16:creationId xmlns:a16="http://schemas.microsoft.com/office/drawing/2014/main" id="{81F6E331-3F23-864B-5C88-64566AA7FC55}"/>
              </a:ext>
            </a:extLst>
          </p:cNvPr>
          <p:cNvSpPr txBox="1">
            <a:spLocks/>
          </p:cNvSpPr>
          <p:nvPr/>
        </p:nvSpPr>
        <p:spPr>
          <a:xfrm>
            <a:off x="381599" y="79401"/>
            <a:ext cx="4097597"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Introduction to battery storage – Battery technologies</a:t>
            </a:r>
          </a:p>
        </p:txBody>
      </p:sp>
      <p:sp>
        <p:nvSpPr>
          <p:cNvPr id="5" name="Oval 4">
            <a:extLst>
              <a:ext uri="{FF2B5EF4-FFF2-40B4-BE49-F238E27FC236}">
                <a16:creationId xmlns:a16="http://schemas.microsoft.com/office/drawing/2014/main" id="{6EA26741-106A-D6CA-8F02-E4708E573352}"/>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7" name="Oval 6">
            <a:extLst>
              <a:ext uri="{FF2B5EF4-FFF2-40B4-BE49-F238E27FC236}">
                <a16:creationId xmlns:a16="http://schemas.microsoft.com/office/drawing/2014/main" id="{35CB67E1-C89C-1199-2735-17CB27B132D2}"/>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cxnSp>
        <p:nvCxnSpPr>
          <p:cNvPr id="35" name="Straight Arrow Connector 34">
            <a:extLst>
              <a:ext uri="{FF2B5EF4-FFF2-40B4-BE49-F238E27FC236}">
                <a16:creationId xmlns:a16="http://schemas.microsoft.com/office/drawing/2014/main" id="{FD6C5717-ED69-8533-5131-D6CA38FE3BC2}"/>
              </a:ext>
            </a:extLst>
          </p:cNvPr>
          <p:cNvCxnSpPr>
            <a:cxnSpLocks/>
          </p:cNvCxnSpPr>
          <p:nvPr/>
        </p:nvCxnSpPr>
        <p:spPr>
          <a:xfrm>
            <a:off x="10094916" y="2612414"/>
            <a:ext cx="582609" cy="455815"/>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DAB0BE2A-034C-9AA1-5144-E30EC107224F}"/>
              </a:ext>
            </a:extLst>
          </p:cNvPr>
          <p:cNvSpPr txBox="1">
            <a:spLocks/>
          </p:cNvSpPr>
          <p:nvPr/>
        </p:nvSpPr>
        <p:spPr>
          <a:xfrm>
            <a:off x="8415338" y="1283235"/>
            <a:ext cx="3514724"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2023 operational and pipeline</a:t>
            </a:r>
            <a:r>
              <a:rPr lang="en-GB" baseline="30000"/>
              <a:t>4  </a:t>
            </a:r>
            <a:r>
              <a:rPr lang="en-GB"/>
              <a:t>BESS capacity across Europe, MW</a:t>
            </a:r>
            <a:endParaRPr lang="en-GB" b="0">
              <a:solidFill>
                <a:schemeClr val="accent5"/>
              </a:solidFill>
            </a:endParaRPr>
          </a:p>
        </p:txBody>
      </p:sp>
      <p:sp>
        <p:nvSpPr>
          <p:cNvPr id="71" name="Rectangle 70">
            <a:extLst>
              <a:ext uri="{FF2B5EF4-FFF2-40B4-BE49-F238E27FC236}">
                <a16:creationId xmlns:a16="http://schemas.microsoft.com/office/drawing/2014/main" id="{01B062A6-F45E-7B2C-B072-343F61633719}"/>
              </a:ext>
            </a:extLst>
          </p:cNvPr>
          <p:cNvSpPr/>
          <p:nvPr>
            <p:custDataLst>
              <p:tags r:id="rId23"/>
            </p:custDataLst>
          </p:nvPr>
        </p:nvSpPr>
        <p:spPr bwMode="auto">
          <a:xfrm>
            <a:off x="9969500" y="6259513"/>
            <a:ext cx="179388" cy="133350"/>
          </a:xfrm>
          <a:prstGeom prst="rect">
            <a:avLst/>
          </a:prstGeom>
          <a:solidFill>
            <a:schemeClr val="accent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72" name="Rectangle 71">
            <a:extLst>
              <a:ext uri="{FF2B5EF4-FFF2-40B4-BE49-F238E27FC236}">
                <a16:creationId xmlns:a16="http://schemas.microsoft.com/office/drawing/2014/main" id="{9AAAFB39-6C0C-97C4-60C1-AC5139F8F338}"/>
              </a:ext>
            </a:extLst>
          </p:cNvPr>
          <p:cNvSpPr/>
          <p:nvPr>
            <p:custDataLst>
              <p:tags r:id="rId24"/>
            </p:custDataLst>
          </p:nvPr>
        </p:nvSpPr>
        <p:spPr bwMode="auto">
          <a:xfrm>
            <a:off x="10995025" y="6259513"/>
            <a:ext cx="179388" cy="133350"/>
          </a:xfrm>
          <a:prstGeom prst="rect">
            <a:avLst/>
          </a:prstGeom>
          <a:solidFill>
            <a:schemeClr val="accent3"/>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73" name="Text Placeholder 19">
            <a:extLst>
              <a:ext uri="{FF2B5EF4-FFF2-40B4-BE49-F238E27FC236}">
                <a16:creationId xmlns:a16="http://schemas.microsoft.com/office/drawing/2014/main" id="{2F906142-8F68-3470-506C-E4D7A1DFB81A}"/>
              </a:ext>
            </a:extLst>
          </p:cNvPr>
          <p:cNvSpPr>
            <a:spLocks noGrp="1"/>
          </p:cNvSpPr>
          <p:nvPr>
            <p:custDataLst>
              <p:tags r:id="rId25"/>
            </p:custDataLst>
          </p:nvPr>
        </p:nvSpPr>
        <p:spPr bwMode="auto">
          <a:xfrm>
            <a:off x="10199688" y="6254750"/>
            <a:ext cx="693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E07D12A8-C545-4BA4-A375-4077122D006D}" type="datetime'''''Ope''r''a''''t''''io''n''''''al'''''' '''''''''''''">
              <a:rPr lang="en-GB" altLang="en-US" sz="1000" smtClean="0">
                <a:solidFill>
                  <a:srgbClr val="3C3C3B"/>
                </a:solidFill>
              </a:rPr>
              <a:pPr lvl="0">
                <a:spcBef>
                  <a:spcPct val="0"/>
                </a:spcBef>
                <a:spcAft>
                  <a:spcPct val="0"/>
                </a:spcAft>
                <a:defRPr/>
              </a:pPr>
              <a:t>Operational </a:t>
            </a:fld>
            <a:endParaRPr kumimoji="0" lang="en-GB" sz="1000" b="0" i="0" strike="noStrike" kern="1200" cap="none" spc="0" normalizeH="0" baseline="0" noProof="0">
              <a:ln>
                <a:noFill/>
              </a:ln>
              <a:solidFill>
                <a:srgbClr val="3C3C3B"/>
              </a:solidFill>
              <a:effectLst/>
              <a:uLnTx/>
              <a:uFillTx/>
              <a:sym typeface="Lato" panose="020F0502020204030203" pitchFamily="34" charset="0"/>
            </a:endParaRPr>
          </a:p>
        </p:txBody>
      </p:sp>
      <p:sp>
        <p:nvSpPr>
          <p:cNvPr id="74" name="Text Placeholder 19">
            <a:extLst>
              <a:ext uri="{FF2B5EF4-FFF2-40B4-BE49-F238E27FC236}">
                <a16:creationId xmlns:a16="http://schemas.microsoft.com/office/drawing/2014/main" id="{3B697F36-4F77-FB08-A2F6-DCD00940C34A}"/>
              </a:ext>
            </a:extLst>
          </p:cNvPr>
          <p:cNvSpPr>
            <a:spLocks noGrp="1"/>
          </p:cNvSpPr>
          <p:nvPr>
            <p:custDataLst>
              <p:tags r:id="rId26"/>
            </p:custDataLst>
          </p:nvPr>
        </p:nvSpPr>
        <p:spPr bwMode="auto">
          <a:xfrm>
            <a:off x="11225213" y="6254750"/>
            <a:ext cx="495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1D57792E-4BE2-438E-B091-27D849CD5C55}" type="datetime'''P''i''''''''''pe''''lin''''''''e'">
              <a:rPr lang="en-GB" altLang="en-US" sz="1000" smtClean="0">
                <a:solidFill>
                  <a:srgbClr val="3C3C3B"/>
                </a:solidFill>
              </a:rPr>
              <a:pPr lvl="0">
                <a:spcBef>
                  <a:spcPct val="0"/>
                </a:spcBef>
                <a:spcAft>
                  <a:spcPct val="0"/>
                </a:spcAft>
                <a:defRPr/>
              </a:pPr>
              <a:t>Pipeline</a:t>
            </a:fld>
            <a:r>
              <a:rPr lang="en-GB" altLang="en-US" sz="1000" baseline="30000">
                <a:solidFill>
                  <a:srgbClr val="3C3C3B"/>
                </a:solidFill>
              </a:rPr>
              <a:t>4</a:t>
            </a:r>
            <a:endParaRPr kumimoji="0" lang="en-GB" sz="1000" b="0" i="0" u="none" strike="noStrike" kern="1200" cap="none" spc="0" normalizeH="0" noProof="0">
              <a:ln>
                <a:noFill/>
              </a:ln>
              <a:solidFill>
                <a:srgbClr val="3C3C3B"/>
              </a:solidFill>
              <a:effectLst/>
              <a:uLnTx/>
              <a:uFillTx/>
              <a:sym typeface="Lato" panose="020F0502020204030203" pitchFamily="34" charset="0"/>
            </a:endParaRPr>
          </a:p>
        </p:txBody>
      </p:sp>
      <p:sp>
        <p:nvSpPr>
          <p:cNvPr id="75" name="Rectangle 74">
            <a:extLst>
              <a:ext uri="{FF2B5EF4-FFF2-40B4-BE49-F238E27FC236}">
                <a16:creationId xmlns:a16="http://schemas.microsoft.com/office/drawing/2014/main" id="{17DA652C-67F0-8F3D-BF40-9F1508F741C7}"/>
              </a:ext>
            </a:extLst>
          </p:cNvPr>
          <p:cNvSpPr/>
          <p:nvPr/>
        </p:nvSpPr>
        <p:spPr>
          <a:xfrm flipH="1">
            <a:off x="9398001" y="1851731"/>
            <a:ext cx="1322386" cy="956557"/>
          </a:xfrm>
          <a:prstGeom prst="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36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This report focuses on Li-ion chemistry as the dominating technology by installed and pipeline capacity.</a:t>
            </a:r>
          </a:p>
        </p:txBody>
      </p:sp>
      <p:sp>
        <p:nvSpPr>
          <p:cNvPr id="95" name="TextBox 94">
            <a:extLst>
              <a:ext uri="{FF2B5EF4-FFF2-40B4-BE49-F238E27FC236}">
                <a16:creationId xmlns:a16="http://schemas.microsoft.com/office/drawing/2014/main" id="{74307A08-2BAC-3B26-199D-FEA734AE2106}"/>
              </a:ext>
            </a:extLst>
          </p:cNvPr>
          <p:cNvSpPr txBox="1"/>
          <p:nvPr/>
        </p:nvSpPr>
        <p:spPr>
          <a:xfrm>
            <a:off x="8524116" y="4556682"/>
            <a:ext cx="3305174" cy="1369606"/>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As of 2023,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xx </a:t>
            </a:r>
            <a:r>
              <a:rPr kumimoji="0" lang="en-GB" sz="1200" b="0" i="0" u="none" strike="noStrike" kern="1200" cap="none" spc="0" normalizeH="0" baseline="0" noProof="0">
                <a:ln>
                  <a:noFill/>
                </a:ln>
                <a:solidFill>
                  <a:srgbClr val="3C3C3B"/>
                </a:solidFill>
                <a:effectLst/>
                <a:uLnTx/>
                <a:uFillTx/>
                <a:latin typeface="Lato"/>
                <a:ea typeface="+mn-ea"/>
                <a:cs typeface="+mn-cs"/>
              </a:rPr>
              <a:t>MW flow batteries and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xx </a:t>
            </a:r>
            <a:r>
              <a:rPr kumimoji="0" lang="en-GB" sz="1200" b="0" i="0" u="none" strike="noStrike" kern="1200" cap="none" spc="0" normalizeH="0" baseline="0" noProof="0">
                <a:ln>
                  <a:noFill/>
                </a:ln>
                <a:solidFill>
                  <a:srgbClr val="3C3C3B"/>
                </a:solidFill>
                <a:effectLst/>
                <a:uLnTx/>
                <a:uFillTx/>
                <a:latin typeface="Lato"/>
                <a:ea typeface="+mn-ea"/>
                <a:cs typeface="+mn-cs"/>
              </a:rPr>
              <a:t>MW sodium batteries are operational in Europe</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To date, flow and sodium batteries have been primarily concentrated in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x      </a:t>
            </a:r>
            <a:r>
              <a:rPr kumimoji="0" lang="en-GB" sz="1200" b="0" i="0" u="none" strike="noStrike" kern="1200" cap="none" spc="0" normalizeH="0" baseline="0" noProof="0" err="1">
                <a:ln>
                  <a:noFill/>
                </a:ln>
                <a:solidFill>
                  <a:schemeClr val="accent5"/>
                </a:solidFill>
                <a:effectLst/>
                <a:highlight>
                  <a:srgbClr val="808080"/>
                </a:highlight>
                <a:uLnTx/>
                <a:uFillTx/>
                <a:latin typeface="Lato"/>
                <a:ea typeface="+mn-ea"/>
                <a:cs typeface="+mn-cs"/>
              </a:rPr>
              <a:t>x</a:t>
            </a:r>
            <a:r>
              <a:rPr kumimoji="0" lang="en-GB" sz="1200" b="0" i="0" u="none" strike="noStrike" kern="1200" cap="none" spc="0" normalizeH="0" baseline="0" noProof="0">
                <a:ln>
                  <a:noFill/>
                </a:ln>
                <a:solidFill>
                  <a:srgbClr val="3C3C3B"/>
                </a:solidFill>
                <a:effectLst/>
                <a:uLnTx/>
                <a:uFillTx/>
                <a:latin typeface="Lato"/>
                <a:ea typeface="+mn-ea"/>
                <a:cs typeface="+mn-cs"/>
              </a:rPr>
              <a:t>,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x        </a:t>
            </a:r>
            <a:r>
              <a:rPr kumimoji="0" lang="en-GB" sz="1200" b="0" i="0" u="none" strike="noStrike" kern="1200" cap="none" spc="0" normalizeH="0" baseline="0" noProof="0" err="1">
                <a:ln>
                  <a:noFill/>
                </a:ln>
                <a:solidFill>
                  <a:schemeClr val="accent5"/>
                </a:solidFill>
                <a:effectLst/>
                <a:highlight>
                  <a:srgbClr val="808080"/>
                </a:highlight>
                <a:uLnTx/>
                <a:uFillTx/>
                <a:latin typeface="Lato"/>
                <a:ea typeface="+mn-ea"/>
                <a:cs typeface="+mn-cs"/>
              </a:rPr>
              <a:t>x</a:t>
            </a:r>
            <a:r>
              <a:rPr kumimoji="0" lang="en-GB" sz="1200" b="0" i="0" u="none" strike="noStrike" kern="1200" cap="none" spc="0" normalizeH="0" baseline="0" noProof="0">
                <a:ln>
                  <a:noFill/>
                </a:ln>
                <a:solidFill>
                  <a:srgbClr val="3C3C3B"/>
                </a:solidFill>
                <a:effectLst/>
                <a:uLnTx/>
                <a:uFillTx/>
                <a:latin typeface="Lato"/>
                <a:ea typeface="+mn-ea"/>
                <a:cs typeface="+mn-cs"/>
              </a:rPr>
              <a:t> and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x     </a:t>
            </a:r>
            <a:r>
              <a:rPr kumimoji="0" lang="en-GB" sz="1200" b="0" i="0" u="none" strike="noStrike" kern="1200" cap="none" spc="0" normalizeH="0" baseline="0" noProof="0" err="1">
                <a:ln>
                  <a:noFill/>
                </a:ln>
                <a:solidFill>
                  <a:schemeClr val="accent5"/>
                </a:solidFill>
                <a:effectLst/>
                <a:highlight>
                  <a:srgbClr val="808080"/>
                </a:highlight>
                <a:uLnTx/>
                <a:uFillTx/>
                <a:latin typeface="Lato"/>
                <a:ea typeface="+mn-ea"/>
                <a:cs typeface="+mn-cs"/>
              </a:rPr>
              <a:t>x</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 </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The announced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xx  </a:t>
            </a:r>
            <a:r>
              <a:rPr kumimoji="0" lang="en-GB" sz="1200" b="0" i="0" u="none" strike="noStrike" kern="1200" cap="none" spc="0" normalizeH="0" baseline="0" noProof="0">
                <a:ln>
                  <a:noFill/>
                </a:ln>
                <a:solidFill>
                  <a:srgbClr val="3C3C3B"/>
                </a:solidFill>
                <a:effectLst/>
                <a:uLnTx/>
                <a:uFillTx/>
                <a:latin typeface="Lato"/>
                <a:ea typeface="+mn-ea"/>
                <a:cs typeface="+mn-cs"/>
              </a:rPr>
              <a:t>BESS</a:t>
            </a:r>
            <a:r>
              <a:rPr kumimoji="0" lang="en-US" sz="1200" b="0" i="0" u="none" strike="noStrike" kern="1200" cap="none" spc="0" normalizeH="0" baseline="0" noProof="0">
                <a:ln>
                  <a:noFill/>
                </a:ln>
                <a:solidFill>
                  <a:srgbClr val="3C3C3B"/>
                </a:solidFill>
                <a:effectLst/>
                <a:uLnTx/>
                <a:uFillTx/>
                <a:latin typeface="Lato"/>
                <a:ea typeface="+mn-ea"/>
                <a:cs typeface="+mn-cs"/>
              </a:rPr>
              <a:t> in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x                </a:t>
            </a:r>
            <a:r>
              <a:rPr kumimoji="0" lang="en-GB" sz="1200" b="0" i="0" u="none" strike="noStrike" kern="1200" cap="none" spc="0" normalizeH="0" baseline="0" noProof="0" err="1">
                <a:ln>
                  <a:noFill/>
                </a:ln>
                <a:solidFill>
                  <a:schemeClr val="accent5"/>
                </a:solidFill>
                <a:effectLst/>
                <a:highlight>
                  <a:srgbClr val="808080"/>
                </a:highlight>
                <a:uLnTx/>
                <a:uFillTx/>
                <a:latin typeface="Lato"/>
                <a:ea typeface="+mn-ea"/>
                <a:cs typeface="+mn-cs"/>
              </a:rPr>
              <a:t>x</a:t>
            </a:r>
            <a:r>
              <a:rPr kumimoji="0" lang="en-US" sz="1200" b="0" i="0" u="none" strike="noStrike" kern="1200" cap="none" spc="0" normalizeH="0" baseline="0" noProof="0">
                <a:ln>
                  <a:noFill/>
                </a:ln>
                <a:solidFill>
                  <a:srgbClr val="3C3C3B"/>
                </a:solidFill>
                <a:effectLst/>
                <a:uLnTx/>
                <a:uFillTx/>
                <a:latin typeface="Lato"/>
                <a:ea typeface="+mn-ea"/>
                <a:cs typeface="+mn-cs"/>
              </a:rPr>
              <a:t> represents a ~</a:t>
            </a:r>
            <a:r>
              <a:rPr kumimoji="0" lang="en-GB" sz="1200" b="0" i="0" u="none" strike="noStrike" kern="1200" cap="none" spc="0" normalizeH="0" baseline="0" noProof="0">
                <a:ln>
                  <a:noFill/>
                </a:ln>
                <a:solidFill>
                  <a:schemeClr val="accent5"/>
                </a:solidFill>
                <a:effectLst/>
                <a:highlight>
                  <a:srgbClr val="808080"/>
                </a:highlight>
                <a:uLnTx/>
                <a:uFillTx/>
                <a:latin typeface="Lato"/>
                <a:ea typeface="+mn-ea"/>
                <a:cs typeface="+mn-cs"/>
              </a:rPr>
              <a:t> xx </a:t>
            </a:r>
            <a:r>
              <a:rPr kumimoji="0" lang="en-US" sz="1200" b="0" i="0" u="none" strike="noStrike" kern="1200" cap="none" spc="0" normalizeH="0" baseline="0" noProof="0">
                <a:ln>
                  <a:noFill/>
                </a:ln>
                <a:solidFill>
                  <a:srgbClr val="3C3C3B"/>
                </a:solidFill>
                <a:effectLst/>
                <a:uLnTx/>
                <a:uFillTx/>
                <a:latin typeface="Lato"/>
                <a:ea typeface="+mn-ea"/>
                <a:cs typeface="+mn-cs"/>
              </a:rPr>
              <a:t>x increase in European flow battery capacity</a:t>
            </a:r>
            <a:r>
              <a:rPr kumimoji="0" lang="en-GB" sz="1200" b="0" i="0" u="none" strike="noStrike" kern="1200" cap="none" spc="0" normalizeH="0" baseline="0" noProof="0">
                <a:ln>
                  <a:noFill/>
                </a:ln>
                <a:solidFill>
                  <a:srgbClr val="3C3C3B"/>
                </a:solidFill>
                <a:effectLst/>
                <a:uLnTx/>
                <a:uFillTx/>
                <a:latin typeface="Lato"/>
                <a:ea typeface="+mn-ea"/>
                <a:cs typeface="+mn-cs"/>
              </a:rPr>
              <a:t> </a:t>
            </a:r>
          </a:p>
        </p:txBody>
      </p:sp>
      <p:sp>
        <p:nvSpPr>
          <p:cNvPr id="8" name="Rectangle 7">
            <a:extLst>
              <a:ext uri="{FF2B5EF4-FFF2-40B4-BE49-F238E27FC236}">
                <a16:creationId xmlns:a16="http://schemas.microsoft.com/office/drawing/2014/main" id="{C1D668F5-04A3-04F6-3A21-9063BF959B43}"/>
              </a:ext>
            </a:extLst>
          </p:cNvPr>
          <p:cNvSpPr/>
          <p:nvPr/>
        </p:nvSpPr>
        <p:spPr>
          <a:xfrm>
            <a:off x="8415338" y="1733107"/>
            <a:ext cx="3514724" cy="4314702"/>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 name="Rectangle 8">
            <a:extLst>
              <a:ext uri="{FF2B5EF4-FFF2-40B4-BE49-F238E27FC236}">
                <a16:creationId xmlns:a16="http://schemas.microsoft.com/office/drawing/2014/main" id="{DB02E0CA-5679-80B3-5DD1-FBCB8551A7A4}"/>
              </a:ext>
            </a:extLst>
          </p:cNvPr>
          <p:cNvSpPr/>
          <p:nvPr/>
        </p:nvSpPr>
        <p:spPr>
          <a:xfrm>
            <a:off x="311888" y="1263129"/>
            <a:ext cx="11498511" cy="491440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0" name="Rectangle 9">
            <a:extLst>
              <a:ext uri="{FF2B5EF4-FFF2-40B4-BE49-F238E27FC236}">
                <a16:creationId xmlns:a16="http://schemas.microsoft.com/office/drawing/2014/main" id="{D233E034-3922-173D-4DE7-1DEB2656BAD0}"/>
              </a:ext>
            </a:extLst>
          </p:cNvPr>
          <p:cNvSpPr/>
          <p:nvPr/>
        </p:nvSpPr>
        <p:spPr>
          <a:xfrm>
            <a:off x="353877" y="1411782"/>
            <a:ext cx="7797890" cy="491440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907292263"/>
      </p:ext>
    </p:extLst>
  </p:cSld>
  <p:clrMapOvr>
    <a:masterClrMapping/>
  </p:clrMapOvr>
  <p:extLst>
    <p:ext uri="{6950BFC3-D8DA-4A85-94F7-54DA5524770B}">
      <p188:commentRel xmlns:p188="http://schemas.microsoft.com/office/powerpoint/2018/8/main" r:id="rId29"/>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BBE848-AF08-4DC1-A64F-7A3FAA2E916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18BBE848-AF08-4DC1-A64F-7A3FAA2E916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ABA507-D230-4EAF-B23D-DC335F3FFBC1}"/>
              </a:ext>
            </a:extLst>
          </p:cNvPr>
          <p:cNvSpPr/>
          <p:nvPr>
            <p:custDataLst>
              <p:tags r:id="rId2"/>
            </p:custDataLst>
          </p:nvPr>
        </p:nvSpPr>
        <p:spPr>
          <a:xfrm>
            <a:off x="152400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vert="horz" wrap="none" lIns="0" tIns="0" rIns="0" bIns="0" numCol="1" spcCol="0" rtlCol="0" anchor="ctr" anchorCtr="0">
            <a:noAutofit/>
          </a:bodyPr>
          <a:lstStyle/>
          <a:p>
            <a:pPr>
              <a:spcAft>
                <a:spcPts val="1000"/>
              </a:spcAft>
            </a:pPr>
            <a:endParaRPr lang="en-GB" sz="2200" b="1">
              <a:solidFill>
                <a:schemeClr val="tx1"/>
              </a:solidFill>
              <a:latin typeface="Lato" panose="020F0502020204030203" pitchFamily="34" charset="0"/>
              <a:ea typeface="+mj-ea"/>
              <a:cs typeface="+mj-cs"/>
              <a:sym typeface="Lato" panose="020F0502020204030203" pitchFamily="34" charset="0"/>
            </a:endParaRPr>
          </a:p>
        </p:txBody>
      </p:sp>
      <p:sp>
        <p:nvSpPr>
          <p:cNvPr id="2" name="Text Placeholder 1"/>
          <p:cNvSpPr>
            <a:spLocks noGrp="1"/>
          </p:cNvSpPr>
          <p:nvPr>
            <p:ph type="body" sz="quarter" idx="22"/>
          </p:nvPr>
        </p:nvSpPr>
        <p:spPr>
          <a:xfrm>
            <a:off x="381001" y="6715169"/>
            <a:ext cx="1452321" cy="110800"/>
          </a:xfrm>
        </p:spPr>
        <p:txBody>
          <a:bodyPr/>
          <a:lstStyle/>
          <a:p>
            <a:r>
              <a:rPr lang="en-GB"/>
              <a:t>Source: Aurora Energy Research</a:t>
            </a:r>
          </a:p>
        </p:txBody>
      </p:sp>
      <p:sp>
        <p:nvSpPr>
          <p:cNvPr id="3" name="Title 2">
            <a:extLst>
              <a:ext uri="{FF2B5EF4-FFF2-40B4-BE49-F238E27FC236}">
                <a16:creationId xmlns:a16="http://schemas.microsoft.com/office/drawing/2014/main" id="{6BAA2AA4-E933-4930-8207-088F9DE6E295}"/>
              </a:ext>
            </a:extLst>
          </p:cNvPr>
          <p:cNvSpPr>
            <a:spLocks noGrp="1"/>
          </p:cNvSpPr>
          <p:nvPr>
            <p:ph type="title"/>
          </p:nvPr>
        </p:nvSpPr>
        <p:spPr/>
        <p:txBody>
          <a:bodyPr vert="horz"/>
          <a:lstStyle/>
          <a:p>
            <a:r>
              <a:rPr lang="en-GB"/>
              <a:t>Aurora European Battery Markets Attractiveness Report:</a:t>
            </a:r>
            <a:br>
              <a:rPr lang="en-GB"/>
            </a:br>
            <a:r>
              <a:rPr lang="en-GB" i="1"/>
              <a:t>How to use this report</a:t>
            </a:r>
          </a:p>
        </p:txBody>
      </p:sp>
      <p:sp>
        <p:nvSpPr>
          <p:cNvPr id="4" name="Text Placeholder 3"/>
          <p:cNvSpPr>
            <a:spLocks noGrp="1"/>
          </p:cNvSpPr>
          <p:nvPr>
            <p:ph type="body" sz="quarter" idx="32"/>
          </p:nvPr>
        </p:nvSpPr>
        <p:spPr/>
        <p:txBody>
          <a:bodyPr/>
          <a:lstStyle/>
          <a:p>
            <a:endParaRPr lang="en-GB"/>
          </a:p>
        </p:txBody>
      </p:sp>
      <p:sp>
        <p:nvSpPr>
          <p:cNvPr id="11" name="Text Placeholder 10">
            <a:extLst>
              <a:ext uri="{FF2B5EF4-FFF2-40B4-BE49-F238E27FC236}">
                <a16:creationId xmlns:a16="http://schemas.microsoft.com/office/drawing/2014/main" id="{8B90A8B2-8B2C-48D4-2751-CA3CFDA5C4CD}"/>
              </a:ext>
            </a:extLst>
          </p:cNvPr>
          <p:cNvSpPr>
            <a:spLocks noGrp="1"/>
          </p:cNvSpPr>
          <p:nvPr>
            <p:ph type="body" sz="quarter" idx="31"/>
          </p:nvPr>
        </p:nvSpPr>
        <p:spPr>
          <a:xfrm>
            <a:off x="381599" y="79401"/>
            <a:ext cx="3821559" cy="184666"/>
          </a:xfrm>
        </p:spPr>
        <p:txBody>
          <a:bodyPr/>
          <a:lstStyle/>
          <a:p>
            <a:r>
              <a:rPr lang="en-GB"/>
              <a:t>Aurora European Battery Markets Attractiveness Report</a:t>
            </a:r>
          </a:p>
        </p:txBody>
      </p:sp>
      <p:sp>
        <p:nvSpPr>
          <p:cNvPr id="9" name="Rectangle 8">
            <a:extLst>
              <a:ext uri="{FF2B5EF4-FFF2-40B4-BE49-F238E27FC236}">
                <a16:creationId xmlns:a16="http://schemas.microsoft.com/office/drawing/2014/main" id="{63F129B6-1F18-4955-8FDE-C46143A32757}"/>
              </a:ext>
            </a:extLst>
          </p:cNvPr>
          <p:cNvSpPr/>
          <p:nvPr/>
        </p:nvSpPr>
        <p:spPr>
          <a:xfrm>
            <a:off x="381001" y="1268413"/>
            <a:ext cx="7028467" cy="4789487"/>
          </a:xfrm>
          <a:prstGeom prst="rect">
            <a:avLst/>
          </a:prstGeom>
          <a:solidFill>
            <a:schemeClr val="accent2">
              <a:lumMod val="20000"/>
              <a:lumOff val="80000"/>
            </a:schemeClr>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spcAft>
                <a:spcPts val="600"/>
              </a:spcAft>
            </a:pPr>
            <a:r>
              <a:rPr lang="en-GB" sz="1200" b="1">
                <a:solidFill>
                  <a:schemeClr val="tx1"/>
                </a:solidFill>
              </a:rPr>
              <a:t>This report is divided into 7 sections:</a:t>
            </a:r>
          </a:p>
          <a:p>
            <a:pPr marL="182880" indent="-182880">
              <a:spcAft>
                <a:spcPts val="600"/>
              </a:spcAft>
              <a:buFont typeface="Wingdings" panose="05000000000000000000" pitchFamily="2" charset="2"/>
              <a:buChar char="§"/>
            </a:pPr>
            <a:r>
              <a:rPr lang="en-GB" sz="1200" b="1">
                <a:solidFill>
                  <a:schemeClr val="tx1"/>
                </a:solidFill>
                <a:hlinkClick r:id="" action="ppaction://noaction"/>
              </a:rPr>
              <a:t>Section I [</a:t>
            </a:r>
            <a:r>
              <a:rPr lang="en-GB" sz="1200" b="1" i="1">
                <a:solidFill>
                  <a:schemeClr val="tx1"/>
                </a:solidFill>
                <a:hlinkClick r:id="" action="ppaction://noaction"/>
              </a:rPr>
              <a:t>Executive summary</a:t>
            </a:r>
            <a:r>
              <a:rPr lang="en-GB" sz="1200" b="1">
                <a:solidFill>
                  <a:schemeClr val="tx1"/>
                </a:solidFill>
                <a:hlinkClick r:id="" action="ppaction://noaction"/>
              </a:rPr>
              <a:t>]</a:t>
            </a:r>
            <a:r>
              <a:rPr lang="en-GB" sz="1200" b="1">
                <a:solidFill>
                  <a:schemeClr val="tx1"/>
                </a:solidFill>
              </a:rPr>
              <a:t> </a:t>
            </a:r>
            <a:r>
              <a:rPr lang="en-GB" sz="1200">
                <a:solidFill>
                  <a:schemeClr val="tx1"/>
                </a:solidFill>
              </a:rPr>
              <a:t>gives an overview of the full report, highlighting the most valuable revenue streams for batteries in the covered countries, details of our ranking methodology, the market attractiveness scores and our rankings of the countries.</a:t>
            </a:r>
          </a:p>
          <a:p>
            <a:pPr marL="182880" indent="-182880">
              <a:spcAft>
                <a:spcPts val="600"/>
              </a:spcAft>
              <a:buFont typeface="Wingdings" panose="05000000000000000000" pitchFamily="2" charset="2"/>
              <a:buChar char="§"/>
            </a:pPr>
            <a:r>
              <a:rPr lang="en-GB" sz="1200" b="1">
                <a:solidFill>
                  <a:schemeClr val="tx1"/>
                </a:solidFill>
                <a:hlinkClick r:id="" action="ppaction://noaction"/>
              </a:rPr>
              <a:t>Section II [</a:t>
            </a:r>
            <a:r>
              <a:rPr lang="en-GB" sz="1200" b="1" i="1">
                <a:solidFill>
                  <a:schemeClr val="tx1"/>
                </a:solidFill>
                <a:hlinkClick r:id="" action="ppaction://noaction"/>
              </a:rPr>
              <a:t>Introduction to battery storage</a:t>
            </a:r>
            <a:r>
              <a:rPr lang="en-GB" sz="1200" b="1">
                <a:solidFill>
                  <a:schemeClr val="tx1"/>
                </a:solidFill>
                <a:hlinkClick r:id="" action="ppaction://noaction"/>
              </a:rPr>
              <a:t>]</a:t>
            </a:r>
            <a:r>
              <a:rPr lang="en-GB" sz="1200" b="1">
                <a:solidFill>
                  <a:schemeClr val="tx1"/>
                </a:solidFill>
              </a:rPr>
              <a:t> </a:t>
            </a:r>
            <a:r>
              <a:rPr lang="en-GB" sz="1200">
                <a:solidFill>
                  <a:schemeClr val="tx1"/>
                </a:solidFill>
              </a:rPr>
              <a:t>is split into two subsections. The first subsection introduces drivers for battery buildout and the second introduces battery storage cost components and Aurora’s forecast of battery storage costs. </a:t>
            </a:r>
          </a:p>
          <a:p>
            <a:pPr marL="182880" indent="-182880">
              <a:spcAft>
                <a:spcPts val="600"/>
              </a:spcAft>
              <a:buFont typeface="Wingdings" panose="05000000000000000000" pitchFamily="2" charset="2"/>
              <a:buChar char="§"/>
            </a:pPr>
            <a:r>
              <a:rPr lang="en-GB" sz="1200" b="1">
                <a:solidFill>
                  <a:schemeClr val="tx1"/>
                </a:solidFill>
                <a:hlinkClick r:id="" action="ppaction://noaction"/>
              </a:rPr>
              <a:t>Section III </a:t>
            </a:r>
            <a:r>
              <a:rPr lang="en-GB" sz="1200" b="1" i="1">
                <a:solidFill>
                  <a:schemeClr val="tx1"/>
                </a:solidFill>
                <a:hlinkClick r:id="" action="ppaction://noaction"/>
              </a:rPr>
              <a:t>[Market size and outlook]</a:t>
            </a:r>
            <a:r>
              <a:rPr lang="en-GB" sz="1200" b="1">
                <a:solidFill>
                  <a:schemeClr val="tx1"/>
                </a:solidFill>
              </a:rPr>
              <a:t> </a:t>
            </a:r>
            <a:r>
              <a:rPr lang="en-GB" sz="1200">
                <a:solidFill>
                  <a:schemeClr val="tx1"/>
                </a:solidFill>
              </a:rPr>
              <a:t>provides details of the battery storage pipeline across Europe and Aurora’s Central forecast of battery storage buildout through to 2050, by battery duration.</a:t>
            </a:r>
          </a:p>
          <a:p>
            <a:pPr marL="182880" indent="-182880">
              <a:spcAft>
                <a:spcPts val="600"/>
              </a:spcAft>
              <a:buFont typeface="Wingdings" panose="05000000000000000000" pitchFamily="2" charset="2"/>
              <a:buChar char="§"/>
            </a:pPr>
            <a:r>
              <a:rPr lang="en-GB" sz="1200" b="1">
                <a:solidFill>
                  <a:schemeClr val="tx1"/>
                </a:solidFill>
                <a:hlinkClick r:id="" action="ppaction://noaction"/>
              </a:rPr>
              <a:t>Section IV </a:t>
            </a:r>
            <a:r>
              <a:rPr lang="en-GB" sz="1200" b="1" i="1">
                <a:solidFill>
                  <a:schemeClr val="tx1"/>
                </a:solidFill>
                <a:hlinkClick r:id="" action="ppaction://noaction"/>
              </a:rPr>
              <a:t>[Policy and regulatory environment]</a:t>
            </a:r>
            <a:r>
              <a:rPr lang="en-GB" sz="1200" b="1" i="1">
                <a:solidFill>
                  <a:schemeClr val="tx1"/>
                </a:solidFill>
              </a:rPr>
              <a:t> </a:t>
            </a:r>
            <a:r>
              <a:rPr lang="en-GB" sz="1200">
                <a:solidFill>
                  <a:schemeClr val="tx1"/>
                </a:solidFill>
              </a:rPr>
              <a:t>explores the key policy drivers for battery storage deployment and Government commitments and regulation. It also details the various markets and revenue streams available to batteries across the analysed countries.</a:t>
            </a:r>
          </a:p>
          <a:p>
            <a:pPr marL="182880" indent="-182880">
              <a:spcAft>
                <a:spcPts val="600"/>
              </a:spcAft>
              <a:buFont typeface="Wingdings" panose="05000000000000000000" pitchFamily="2" charset="2"/>
              <a:buChar char="§"/>
            </a:pPr>
            <a:r>
              <a:rPr lang="en-GB" sz="1200" b="1">
                <a:solidFill>
                  <a:schemeClr val="tx1"/>
                </a:solidFill>
                <a:hlinkClick r:id="" action="ppaction://noaction"/>
              </a:rPr>
              <a:t>Section V [</a:t>
            </a:r>
            <a:r>
              <a:rPr lang="en-GB" sz="1200" b="1" i="1">
                <a:solidFill>
                  <a:schemeClr val="tx1"/>
                </a:solidFill>
                <a:hlinkClick r:id="" action="ppaction://noaction"/>
              </a:rPr>
              <a:t>Revenue Streams</a:t>
            </a:r>
            <a:r>
              <a:rPr lang="en-GB" sz="1200" b="1">
                <a:solidFill>
                  <a:schemeClr val="tx1"/>
                </a:solidFill>
                <a:hlinkClick r:id="" action="ppaction://noaction"/>
              </a:rPr>
              <a:t>]</a:t>
            </a:r>
            <a:r>
              <a:rPr lang="en-GB" sz="1200" b="1">
                <a:solidFill>
                  <a:schemeClr val="tx1"/>
                </a:solidFill>
              </a:rPr>
              <a:t> </a:t>
            </a:r>
            <a:r>
              <a:rPr lang="en-GB" sz="1200">
                <a:solidFill>
                  <a:schemeClr val="tx1"/>
                </a:solidFill>
              </a:rPr>
              <a:t>provides detailed analysis and outlook for the revenue streams introduced in Section IV, highlighting the most valuable markets and revenue streams in the different countries and assessing saturation risk across the markets.  </a:t>
            </a:r>
          </a:p>
          <a:p>
            <a:pPr marL="182880" indent="-182880">
              <a:spcAft>
                <a:spcPts val="600"/>
              </a:spcAft>
              <a:buFont typeface="Wingdings" panose="05000000000000000000" pitchFamily="2" charset="2"/>
              <a:buChar char="§"/>
            </a:pPr>
            <a:r>
              <a:rPr lang="en-GB" sz="1200" b="1">
                <a:solidFill>
                  <a:schemeClr val="tx1"/>
                </a:solidFill>
                <a:hlinkClick r:id="" action="ppaction://noaction"/>
              </a:rPr>
              <a:t>Section VI [</a:t>
            </a:r>
            <a:r>
              <a:rPr lang="en-GB" sz="1200" b="1" i="1">
                <a:solidFill>
                  <a:schemeClr val="tx1"/>
                </a:solidFill>
                <a:hlinkClick r:id="" action="ppaction://noaction"/>
              </a:rPr>
              <a:t>Project economics</a:t>
            </a:r>
            <a:r>
              <a:rPr lang="en-GB" sz="1200" b="1">
                <a:solidFill>
                  <a:schemeClr val="tx1"/>
                </a:solidFill>
                <a:hlinkClick r:id="" action="ppaction://noaction"/>
              </a:rPr>
              <a:t>]</a:t>
            </a:r>
            <a:r>
              <a:rPr lang="en-GB" sz="1200" b="1">
                <a:solidFill>
                  <a:schemeClr val="tx1"/>
                </a:solidFill>
              </a:rPr>
              <a:t> </a:t>
            </a:r>
            <a:r>
              <a:rPr lang="en-GB" sz="1200">
                <a:solidFill>
                  <a:schemeClr val="tx1"/>
                </a:solidFill>
              </a:rPr>
              <a:t>introduces the investment cases for battery storage, comparing gross margin stacks and their evolution over time and merchant IRRs for representative assets.</a:t>
            </a:r>
          </a:p>
          <a:p>
            <a:pPr marL="182880" indent="-182880">
              <a:spcAft>
                <a:spcPts val="600"/>
              </a:spcAft>
              <a:buFont typeface="Wingdings" panose="05000000000000000000" pitchFamily="2" charset="2"/>
              <a:buChar char="§"/>
            </a:pPr>
            <a:r>
              <a:rPr lang="en-GB" sz="1200" b="1">
                <a:solidFill>
                  <a:schemeClr val="tx1"/>
                </a:solidFill>
                <a:hlinkClick r:id="" action="ppaction://noaction"/>
              </a:rPr>
              <a:t>Section VII [</a:t>
            </a:r>
            <a:r>
              <a:rPr lang="en-GB" sz="1200" b="1" i="1">
                <a:solidFill>
                  <a:schemeClr val="tx1"/>
                </a:solidFill>
                <a:hlinkClick r:id="" action="ppaction://noaction"/>
              </a:rPr>
              <a:t>Aurora’s Flexible Energy Subscription Services</a:t>
            </a:r>
            <a:r>
              <a:rPr lang="en-GB" sz="1200" b="1">
                <a:solidFill>
                  <a:schemeClr val="tx1"/>
                </a:solidFill>
                <a:hlinkClick r:id="" action="ppaction://noaction"/>
              </a:rPr>
              <a:t>]</a:t>
            </a:r>
            <a:r>
              <a:rPr lang="en-GB" sz="1200" b="1">
                <a:solidFill>
                  <a:schemeClr val="tx1"/>
                </a:solidFill>
              </a:rPr>
              <a:t> </a:t>
            </a:r>
            <a:r>
              <a:rPr lang="en-GB" sz="1200">
                <a:solidFill>
                  <a:schemeClr val="tx1"/>
                </a:solidFill>
              </a:rPr>
              <a:t>details Aurora’s </a:t>
            </a:r>
            <a:r>
              <a:rPr lang="en-GB" sz="1200" i="1">
                <a:solidFill>
                  <a:schemeClr val="tx1"/>
                </a:solidFill>
              </a:rPr>
              <a:t>Flexibility Energy Market subscriptions and offerings</a:t>
            </a:r>
            <a:r>
              <a:rPr lang="en-GB" sz="1200">
                <a:solidFill>
                  <a:schemeClr val="tx1"/>
                </a:solidFill>
              </a:rPr>
              <a:t> </a:t>
            </a:r>
          </a:p>
          <a:p>
            <a:pPr>
              <a:spcAft>
                <a:spcPts val="600"/>
              </a:spcAft>
            </a:pPr>
            <a:r>
              <a:rPr lang="en-GB" sz="1200" b="1" i="1">
                <a:solidFill>
                  <a:schemeClr val="tx1"/>
                </a:solidFill>
              </a:rPr>
              <a:t>Please note that all presented data which feeds through to the rankings can be found in the accompanying Excel datasheet</a:t>
            </a:r>
            <a:endParaRPr lang="en-GB" sz="1200" b="1">
              <a:solidFill>
                <a:schemeClr val="tx1"/>
              </a:solidFill>
            </a:endParaRPr>
          </a:p>
        </p:txBody>
      </p:sp>
      <p:sp>
        <p:nvSpPr>
          <p:cNvPr id="10" name="Rectangle 9">
            <a:extLst>
              <a:ext uri="{FF2B5EF4-FFF2-40B4-BE49-F238E27FC236}">
                <a16:creationId xmlns:a16="http://schemas.microsoft.com/office/drawing/2014/main" id="{2618A1B3-112F-42B3-BF11-BE9970962228}"/>
              </a:ext>
            </a:extLst>
          </p:cNvPr>
          <p:cNvSpPr/>
          <p:nvPr/>
        </p:nvSpPr>
        <p:spPr>
          <a:xfrm>
            <a:off x="7852528" y="1268413"/>
            <a:ext cx="3957872" cy="4789487"/>
          </a:xfrm>
          <a:prstGeom prst="rect">
            <a:avLst/>
          </a:prstGeom>
          <a:solidFill>
            <a:schemeClr val="accent3">
              <a:lumMod val="20000"/>
              <a:lumOff val="80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spcAft>
                <a:spcPts val="400"/>
              </a:spcAft>
            </a:pPr>
            <a:r>
              <a:rPr lang="en-GB" sz="1200" b="1">
                <a:solidFill>
                  <a:schemeClr val="tx1"/>
                </a:solidFill>
              </a:rPr>
              <a:t>If you are looking for…</a:t>
            </a:r>
          </a:p>
          <a:p>
            <a:pPr marL="182880" indent="-182880">
              <a:spcAft>
                <a:spcPts val="400"/>
              </a:spcAft>
              <a:buFont typeface="Wingdings" panose="05000000000000000000" pitchFamily="2" charset="2"/>
              <a:buChar char="§"/>
            </a:pPr>
            <a:r>
              <a:rPr lang="en-GB" sz="1200" b="1" i="1">
                <a:solidFill>
                  <a:schemeClr val="tx1"/>
                </a:solidFill>
              </a:rPr>
              <a:t>Country rankings: </a:t>
            </a:r>
            <a:r>
              <a:rPr lang="en-GB" sz="1200" i="1">
                <a:solidFill>
                  <a:schemeClr val="tx1"/>
                </a:solidFill>
              </a:rPr>
              <a:t>read through </a:t>
            </a:r>
            <a:r>
              <a:rPr lang="en-GB" sz="1200" i="1">
                <a:solidFill>
                  <a:schemeClr val="tx1"/>
                </a:solidFill>
                <a:hlinkClick r:id="" action="ppaction://noaction"/>
              </a:rPr>
              <a:t>Section I [Executive summary] </a:t>
            </a:r>
            <a:endParaRPr lang="en-GB" sz="1200" i="1">
              <a:solidFill>
                <a:schemeClr val="tx1"/>
              </a:solidFill>
            </a:endParaRPr>
          </a:p>
          <a:p>
            <a:pPr marL="182880" indent="-182880">
              <a:spcAft>
                <a:spcPts val="400"/>
              </a:spcAft>
              <a:buFont typeface="Wingdings" panose="05000000000000000000" pitchFamily="2" charset="2"/>
              <a:buChar char="§"/>
            </a:pPr>
            <a:r>
              <a:rPr lang="en-GB" sz="1200" b="1" i="1">
                <a:solidFill>
                  <a:schemeClr val="tx1"/>
                </a:solidFill>
              </a:rPr>
              <a:t>Project pipelines, Aurora’s forecast for battery buildout and investment requirement: </a:t>
            </a:r>
            <a:r>
              <a:rPr lang="en-GB" sz="1200" i="1">
                <a:solidFill>
                  <a:schemeClr val="tx1"/>
                </a:solidFill>
              </a:rPr>
              <a:t>go to</a:t>
            </a:r>
            <a:r>
              <a:rPr lang="en-GB" sz="1200" b="1">
                <a:solidFill>
                  <a:schemeClr val="tx1"/>
                </a:solidFill>
                <a:hlinkClick r:id="" action="ppaction://noaction"/>
              </a:rPr>
              <a:t> </a:t>
            </a:r>
            <a:r>
              <a:rPr lang="en-GB" sz="1200" i="1">
                <a:solidFill>
                  <a:schemeClr val="tx1"/>
                </a:solidFill>
                <a:hlinkClick r:id="" action="ppaction://noaction"/>
              </a:rPr>
              <a:t>Section III [Market size and outlook]</a:t>
            </a:r>
            <a:endParaRPr lang="en-GB" sz="1200" i="1">
              <a:solidFill>
                <a:schemeClr val="tx1"/>
              </a:solidFill>
            </a:endParaRPr>
          </a:p>
          <a:p>
            <a:pPr marL="182880" indent="-182880">
              <a:spcAft>
                <a:spcPts val="400"/>
              </a:spcAft>
              <a:buFont typeface="Wingdings" panose="05000000000000000000" pitchFamily="2" charset="2"/>
              <a:buChar char="§"/>
            </a:pPr>
            <a:r>
              <a:rPr lang="en-GB" sz="1200" b="1" i="1">
                <a:solidFill>
                  <a:schemeClr val="tx1"/>
                </a:solidFill>
              </a:rPr>
              <a:t>An explanation of the markets and detailed policy analysis for a specific market: </a:t>
            </a:r>
            <a:r>
              <a:rPr lang="en-GB" sz="1200" i="1">
                <a:solidFill>
                  <a:schemeClr val="tx1"/>
                </a:solidFill>
              </a:rPr>
              <a:t>see </a:t>
            </a:r>
            <a:r>
              <a:rPr lang="en-GB" sz="1200" i="1">
                <a:solidFill>
                  <a:schemeClr val="tx1"/>
                </a:solidFill>
                <a:hlinkClick r:id="" action="ppaction://noaction"/>
              </a:rPr>
              <a:t>Section IV [Policy and regulatory environment</a:t>
            </a:r>
            <a:r>
              <a:rPr lang="en-GB" sz="1200" b="1" i="1">
                <a:solidFill>
                  <a:schemeClr val="tx1"/>
                </a:solidFill>
                <a:hlinkClick r:id="" action="ppaction://noaction"/>
              </a:rPr>
              <a:t>]</a:t>
            </a:r>
            <a:endParaRPr lang="en-GB" sz="1200" b="1" i="1">
              <a:solidFill>
                <a:schemeClr val="tx1"/>
              </a:solidFill>
            </a:endParaRPr>
          </a:p>
          <a:p>
            <a:pPr marL="182880" indent="-182880">
              <a:spcAft>
                <a:spcPts val="400"/>
              </a:spcAft>
              <a:buFont typeface="Wingdings" panose="05000000000000000000" pitchFamily="2" charset="2"/>
              <a:buChar char="§"/>
            </a:pPr>
            <a:r>
              <a:rPr lang="en-GB" sz="1200" b="1" i="1">
                <a:solidFill>
                  <a:schemeClr val="tx1"/>
                </a:solidFill>
              </a:rPr>
              <a:t>Aurora’s central forecast prices for a particular market: </a:t>
            </a:r>
            <a:r>
              <a:rPr lang="en-GB" sz="1200" i="1">
                <a:solidFill>
                  <a:schemeClr val="tx1"/>
                </a:solidFill>
              </a:rPr>
              <a:t>see </a:t>
            </a:r>
            <a:r>
              <a:rPr lang="en-GB" sz="1200" i="1">
                <a:solidFill>
                  <a:schemeClr val="tx1"/>
                </a:solidFill>
                <a:hlinkClick r:id="" action="ppaction://noaction"/>
              </a:rPr>
              <a:t>Section V [Revenue Streams]</a:t>
            </a:r>
            <a:endParaRPr lang="en-GB" sz="1200" i="1">
              <a:solidFill>
                <a:schemeClr val="tx1"/>
              </a:solidFill>
            </a:endParaRPr>
          </a:p>
          <a:p>
            <a:pPr marL="182880" indent="-182880">
              <a:spcAft>
                <a:spcPts val="400"/>
              </a:spcAft>
              <a:buFont typeface="Wingdings" panose="05000000000000000000" pitchFamily="2" charset="2"/>
              <a:buChar char="§"/>
            </a:pPr>
            <a:r>
              <a:rPr lang="en-GB" sz="1200" b="1" i="1">
                <a:solidFill>
                  <a:schemeClr val="tx1"/>
                </a:solidFill>
              </a:rPr>
              <a:t>Aurora’s investment case numbers for a particular asset: </a:t>
            </a:r>
            <a:r>
              <a:rPr lang="en-GB" sz="1200" i="1">
                <a:solidFill>
                  <a:schemeClr val="tx1"/>
                </a:solidFill>
              </a:rPr>
              <a:t>see </a:t>
            </a:r>
            <a:r>
              <a:rPr lang="en-GB" sz="1200" i="1">
                <a:solidFill>
                  <a:schemeClr val="tx1"/>
                </a:solidFill>
                <a:hlinkClick r:id="" action="ppaction://noaction"/>
              </a:rPr>
              <a:t>Section VI [Project economics]</a:t>
            </a:r>
            <a:endParaRPr lang="en-GB" sz="1200" i="1">
              <a:solidFill>
                <a:schemeClr val="tx1"/>
              </a:solidFill>
            </a:endParaRPr>
          </a:p>
          <a:p>
            <a:pPr>
              <a:spcAft>
                <a:spcPts val="400"/>
              </a:spcAft>
            </a:pPr>
            <a:endParaRPr lang="en-GB" sz="1200" i="1">
              <a:solidFill>
                <a:schemeClr val="tx1"/>
              </a:solidFill>
            </a:endParaRPr>
          </a:p>
          <a:p>
            <a:pPr>
              <a:spcAft>
                <a:spcPts val="400"/>
              </a:spcAft>
            </a:pPr>
            <a:r>
              <a:rPr lang="en-GB" sz="1200" b="1">
                <a:solidFill>
                  <a:schemeClr val="tx1"/>
                </a:solidFill>
              </a:rPr>
              <a:t>If you are using this report…</a:t>
            </a:r>
          </a:p>
          <a:p>
            <a:pPr marL="182880" indent="-182880">
              <a:spcAft>
                <a:spcPts val="400"/>
              </a:spcAft>
              <a:buFont typeface="Wingdings" panose="05000000000000000000" pitchFamily="2" charset="2"/>
              <a:buChar char="§"/>
            </a:pPr>
            <a:r>
              <a:rPr lang="en-GB" sz="1200" b="1">
                <a:solidFill>
                  <a:schemeClr val="tx1"/>
                </a:solidFill>
              </a:rPr>
              <a:t>For project financing: </a:t>
            </a:r>
            <a:r>
              <a:rPr lang="en-GB" sz="1200">
                <a:solidFill>
                  <a:schemeClr val="tx1"/>
                </a:solidFill>
              </a:rPr>
              <a:t>See sections I, V and VI to understand which markets are ripe for investment and where the most attractive IRRs are. </a:t>
            </a:r>
          </a:p>
          <a:p>
            <a:pPr marL="182880" indent="-182880">
              <a:spcAft>
                <a:spcPts val="400"/>
              </a:spcAft>
              <a:buFont typeface="Wingdings" panose="05000000000000000000" pitchFamily="2" charset="2"/>
              <a:buChar char="§"/>
            </a:pPr>
            <a:r>
              <a:rPr lang="en-GB" sz="1200" b="1">
                <a:solidFill>
                  <a:schemeClr val="tx1"/>
                </a:solidFill>
              </a:rPr>
              <a:t>As an OEM</a:t>
            </a:r>
            <a:r>
              <a:rPr lang="en-GB" sz="1200">
                <a:solidFill>
                  <a:schemeClr val="tx1"/>
                </a:solidFill>
              </a:rPr>
              <a:t>: See sections III and IV to understand which countries have a promising market outlook and favourable regulation. </a:t>
            </a:r>
          </a:p>
        </p:txBody>
      </p:sp>
    </p:spTree>
    <p:extLst>
      <p:ext uri="{BB962C8B-B14F-4D97-AF65-F5344CB8AC3E}">
        <p14:creationId xmlns:p14="http://schemas.microsoft.com/office/powerpoint/2010/main" val="6307357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63" progId="TCLayout.ActiveDocument.1">
                  <p:embed/>
                </p:oleObj>
              </mc:Choice>
              <mc:Fallback>
                <p:oleObj name="think-cell Slide" r:id="rId5" imgW="353" imgH="363"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2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ext Placeholder 1"/>
          <p:cNvSpPr>
            <a:spLocks noGrp="1"/>
          </p:cNvSpPr>
          <p:nvPr>
            <p:ph type="body" sz="quarter" idx="22"/>
          </p:nvPr>
        </p:nvSpPr>
        <p:spPr>
          <a:xfrm>
            <a:off x="381001" y="6715169"/>
            <a:ext cx="4560544" cy="110800"/>
          </a:xfrm>
        </p:spPr>
        <p:txBody>
          <a:bodyPr/>
          <a:lstStyle/>
          <a:p>
            <a:r>
              <a:rPr lang="en-GB"/>
              <a:t>Sources: Aurora Energy Research, NREL, O. Schmidt et al, IRENA, STA, ADB, McKinsey and Company</a:t>
            </a:r>
          </a:p>
        </p:txBody>
      </p:sp>
      <p:sp>
        <p:nvSpPr>
          <p:cNvPr id="3" name="Title 2"/>
          <p:cNvSpPr>
            <a:spLocks noGrp="1"/>
          </p:cNvSpPr>
          <p:nvPr>
            <p:ph type="title"/>
          </p:nvPr>
        </p:nvSpPr>
        <p:spPr/>
        <p:txBody>
          <a:bodyPr vert="horz"/>
          <a:lstStyle/>
          <a:p>
            <a:r>
              <a:rPr lang="en-GB">
                <a:solidFill>
                  <a:schemeClr val="tx1"/>
                </a:solidFill>
              </a:rPr>
              <a:t>The cost of developing grid-scale batteries is made up of various components</a:t>
            </a:r>
          </a:p>
        </p:txBody>
      </p:sp>
      <p:sp>
        <p:nvSpPr>
          <p:cNvPr id="4" name="Text Placeholder 3"/>
          <p:cNvSpPr>
            <a:spLocks noGrp="1"/>
          </p:cNvSpPr>
          <p:nvPr>
            <p:ph type="body" sz="quarter" idx="32"/>
          </p:nvPr>
        </p:nvSpPr>
        <p:spPr>
          <a:xfrm>
            <a:off x="381600" y="6474841"/>
            <a:ext cx="11428800" cy="221599"/>
          </a:xfrm>
        </p:spPr>
        <p:txBody>
          <a:bodyPr/>
          <a:lstStyle/>
          <a:p>
            <a:r>
              <a:rPr lang="en-GB"/>
              <a:t>1) Balance of System; 2) Engineering, Procurement and Construction; 3) Typically ~40ft containers of ~2MWh capacity; 4) Heating, ventilation and air conditioning; 5) Inclusive of all contestable works (can be undertaken by network operator or independent provider) and non-contestable works (can only be undertaken by network operator)</a:t>
            </a:r>
          </a:p>
        </p:txBody>
      </p:sp>
      <p:sp>
        <p:nvSpPr>
          <p:cNvPr id="10" name="Rectangle: Rounded Corners 12">
            <a:extLst>
              <a:ext uri="{FF2B5EF4-FFF2-40B4-BE49-F238E27FC236}">
                <a16:creationId xmlns:a16="http://schemas.microsoft.com/office/drawing/2014/main" id="{43EA138A-0A88-41B4-9585-A8868502190F}"/>
              </a:ext>
            </a:extLst>
          </p:cNvPr>
          <p:cNvSpPr/>
          <p:nvPr/>
        </p:nvSpPr>
        <p:spPr>
          <a:xfrm>
            <a:off x="393313" y="1268412"/>
            <a:ext cx="11432292" cy="260904"/>
          </a:xfrm>
          <a:prstGeom prst="roundRect">
            <a:avLst/>
          </a:prstGeom>
          <a:solidFill>
            <a:schemeClr val="accent5"/>
          </a:solidFill>
          <a:ln>
            <a:solidFill>
              <a:schemeClr val="accent5"/>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Total Project Cost</a:t>
            </a:r>
          </a:p>
        </p:txBody>
      </p:sp>
      <p:sp>
        <p:nvSpPr>
          <p:cNvPr id="11" name="Rectangle: Rounded Corners 27">
            <a:extLst>
              <a:ext uri="{FF2B5EF4-FFF2-40B4-BE49-F238E27FC236}">
                <a16:creationId xmlns:a16="http://schemas.microsoft.com/office/drawing/2014/main" id="{73B0DEA2-BA5C-4D8F-986F-7063F4876BB1}"/>
              </a:ext>
            </a:extLst>
          </p:cNvPr>
          <p:cNvSpPr/>
          <p:nvPr/>
        </p:nvSpPr>
        <p:spPr>
          <a:xfrm>
            <a:off x="2701513" y="1615369"/>
            <a:ext cx="2205992" cy="524876"/>
          </a:xfrm>
          <a:prstGeom prst="roundRect">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lIns="91440" tIns="90000" rIns="9144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Electrical and structural </a:t>
            </a:r>
            <a:br>
              <a:rPr kumimoji="0" lang="en-GB" sz="1200" b="1" i="0" u="none" strike="noStrike" kern="1200" cap="none" spc="0" normalizeH="0" baseline="0" noProof="0">
                <a:ln>
                  <a:noFill/>
                </a:ln>
                <a:solidFill>
                  <a:srgbClr val="3C3C3B"/>
                </a:solidFill>
                <a:effectLst/>
                <a:uLnTx/>
                <a:uFillTx/>
                <a:latin typeface="Lato"/>
                <a:ea typeface="+mn-ea"/>
                <a:cs typeface="+mn-cs"/>
              </a:rPr>
            </a:br>
            <a:r>
              <a:rPr kumimoji="0" lang="en-GB" sz="1200" b="1" i="0" u="none" strike="noStrike" kern="1200" cap="none" spc="0" normalizeH="0" baseline="0" noProof="0">
                <a:ln>
                  <a:noFill/>
                </a:ln>
                <a:solidFill>
                  <a:srgbClr val="3C3C3B"/>
                </a:solidFill>
                <a:effectLst/>
                <a:uLnTx/>
                <a:uFillTx/>
                <a:latin typeface="Lato"/>
                <a:ea typeface="+mn-ea"/>
                <a:cs typeface="+mn-cs"/>
              </a:rPr>
              <a:t>BoS</a:t>
            </a:r>
            <a:r>
              <a:rPr kumimoji="0" lang="en-GB" sz="1200" b="1" i="0" u="none" strike="noStrike" kern="1200" cap="none" spc="0" normalizeH="0" baseline="30000" noProof="0">
                <a:ln>
                  <a:noFill/>
                </a:ln>
                <a:solidFill>
                  <a:srgbClr val="3C3C3B"/>
                </a:solidFill>
                <a:effectLst/>
                <a:uLnTx/>
                <a:uFillTx/>
                <a:latin typeface="Lato"/>
                <a:ea typeface="+mn-ea"/>
                <a:cs typeface="+mn-cs"/>
              </a:rPr>
              <a:t>1</a:t>
            </a:r>
            <a:endParaRPr kumimoji="0" lang="en-GB" sz="1200" b="1" i="0" u="none" strike="noStrike" kern="1200" cap="none" spc="0" normalizeH="0" baseline="0" noProof="0">
              <a:ln>
                <a:noFill/>
              </a:ln>
              <a:solidFill>
                <a:srgbClr val="3C3C3B"/>
              </a:solidFill>
              <a:effectLst/>
              <a:uLnTx/>
              <a:uFillTx/>
              <a:latin typeface="Lato"/>
              <a:ea typeface="+mn-ea"/>
              <a:cs typeface="+mn-cs"/>
            </a:endParaRPr>
          </a:p>
        </p:txBody>
      </p:sp>
      <p:sp>
        <p:nvSpPr>
          <p:cNvPr id="12" name="Rectangle: Rounded Corners 28">
            <a:extLst>
              <a:ext uri="{FF2B5EF4-FFF2-40B4-BE49-F238E27FC236}">
                <a16:creationId xmlns:a16="http://schemas.microsoft.com/office/drawing/2014/main" id="{1F587813-7A27-4169-85E9-79A8C910784C}"/>
              </a:ext>
            </a:extLst>
          </p:cNvPr>
          <p:cNvSpPr/>
          <p:nvPr/>
        </p:nvSpPr>
        <p:spPr>
          <a:xfrm>
            <a:off x="393310" y="1612697"/>
            <a:ext cx="2205992" cy="524876"/>
          </a:xfrm>
          <a:prstGeom prst="round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lIns="91440" tIns="90000" rIns="9144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Battery system</a:t>
            </a:r>
          </a:p>
        </p:txBody>
      </p:sp>
      <p:sp>
        <p:nvSpPr>
          <p:cNvPr id="13" name="Rectangle: Rounded Corners 19">
            <a:extLst>
              <a:ext uri="{FF2B5EF4-FFF2-40B4-BE49-F238E27FC236}">
                <a16:creationId xmlns:a16="http://schemas.microsoft.com/office/drawing/2014/main" id="{7AAE93EC-6A00-4594-A7F2-FFCB880B0CD9}"/>
              </a:ext>
            </a:extLst>
          </p:cNvPr>
          <p:cNvSpPr/>
          <p:nvPr/>
        </p:nvSpPr>
        <p:spPr>
          <a:xfrm>
            <a:off x="5009716" y="1612697"/>
            <a:ext cx="2205992" cy="524876"/>
          </a:xfrm>
          <a:prstGeom prst="roundRect">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91440" tIns="90000" rIns="9144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EPC</a:t>
            </a:r>
            <a:r>
              <a:rPr kumimoji="0" lang="en-GB" sz="1200" b="1" i="0" u="none" strike="noStrike" kern="1200" cap="none" spc="0" normalizeH="0" baseline="30000" noProof="0">
                <a:ln>
                  <a:noFill/>
                </a:ln>
                <a:solidFill>
                  <a:srgbClr val="3C3C3B"/>
                </a:solidFill>
                <a:effectLst/>
                <a:uLnTx/>
                <a:uFillTx/>
                <a:latin typeface="Lato"/>
                <a:ea typeface="+mn-ea"/>
                <a:cs typeface="+mn-cs"/>
              </a:rPr>
              <a:t>2</a:t>
            </a:r>
            <a:r>
              <a:rPr kumimoji="0" lang="en-GB" sz="1200" b="1" i="0" u="none" strike="noStrike" kern="1200" cap="none" spc="0" normalizeH="0" baseline="0" noProof="0">
                <a:ln>
                  <a:noFill/>
                </a:ln>
                <a:solidFill>
                  <a:srgbClr val="3C3C3B"/>
                </a:solidFill>
                <a:effectLst/>
                <a:uLnTx/>
                <a:uFillTx/>
                <a:latin typeface="Lato"/>
                <a:ea typeface="+mn-ea"/>
                <a:cs typeface="+mn-cs"/>
              </a:rPr>
              <a:t> soft costs</a:t>
            </a:r>
            <a:endParaRPr kumimoji="0" lang="en-GB" sz="1200" b="1" i="0" u="none" strike="noStrike" kern="1200" cap="none" spc="0" normalizeH="0" baseline="30000" noProof="0">
              <a:ln>
                <a:noFill/>
              </a:ln>
              <a:solidFill>
                <a:srgbClr val="3C3C3B"/>
              </a:solidFill>
              <a:effectLst/>
              <a:uLnTx/>
              <a:uFillTx/>
              <a:latin typeface="Lato"/>
              <a:ea typeface="+mn-ea"/>
              <a:cs typeface="+mn-cs"/>
            </a:endParaRPr>
          </a:p>
        </p:txBody>
      </p:sp>
      <p:sp>
        <p:nvSpPr>
          <p:cNvPr id="14" name="Rectangle: Rounded Corners 22">
            <a:extLst>
              <a:ext uri="{FF2B5EF4-FFF2-40B4-BE49-F238E27FC236}">
                <a16:creationId xmlns:a16="http://schemas.microsoft.com/office/drawing/2014/main" id="{B342A237-7888-4EA5-A5D8-7B20D30E9CD1}"/>
              </a:ext>
            </a:extLst>
          </p:cNvPr>
          <p:cNvSpPr/>
          <p:nvPr/>
        </p:nvSpPr>
        <p:spPr>
          <a:xfrm>
            <a:off x="7317919" y="1601105"/>
            <a:ext cx="2205992" cy="524876"/>
          </a:xfrm>
          <a:prstGeom prst="roundRect">
            <a:avLst/>
          </a:prstGeom>
          <a:solidFill>
            <a:schemeClr val="bg2">
              <a:lumMod val="90000"/>
            </a:schemeClr>
          </a:solidFill>
          <a:ln>
            <a:noFill/>
          </a:ln>
        </p:spPr>
        <p:style>
          <a:lnRef idx="2">
            <a:schemeClr val="accent1"/>
          </a:lnRef>
          <a:fillRef idx="1">
            <a:schemeClr val="lt1"/>
          </a:fillRef>
          <a:effectRef idx="0">
            <a:schemeClr val="accent1"/>
          </a:effectRef>
          <a:fontRef idx="minor">
            <a:schemeClr val="dk1"/>
          </a:fontRef>
        </p:style>
        <p:txBody>
          <a:bodyPr lIns="91440" tIns="90000" rIns="9144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Connection costs</a:t>
            </a:r>
            <a:endParaRPr kumimoji="0" lang="en-GB" sz="1200" b="1" i="0" u="none" strike="noStrike" kern="1200" cap="none" spc="0" normalizeH="0" baseline="30000" noProof="0">
              <a:ln>
                <a:noFill/>
              </a:ln>
              <a:solidFill>
                <a:srgbClr val="3C3C3B"/>
              </a:solidFill>
              <a:effectLst/>
              <a:uLnTx/>
              <a:uFillTx/>
              <a:latin typeface="Lato"/>
              <a:ea typeface="+mn-ea"/>
              <a:cs typeface="+mn-cs"/>
            </a:endParaRPr>
          </a:p>
        </p:txBody>
      </p:sp>
      <p:sp>
        <p:nvSpPr>
          <p:cNvPr id="15" name="Rectangle: Rounded Corners 23">
            <a:extLst>
              <a:ext uri="{FF2B5EF4-FFF2-40B4-BE49-F238E27FC236}">
                <a16:creationId xmlns:a16="http://schemas.microsoft.com/office/drawing/2014/main" id="{C442E874-5D14-4950-9BBF-4700C7EC0683}"/>
              </a:ext>
            </a:extLst>
          </p:cNvPr>
          <p:cNvSpPr/>
          <p:nvPr/>
        </p:nvSpPr>
        <p:spPr>
          <a:xfrm>
            <a:off x="9626124" y="1601105"/>
            <a:ext cx="2205992" cy="524876"/>
          </a:xfrm>
          <a:prstGeom prst="round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91440" tIns="90000" rIns="9144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Development costs</a:t>
            </a:r>
            <a:endParaRPr kumimoji="0" lang="en-GB" sz="1200" b="1" i="0" u="none" strike="noStrike" kern="1200" cap="none" spc="0" normalizeH="0" baseline="30000" noProof="0">
              <a:ln>
                <a:noFill/>
              </a:ln>
              <a:solidFill>
                <a:prstClr val="white"/>
              </a:solidFill>
              <a:effectLst/>
              <a:uLnTx/>
              <a:uFillTx/>
              <a:latin typeface="Lato"/>
              <a:ea typeface="+mn-ea"/>
              <a:cs typeface="+mn-cs"/>
            </a:endParaRPr>
          </a:p>
        </p:txBody>
      </p:sp>
      <p:sp>
        <p:nvSpPr>
          <p:cNvPr id="16" name="Rectangle: Rounded Corners 24">
            <a:extLst>
              <a:ext uri="{FF2B5EF4-FFF2-40B4-BE49-F238E27FC236}">
                <a16:creationId xmlns:a16="http://schemas.microsoft.com/office/drawing/2014/main" id="{F616CA70-8845-4BDB-BCDD-011BC630778F}"/>
              </a:ext>
            </a:extLst>
          </p:cNvPr>
          <p:cNvSpPr/>
          <p:nvPr/>
        </p:nvSpPr>
        <p:spPr>
          <a:xfrm>
            <a:off x="381000" y="2184285"/>
            <a:ext cx="2205992" cy="4003592"/>
          </a:xfrm>
          <a:prstGeom prst="roundRect">
            <a:avLst>
              <a:gd name="adj" fmla="val 4182"/>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lIns="91440" tIns="36000" rIns="36000" bIns="90000" rtlCol="0" anchor="t" anchorCtr="0"/>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Containerised</a:t>
            </a:r>
            <a:r>
              <a:rPr kumimoji="0" lang="en-GB" sz="1200" b="0" i="0" u="none" strike="noStrike" kern="1200" cap="none" spc="0" normalizeH="0" baseline="30000" noProof="0">
                <a:ln>
                  <a:noFill/>
                </a:ln>
                <a:solidFill>
                  <a:srgbClr val="3C3C3B"/>
                </a:solidFill>
                <a:effectLst/>
                <a:uLnTx/>
                <a:uFillTx/>
                <a:latin typeface="Lato"/>
                <a:ea typeface="+mn-ea"/>
                <a:cs typeface="+mn-cs"/>
              </a:rPr>
              <a:t>3</a:t>
            </a:r>
            <a:r>
              <a:rPr kumimoji="0" lang="en-GB" sz="1200" b="0" i="0" u="none" strike="noStrike" kern="1200" cap="none" spc="0" normalizeH="0" baseline="0" noProof="0">
                <a:ln>
                  <a:noFill/>
                </a:ln>
                <a:solidFill>
                  <a:srgbClr val="3C3C3B"/>
                </a:solidFill>
                <a:effectLst/>
                <a:uLnTx/>
                <a:uFillTx/>
                <a:latin typeface="Lato"/>
                <a:ea typeface="+mn-ea"/>
                <a:cs typeface="+mn-cs"/>
              </a:rPr>
              <a:t> battery storage systems; main components include:</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Cells</a:t>
            </a:r>
            <a:r>
              <a:rPr kumimoji="0" lang="en-GB" sz="1200" b="0" i="0" u="none" strike="noStrike" kern="1200" cap="none" spc="0" normalizeH="0" baseline="0" noProof="0">
                <a:ln>
                  <a:noFill/>
                </a:ln>
                <a:solidFill>
                  <a:srgbClr val="3C3C3B"/>
                </a:solidFill>
                <a:effectLst/>
                <a:uLnTx/>
                <a:uFillTx/>
                <a:latin typeface="Lato"/>
                <a:ea typeface="+mn-ea"/>
                <a:cs typeface="+mn-cs"/>
              </a:rPr>
              <a:t> – anode, cathode, electrolyte. and separator system</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Modules</a:t>
            </a:r>
            <a:r>
              <a:rPr kumimoji="0" lang="en-GB" sz="1200" b="0" i="0" u="none" strike="noStrike" kern="1200" cap="none" spc="0" normalizeH="0" baseline="0" noProof="0">
                <a:ln>
                  <a:noFill/>
                </a:ln>
                <a:solidFill>
                  <a:srgbClr val="3C3C3B"/>
                </a:solidFill>
                <a:effectLst/>
                <a:uLnTx/>
                <a:uFillTx/>
                <a:latin typeface="Lato"/>
                <a:ea typeface="+mn-ea"/>
                <a:cs typeface="+mn-cs"/>
              </a:rPr>
              <a:t> – collection of cells put into an external frame for protection from. external interference</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Battery, thermal and energy management systems </a:t>
            </a:r>
            <a:r>
              <a:rPr kumimoji="0" lang="en-GB" sz="1200" b="0" i="0" u="none" strike="noStrike" kern="1200" cap="none" spc="0" normalizeH="0" baseline="0" noProof="0">
                <a:ln>
                  <a:noFill/>
                </a:ln>
                <a:solidFill>
                  <a:srgbClr val="3C3C3B"/>
                </a:solidFill>
                <a:effectLst/>
                <a:uLnTx/>
                <a:uFillTx/>
                <a:latin typeface="Lato"/>
                <a:ea typeface="+mn-ea"/>
                <a:cs typeface="+mn-cs"/>
              </a:rPr>
              <a:t>– protect batteries by ensuring they operate within safe limits, and control operation</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HVAC</a:t>
            </a:r>
            <a:r>
              <a:rPr kumimoji="0" lang="en-GB" sz="1200" b="0" i="0" u="none" strike="noStrike" kern="1200" cap="none" spc="0" normalizeH="0" baseline="30000" noProof="0">
                <a:ln>
                  <a:noFill/>
                </a:ln>
                <a:solidFill>
                  <a:srgbClr val="3C3C3B"/>
                </a:solidFill>
                <a:effectLst/>
                <a:uLnTx/>
                <a:uFillTx/>
                <a:latin typeface="Lato"/>
                <a:ea typeface="+mn-ea"/>
                <a:cs typeface="+mn-cs"/>
              </a:rPr>
              <a:t>4</a:t>
            </a:r>
            <a:r>
              <a:rPr kumimoji="0" lang="en-GB" sz="1200" b="0" i="0" u="none" strike="noStrike" kern="1200" cap="none" spc="0" normalizeH="0" baseline="0" noProof="0">
                <a:ln>
                  <a:noFill/>
                </a:ln>
                <a:solidFill>
                  <a:srgbClr val="3C3C3B"/>
                </a:solidFill>
                <a:effectLst/>
                <a:uLnTx/>
                <a:uFillTx/>
                <a:latin typeface="Lato"/>
                <a:ea typeface="+mn-ea"/>
                <a:cs typeface="+mn-cs"/>
              </a:rPr>
              <a:t>, fire suppression, racking</a:t>
            </a:r>
          </a:p>
        </p:txBody>
      </p:sp>
      <p:sp>
        <p:nvSpPr>
          <p:cNvPr id="17" name="Rectangle: Rounded Corners 33">
            <a:extLst>
              <a:ext uri="{FF2B5EF4-FFF2-40B4-BE49-F238E27FC236}">
                <a16:creationId xmlns:a16="http://schemas.microsoft.com/office/drawing/2014/main" id="{97385EC9-5EDA-44F8-9EB7-CCE5806C46AB}"/>
              </a:ext>
            </a:extLst>
          </p:cNvPr>
          <p:cNvSpPr/>
          <p:nvPr/>
        </p:nvSpPr>
        <p:spPr>
          <a:xfrm>
            <a:off x="2696065" y="2184285"/>
            <a:ext cx="2205992" cy="4003592"/>
          </a:xfrm>
          <a:prstGeom prst="roundRect">
            <a:avLst>
              <a:gd name="adj" fmla="val 5680"/>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lIns="91440" tIns="36000" rIns="36000" bIns="90000" rtlCol="0" anchor="t" anchorCtr="0"/>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Components external to the battery containers, including:</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Inverters (i.e., power conversion)</a:t>
            </a:r>
            <a:r>
              <a:rPr kumimoji="0" lang="en-GB" sz="1200" b="0" i="0" u="none" strike="noStrike" kern="1200" cap="none" spc="0" normalizeH="0" baseline="0" noProof="0">
                <a:ln>
                  <a:noFill/>
                </a:ln>
                <a:solidFill>
                  <a:srgbClr val="3C3C3B"/>
                </a:solidFill>
                <a:effectLst/>
                <a:uLnTx/>
                <a:uFillTx/>
                <a:latin typeface="Lato"/>
                <a:ea typeface="+mn-ea"/>
                <a:cs typeface="+mn-cs"/>
              </a:rPr>
              <a:t> – used to switch from AC to DC during charging and DC to AC during discharge; typically, a major component of the BoS cost</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Control, monitoring and protection components.</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Other electrical BoS – cabling, auxiliary power supply etc</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Structural elements of site e.g.., foundations, fencing</a:t>
            </a:r>
          </a:p>
        </p:txBody>
      </p:sp>
      <p:sp>
        <p:nvSpPr>
          <p:cNvPr id="18" name="Rectangle: Rounded Corners 34">
            <a:extLst>
              <a:ext uri="{FF2B5EF4-FFF2-40B4-BE49-F238E27FC236}">
                <a16:creationId xmlns:a16="http://schemas.microsoft.com/office/drawing/2014/main" id="{7B846BFE-8128-4014-829C-FF54ED67E799}"/>
              </a:ext>
            </a:extLst>
          </p:cNvPr>
          <p:cNvSpPr/>
          <p:nvPr/>
        </p:nvSpPr>
        <p:spPr>
          <a:xfrm>
            <a:off x="5031158" y="2194008"/>
            <a:ext cx="2205992" cy="4003592"/>
          </a:xfrm>
          <a:prstGeom prst="roundRect">
            <a:avLst>
              <a:gd name="adj" fmla="val 5181"/>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91440" tIns="36000" rIns="36000" bIns="90000" rtlCol="0" anchor="t" anchorCtr="0"/>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Costs of designing and constructing the site, including:</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Engineering consultants – electrical engineers, project manager and other specialists</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Construction labour – electrical and structural</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Overhead and profits for construction contractors</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GB" sz="1200">
                <a:solidFill>
                  <a:srgbClr val="3C3C3B"/>
                </a:solidFill>
                <a:latin typeface="Lato"/>
              </a:rPr>
              <a:t>Commissioning</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19" name="Rectangle: Rounded Corners 35">
            <a:extLst>
              <a:ext uri="{FF2B5EF4-FFF2-40B4-BE49-F238E27FC236}">
                <a16:creationId xmlns:a16="http://schemas.microsoft.com/office/drawing/2014/main" id="{0A2CC105-349C-41E5-9CC8-E2ED768ADB80}"/>
              </a:ext>
            </a:extLst>
          </p:cNvPr>
          <p:cNvSpPr/>
          <p:nvPr/>
        </p:nvSpPr>
        <p:spPr>
          <a:xfrm>
            <a:off x="7317919" y="2194008"/>
            <a:ext cx="2205992" cy="4003592"/>
          </a:xfrm>
          <a:prstGeom prst="roundRect">
            <a:avLst>
              <a:gd name="adj" fmla="val 3953"/>
            </a:avLst>
          </a:prstGeom>
          <a:solidFill>
            <a:schemeClr val="bg2">
              <a:lumMod val="90000"/>
            </a:schemeClr>
          </a:solidFill>
          <a:ln>
            <a:noFill/>
          </a:ln>
        </p:spPr>
        <p:style>
          <a:lnRef idx="2">
            <a:schemeClr val="accent1"/>
          </a:lnRef>
          <a:fillRef idx="1">
            <a:schemeClr val="lt1"/>
          </a:fillRef>
          <a:effectRef idx="0">
            <a:schemeClr val="accent1"/>
          </a:effectRef>
          <a:fontRef idx="minor">
            <a:schemeClr val="dk1"/>
          </a:fontRef>
        </p:style>
        <p:txBody>
          <a:bodyPr lIns="91440" tIns="36000" rIns="36000" bIns="90000" rtlCol="0" anchor="t" anchorCtr="0"/>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Costs to set up electrical connection to distribution or transmission network</a:t>
            </a:r>
            <a:r>
              <a:rPr kumimoji="0" lang="en-GB" sz="1200" b="0" i="0" u="none" strike="noStrike" kern="1200" cap="none" spc="0" normalizeH="0" baseline="30000" noProof="0">
                <a:ln>
                  <a:noFill/>
                </a:ln>
                <a:solidFill>
                  <a:srgbClr val="3C3C3B"/>
                </a:solidFill>
                <a:effectLst/>
                <a:uLnTx/>
                <a:uFillTx/>
                <a:latin typeface="Lato"/>
                <a:ea typeface="+mn-ea"/>
                <a:cs typeface="+mn-cs"/>
              </a:rPr>
              <a:t>5</a:t>
            </a:r>
            <a:r>
              <a:rPr kumimoji="0" lang="en-GB" sz="1200" b="0" i="0" u="none" strike="noStrike" kern="1200" cap="none" spc="0" normalizeH="0" baseline="0" noProof="0">
                <a:ln>
                  <a:noFill/>
                </a:ln>
                <a:solidFill>
                  <a:srgbClr val="3C3C3B"/>
                </a:solidFill>
                <a:effectLst/>
                <a:uLnTx/>
                <a:uFillTx/>
                <a:latin typeface="Lato"/>
                <a:ea typeface="+mn-ea"/>
                <a:cs typeface="+mn-cs"/>
              </a:rPr>
              <a:t>, including:</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Design activities</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Laying of new cables</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Transformers</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Upgrades to existing substations, etc</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Costs vary according to:</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Transmission vs distribution network</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Voltage level</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Region / country</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Characteristics of local network (e.g.., whether site causes need for local substation upgrades)</a:t>
            </a:r>
          </a:p>
        </p:txBody>
      </p:sp>
      <p:sp>
        <p:nvSpPr>
          <p:cNvPr id="20" name="Rectangle: Rounded Corners 36">
            <a:extLst>
              <a:ext uri="{FF2B5EF4-FFF2-40B4-BE49-F238E27FC236}">
                <a16:creationId xmlns:a16="http://schemas.microsoft.com/office/drawing/2014/main" id="{78EC94F2-35F0-4C4B-9482-A06815243FE3}"/>
              </a:ext>
            </a:extLst>
          </p:cNvPr>
          <p:cNvSpPr/>
          <p:nvPr/>
        </p:nvSpPr>
        <p:spPr>
          <a:xfrm>
            <a:off x="9619236" y="2194008"/>
            <a:ext cx="2205992" cy="4003592"/>
          </a:xfrm>
          <a:prstGeom prst="roundRect">
            <a:avLst>
              <a:gd name="adj" fmla="val 4681"/>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91440" tIns="36000" rIns="36000" bIns="90000" rtlCol="0" anchor="t" anchorCtr="0"/>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Lato"/>
                <a:ea typeface="+mn-ea"/>
                <a:cs typeface="+mn-cs"/>
              </a:rPr>
              <a:t>Costs involved in development to project developer including:</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prstClr val="white"/>
                </a:solidFill>
                <a:effectLst/>
                <a:uLnTx/>
                <a:uFillTx/>
                <a:latin typeface="Lato"/>
                <a:ea typeface="+mn-ea"/>
                <a:cs typeface="+mn-cs"/>
              </a:rPr>
              <a:t>Project origination and acquisition</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prstClr val="white"/>
                </a:solidFill>
                <a:effectLst/>
                <a:uLnTx/>
                <a:uFillTx/>
                <a:latin typeface="Lato"/>
                <a:ea typeface="+mn-ea"/>
                <a:cs typeface="+mn-cs"/>
              </a:rPr>
              <a:t>Connection and planning studies and applications</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prstClr val="white"/>
                </a:solidFill>
                <a:effectLst/>
                <a:uLnTx/>
                <a:uFillTx/>
                <a:latin typeface="Lato"/>
                <a:ea typeface="+mn-ea"/>
                <a:cs typeface="+mn-cs"/>
              </a:rPr>
              <a:t>Land acquisition and control</a:t>
            </a:r>
          </a:p>
          <a:p>
            <a:pPr marL="182880" marR="0" lvl="0" indent="-18288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prstClr val="white"/>
                </a:solidFill>
                <a:effectLst/>
                <a:uLnTx/>
                <a:uFillTx/>
                <a:latin typeface="Lato"/>
                <a:ea typeface="+mn-ea"/>
                <a:cs typeface="+mn-cs"/>
              </a:rPr>
              <a:t>Developer overhead and profit</a:t>
            </a:r>
          </a:p>
        </p:txBody>
      </p:sp>
      <p:sp>
        <p:nvSpPr>
          <p:cNvPr id="22" name="Text Placeholder 2">
            <a:extLst>
              <a:ext uri="{FF2B5EF4-FFF2-40B4-BE49-F238E27FC236}">
                <a16:creationId xmlns:a16="http://schemas.microsoft.com/office/drawing/2014/main" id="{FEDC8585-05ED-6F89-DED3-7354C5DA4ED9}"/>
              </a:ext>
            </a:extLst>
          </p:cNvPr>
          <p:cNvSpPr>
            <a:spLocks noGrp="1"/>
          </p:cNvSpPr>
          <p:nvPr>
            <p:ph type="body" sz="quarter" idx="31"/>
          </p:nvPr>
        </p:nvSpPr>
        <p:spPr>
          <a:xfrm>
            <a:off x="381599" y="79401"/>
            <a:ext cx="4097597" cy="184666"/>
          </a:xfrm>
        </p:spPr>
        <p:txBody>
          <a:bodyPr/>
          <a:lstStyle/>
          <a:p>
            <a:r>
              <a:rPr lang="en-GB"/>
              <a:t>		Introduction to battery storage – Battery technologies</a:t>
            </a:r>
          </a:p>
        </p:txBody>
      </p:sp>
      <p:sp>
        <p:nvSpPr>
          <p:cNvPr id="21" name="Oval 20">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23" name="Oval 22">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Tree>
    <p:extLst>
      <p:ext uri="{BB962C8B-B14F-4D97-AF65-F5344CB8AC3E}">
        <p14:creationId xmlns:p14="http://schemas.microsoft.com/office/powerpoint/2010/main" val="18304512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01880F9-3CCC-4F78-BDB4-3CD3ECDA0DD1}"/>
              </a:ext>
            </a:extLst>
          </p:cNvPr>
          <p:cNvGraphicFramePr>
            <a:graphicFrameLocks noChangeAspect="1"/>
          </p:cNvGraphicFramePr>
          <p:nvPr>
            <p:custDataLst>
              <p:tags r:id="rId1"/>
            </p:custDataLst>
            <p:extLst>
              <p:ext uri="{D42A27DB-BD31-4B8C-83A1-F6EECF244321}">
                <p14:modId xmlns:p14="http://schemas.microsoft.com/office/powerpoint/2010/main" val="140092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9" imgW="395" imgH="394" progId="TCLayout.ActiveDocument.1">
                  <p:embed/>
                </p:oleObj>
              </mc:Choice>
              <mc:Fallback>
                <p:oleObj name="think-cell Slide" r:id="rId109" imgW="395" imgH="394" progId="TCLayout.ActiveDocument.1">
                  <p:embed/>
                  <p:pic>
                    <p:nvPicPr>
                      <p:cNvPr id="11" name="Object 10" hidden="1">
                        <a:extLst>
                          <a:ext uri="{FF2B5EF4-FFF2-40B4-BE49-F238E27FC236}">
                            <a16:creationId xmlns:a16="http://schemas.microsoft.com/office/drawing/2014/main" id="{101880F9-3CCC-4F78-BDB4-3CD3ECDA0DD1}"/>
                          </a:ext>
                        </a:extLst>
                      </p:cNvPr>
                      <p:cNvPicPr/>
                      <p:nvPr/>
                    </p:nvPicPr>
                    <p:blipFill>
                      <a:blip r:embed="rId110"/>
                      <a:stretch>
                        <a:fillRect/>
                      </a:stretch>
                    </p:blipFill>
                    <p:spPr>
                      <a:xfrm>
                        <a:off x="1588" y="1588"/>
                        <a:ext cx="1588" cy="1588"/>
                      </a:xfrm>
                      <a:prstGeom prst="rect">
                        <a:avLst/>
                      </a:prstGeom>
                    </p:spPr>
                  </p:pic>
                </p:oleObj>
              </mc:Fallback>
            </mc:AlternateContent>
          </a:graphicData>
        </a:graphic>
      </p:graphicFrame>
      <p:sp>
        <p:nvSpPr>
          <p:cNvPr id="391" name="Text Placeholder 390">
            <a:extLst>
              <a:ext uri="{FF2B5EF4-FFF2-40B4-BE49-F238E27FC236}">
                <a16:creationId xmlns:a16="http://schemas.microsoft.com/office/drawing/2014/main" id="{8296EFB8-AF70-77FD-1857-FA4BE299E44A}"/>
              </a:ext>
            </a:extLst>
          </p:cNvPr>
          <p:cNvSpPr>
            <a:spLocks noGrp="1"/>
          </p:cNvSpPr>
          <p:nvPr>
            <p:ph type="body" sz="quarter" idx="31"/>
          </p:nvPr>
        </p:nvSpPr>
        <p:spPr>
          <a:xfrm>
            <a:off x="381599" y="79401"/>
            <a:ext cx="4097597" cy="184666"/>
          </a:xfrm>
        </p:spPr>
        <p:txBody>
          <a:bodyPr/>
          <a:lstStyle/>
          <a:p>
            <a:r>
              <a:rPr lang="en-GB"/>
              <a:t>		Introduction to battery storage – Battery technologies</a:t>
            </a:r>
          </a:p>
        </p:txBody>
      </p:sp>
      <p:sp>
        <p:nvSpPr>
          <p:cNvPr id="177" name="Rectangle: Rounded Corners 176">
            <a:extLst>
              <a:ext uri="{FF2B5EF4-FFF2-40B4-BE49-F238E27FC236}">
                <a16:creationId xmlns:a16="http://schemas.microsoft.com/office/drawing/2014/main" id="{3E8DC16E-BC4A-4F08-99E8-230AD7EE3380}"/>
              </a:ext>
            </a:extLst>
          </p:cNvPr>
          <p:cNvSpPr/>
          <p:nvPr/>
        </p:nvSpPr>
        <p:spPr>
          <a:xfrm>
            <a:off x="374650" y="1538288"/>
            <a:ext cx="5387975" cy="1116013"/>
          </a:xfrm>
          <a:prstGeom prst="round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292" name="Rectangle: Rounded Corners 291">
            <a:extLst>
              <a:ext uri="{FF2B5EF4-FFF2-40B4-BE49-F238E27FC236}">
                <a16:creationId xmlns:a16="http://schemas.microsoft.com/office/drawing/2014/main" id="{F04EB63A-8E66-4627-B29A-A3FD27A3BB30}"/>
              </a:ext>
            </a:extLst>
          </p:cNvPr>
          <p:cNvSpPr/>
          <p:nvPr/>
        </p:nvSpPr>
        <p:spPr>
          <a:xfrm>
            <a:off x="374649" y="2709863"/>
            <a:ext cx="5387976" cy="1116013"/>
          </a:xfrm>
          <a:prstGeom prst="round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93" name="Rectangle: Rounded Corners 292">
            <a:extLst>
              <a:ext uri="{FF2B5EF4-FFF2-40B4-BE49-F238E27FC236}">
                <a16:creationId xmlns:a16="http://schemas.microsoft.com/office/drawing/2014/main" id="{BD9235B1-AEA1-4C65-A33B-FFDB7AEF3C4B}"/>
              </a:ext>
            </a:extLst>
          </p:cNvPr>
          <p:cNvSpPr/>
          <p:nvPr/>
        </p:nvSpPr>
        <p:spPr>
          <a:xfrm>
            <a:off x="374649" y="5053013"/>
            <a:ext cx="5387976" cy="1116013"/>
          </a:xfrm>
          <a:prstGeom prst="round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 name="Text Placeholder 3">
            <a:extLst>
              <a:ext uri="{FF2B5EF4-FFF2-40B4-BE49-F238E27FC236}">
                <a16:creationId xmlns:a16="http://schemas.microsoft.com/office/drawing/2014/main" id="{D34C5B15-AE7D-4C48-BBAE-E7A9837AC1CC}"/>
              </a:ext>
            </a:extLst>
          </p:cNvPr>
          <p:cNvSpPr>
            <a:spLocks noGrp="1"/>
          </p:cNvSpPr>
          <p:nvPr>
            <p:ph type="body" sz="quarter" idx="29"/>
          </p:nvPr>
        </p:nvSpPr>
        <p:spPr>
          <a:xfrm>
            <a:off x="381000" y="1263129"/>
            <a:ext cx="5376000" cy="184666"/>
          </a:xfrm>
        </p:spPr>
        <p:txBody>
          <a:bodyPr/>
          <a:lstStyle/>
          <a:p>
            <a:r>
              <a:rPr lang="en-GB"/>
              <a:t>Raw material prices</a:t>
            </a:r>
          </a:p>
        </p:txBody>
      </p:sp>
      <p:sp>
        <p:nvSpPr>
          <p:cNvPr id="6" name="Title 5">
            <a:extLst>
              <a:ext uri="{FF2B5EF4-FFF2-40B4-BE49-F238E27FC236}">
                <a16:creationId xmlns:a16="http://schemas.microsoft.com/office/drawing/2014/main" id="{0D6B513F-5871-4272-81B8-386E7FFF83DD}"/>
              </a:ext>
            </a:extLst>
          </p:cNvPr>
          <p:cNvSpPr>
            <a:spLocks noGrp="1"/>
          </p:cNvSpPr>
          <p:nvPr>
            <p:ph type="title"/>
          </p:nvPr>
        </p:nvSpPr>
        <p:spPr/>
        <p:txBody>
          <a:bodyPr vert="horz"/>
          <a:lstStyle/>
          <a:p>
            <a:r>
              <a:rPr lang="en-GB"/>
              <a:t>Anode, cathode and electrolyte prices decreased over </a:t>
            </a:r>
            <a:r>
              <a:rPr lang="en-GB">
                <a:solidFill>
                  <a:srgbClr val="808080"/>
                </a:solidFill>
                <a:highlight>
                  <a:srgbClr val="808080"/>
                </a:highlight>
              </a:rPr>
              <a:t>XX</a:t>
            </a:r>
            <a:r>
              <a:rPr lang="en-GB"/>
              <a:t>% since the start of 2023, while copper prices fluctuated minimally </a:t>
            </a:r>
          </a:p>
        </p:txBody>
      </p:sp>
      <p:sp>
        <p:nvSpPr>
          <p:cNvPr id="7" name="Text Placeholder 6">
            <a:extLst>
              <a:ext uri="{FF2B5EF4-FFF2-40B4-BE49-F238E27FC236}">
                <a16:creationId xmlns:a16="http://schemas.microsoft.com/office/drawing/2014/main" id="{56FCD18C-6ABB-40E7-AE95-6DDBA56C9A48}"/>
              </a:ext>
            </a:extLst>
          </p:cNvPr>
          <p:cNvSpPr>
            <a:spLocks noGrp="1"/>
          </p:cNvSpPr>
          <p:nvPr>
            <p:ph type="body" sz="quarter" idx="30"/>
          </p:nvPr>
        </p:nvSpPr>
        <p:spPr/>
        <p:txBody>
          <a:bodyPr/>
          <a:lstStyle/>
          <a:p>
            <a:r>
              <a:rPr lang="en-GB"/>
              <a:t>Battery System Raw Material Components</a:t>
            </a:r>
            <a:r>
              <a:rPr lang="en-GB" baseline="30000"/>
              <a:t>5</a:t>
            </a:r>
            <a:endParaRPr lang="en-GB"/>
          </a:p>
          <a:p>
            <a:r>
              <a:rPr lang="en-GB" b="0">
                <a:solidFill>
                  <a:schemeClr val="accent6"/>
                </a:solidFill>
              </a:rPr>
              <a:t>By value</a:t>
            </a:r>
          </a:p>
        </p:txBody>
      </p:sp>
      <p:sp>
        <p:nvSpPr>
          <p:cNvPr id="392" name="Text Placeholder 391">
            <a:extLst>
              <a:ext uri="{FF2B5EF4-FFF2-40B4-BE49-F238E27FC236}">
                <a16:creationId xmlns:a16="http://schemas.microsoft.com/office/drawing/2014/main" id="{020671BC-CA64-C3C5-758D-67C58BE330AB}"/>
              </a:ext>
            </a:extLst>
          </p:cNvPr>
          <p:cNvSpPr>
            <a:spLocks noGrp="1"/>
          </p:cNvSpPr>
          <p:nvPr>
            <p:ph type="body" sz="quarter" idx="32"/>
          </p:nvPr>
        </p:nvSpPr>
        <p:spPr>
          <a:xfrm>
            <a:off x="381600" y="6474841"/>
            <a:ext cx="11428800" cy="221599"/>
          </a:xfrm>
        </p:spPr>
        <p:txBody>
          <a:bodyPr/>
          <a:lstStyle/>
          <a:p>
            <a:r>
              <a:rPr lang="en-GB"/>
              <a:t>1) Lithium Iron Phosphate price; 2) Artificial graphite (mid-level) price; 3) Copper spot price plus labour cost on processing copper foil; 4) Electrolyte’s main component is Lithium hexafluorophosphate; 5) Illustrative material weight split for Lithium-Iron Phosphate (LFP) batteries which are the current dominant technology in Europe’s stationary storage markets; 6) Other category includes aluminium and other structural materials used to construct battery pack..</a:t>
            </a:r>
          </a:p>
        </p:txBody>
      </p:sp>
      <p:cxnSp>
        <p:nvCxnSpPr>
          <p:cNvPr id="190" name="Straight Connector 189">
            <a:extLst>
              <a:ext uri="{FF2B5EF4-FFF2-40B4-BE49-F238E27FC236}">
                <a16:creationId xmlns:a16="http://schemas.microsoft.com/office/drawing/2014/main" id="{2BB82F01-B06F-A79A-E267-09CDCE61889C}"/>
              </a:ext>
            </a:extLst>
          </p:cNvPr>
          <p:cNvCxnSpPr/>
          <p:nvPr>
            <p:custDataLst>
              <p:tags r:id="rId2"/>
            </p:custDataLst>
          </p:nvPr>
        </p:nvCxnSpPr>
        <p:spPr bwMode="auto">
          <a:xfrm>
            <a:off x="1978025" y="2370138"/>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66FF0DB6-4944-BBFA-1E73-A29314A35477}"/>
              </a:ext>
            </a:extLst>
          </p:cNvPr>
          <p:cNvCxnSpPr/>
          <p:nvPr>
            <p:custDataLst>
              <p:tags r:id="rId3"/>
            </p:custDataLst>
          </p:nvPr>
        </p:nvCxnSpPr>
        <p:spPr bwMode="auto">
          <a:xfrm>
            <a:off x="2551113" y="2370138"/>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7020D0DE-F01E-8CB5-0DCF-76BB80928EE2}"/>
              </a:ext>
            </a:extLst>
          </p:cNvPr>
          <p:cNvCxnSpPr/>
          <p:nvPr>
            <p:custDataLst>
              <p:tags r:id="rId4"/>
            </p:custDataLst>
          </p:nvPr>
        </p:nvCxnSpPr>
        <p:spPr bwMode="auto">
          <a:xfrm>
            <a:off x="3135313" y="2370138"/>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B4E5C840-F7CB-F437-884B-7E05F06429C3}"/>
              </a:ext>
            </a:extLst>
          </p:cNvPr>
          <p:cNvCxnSpPr/>
          <p:nvPr>
            <p:custDataLst>
              <p:tags r:id="rId5"/>
            </p:custDataLst>
          </p:nvPr>
        </p:nvCxnSpPr>
        <p:spPr bwMode="auto">
          <a:xfrm>
            <a:off x="3708400" y="2370138"/>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93AABFA5-6791-8B36-C9D2-63154471B5A2}"/>
              </a:ext>
            </a:extLst>
          </p:cNvPr>
          <p:cNvCxnSpPr/>
          <p:nvPr>
            <p:custDataLst>
              <p:tags r:id="rId6"/>
            </p:custDataLst>
          </p:nvPr>
        </p:nvCxnSpPr>
        <p:spPr bwMode="auto">
          <a:xfrm>
            <a:off x="4291013" y="2370138"/>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A816DC5-3055-1FF0-EC34-D6D537723C83}"/>
              </a:ext>
            </a:extLst>
          </p:cNvPr>
          <p:cNvCxnSpPr/>
          <p:nvPr>
            <p:custDataLst>
              <p:tags r:id="rId7"/>
            </p:custDataLst>
          </p:nvPr>
        </p:nvCxnSpPr>
        <p:spPr bwMode="auto">
          <a:xfrm>
            <a:off x="4865688" y="2370138"/>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F97701F9-7BC1-8D17-942F-B66FF39305DD}"/>
              </a:ext>
            </a:extLst>
          </p:cNvPr>
          <p:cNvCxnSpPr/>
          <p:nvPr>
            <p:custDataLst>
              <p:tags r:id="rId8"/>
            </p:custDataLst>
          </p:nvPr>
        </p:nvCxnSpPr>
        <p:spPr bwMode="auto">
          <a:xfrm>
            <a:off x="5448300" y="2370138"/>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74" name="Chart 473">
            <a:extLst>
              <a:ext uri="{FF2B5EF4-FFF2-40B4-BE49-F238E27FC236}">
                <a16:creationId xmlns:a16="http://schemas.microsoft.com/office/drawing/2014/main" id="{D94D5D3E-012C-48F8-6443-3CAC3074A2C3}"/>
              </a:ext>
            </a:extLst>
          </p:cNvPr>
          <p:cNvGraphicFramePr/>
          <p:nvPr>
            <p:custDataLst>
              <p:tags r:id="rId9"/>
            </p:custDataLst>
            <p:extLst>
              <p:ext uri="{D42A27DB-BD31-4B8C-83A1-F6EECF244321}">
                <p14:modId xmlns:p14="http://schemas.microsoft.com/office/powerpoint/2010/main" val="528577042"/>
              </p:ext>
            </p:extLst>
          </p:nvPr>
        </p:nvGraphicFramePr>
        <p:xfrm>
          <a:off x="1895475" y="1620838"/>
          <a:ext cx="3635375" cy="831850"/>
        </p:xfrm>
        <a:graphic>
          <a:graphicData uri="http://schemas.openxmlformats.org/drawingml/2006/chart">
            <c:chart xmlns:c="http://schemas.openxmlformats.org/drawingml/2006/chart" xmlns:r="http://schemas.openxmlformats.org/officeDocument/2006/relationships" r:id="rId111"/>
          </a:graphicData>
        </a:graphic>
      </p:graphicFrame>
      <p:sp>
        <p:nvSpPr>
          <p:cNvPr id="182"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gray">
          <a:xfrm>
            <a:off x="1747838" y="2471738"/>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AA91EF22-4A50-40AA-9EE7-378D158AF462}" type="datetime'''''''''''''''''J''''''a''n-''''''''''''''2''''''''''1'">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1</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83"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gray">
          <a:xfrm>
            <a:off x="2339975" y="2471738"/>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5551E6E-ED42-4FC6-B06F-57C51A5883B4}" type="datetime'''''''''''''''''''''''''''J''''''''''''''''ul''-21'''">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1</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84"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gray">
          <a:xfrm>
            <a:off x="2905125" y="2471738"/>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B502646-47F0-4C84-A435-8AE779BC37EB}" type="datetime'''''''''J''''''''''an''''-''''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85" name="Text Placeholder 19">
            <a:extLst>
              <a:ext uri="{FF2B5EF4-FFF2-40B4-BE49-F238E27FC236}">
                <a16:creationId xmlns:a16="http://schemas.microsoft.com/office/drawing/2014/main" id="{9F9869AF-B0F6-4E89-B216-4EC18C7334C2}"/>
              </a:ext>
            </a:extLst>
          </p:cNvPr>
          <p:cNvSpPr>
            <a:spLocks noGrp="1"/>
          </p:cNvSpPr>
          <p:nvPr>
            <p:custDataLst>
              <p:tags r:id="rId13"/>
            </p:custDataLst>
          </p:nvPr>
        </p:nvSpPr>
        <p:spPr bwMode="gray">
          <a:xfrm>
            <a:off x="3497263" y="2471738"/>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04A19A9B-C3B7-473A-94D2-CBAD45C47174}" type="datetime'''''''''J''''u''''''''''l''''''''''''-''''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86" name="Text Placeholder 19">
            <a:extLst>
              <a:ext uri="{FF2B5EF4-FFF2-40B4-BE49-F238E27FC236}">
                <a16:creationId xmlns:a16="http://schemas.microsoft.com/office/drawing/2014/main" id="{9F9869AF-B0F6-4E89-B216-4EC18C7334C2}"/>
              </a:ext>
            </a:extLst>
          </p:cNvPr>
          <p:cNvSpPr>
            <a:spLocks noGrp="1"/>
          </p:cNvSpPr>
          <p:nvPr>
            <p:custDataLst>
              <p:tags r:id="rId14"/>
            </p:custDataLst>
          </p:nvPr>
        </p:nvSpPr>
        <p:spPr bwMode="gray">
          <a:xfrm>
            <a:off x="4060825" y="2471738"/>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912630F-04A7-4D66-A26D-187BD382FD5F}" type="datetime'J''''''a''''''''''''''''''''''''''''n''-''''''''2''3'''">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3</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5" name="Text Placeholder 19">
            <a:extLst>
              <a:ext uri="{FF2B5EF4-FFF2-40B4-BE49-F238E27FC236}">
                <a16:creationId xmlns:a16="http://schemas.microsoft.com/office/drawing/2014/main" id="{9F9869AF-B0F6-4E89-B216-4EC18C7334C2}"/>
              </a:ext>
            </a:extLst>
          </p:cNvPr>
          <p:cNvSpPr>
            <a:spLocks noGrp="1"/>
          </p:cNvSpPr>
          <p:nvPr>
            <p:custDataLst>
              <p:tags r:id="rId15"/>
            </p:custDataLst>
          </p:nvPr>
        </p:nvSpPr>
        <p:spPr bwMode="gray">
          <a:xfrm>
            <a:off x="4654550" y="2471738"/>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5E3B72D-34A0-439B-AA78-06138C780C04}" type="datetime'J''u''l''-''''''''''''''''''''''23'''''''''">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3</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69" name="Text Placeholder 19">
            <a:extLst>
              <a:ext uri="{FF2B5EF4-FFF2-40B4-BE49-F238E27FC236}">
                <a16:creationId xmlns:a16="http://schemas.microsoft.com/office/drawing/2014/main" id="{9F9869AF-B0F6-4E89-B216-4EC18C7334C2}"/>
              </a:ext>
            </a:extLst>
          </p:cNvPr>
          <p:cNvSpPr>
            <a:spLocks noGrp="1"/>
          </p:cNvSpPr>
          <p:nvPr>
            <p:custDataLst>
              <p:tags r:id="rId16"/>
            </p:custDataLst>
          </p:nvPr>
        </p:nvSpPr>
        <p:spPr bwMode="gray">
          <a:xfrm>
            <a:off x="5218113" y="2471739"/>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420F58A-A346-4E5E-9F13-147213DC8633}" type="datetime'''J''''''a''''n''-''2''''''''''''''''''''''''''''''''4'">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4</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cxnSp>
        <p:nvCxnSpPr>
          <p:cNvPr id="261" name="Straight Connector 260">
            <a:extLst>
              <a:ext uri="{FF2B5EF4-FFF2-40B4-BE49-F238E27FC236}">
                <a16:creationId xmlns:a16="http://schemas.microsoft.com/office/drawing/2014/main" id="{05F9B41D-1CE0-9A5E-A100-885F68014348}"/>
              </a:ext>
            </a:extLst>
          </p:cNvPr>
          <p:cNvCxnSpPr/>
          <p:nvPr>
            <p:custDataLst>
              <p:tags r:id="rId17"/>
            </p:custDataLst>
          </p:nvPr>
        </p:nvCxnSpPr>
        <p:spPr bwMode="auto">
          <a:xfrm>
            <a:off x="4291012" y="1744663"/>
            <a:ext cx="11953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B0F54500-599E-4D9A-65FB-09CCF058B22B}"/>
              </a:ext>
            </a:extLst>
          </p:cNvPr>
          <p:cNvCxnSpPr>
            <a:cxnSpLocks/>
          </p:cNvCxnSpPr>
          <p:nvPr>
            <p:custDataLst>
              <p:tags r:id="rId18"/>
            </p:custDataLst>
          </p:nvPr>
        </p:nvCxnSpPr>
        <p:spPr bwMode="gray">
          <a:xfrm>
            <a:off x="5448300" y="1741488"/>
            <a:ext cx="0" cy="4667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6B252D0A-8AD6-400F-91F7-81848EEBCE01}"/>
              </a:ext>
            </a:extLst>
          </p:cNvPr>
          <p:cNvCxnSpPr/>
          <p:nvPr>
            <p:custDataLst>
              <p:tags r:id="rId19"/>
            </p:custDataLst>
          </p:nvPr>
        </p:nvCxnSpPr>
        <p:spPr bwMode="gray">
          <a:xfrm flipV="1">
            <a:off x="1978025" y="1512888"/>
            <a:ext cx="0" cy="6699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56730B0F-9E17-4D6F-9BB8-BB064763C4F6}"/>
              </a:ext>
            </a:extLst>
          </p:cNvPr>
          <p:cNvCxnSpPr/>
          <p:nvPr>
            <p:custDataLst>
              <p:tags r:id="rId20"/>
            </p:custDataLst>
          </p:nvPr>
        </p:nvCxnSpPr>
        <p:spPr bwMode="gray">
          <a:xfrm>
            <a:off x="1978025" y="1512888"/>
            <a:ext cx="34702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CF64A582-70E6-45BE-A402-3CDD33D0170B}"/>
              </a:ext>
            </a:extLst>
          </p:cNvPr>
          <p:cNvCxnSpPr/>
          <p:nvPr>
            <p:custDataLst>
              <p:tags r:id="rId21"/>
            </p:custDataLst>
          </p:nvPr>
        </p:nvCxnSpPr>
        <p:spPr bwMode="gray">
          <a:xfrm>
            <a:off x="5448300" y="1512888"/>
            <a:ext cx="0" cy="6540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9"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auto">
          <a:xfrm>
            <a:off x="5216525" y="1808163"/>
            <a:ext cx="465138" cy="258763"/>
          </a:xfrm>
          <a:prstGeom prst="ellipse">
            <a:avLst/>
          </a:prstGeom>
          <a:solidFill>
            <a:schemeClr val="accent4"/>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60"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auto">
          <a:xfrm>
            <a:off x="3481388" y="1384300"/>
            <a:ext cx="465138" cy="258763"/>
          </a:xfrm>
          <a:prstGeom prst="ellipse">
            <a:avLst/>
          </a:prstGeom>
          <a:solidFill>
            <a:schemeClr val="accent6"/>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cxnSp>
        <p:nvCxnSpPr>
          <p:cNvPr id="92" name="Straight Connector 91">
            <a:extLst>
              <a:ext uri="{FF2B5EF4-FFF2-40B4-BE49-F238E27FC236}">
                <a16:creationId xmlns:a16="http://schemas.microsoft.com/office/drawing/2014/main" id="{DF985118-3CDE-0F9B-0F23-23F53C56E83F}"/>
              </a:ext>
            </a:extLst>
          </p:cNvPr>
          <p:cNvCxnSpPr/>
          <p:nvPr>
            <p:custDataLst>
              <p:tags r:id="rId24"/>
            </p:custDataLst>
          </p:nvPr>
        </p:nvCxnSpPr>
        <p:spPr bwMode="auto">
          <a:xfrm>
            <a:off x="1978025" y="3556000"/>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A6956C5-4649-B6A2-B10B-06EE3B6C060C}"/>
              </a:ext>
            </a:extLst>
          </p:cNvPr>
          <p:cNvCxnSpPr/>
          <p:nvPr>
            <p:custDataLst>
              <p:tags r:id="rId25"/>
            </p:custDataLst>
          </p:nvPr>
        </p:nvCxnSpPr>
        <p:spPr bwMode="auto">
          <a:xfrm>
            <a:off x="2551113" y="3556000"/>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E08A0F7A-6079-3399-B3B9-4601856CEB19}"/>
              </a:ext>
            </a:extLst>
          </p:cNvPr>
          <p:cNvCxnSpPr/>
          <p:nvPr>
            <p:custDataLst>
              <p:tags r:id="rId26"/>
            </p:custDataLst>
          </p:nvPr>
        </p:nvCxnSpPr>
        <p:spPr bwMode="auto">
          <a:xfrm>
            <a:off x="3135313" y="3556000"/>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B1442608-6613-4AE5-8F6F-A1C8D9440A39}"/>
              </a:ext>
            </a:extLst>
          </p:cNvPr>
          <p:cNvCxnSpPr/>
          <p:nvPr>
            <p:custDataLst>
              <p:tags r:id="rId27"/>
            </p:custDataLst>
          </p:nvPr>
        </p:nvCxnSpPr>
        <p:spPr bwMode="auto">
          <a:xfrm>
            <a:off x="3708400" y="3556000"/>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FAE5E2BB-7C13-E314-E872-3C8471F0A03E}"/>
              </a:ext>
            </a:extLst>
          </p:cNvPr>
          <p:cNvCxnSpPr/>
          <p:nvPr>
            <p:custDataLst>
              <p:tags r:id="rId28"/>
            </p:custDataLst>
          </p:nvPr>
        </p:nvCxnSpPr>
        <p:spPr bwMode="auto">
          <a:xfrm>
            <a:off x="4291013" y="3556000"/>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5E69368D-054B-62B2-6692-E3806F576923}"/>
              </a:ext>
            </a:extLst>
          </p:cNvPr>
          <p:cNvCxnSpPr/>
          <p:nvPr>
            <p:custDataLst>
              <p:tags r:id="rId29"/>
            </p:custDataLst>
          </p:nvPr>
        </p:nvCxnSpPr>
        <p:spPr bwMode="auto">
          <a:xfrm>
            <a:off x="4865688" y="3556000"/>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04DBBEAC-49BB-13D4-484D-9AF2A337DAD3}"/>
              </a:ext>
            </a:extLst>
          </p:cNvPr>
          <p:cNvCxnSpPr/>
          <p:nvPr>
            <p:custDataLst>
              <p:tags r:id="rId30"/>
            </p:custDataLst>
          </p:nvPr>
        </p:nvCxnSpPr>
        <p:spPr bwMode="auto">
          <a:xfrm>
            <a:off x="5448300" y="3556000"/>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72" name="Chart 471">
            <a:extLst>
              <a:ext uri="{FF2B5EF4-FFF2-40B4-BE49-F238E27FC236}">
                <a16:creationId xmlns:a16="http://schemas.microsoft.com/office/drawing/2014/main" id="{C3872CBF-C85A-1AB2-C7A8-CFAE6928C882}"/>
              </a:ext>
            </a:extLst>
          </p:cNvPr>
          <p:cNvGraphicFramePr/>
          <p:nvPr>
            <p:custDataLst>
              <p:tags r:id="rId31"/>
            </p:custDataLst>
            <p:extLst>
              <p:ext uri="{D42A27DB-BD31-4B8C-83A1-F6EECF244321}">
                <p14:modId xmlns:p14="http://schemas.microsoft.com/office/powerpoint/2010/main" val="1310524035"/>
              </p:ext>
            </p:extLst>
          </p:nvPr>
        </p:nvGraphicFramePr>
        <p:xfrm>
          <a:off x="1895475" y="2806700"/>
          <a:ext cx="3635375" cy="831850"/>
        </p:xfrm>
        <a:graphic>
          <a:graphicData uri="http://schemas.openxmlformats.org/drawingml/2006/chart">
            <c:chart xmlns:c="http://schemas.openxmlformats.org/drawingml/2006/chart" xmlns:r="http://schemas.openxmlformats.org/officeDocument/2006/relationships" r:id="rId112"/>
          </a:graphicData>
        </a:graphic>
      </p:graphicFrame>
      <p:sp>
        <p:nvSpPr>
          <p:cNvPr id="75" name="Text Placeholder 19">
            <a:extLst>
              <a:ext uri="{FF2B5EF4-FFF2-40B4-BE49-F238E27FC236}">
                <a16:creationId xmlns:a16="http://schemas.microsoft.com/office/drawing/2014/main" id="{9F9869AF-B0F6-4E89-B216-4EC18C7334C2}"/>
              </a:ext>
            </a:extLst>
          </p:cNvPr>
          <p:cNvSpPr>
            <a:spLocks noGrp="1"/>
          </p:cNvSpPr>
          <p:nvPr>
            <p:custDataLst>
              <p:tags r:id="rId32"/>
            </p:custDataLst>
          </p:nvPr>
        </p:nvSpPr>
        <p:spPr bwMode="gray">
          <a:xfrm>
            <a:off x="1747838" y="3657601"/>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057F0C1-1D6C-4829-B10B-01D60F1FEA3C}" type="datetime'''''''''Ja''''''n''-''''2''''''''1'''''''''''">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1</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8" name="Text Placeholder 19">
            <a:extLst>
              <a:ext uri="{FF2B5EF4-FFF2-40B4-BE49-F238E27FC236}">
                <a16:creationId xmlns:a16="http://schemas.microsoft.com/office/drawing/2014/main" id="{9F9869AF-B0F6-4E89-B216-4EC18C7334C2}"/>
              </a:ext>
            </a:extLst>
          </p:cNvPr>
          <p:cNvSpPr>
            <a:spLocks noGrp="1"/>
          </p:cNvSpPr>
          <p:nvPr>
            <p:custDataLst>
              <p:tags r:id="rId33"/>
            </p:custDataLst>
          </p:nvPr>
        </p:nvSpPr>
        <p:spPr bwMode="gray">
          <a:xfrm>
            <a:off x="2339975" y="3657601"/>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F10EB1B-FB6C-44DB-85C4-3C3B63D340A7}" type="datetime'''''''''''''''''Jul''''''''''''''''''''''-''''''''2''''1'''''">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1</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9"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gray">
          <a:xfrm>
            <a:off x="2905125" y="3657601"/>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C9A7F6D-E9D5-4AB0-B993-32C3C563210E}" type="datetime'J''''a''''''''''''''''''''''n''''-''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80" name="Text Placeholder 19">
            <a:extLst>
              <a:ext uri="{FF2B5EF4-FFF2-40B4-BE49-F238E27FC236}">
                <a16:creationId xmlns:a16="http://schemas.microsoft.com/office/drawing/2014/main" id="{9F9869AF-B0F6-4E89-B216-4EC18C7334C2}"/>
              </a:ext>
            </a:extLst>
          </p:cNvPr>
          <p:cNvSpPr>
            <a:spLocks noGrp="1"/>
          </p:cNvSpPr>
          <p:nvPr>
            <p:custDataLst>
              <p:tags r:id="rId35"/>
            </p:custDataLst>
          </p:nvPr>
        </p:nvSpPr>
        <p:spPr bwMode="gray">
          <a:xfrm>
            <a:off x="3497263" y="3657601"/>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087E77A7-D2C0-4C96-8FEF-1AF609EA1B06}" type="datetime'''''''''J''''''u''''''''''''l''''''''''''''''''''''''-''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84" name="Text Placeholder 19">
            <a:extLst>
              <a:ext uri="{FF2B5EF4-FFF2-40B4-BE49-F238E27FC236}">
                <a16:creationId xmlns:a16="http://schemas.microsoft.com/office/drawing/2014/main" id="{9F9869AF-B0F6-4E89-B216-4EC18C7334C2}"/>
              </a:ext>
            </a:extLst>
          </p:cNvPr>
          <p:cNvSpPr>
            <a:spLocks noGrp="1"/>
          </p:cNvSpPr>
          <p:nvPr>
            <p:custDataLst>
              <p:tags r:id="rId36"/>
            </p:custDataLst>
          </p:nvPr>
        </p:nvSpPr>
        <p:spPr bwMode="gray">
          <a:xfrm>
            <a:off x="4060825" y="3657601"/>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81AA58C-470E-4418-B7E5-48C1CF0B4E7B}" type="datetime'''''J''''''''''''''''a''''''n-''''''''''''2''''3'''''''''">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3</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88" name="Text Placeholder 19">
            <a:extLst>
              <a:ext uri="{FF2B5EF4-FFF2-40B4-BE49-F238E27FC236}">
                <a16:creationId xmlns:a16="http://schemas.microsoft.com/office/drawing/2014/main" id="{9F9869AF-B0F6-4E89-B216-4EC18C7334C2}"/>
              </a:ext>
            </a:extLst>
          </p:cNvPr>
          <p:cNvSpPr>
            <a:spLocks noGrp="1"/>
          </p:cNvSpPr>
          <p:nvPr>
            <p:custDataLst>
              <p:tags r:id="rId37"/>
            </p:custDataLst>
          </p:nvPr>
        </p:nvSpPr>
        <p:spPr bwMode="gray">
          <a:xfrm>
            <a:off x="4654550" y="3657601"/>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3207B33-4725-4F43-85EF-6B6F1A1AAA88}" type="datetime'''''J''''''u''l-2''''3'">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3</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1" name="Text Placeholder 19">
            <a:extLst>
              <a:ext uri="{FF2B5EF4-FFF2-40B4-BE49-F238E27FC236}">
                <a16:creationId xmlns:a16="http://schemas.microsoft.com/office/drawing/2014/main" id="{9F9869AF-B0F6-4E89-B216-4EC18C7334C2}"/>
              </a:ext>
            </a:extLst>
          </p:cNvPr>
          <p:cNvSpPr>
            <a:spLocks noGrp="1"/>
          </p:cNvSpPr>
          <p:nvPr>
            <p:custDataLst>
              <p:tags r:id="rId38"/>
            </p:custDataLst>
          </p:nvPr>
        </p:nvSpPr>
        <p:spPr bwMode="gray">
          <a:xfrm>
            <a:off x="5218113" y="3657601"/>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7AA60EF-5896-4DFD-B956-727479619703}" type="datetime'''Ja''''''''''''''n-''''''''''''''''''''24'''''''''''">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4</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cxnSp>
        <p:nvCxnSpPr>
          <p:cNvPr id="172" name="Straight Connector 171">
            <a:extLst>
              <a:ext uri="{FF2B5EF4-FFF2-40B4-BE49-F238E27FC236}">
                <a16:creationId xmlns:a16="http://schemas.microsoft.com/office/drawing/2014/main" id="{F7BBA47E-AB90-00A7-9B54-C73BD504394A}"/>
              </a:ext>
            </a:extLst>
          </p:cNvPr>
          <p:cNvCxnSpPr/>
          <p:nvPr>
            <p:custDataLst>
              <p:tags r:id="rId39"/>
            </p:custDataLst>
          </p:nvPr>
        </p:nvCxnSpPr>
        <p:spPr bwMode="auto">
          <a:xfrm>
            <a:off x="4291012" y="2932113"/>
            <a:ext cx="11953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925D368A-5A3A-4B80-8C7B-1C6A7FE1EC1E}"/>
              </a:ext>
            </a:extLst>
          </p:cNvPr>
          <p:cNvCxnSpPr>
            <a:cxnSpLocks/>
          </p:cNvCxnSpPr>
          <p:nvPr>
            <p:custDataLst>
              <p:tags r:id="rId40"/>
            </p:custDataLst>
          </p:nvPr>
        </p:nvCxnSpPr>
        <p:spPr bwMode="gray">
          <a:xfrm>
            <a:off x="5448300" y="2928937"/>
            <a:ext cx="0" cy="3175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EEC79F41-120D-4C14-0D70-60E4A940A7BE}"/>
              </a:ext>
            </a:extLst>
          </p:cNvPr>
          <p:cNvCxnSpPr/>
          <p:nvPr>
            <p:custDataLst>
              <p:tags r:id="rId41"/>
            </p:custDataLst>
          </p:nvPr>
        </p:nvCxnSpPr>
        <p:spPr bwMode="gray">
          <a:xfrm flipV="1">
            <a:off x="1978025" y="2682875"/>
            <a:ext cx="0" cy="37306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3DC46F37-F052-D100-F461-F8B17FA993A6}"/>
              </a:ext>
            </a:extLst>
          </p:cNvPr>
          <p:cNvCxnSpPr/>
          <p:nvPr>
            <p:custDataLst>
              <p:tags r:id="rId42"/>
            </p:custDataLst>
          </p:nvPr>
        </p:nvCxnSpPr>
        <p:spPr bwMode="gray">
          <a:xfrm>
            <a:off x="1978025" y="2682875"/>
            <a:ext cx="34702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D981B081-D01D-EC9E-7B8D-D5627A882C27}"/>
              </a:ext>
            </a:extLst>
          </p:cNvPr>
          <p:cNvCxnSpPr/>
          <p:nvPr>
            <p:custDataLst>
              <p:tags r:id="rId43"/>
            </p:custDataLst>
          </p:nvPr>
        </p:nvCxnSpPr>
        <p:spPr bwMode="gray">
          <a:xfrm>
            <a:off x="5448300" y="2682874"/>
            <a:ext cx="0" cy="52228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1" name="Text Placeholder 19">
            <a:extLst>
              <a:ext uri="{FF2B5EF4-FFF2-40B4-BE49-F238E27FC236}">
                <a16:creationId xmlns:a16="http://schemas.microsoft.com/office/drawing/2014/main" id="{9F9869AF-B0F6-4E89-B216-4EC18C7334C2}"/>
              </a:ext>
            </a:extLst>
          </p:cNvPr>
          <p:cNvSpPr>
            <a:spLocks noGrp="1"/>
          </p:cNvSpPr>
          <p:nvPr>
            <p:custDataLst>
              <p:tags r:id="rId44"/>
            </p:custDataLst>
          </p:nvPr>
        </p:nvSpPr>
        <p:spPr bwMode="auto">
          <a:xfrm>
            <a:off x="5216525" y="3290888"/>
            <a:ext cx="465138" cy="258763"/>
          </a:xfrm>
          <a:prstGeom prst="ellipse">
            <a:avLst/>
          </a:prstGeom>
          <a:solidFill>
            <a:schemeClr val="accent4"/>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90" name="Text Placeholder 19">
            <a:extLst>
              <a:ext uri="{FF2B5EF4-FFF2-40B4-BE49-F238E27FC236}">
                <a16:creationId xmlns:a16="http://schemas.microsoft.com/office/drawing/2014/main" id="{9F9869AF-B0F6-4E89-B216-4EC18C7334C2}"/>
              </a:ext>
            </a:extLst>
          </p:cNvPr>
          <p:cNvSpPr>
            <a:spLocks noGrp="1"/>
          </p:cNvSpPr>
          <p:nvPr>
            <p:custDataLst>
              <p:tags r:id="rId45"/>
            </p:custDataLst>
          </p:nvPr>
        </p:nvSpPr>
        <p:spPr bwMode="auto">
          <a:xfrm>
            <a:off x="3481388" y="2554288"/>
            <a:ext cx="465138" cy="258763"/>
          </a:xfrm>
          <a:prstGeom prst="ellipse">
            <a:avLst/>
          </a:prstGeom>
          <a:solidFill>
            <a:srgbClr val="C0C0C0"/>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33" name="Text Placeholder 19">
            <a:extLst>
              <a:ext uri="{FF2B5EF4-FFF2-40B4-BE49-F238E27FC236}">
                <a16:creationId xmlns:a16="http://schemas.microsoft.com/office/drawing/2014/main" id="{9F9869AF-B0F6-4E89-B216-4EC18C7334C2}"/>
              </a:ext>
            </a:extLst>
          </p:cNvPr>
          <p:cNvSpPr>
            <a:spLocks noGrp="1"/>
          </p:cNvSpPr>
          <p:nvPr>
            <p:custDataLst>
              <p:tags r:id="rId46"/>
            </p:custDataLst>
          </p:nvPr>
        </p:nvSpPr>
        <p:spPr bwMode="gray">
          <a:xfrm>
            <a:off x="3143250" y="4837113"/>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32" name="Text Placeholder 19">
            <a:extLst>
              <a:ext uri="{FF2B5EF4-FFF2-40B4-BE49-F238E27FC236}">
                <a16:creationId xmlns:a16="http://schemas.microsoft.com/office/drawing/2014/main" id="{9F9869AF-B0F6-4E89-B216-4EC18C7334C2}"/>
              </a:ext>
            </a:extLst>
          </p:cNvPr>
          <p:cNvSpPr>
            <a:spLocks noGrp="1"/>
          </p:cNvSpPr>
          <p:nvPr>
            <p:custDataLst>
              <p:tags r:id="rId47"/>
            </p:custDataLst>
          </p:nvPr>
        </p:nvSpPr>
        <p:spPr bwMode="gray">
          <a:xfrm>
            <a:off x="2462213" y="4837113"/>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cxnSp>
        <p:nvCxnSpPr>
          <p:cNvPr id="341" name="Straight Connector 340">
            <a:extLst>
              <a:ext uri="{FF2B5EF4-FFF2-40B4-BE49-F238E27FC236}">
                <a16:creationId xmlns:a16="http://schemas.microsoft.com/office/drawing/2014/main" id="{804B7FD1-E1E3-D4F1-5362-50C9983EAFCA}"/>
              </a:ext>
            </a:extLst>
          </p:cNvPr>
          <p:cNvCxnSpPr/>
          <p:nvPr>
            <p:custDataLst>
              <p:tags r:id="rId48"/>
            </p:custDataLst>
          </p:nvPr>
        </p:nvCxnSpPr>
        <p:spPr bwMode="auto">
          <a:xfrm>
            <a:off x="1978025" y="5838825"/>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F2F9616A-0756-77B8-B1DF-DDDC9170FF1C}"/>
              </a:ext>
            </a:extLst>
          </p:cNvPr>
          <p:cNvCxnSpPr/>
          <p:nvPr>
            <p:custDataLst>
              <p:tags r:id="rId49"/>
            </p:custDataLst>
          </p:nvPr>
        </p:nvCxnSpPr>
        <p:spPr bwMode="auto">
          <a:xfrm>
            <a:off x="2551113" y="5838825"/>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44">
            <a:extLst>
              <a:ext uri="{FF2B5EF4-FFF2-40B4-BE49-F238E27FC236}">
                <a16:creationId xmlns:a16="http://schemas.microsoft.com/office/drawing/2014/main" id="{7D52E043-DF57-E9DF-6427-E7F89A70F1D8}"/>
              </a:ext>
            </a:extLst>
          </p:cNvPr>
          <p:cNvCxnSpPr/>
          <p:nvPr>
            <p:custDataLst>
              <p:tags r:id="rId50"/>
            </p:custDataLst>
          </p:nvPr>
        </p:nvCxnSpPr>
        <p:spPr bwMode="auto">
          <a:xfrm>
            <a:off x="3135313" y="5838825"/>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13252976-B1AD-403B-BE7F-C88FDB51A61C}"/>
              </a:ext>
            </a:extLst>
          </p:cNvPr>
          <p:cNvCxnSpPr/>
          <p:nvPr>
            <p:custDataLst>
              <p:tags r:id="rId51"/>
            </p:custDataLst>
          </p:nvPr>
        </p:nvCxnSpPr>
        <p:spPr bwMode="auto">
          <a:xfrm>
            <a:off x="3708400" y="5838825"/>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0CDC657C-F41B-00E8-A092-D09EEAFF5671}"/>
              </a:ext>
            </a:extLst>
          </p:cNvPr>
          <p:cNvCxnSpPr/>
          <p:nvPr>
            <p:custDataLst>
              <p:tags r:id="rId52"/>
            </p:custDataLst>
          </p:nvPr>
        </p:nvCxnSpPr>
        <p:spPr bwMode="auto">
          <a:xfrm>
            <a:off x="4291013" y="5838825"/>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9DEC13FD-5256-18A5-AB49-9712894AF0D0}"/>
              </a:ext>
            </a:extLst>
          </p:cNvPr>
          <p:cNvCxnSpPr/>
          <p:nvPr>
            <p:custDataLst>
              <p:tags r:id="rId53"/>
            </p:custDataLst>
          </p:nvPr>
        </p:nvCxnSpPr>
        <p:spPr bwMode="auto">
          <a:xfrm>
            <a:off x="4865688" y="5838825"/>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0176B12F-A86E-243C-E96B-C5EC7E455A30}"/>
              </a:ext>
            </a:extLst>
          </p:cNvPr>
          <p:cNvCxnSpPr/>
          <p:nvPr>
            <p:custDataLst>
              <p:tags r:id="rId54"/>
            </p:custDataLst>
          </p:nvPr>
        </p:nvCxnSpPr>
        <p:spPr bwMode="auto">
          <a:xfrm>
            <a:off x="5448300" y="5838825"/>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76" name="Chart 475">
            <a:extLst>
              <a:ext uri="{FF2B5EF4-FFF2-40B4-BE49-F238E27FC236}">
                <a16:creationId xmlns:a16="http://schemas.microsoft.com/office/drawing/2014/main" id="{846B1960-DCAB-D48D-4B6A-617F1E57DF94}"/>
              </a:ext>
            </a:extLst>
          </p:cNvPr>
          <p:cNvGraphicFramePr/>
          <p:nvPr>
            <p:custDataLst>
              <p:tags r:id="rId55"/>
            </p:custDataLst>
            <p:extLst>
              <p:ext uri="{D42A27DB-BD31-4B8C-83A1-F6EECF244321}">
                <p14:modId xmlns:p14="http://schemas.microsoft.com/office/powerpoint/2010/main" val="114860761"/>
              </p:ext>
            </p:extLst>
          </p:nvPr>
        </p:nvGraphicFramePr>
        <p:xfrm>
          <a:off x="1895475" y="5133975"/>
          <a:ext cx="3635375" cy="787400"/>
        </p:xfrm>
        <a:graphic>
          <a:graphicData uri="http://schemas.openxmlformats.org/drawingml/2006/chart">
            <c:chart xmlns:c="http://schemas.openxmlformats.org/drawingml/2006/chart" xmlns:r="http://schemas.openxmlformats.org/officeDocument/2006/relationships" r:id="rId113"/>
          </a:graphicData>
        </a:graphic>
      </p:graphicFrame>
      <p:sp>
        <p:nvSpPr>
          <p:cNvPr id="333" name="Text Placeholder 19">
            <a:extLst>
              <a:ext uri="{FF2B5EF4-FFF2-40B4-BE49-F238E27FC236}">
                <a16:creationId xmlns:a16="http://schemas.microsoft.com/office/drawing/2014/main" id="{9F9869AF-B0F6-4E89-B216-4EC18C7334C2}"/>
              </a:ext>
            </a:extLst>
          </p:cNvPr>
          <p:cNvSpPr>
            <a:spLocks noGrp="1"/>
          </p:cNvSpPr>
          <p:nvPr>
            <p:custDataLst>
              <p:tags r:id="rId56"/>
            </p:custDataLst>
          </p:nvPr>
        </p:nvSpPr>
        <p:spPr bwMode="gray">
          <a:xfrm>
            <a:off x="1747838" y="5940426"/>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C0DD62A-D970-499D-9136-8C76174279C9}" type="datetime'''''''J''''''''''''''''''''''''''a''n-''2''''''1'''''''">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1</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34" name="Text Placeholder 19">
            <a:extLst>
              <a:ext uri="{FF2B5EF4-FFF2-40B4-BE49-F238E27FC236}">
                <a16:creationId xmlns:a16="http://schemas.microsoft.com/office/drawing/2014/main" id="{9F9869AF-B0F6-4E89-B216-4EC18C7334C2}"/>
              </a:ext>
            </a:extLst>
          </p:cNvPr>
          <p:cNvSpPr>
            <a:spLocks noGrp="1"/>
          </p:cNvSpPr>
          <p:nvPr>
            <p:custDataLst>
              <p:tags r:id="rId57"/>
            </p:custDataLst>
          </p:nvPr>
        </p:nvSpPr>
        <p:spPr bwMode="gray">
          <a:xfrm>
            <a:off x="2339975" y="5940426"/>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C60DAD3E-A4F0-4373-B748-CC48B8EFDD44}" type="datetime'''''''''J''''''''u''''''l-''2''1'''''''">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1</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35" name="Text Placeholder 19">
            <a:extLst>
              <a:ext uri="{FF2B5EF4-FFF2-40B4-BE49-F238E27FC236}">
                <a16:creationId xmlns:a16="http://schemas.microsoft.com/office/drawing/2014/main" id="{9F9869AF-B0F6-4E89-B216-4EC18C7334C2}"/>
              </a:ext>
            </a:extLst>
          </p:cNvPr>
          <p:cNvSpPr>
            <a:spLocks noGrp="1"/>
          </p:cNvSpPr>
          <p:nvPr>
            <p:custDataLst>
              <p:tags r:id="rId58"/>
            </p:custDataLst>
          </p:nvPr>
        </p:nvSpPr>
        <p:spPr bwMode="gray">
          <a:xfrm>
            <a:off x="2905125" y="5940426"/>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E60E565-F24F-4A5A-BB0B-C1B2DD03D01C}" type="datetime'''''''J''''''''''''an''-''''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36" name="Text Placeholder 19">
            <a:extLst>
              <a:ext uri="{FF2B5EF4-FFF2-40B4-BE49-F238E27FC236}">
                <a16:creationId xmlns:a16="http://schemas.microsoft.com/office/drawing/2014/main" id="{9F9869AF-B0F6-4E89-B216-4EC18C7334C2}"/>
              </a:ext>
            </a:extLst>
          </p:cNvPr>
          <p:cNvSpPr>
            <a:spLocks noGrp="1"/>
          </p:cNvSpPr>
          <p:nvPr>
            <p:custDataLst>
              <p:tags r:id="rId59"/>
            </p:custDataLst>
          </p:nvPr>
        </p:nvSpPr>
        <p:spPr bwMode="gray">
          <a:xfrm>
            <a:off x="3497263" y="5940426"/>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0F6A441F-FB3A-4090-B0BE-1AB433AB1D2C}" type="datetime'''''''''''''''J''ul''''''''''-''''''''''''''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37" name="Text Placeholder 19">
            <a:extLst>
              <a:ext uri="{FF2B5EF4-FFF2-40B4-BE49-F238E27FC236}">
                <a16:creationId xmlns:a16="http://schemas.microsoft.com/office/drawing/2014/main" id="{9F9869AF-B0F6-4E89-B216-4EC18C7334C2}"/>
              </a:ext>
            </a:extLst>
          </p:cNvPr>
          <p:cNvSpPr>
            <a:spLocks noGrp="1"/>
          </p:cNvSpPr>
          <p:nvPr>
            <p:custDataLst>
              <p:tags r:id="rId60"/>
            </p:custDataLst>
          </p:nvPr>
        </p:nvSpPr>
        <p:spPr bwMode="gray">
          <a:xfrm>
            <a:off x="4060825" y="5940426"/>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22C9407-DC04-4EAB-988D-4A8C4D4F8EC0}" type="datetime'Ja''''''''''n''''''''-''''''''''''''''''''''''''23'''''">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3</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38" name="Text Placeholder 19">
            <a:extLst>
              <a:ext uri="{FF2B5EF4-FFF2-40B4-BE49-F238E27FC236}">
                <a16:creationId xmlns:a16="http://schemas.microsoft.com/office/drawing/2014/main" id="{9F9869AF-B0F6-4E89-B216-4EC18C7334C2}"/>
              </a:ext>
            </a:extLst>
          </p:cNvPr>
          <p:cNvSpPr>
            <a:spLocks noGrp="1"/>
          </p:cNvSpPr>
          <p:nvPr>
            <p:custDataLst>
              <p:tags r:id="rId61"/>
            </p:custDataLst>
          </p:nvPr>
        </p:nvSpPr>
        <p:spPr bwMode="gray">
          <a:xfrm>
            <a:off x="4654550" y="5940426"/>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404B724-D317-4E84-A88A-460B48ED3358}" type="datetime'''Ju''''''''''''''''''''''''''l''''''''''-''''''2''3'">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3</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52" name="Text Placeholder 19">
            <a:extLst>
              <a:ext uri="{FF2B5EF4-FFF2-40B4-BE49-F238E27FC236}">
                <a16:creationId xmlns:a16="http://schemas.microsoft.com/office/drawing/2014/main" id="{9F9869AF-B0F6-4E89-B216-4EC18C7334C2}"/>
              </a:ext>
            </a:extLst>
          </p:cNvPr>
          <p:cNvSpPr>
            <a:spLocks noGrp="1"/>
          </p:cNvSpPr>
          <p:nvPr>
            <p:custDataLst>
              <p:tags r:id="rId62"/>
            </p:custDataLst>
          </p:nvPr>
        </p:nvSpPr>
        <p:spPr bwMode="gray">
          <a:xfrm>
            <a:off x="5218113" y="5940426"/>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CDC00CB6-6BCD-4AA2-9CD2-DF1D69C905EE}" type="datetime'''''''J''''''''''''''''''a''n''''''-''2''''''''4'''''''''''">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4</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cxnSp>
        <p:nvCxnSpPr>
          <p:cNvPr id="299" name="Straight Connector 298">
            <a:extLst>
              <a:ext uri="{FF2B5EF4-FFF2-40B4-BE49-F238E27FC236}">
                <a16:creationId xmlns:a16="http://schemas.microsoft.com/office/drawing/2014/main" id="{2C0D7432-F2F0-824B-A0B9-53A6D6087353}"/>
              </a:ext>
            </a:extLst>
          </p:cNvPr>
          <p:cNvCxnSpPr/>
          <p:nvPr>
            <p:custDataLst>
              <p:tags r:id="rId63"/>
            </p:custDataLst>
          </p:nvPr>
        </p:nvCxnSpPr>
        <p:spPr bwMode="auto">
          <a:xfrm>
            <a:off x="4291012" y="5548313"/>
            <a:ext cx="11953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0A2D9838-2A1A-94A9-B51D-EE2548489A70}"/>
              </a:ext>
            </a:extLst>
          </p:cNvPr>
          <p:cNvCxnSpPr/>
          <p:nvPr>
            <p:custDataLst>
              <p:tags r:id="rId64"/>
            </p:custDataLst>
          </p:nvPr>
        </p:nvCxnSpPr>
        <p:spPr bwMode="gray">
          <a:xfrm flipV="1">
            <a:off x="5448300" y="5545137"/>
            <a:ext cx="0" cy="192088"/>
          </a:xfrm>
          <a:prstGeom prst="line">
            <a:avLst/>
          </a:prstGeom>
          <a:ln w="9525" cap="flat" cmpd="sng" algn="ctr">
            <a:solidFill>
              <a:schemeClr val="tx2"/>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99039E01-141E-E1D9-23FF-0ACDDBD9E0D0}"/>
              </a:ext>
            </a:extLst>
          </p:cNvPr>
          <p:cNvCxnSpPr/>
          <p:nvPr>
            <p:custDataLst>
              <p:tags r:id="rId65"/>
            </p:custDataLst>
          </p:nvPr>
        </p:nvCxnSpPr>
        <p:spPr bwMode="gray">
          <a:xfrm flipV="1">
            <a:off x="1978025" y="5119688"/>
            <a:ext cx="0" cy="4556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C6F32767-C1A6-BA16-28F6-9515E7FF327F}"/>
              </a:ext>
            </a:extLst>
          </p:cNvPr>
          <p:cNvCxnSpPr/>
          <p:nvPr>
            <p:custDataLst>
              <p:tags r:id="rId66"/>
            </p:custDataLst>
          </p:nvPr>
        </p:nvCxnSpPr>
        <p:spPr bwMode="gray">
          <a:xfrm>
            <a:off x="1978025" y="5119688"/>
            <a:ext cx="34702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5312A31D-587A-93D2-44FB-88DD195308B0}"/>
              </a:ext>
            </a:extLst>
          </p:cNvPr>
          <p:cNvCxnSpPr/>
          <p:nvPr>
            <p:custDataLst>
              <p:tags r:id="rId67"/>
            </p:custDataLst>
          </p:nvPr>
        </p:nvCxnSpPr>
        <p:spPr bwMode="gray">
          <a:xfrm>
            <a:off x="5448300" y="5119688"/>
            <a:ext cx="0" cy="5762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7" name="Text Placeholder 19">
            <a:extLst>
              <a:ext uri="{FF2B5EF4-FFF2-40B4-BE49-F238E27FC236}">
                <a16:creationId xmlns:a16="http://schemas.microsoft.com/office/drawing/2014/main" id="{9F9869AF-B0F6-4E89-B216-4EC18C7334C2}"/>
              </a:ext>
            </a:extLst>
          </p:cNvPr>
          <p:cNvSpPr>
            <a:spLocks noGrp="1"/>
          </p:cNvSpPr>
          <p:nvPr>
            <p:custDataLst>
              <p:tags r:id="rId68"/>
            </p:custDataLst>
          </p:nvPr>
        </p:nvSpPr>
        <p:spPr bwMode="auto">
          <a:xfrm>
            <a:off x="5216525" y="5241925"/>
            <a:ext cx="465138" cy="258763"/>
          </a:xfrm>
          <a:prstGeom prst="ellipse">
            <a:avLst/>
          </a:prstGeom>
          <a:solidFill>
            <a:schemeClr val="accent4"/>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43" name="Text Placeholder 19">
            <a:extLst>
              <a:ext uri="{FF2B5EF4-FFF2-40B4-BE49-F238E27FC236}">
                <a16:creationId xmlns:a16="http://schemas.microsoft.com/office/drawing/2014/main" id="{9F9869AF-B0F6-4E89-B216-4EC18C7334C2}"/>
              </a:ext>
            </a:extLst>
          </p:cNvPr>
          <p:cNvSpPr>
            <a:spLocks noGrp="1"/>
          </p:cNvSpPr>
          <p:nvPr>
            <p:custDataLst>
              <p:tags r:id="rId69"/>
            </p:custDataLst>
          </p:nvPr>
        </p:nvSpPr>
        <p:spPr bwMode="auto">
          <a:xfrm>
            <a:off x="3481388" y="4991100"/>
            <a:ext cx="465138" cy="258763"/>
          </a:xfrm>
          <a:prstGeom prst="ellipse">
            <a:avLst/>
          </a:prstGeom>
          <a:solidFill>
            <a:srgbClr val="C0C0C0"/>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04" name="Text Placeholder 4">
            <a:extLst>
              <a:ext uri="{FF2B5EF4-FFF2-40B4-BE49-F238E27FC236}">
                <a16:creationId xmlns:a16="http://schemas.microsoft.com/office/drawing/2014/main" id="{C1CA7D45-C78D-458E-AD67-2818234014D6}"/>
              </a:ext>
            </a:extLst>
          </p:cNvPr>
          <p:cNvSpPr txBox="1">
            <a:spLocks/>
          </p:cNvSpPr>
          <p:nvPr/>
        </p:nvSpPr>
        <p:spPr>
          <a:xfrm>
            <a:off x="6327718" y="4241257"/>
            <a:ext cx="5488992" cy="1815882"/>
          </a:xfrm>
          <a:prstGeom prst="rect">
            <a:avLst/>
          </a:prstGeom>
        </p:spPr>
        <p:txBody>
          <a:bodyPr vert="horz" wrap="square" lIns="0" tIns="0" rIns="0" bIns="0" rtlCol="0" anchor="t">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5895" marR="0" lvl="0" indent="-175895" algn="l" defTabSz="685783"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Cathode prices experienced a sharp increase in 2022. But the trend has reverted since </a:t>
            </a:r>
            <a:r>
              <a:rPr kumimoji="0" lang="en-US" altLang="zh-CN" sz="12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January</a:t>
            </a:r>
            <a:r>
              <a:rPr kumimoji="0" lang="en-GB" sz="12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 2023 due to 1) oversupply of lithium, 2) weak demand for EVs, 3) battery manufacturers pushing to depress raw material prices.</a:t>
            </a:r>
          </a:p>
          <a:p>
            <a:pPr marL="175895" marR="0" lvl="0" indent="-175895" algn="l" defTabSz="685783"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fter a rise in early 2022, graphite prices remained at a high plateau but began to drop since Jan 2023. Electrolyte price also dropped by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08080"/>
                </a:solidFill>
                <a:highlight>
                  <a:srgbClr val="808080"/>
                </a:highlight>
                <a:latin typeface="Lato" panose="020F0502020204030203" pitchFamily="34" charset="0"/>
              </a:rPr>
              <a:t>XX</a:t>
            </a:r>
            <a:r>
              <a:rPr kumimoji="0" lang="en-GB" sz="12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 since the start of the year. Copper price remains relatively stable compared to the past year. </a:t>
            </a:r>
          </a:p>
          <a:p>
            <a:pPr marL="175895" marR="0" lvl="0" indent="-175895" algn="l" defTabSz="685783"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Both cathode and electrolyte use raw materials that are derivatives of Lithium Iron Phosphate as a main raw material.  The decreasing spot price of Lithium is therefore linked to the decrease in the overall CAPEX.</a:t>
            </a:r>
          </a:p>
        </p:txBody>
      </p:sp>
      <p:sp>
        <p:nvSpPr>
          <p:cNvPr id="344" name="Text Placeholder 3">
            <a:extLst>
              <a:ext uri="{FF2B5EF4-FFF2-40B4-BE49-F238E27FC236}">
                <a16:creationId xmlns:a16="http://schemas.microsoft.com/office/drawing/2014/main" id="{83B9D373-D59C-4ABC-B6F7-AD1E9BDD4029}"/>
              </a:ext>
            </a:extLst>
          </p:cNvPr>
          <p:cNvSpPr txBox="1">
            <a:spLocks/>
          </p:cNvSpPr>
          <p:nvPr/>
        </p:nvSpPr>
        <p:spPr>
          <a:xfrm>
            <a:off x="523877" y="1734722"/>
            <a:ext cx="895348" cy="677108"/>
          </a:xfrm>
          <a:prstGeom prst="rect">
            <a:avLst/>
          </a:prstGeom>
        </p:spPr>
        <p:txBody>
          <a:bodyPr vert="horz" wrap="square" lIns="0" tIns="0" rIns="0" bIns="0" rtlCol="0" anchor="t">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1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Cathode (Lithium Iron Phosphate)</a:t>
            </a:r>
            <a:r>
              <a:rPr kumimoji="0" lang="en-GB" sz="1100" b="1" i="0" u="none" strike="noStrike" kern="1200" cap="none" spc="0" normalizeH="0" baseline="30000" noProof="0">
                <a:ln>
                  <a:noFill/>
                </a:ln>
                <a:solidFill>
                  <a:srgbClr val="3C3C3B"/>
                </a:solidFill>
                <a:effectLst/>
                <a:uLnTx/>
                <a:uFillTx/>
                <a:latin typeface="Lato"/>
                <a:ea typeface="Lato"/>
                <a:cs typeface="Lato"/>
                <a:sym typeface="Lato" panose="020F0502020204030203" pitchFamily="34" charset="0"/>
              </a:rPr>
              <a:t>1</a:t>
            </a:r>
            <a:br>
              <a:rPr kumimoji="0" lang="en-GB" sz="1100" b="1" i="0" u="none" strike="noStrike" kern="1200" cap="none" spc="0" normalizeH="0" baseline="30000" noProof="0">
                <a:ln>
                  <a:noFill/>
                </a:ln>
                <a:solidFill>
                  <a:srgbClr val="3C3C3B"/>
                </a:solidFill>
                <a:effectLst/>
                <a:uLnTx/>
                <a:uFillTx/>
                <a:latin typeface="Lato"/>
                <a:ea typeface="Lato"/>
                <a:cs typeface="Lato"/>
                <a:sym typeface="Lato" panose="020F0502020204030203" pitchFamily="34" charset="0"/>
              </a:rPr>
            </a:br>
            <a:r>
              <a:rPr kumimoji="0" lang="en-GB" sz="1100" b="0" i="0" u="none" strike="noStrike" kern="1200" cap="none" spc="0" normalizeH="0" baseline="0" noProof="0">
                <a:ln>
                  <a:noFill/>
                </a:ln>
                <a:solidFill>
                  <a:srgbClr val="838383"/>
                </a:solidFill>
                <a:effectLst/>
                <a:uLnTx/>
                <a:uFillTx/>
                <a:latin typeface="Lato"/>
                <a:ea typeface="Lato"/>
                <a:cs typeface="Lato"/>
                <a:sym typeface="Lato" panose="020F0502020204030203" pitchFamily="34" charset="0"/>
              </a:rPr>
              <a:t>CNY/tonne</a:t>
            </a:r>
            <a:endParaRPr kumimoji="0" lang="en-GB" sz="11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endParaRPr>
          </a:p>
        </p:txBody>
      </p:sp>
      <p:sp>
        <p:nvSpPr>
          <p:cNvPr id="353" name="Text Placeholder 3">
            <a:extLst>
              <a:ext uri="{FF2B5EF4-FFF2-40B4-BE49-F238E27FC236}">
                <a16:creationId xmlns:a16="http://schemas.microsoft.com/office/drawing/2014/main" id="{F1B0C510-79BE-4017-81AA-E9C8F4611860}"/>
              </a:ext>
            </a:extLst>
          </p:cNvPr>
          <p:cNvSpPr txBox="1">
            <a:spLocks/>
          </p:cNvSpPr>
          <p:nvPr/>
        </p:nvSpPr>
        <p:spPr>
          <a:xfrm>
            <a:off x="543427" y="2853991"/>
            <a:ext cx="895348" cy="677108"/>
          </a:xfrm>
          <a:prstGeom prst="rect">
            <a:avLst/>
          </a:prstGeom>
        </p:spPr>
        <p:txBody>
          <a:bodyPr vert="horz" wrap="square" lIns="0" tIns="0" rIns="0" bIns="0" rtlCol="0" anchor="t">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1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node (Artificial graphite)</a:t>
            </a:r>
            <a:r>
              <a:rPr kumimoji="0" lang="en-GB" sz="1100" b="1" i="0" u="none" strike="noStrike" kern="1200" cap="none" spc="0" normalizeH="0" baseline="30000" noProof="0">
                <a:ln>
                  <a:noFill/>
                </a:ln>
                <a:solidFill>
                  <a:srgbClr val="3C3C3B"/>
                </a:solidFill>
                <a:effectLst/>
                <a:uLnTx/>
                <a:uFillTx/>
                <a:latin typeface="Lato"/>
                <a:ea typeface="Lato"/>
                <a:cs typeface="Lato"/>
                <a:sym typeface="Lato" panose="020F0502020204030203" pitchFamily="34" charset="0"/>
              </a:rPr>
              <a:t>2</a:t>
            </a:r>
            <a:endParaRPr kumimoji="0" lang="en-GB" sz="1100" b="1" i="0" u="none" strike="noStrike" kern="1200" cap="none" spc="0" normalizeH="0" baseline="30000" noProof="0">
              <a:ln>
                <a:noFill/>
              </a:ln>
              <a:solidFill>
                <a:srgbClr val="3C3C3B"/>
              </a:solidFill>
              <a:effectLst/>
              <a:uLnTx/>
              <a:uFillTx/>
              <a:latin typeface="Lato" panose="020F0502020204030203" pitchFamily="34" charset="0"/>
              <a:sym typeface="Lato" panose="020F0502020204030203" pitchFamily="34" charset="0"/>
            </a:endParaRPr>
          </a:p>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100" b="0" i="0" u="none" strike="noStrike" kern="1200" cap="none" spc="0" normalizeH="0" baseline="0" noProof="0">
                <a:ln>
                  <a:noFill/>
                </a:ln>
                <a:solidFill>
                  <a:srgbClr val="838383"/>
                </a:solidFill>
                <a:effectLst/>
                <a:uLnTx/>
                <a:uFillTx/>
                <a:latin typeface="Lato"/>
                <a:ea typeface="Lato"/>
                <a:cs typeface="Lato"/>
                <a:sym typeface="Lato" panose="020F0502020204030203" pitchFamily="34" charset="0"/>
              </a:rPr>
              <a:t>CNY/tonne</a:t>
            </a:r>
          </a:p>
        </p:txBody>
      </p:sp>
      <p:sp>
        <p:nvSpPr>
          <p:cNvPr id="355" name="Text Placeholder 3">
            <a:extLst>
              <a:ext uri="{FF2B5EF4-FFF2-40B4-BE49-F238E27FC236}">
                <a16:creationId xmlns:a16="http://schemas.microsoft.com/office/drawing/2014/main" id="{15FA5B50-BB0B-4499-94FB-4DC3FC188D91}"/>
              </a:ext>
            </a:extLst>
          </p:cNvPr>
          <p:cNvSpPr txBox="1">
            <a:spLocks/>
          </p:cNvSpPr>
          <p:nvPr/>
        </p:nvSpPr>
        <p:spPr>
          <a:xfrm>
            <a:off x="533401" y="5470525"/>
            <a:ext cx="895348" cy="338138"/>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1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Electrolyte</a:t>
            </a:r>
            <a:r>
              <a:rPr kumimoji="0" lang="en-GB" sz="1100" b="1" i="0" u="none" strike="noStrike" kern="1200" cap="none" spc="0" normalizeH="0" baseline="30000" noProof="0">
                <a:ln>
                  <a:noFill/>
                </a:ln>
                <a:solidFill>
                  <a:srgbClr val="3C3C3B"/>
                </a:solidFill>
                <a:effectLst/>
                <a:uLnTx/>
                <a:uFillTx/>
                <a:latin typeface="Lato" panose="020F0502020204030203" pitchFamily="34" charset="0"/>
                <a:sym typeface="Lato" panose="020F0502020204030203" pitchFamily="34" charset="0"/>
              </a:rPr>
              <a:t>4</a:t>
            </a:r>
            <a:endParaRPr kumimoji="0" lang="en-GB" sz="11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1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CNY/tonne</a:t>
            </a:r>
          </a:p>
        </p:txBody>
      </p:sp>
      <p:sp>
        <p:nvSpPr>
          <p:cNvPr id="87" name="Text Placeholder 2">
            <a:extLst>
              <a:ext uri="{FF2B5EF4-FFF2-40B4-BE49-F238E27FC236}">
                <a16:creationId xmlns:a16="http://schemas.microsoft.com/office/drawing/2014/main" id="{87C0BED1-12F1-9C44-FA6C-2B3B17B52950}"/>
              </a:ext>
            </a:extLst>
          </p:cNvPr>
          <p:cNvSpPr txBox="1">
            <a:spLocks/>
          </p:cNvSpPr>
          <p:nvPr/>
        </p:nvSpPr>
        <p:spPr>
          <a:xfrm>
            <a:off x="381599" y="79401"/>
            <a:ext cx="65"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endPar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endParaRPr>
          </a:p>
        </p:txBody>
      </p:sp>
      <p:sp>
        <p:nvSpPr>
          <p:cNvPr id="30" name="Rectangle: Rounded Corners 29">
            <a:extLst>
              <a:ext uri="{FF2B5EF4-FFF2-40B4-BE49-F238E27FC236}">
                <a16:creationId xmlns:a16="http://schemas.microsoft.com/office/drawing/2014/main" id="{24B5A962-FF7C-461D-72B4-DB6C84ABE431}"/>
              </a:ext>
            </a:extLst>
          </p:cNvPr>
          <p:cNvSpPr/>
          <p:nvPr/>
        </p:nvSpPr>
        <p:spPr>
          <a:xfrm>
            <a:off x="374650" y="3881438"/>
            <a:ext cx="5387975" cy="1116013"/>
          </a:xfrm>
          <a:prstGeom prst="round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1" name="Text Placeholder 19">
            <a:extLst>
              <a:ext uri="{FF2B5EF4-FFF2-40B4-BE49-F238E27FC236}">
                <a16:creationId xmlns:a16="http://schemas.microsoft.com/office/drawing/2014/main" id="{C8AA0665-00CA-6491-4017-FDA549496DBE}"/>
              </a:ext>
            </a:extLst>
          </p:cNvPr>
          <p:cNvSpPr>
            <a:spLocks noGrp="1"/>
          </p:cNvSpPr>
          <p:nvPr>
            <p:custDataLst>
              <p:tags r:id="rId70"/>
            </p:custDataLst>
          </p:nvPr>
        </p:nvSpPr>
        <p:spPr bwMode="gray">
          <a:xfrm>
            <a:off x="3149600" y="3629025"/>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8" name="Text Placeholder 19">
            <a:extLst>
              <a:ext uri="{FF2B5EF4-FFF2-40B4-BE49-F238E27FC236}">
                <a16:creationId xmlns:a16="http://schemas.microsoft.com/office/drawing/2014/main" id="{092B9615-9DC8-6AC9-72A7-5BB823219B4D}"/>
              </a:ext>
            </a:extLst>
          </p:cNvPr>
          <p:cNvSpPr>
            <a:spLocks noGrp="1"/>
          </p:cNvSpPr>
          <p:nvPr>
            <p:custDataLst>
              <p:tags r:id="rId71"/>
            </p:custDataLst>
          </p:nvPr>
        </p:nvSpPr>
        <p:spPr bwMode="gray">
          <a:xfrm>
            <a:off x="2468563" y="3629025"/>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cxnSp>
        <p:nvCxnSpPr>
          <p:cNvPr id="197" name="Straight Connector 196">
            <a:extLst>
              <a:ext uri="{FF2B5EF4-FFF2-40B4-BE49-F238E27FC236}">
                <a16:creationId xmlns:a16="http://schemas.microsoft.com/office/drawing/2014/main" id="{0A19351B-CF9E-66E9-775B-1ACB10C9E57F}"/>
              </a:ext>
            </a:extLst>
          </p:cNvPr>
          <p:cNvCxnSpPr/>
          <p:nvPr>
            <p:custDataLst>
              <p:tags r:id="rId72"/>
            </p:custDataLst>
          </p:nvPr>
        </p:nvCxnSpPr>
        <p:spPr bwMode="gray">
          <a:xfrm>
            <a:off x="1978025" y="4386263"/>
            <a:ext cx="3470275" cy="0"/>
          </a:xfrm>
          <a:prstGeom prst="line">
            <a:avLst/>
          </a:prstGeom>
          <a:ln w="3175" cap="flat" cmpd="sng" algn="ctr">
            <a:solidFill>
              <a:schemeClr val="bg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7E537513-23E1-82D5-FB92-CFA9EFAD58E2}"/>
              </a:ext>
            </a:extLst>
          </p:cNvPr>
          <p:cNvCxnSpPr/>
          <p:nvPr>
            <p:custDataLst>
              <p:tags r:id="rId73"/>
            </p:custDataLst>
          </p:nvPr>
        </p:nvCxnSpPr>
        <p:spPr bwMode="gray">
          <a:xfrm>
            <a:off x="1978025" y="4075113"/>
            <a:ext cx="3470275" cy="0"/>
          </a:xfrm>
          <a:prstGeom prst="line">
            <a:avLst/>
          </a:prstGeom>
          <a:ln w="3175" cap="flat" cmpd="sng" algn="ctr">
            <a:solidFill>
              <a:schemeClr val="bg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6DF356D7-E879-7B8D-19AC-B5DFCEA80085}"/>
              </a:ext>
            </a:extLst>
          </p:cNvPr>
          <p:cNvCxnSpPr/>
          <p:nvPr>
            <p:custDataLst>
              <p:tags r:id="rId74"/>
            </p:custDataLst>
          </p:nvPr>
        </p:nvCxnSpPr>
        <p:spPr bwMode="auto">
          <a:xfrm>
            <a:off x="1978025" y="469741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101A4623-6B0C-F6E7-41AD-2E0B3D8B9C38}"/>
              </a:ext>
            </a:extLst>
          </p:cNvPr>
          <p:cNvCxnSpPr/>
          <p:nvPr>
            <p:custDataLst>
              <p:tags r:id="rId75"/>
            </p:custDataLst>
          </p:nvPr>
        </p:nvCxnSpPr>
        <p:spPr bwMode="auto">
          <a:xfrm>
            <a:off x="2551113" y="469741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A4D6DE8A-20AE-5555-539C-E549678AFF29}"/>
              </a:ext>
            </a:extLst>
          </p:cNvPr>
          <p:cNvCxnSpPr/>
          <p:nvPr>
            <p:custDataLst>
              <p:tags r:id="rId76"/>
            </p:custDataLst>
          </p:nvPr>
        </p:nvCxnSpPr>
        <p:spPr bwMode="auto">
          <a:xfrm>
            <a:off x="3135313" y="469741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D5540D41-3C6F-932B-5CB6-D55496271759}"/>
              </a:ext>
            </a:extLst>
          </p:cNvPr>
          <p:cNvCxnSpPr/>
          <p:nvPr>
            <p:custDataLst>
              <p:tags r:id="rId77"/>
            </p:custDataLst>
          </p:nvPr>
        </p:nvCxnSpPr>
        <p:spPr bwMode="auto">
          <a:xfrm>
            <a:off x="3708400" y="469741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084BA853-1137-7A04-E109-163BA9115D6C}"/>
              </a:ext>
            </a:extLst>
          </p:cNvPr>
          <p:cNvCxnSpPr/>
          <p:nvPr>
            <p:custDataLst>
              <p:tags r:id="rId78"/>
            </p:custDataLst>
          </p:nvPr>
        </p:nvCxnSpPr>
        <p:spPr bwMode="auto">
          <a:xfrm>
            <a:off x="4291013" y="469741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EE84B1C1-1D63-65A2-0912-461DF7640DB6}"/>
              </a:ext>
            </a:extLst>
          </p:cNvPr>
          <p:cNvCxnSpPr/>
          <p:nvPr>
            <p:custDataLst>
              <p:tags r:id="rId79"/>
            </p:custDataLst>
          </p:nvPr>
        </p:nvCxnSpPr>
        <p:spPr bwMode="auto">
          <a:xfrm>
            <a:off x="4865688" y="469741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F6799A12-0C2B-DCC3-ED2E-E579BC500E3B}"/>
              </a:ext>
            </a:extLst>
          </p:cNvPr>
          <p:cNvCxnSpPr/>
          <p:nvPr>
            <p:custDataLst>
              <p:tags r:id="rId80"/>
            </p:custDataLst>
          </p:nvPr>
        </p:nvCxnSpPr>
        <p:spPr bwMode="auto">
          <a:xfrm>
            <a:off x="5448300" y="4697413"/>
            <a:ext cx="0" cy="50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9" name="Chart 58">
            <a:extLst>
              <a:ext uri="{FF2B5EF4-FFF2-40B4-BE49-F238E27FC236}">
                <a16:creationId xmlns:a16="http://schemas.microsoft.com/office/drawing/2014/main" id="{379D613C-16B9-C936-9968-355CD3F94C07}"/>
              </a:ext>
            </a:extLst>
          </p:cNvPr>
          <p:cNvGraphicFramePr/>
          <p:nvPr>
            <p:custDataLst>
              <p:tags r:id="rId81"/>
            </p:custDataLst>
            <p:extLst>
              <p:ext uri="{D42A27DB-BD31-4B8C-83A1-F6EECF244321}">
                <p14:modId xmlns:p14="http://schemas.microsoft.com/office/powerpoint/2010/main" val="2118569768"/>
              </p:ext>
            </p:extLst>
          </p:nvPr>
        </p:nvGraphicFramePr>
        <p:xfrm>
          <a:off x="1895475" y="3992563"/>
          <a:ext cx="3635375" cy="787400"/>
        </p:xfrm>
        <a:graphic>
          <a:graphicData uri="http://schemas.openxmlformats.org/drawingml/2006/chart">
            <c:chart xmlns:c="http://schemas.openxmlformats.org/drawingml/2006/chart" xmlns:r="http://schemas.openxmlformats.org/officeDocument/2006/relationships" r:id="rId114"/>
          </a:graphicData>
        </a:graphic>
      </p:graphicFrame>
      <p:sp>
        <p:nvSpPr>
          <p:cNvPr id="206" name="Text Placeholder 19">
            <a:extLst>
              <a:ext uri="{FF2B5EF4-FFF2-40B4-BE49-F238E27FC236}">
                <a16:creationId xmlns:a16="http://schemas.microsoft.com/office/drawing/2014/main" id="{9F9869AF-B0F6-4E89-B216-4EC18C7334C2}"/>
              </a:ext>
            </a:extLst>
          </p:cNvPr>
          <p:cNvSpPr>
            <a:spLocks noGrp="1"/>
          </p:cNvSpPr>
          <p:nvPr>
            <p:custDataLst>
              <p:tags r:id="rId82"/>
            </p:custDataLst>
          </p:nvPr>
        </p:nvSpPr>
        <p:spPr bwMode="gray">
          <a:xfrm>
            <a:off x="1747838" y="4799014"/>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D5DCA66-4209-421E-B903-DEB1E50E216F}" type="datetime'J''''''''''''''a''''''''''n''''''''''''''''''''''-21'">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1</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07" name="Text Placeholder 19">
            <a:extLst>
              <a:ext uri="{FF2B5EF4-FFF2-40B4-BE49-F238E27FC236}">
                <a16:creationId xmlns:a16="http://schemas.microsoft.com/office/drawing/2014/main" id="{9F9869AF-B0F6-4E89-B216-4EC18C7334C2}"/>
              </a:ext>
            </a:extLst>
          </p:cNvPr>
          <p:cNvSpPr>
            <a:spLocks noGrp="1"/>
          </p:cNvSpPr>
          <p:nvPr>
            <p:custDataLst>
              <p:tags r:id="rId83"/>
            </p:custDataLst>
          </p:nvPr>
        </p:nvSpPr>
        <p:spPr bwMode="gray">
          <a:xfrm>
            <a:off x="2339975" y="4799014"/>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8A4A021-FC45-4A27-981D-42B7AEE3367A}" type="datetime'''''J''u''''l''-''''''''''''''''''''''''''''''21'">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1</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08" name="Text Placeholder 19">
            <a:extLst>
              <a:ext uri="{FF2B5EF4-FFF2-40B4-BE49-F238E27FC236}">
                <a16:creationId xmlns:a16="http://schemas.microsoft.com/office/drawing/2014/main" id="{9F9869AF-B0F6-4E89-B216-4EC18C7334C2}"/>
              </a:ext>
            </a:extLst>
          </p:cNvPr>
          <p:cNvSpPr>
            <a:spLocks noGrp="1"/>
          </p:cNvSpPr>
          <p:nvPr>
            <p:custDataLst>
              <p:tags r:id="rId84"/>
            </p:custDataLst>
          </p:nvPr>
        </p:nvSpPr>
        <p:spPr bwMode="gray">
          <a:xfrm>
            <a:off x="2905125" y="4799014"/>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EFB88E5-2EA3-4655-A0EA-6ACD125E232F}" type="datetime'''''''J''a''''''''n''''''''-''''''''''''''''''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09" name="Text Placeholder 19">
            <a:extLst>
              <a:ext uri="{FF2B5EF4-FFF2-40B4-BE49-F238E27FC236}">
                <a16:creationId xmlns:a16="http://schemas.microsoft.com/office/drawing/2014/main" id="{9F9869AF-B0F6-4E89-B216-4EC18C7334C2}"/>
              </a:ext>
            </a:extLst>
          </p:cNvPr>
          <p:cNvSpPr>
            <a:spLocks noGrp="1"/>
          </p:cNvSpPr>
          <p:nvPr>
            <p:custDataLst>
              <p:tags r:id="rId85"/>
            </p:custDataLst>
          </p:nvPr>
        </p:nvSpPr>
        <p:spPr bwMode="gray">
          <a:xfrm>
            <a:off x="3497263" y="4799014"/>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B3196AF0-0BE3-457E-BB61-B7CABC17A57D}" type="datetime'''''J''''ul''''''''''''-''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10" name="Text Placeholder 19">
            <a:extLst>
              <a:ext uri="{FF2B5EF4-FFF2-40B4-BE49-F238E27FC236}">
                <a16:creationId xmlns:a16="http://schemas.microsoft.com/office/drawing/2014/main" id="{9F9869AF-B0F6-4E89-B216-4EC18C7334C2}"/>
              </a:ext>
            </a:extLst>
          </p:cNvPr>
          <p:cNvSpPr>
            <a:spLocks noGrp="1"/>
          </p:cNvSpPr>
          <p:nvPr>
            <p:custDataLst>
              <p:tags r:id="rId86"/>
            </p:custDataLst>
          </p:nvPr>
        </p:nvSpPr>
        <p:spPr bwMode="gray">
          <a:xfrm>
            <a:off x="4060825" y="4799014"/>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6074F04-274D-4ED2-A9E2-8B294718DB5C}" type="datetime'''''''''Ja''''''''''n-''''''''''''''''''''''2''''''''''''''3'">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3</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11" name="Text Placeholder 19">
            <a:extLst>
              <a:ext uri="{FF2B5EF4-FFF2-40B4-BE49-F238E27FC236}">
                <a16:creationId xmlns:a16="http://schemas.microsoft.com/office/drawing/2014/main" id="{9F9869AF-B0F6-4E89-B216-4EC18C7334C2}"/>
              </a:ext>
            </a:extLst>
          </p:cNvPr>
          <p:cNvSpPr>
            <a:spLocks noGrp="1"/>
          </p:cNvSpPr>
          <p:nvPr>
            <p:custDataLst>
              <p:tags r:id="rId87"/>
            </p:custDataLst>
          </p:nvPr>
        </p:nvSpPr>
        <p:spPr bwMode="gray">
          <a:xfrm>
            <a:off x="4654550" y="4799014"/>
            <a:ext cx="422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A226C09-89F4-4E90-A3A7-F89ED7473143}" type="datetime'''''''J''u''''''''''''''''''''''''''''''''l-''23'''">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ul-23</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5" name="Text Placeholder 19">
            <a:extLst>
              <a:ext uri="{FF2B5EF4-FFF2-40B4-BE49-F238E27FC236}">
                <a16:creationId xmlns:a16="http://schemas.microsoft.com/office/drawing/2014/main" id="{9F9869AF-B0F6-4E89-B216-4EC18C7334C2}"/>
              </a:ext>
            </a:extLst>
          </p:cNvPr>
          <p:cNvSpPr>
            <a:spLocks noGrp="1"/>
          </p:cNvSpPr>
          <p:nvPr>
            <p:custDataLst>
              <p:tags r:id="rId88"/>
            </p:custDataLst>
          </p:nvPr>
        </p:nvSpPr>
        <p:spPr bwMode="gray">
          <a:xfrm>
            <a:off x="5218113" y="4799014"/>
            <a:ext cx="460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BE4C1517-AEC2-465D-BE7C-4EA73BE72DE7}" type="datetime'''''''J''an''''''''''-''''''2''''''''''''''''4'">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Jan-24</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cxnSp>
        <p:nvCxnSpPr>
          <p:cNvPr id="200" name="Straight Connector 199">
            <a:extLst>
              <a:ext uri="{FF2B5EF4-FFF2-40B4-BE49-F238E27FC236}">
                <a16:creationId xmlns:a16="http://schemas.microsoft.com/office/drawing/2014/main" id="{510D1811-D5DB-722A-BE12-94EBA9B8986C}"/>
              </a:ext>
            </a:extLst>
          </p:cNvPr>
          <p:cNvCxnSpPr/>
          <p:nvPr>
            <p:custDataLst>
              <p:tags r:id="rId89"/>
            </p:custDataLst>
          </p:nvPr>
        </p:nvCxnSpPr>
        <p:spPr bwMode="auto">
          <a:xfrm>
            <a:off x="4291012" y="4352925"/>
            <a:ext cx="11953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2E947026-039C-8AE3-858C-52AAC864ECBE}"/>
              </a:ext>
            </a:extLst>
          </p:cNvPr>
          <p:cNvCxnSpPr>
            <a:cxnSpLocks/>
          </p:cNvCxnSpPr>
          <p:nvPr>
            <p:custDataLst>
              <p:tags r:id="rId90"/>
            </p:custDataLst>
          </p:nvPr>
        </p:nvCxnSpPr>
        <p:spPr bwMode="gray">
          <a:xfrm>
            <a:off x="5448300" y="4349750"/>
            <a:ext cx="0" cy="206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76E31BF4-26CE-EE11-FAEE-064AA7C6B930}"/>
              </a:ext>
            </a:extLst>
          </p:cNvPr>
          <p:cNvCxnSpPr/>
          <p:nvPr>
            <p:custDataLst>
              <p:tags r:id="rId91"/>
            </p:custDataLst>
          </p:nvPr>
        </p:nvCxnSpPr>
        <p:spPr bwMode="gray">
          <a:xfrm flipV="1">
            <a:off x="1978025" y="4141788"/>
            <a:ext cx="0" cy="20796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E5B8C1E5-6443-D339-8ADC-258FC0674C4B}"/>
              </a:ext>
            </a:extLst>
          </p:cNvPr>
          <p:cNvCxnSpPr/>
          <p:nvPr>
            <p:custDataLst>
              <p:tags r:id="rId92"/>
            </p:custDataLst>
          </p:nvPr>
        </p:nvCxnSpPr>
        <p:spPr bwMode="gray">
          <a:xfrm>
            <a:off x="1978025" y="4141788"/>
            <a:ext cx="34702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1762B215-7234-E457-9A97-D92B89478EB4}"/>
              </a:ext>
            </a:extLst>
          </p:cNvPr>
          <p:cNvCxnSpPr/>
          <p:nvPr>
            <p:custDataLst>
              <p:tags r:id="rId93"/>
            </p:custDataLst>
          </p:nvPr>
        </p:nvCxnSpPr>
        <p:spPr bwMode="gray">
          <a:xfrm>
            <a:off x="5448300" y="4141788"/>
            <a:ext cx="0" cy="1873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9" name="Text Placeholder 19">
            <a:extLst>
              <a:ext uri="{FF2B5EF4-FFF2-40B4-BE49-F238E27FC236}">
                <a16:creationId xmlns:a16="http://schemas.microsoft.com/office/drawing/2014/main" id="{9F9869AF-B0F6-4E89-B216-4EC18C7334C2}"/>
              </a:ext>
            </a:extLst>
          </p:cNvPr>
          <p:cNvSpPr>
            <a:spLocks noGrp="1"/>
          </p:cNvSpPr>
          <p:nvPr>
            <p:custDataLst>
              <p:tags r:id="rId94"/>
            </p:custDataLst>
          </p:nvPr>
        </p:nvSpPr>
        <p:spPr bwMode="auto">
          <a:xfrm>
            <a:off x="5216525" y="4414838"/>
            <a:ext cx="465138" cy="258763"/>
          </a:xfrm>
          <a:prstGeom prst="ellipse">
            <a:avLst/>
          </a:prstGeom>
          <a:solidFill>
            <a:schemeClr val="accent4"/>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63" name="Text Placeholder 19">
            <a:extLst>
              <a:ext uri="{FF2B5EF4-FFF2-40B4-BE49-F238E27FC236}">
                <a16:creationId xmlns:a16="http://schemas.microsoft.com/office/drawing/2014/main" id="{CF411459-316B-4C21-54D1-5FBA77CE87C8}"/>
              </a:ext>
            </a:extLst>
          </p:cNvPr>
          <p:cNvSpPr>
            <a:spLocks noGrp="1"/>
          </p:cNvSpPr>
          <p:nvPr>
            <p:custDataLst>
              <p:tags r:id="rId95"/>
            </p:custDataLst>
          </p:nvPr>
        </p:nvSpPr>
        <p:spPr bwMode="auto">
          <a:xfrm>
            <a:off x="3481388" y="4013200"/>
            <a:ext cx="465138" cy="258763"/>
          </a:xfrm>
          <a:prstGeom prst="ellipse">
            <a:avLst/>
          </a:prstGeom>
          <a:solidFill>
            <a:srgbClr val="C0C0C0"/>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64" name="Text Placeholder 3">
            <a:extLst>
              <a:ext uri="{FF2B5EF4-FFF2-40B4-BE49-F238E27FC236}">
                <a16:creationId xmlns:a16="http://schemas.microsoft.com/office/drawing/2014/main" id="{DB0F5DEA-9477-16D0-897D-D4DC1967A772}"/>
              </a:ext>
            </a:extLst>
          </p:cNvPr>
          <p:cNvSpPr txBox="1">
            <a:spLocks/>
          </p:cNvSpPr>
          <p:nvPr/>
        </p:nvSpPr>
        <p:spPr>
          <a:xfrm>
            <a:off x="539750" y="4256088"/>
            <a:ext cx="895350" cy="338138"/>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1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Copper</a:t>
            </a:r>
            <a:r>
              <a:rPr kumimoji="0" lang="en-GB" sz="1100" b="1" i="0" u="none" strike="noStrike" kern="1200" cap="none" spc="0" normalizeH="0" baseline="30000" noProof="0">
                <a:ln>
                  <a:noFill/>
                </a:ln>
                <a:solidFill>
                  <a:srgbClr val="3C3C3B"/>
                </a:solidFill>
                <a:effectLst/>
                <a:uLnTx/>
                <a:uFillTx/>
                <a:latin typeface="Lato" panose="020F0502020204030203" pitchFamily="34" charset="0"/>
                <a:sym typeface="Lato" panose="020F0502020204030203" pitchFamily="34" charset="0"/>
              </a:rPr>
              <a:t>3</a:t>
            </a:r>
            <a:endParaRPr kumimoji="0" lang="en-GB" sz="11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1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CNY/tonne</a:t>
            </a:r>
          </a:p>
        </p:txBody>
      </p:sp>
      <p:graphicFrame>
        <p:nvGraphicFramePr>
          <p:cNvPr id="46" name="Chart 45">
            <a:extLst>
              <a:ext uri="{FF2B5EF4-FFF2-40B4-BE49-F238E27FC236}">
                <a16:creationId xmlns:a16="http://schemas.microsoft.com/office/drawing/2014/main" id="{CA74FF03-587C-0A8B-EB8E-AE76E92E640E}"/>
              </a:ext>
            </a:extLst>
          </p:cNvPr>
          <p:cNvGraphicFramePr/>
          <p:nvPr>
            <p:custDataLst>
              <p:tags r:id="rId96"/>
            </p:custDataLst>
            <p:extLst>
              <p:ext uri="{D42A27DB-BD31-4B8C-83A1-F6EECF244321}">
                <p14:modId xmlns:p14="http://schemas.microsoft.com/office/powerpoint/2010/main" val="162214115"/>
              </p:ext>
            </p:extLst>
          </p:nvPr>
        </p:nvGraphicFramePr>
        <p:xfrm>
          <a:off x="7948613" y="1700213"/>
          <a:ext cx="2051050" cy="2051050"/>
        </p:xfrm>
        <a:graphic>
          <a:graphicData uri="http://schemas.openxmlformats.org/drawingml/2006/chart">
            <c:chart xmlns:c="http://schemas.openxmlformats.org/drawingml/2006/chart" xmlns:r="http://schemas.openxmlformats.org/officeDocument/2006/relationships" r:id="rId115"/>
          </a:graphicData>
        </a:graphic>
      </p:graphicFrame>
      <p:sp>
        <p:nvSpPr>
          <p:cNvPr id="360" name="Oval 359">
            <a:extLst>
              <a:ext uri="{FF2B5EF4-FFF2-40B4-BE49-F238E27FC236}">
                <a16:creationId xmlns:a16="http://schemas.microsoft.com/office/drawing/2014/main" id="{FA3964DE-7DF6-EAC7-DF94-05D24EFC0251}"/>
              </a:ext>
            </a:extLst>
          </p:cNvPr>
          <p:cNvSpPr/>
          <p:nvPr/>
        </p:nvSpPr>
        <p:spPr>
          <a:xfrm>
            <a:off x="2416915" y="6210602"/>
            <a:ext cx="438649" cy="201208"/>
          </a:xfrm>
          <a:prstGeom prst="ellipse">
            <a:avLst/>
          </a:prstGeom>
          <a:solidFill>
            <a:srgbClr val="FFF2B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61" name="Oval 360">
            <a:extLst>
              <a:ext uri="{FF2B5EF4-FFF2-40B4-BE49-F238E27FC236}">
                <a16:creationId xmlns:a16="http://schemas.microsoft.com/office/drawing/2014/main" id="{33E35B6B-B7EC-93C8-B99B-EC9DA7F5D543}"/>
              </a:ext>
            </a:extLst>
          </p:cNvPr>
          <p:cNvSpPr/>
          <p:nvPr/>
        </p:nvSpPr>
        <p:spPr>
          <a:xfrm>
            <a:off x="421844" y="6204027"/>
            <a:ext cx="438649" cy="201208"/>
          </a:xfrm>
          <a:prstGeom prst="ellipse">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62" name="TextBox 361">
            <a:extLst>
              <a:ext uri="{FF2B5EF4-FFF2-40B4-BE49-F238E27FC236}">
                <a16:creationId xmlns:a16="http://schemas.microsoft.com/office/drawing/2014/main" id="{794105AB-B793-9F82-48CF-8E3D423735B6}"/>
              </a:ext>
            </a:extLst>
          </p:cNvPr>
          <p:cNvSpPr txBox="1"/>
          <p:nvPr/>
        </p:nvSpPr>
        <p:spPr>
          <a:xfrm>
            <a:off x="904176" y="6233197"/>
            <a:ext cx="140588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Jan 21 – Jan 24 change</a:t>
            </a:r>
          </a:p>
        </p:txBody>
      </p:sp>
      <p:sp>
        <p:nvSpPr>
          <p:cNvPr id="363" name="TextBox 362">
            <a:extLst>
              <a:ext uri="{FF2B5EF4-FFF2-40B4-BE49-F238E27FC236}">
                <a16:creationId xmlns:a16="http://schemas.microsoft.com/office/drawing/2014/main" id="{7127E2BA-4882-EED2-B43C-30F518124D39}"/>
              </a:ext>
            </a:extLst>
          </p:cNvPr>
          <p:cNvSpPr txBox="1"/>
          <p:nvPr/>
        </p:nvSpPr>
        <p:spPr>
          <a:xfrm>
            <a:off x="2920313" y="6241187"/>
            <a:ext cx="140588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Jan 23 – Jan 24 change</a:t>
            </a:r>
          </a:p>
        </p:txBody>
      </p:sp>
      <p:sp>
        <p:nvSpPr>
          <p:cNvPr id="430" name="Rectangle 429">
            <a:extLst>
              <a:ext uri="{FF2B5EF4-FFF2-40B4-BE49-F238E27FC236}">
                <a16:creationId xmlns:a16="http://schemas.microsoft.com/office/drawing/2014/main" id="{F43D0227-1294-5157-9FF8-FF1245A3DCDE}"/>
              </a:ext>
            </a:extLst>
          </p:cNvPr>
          <p:cNvSpPr/>
          <p:nvPr>
            <p:custDataLst>
              <p:tags r:id="rId97"/>
            </p:custDataLst>
          </p:nvPr>
        </p:nvSpPr>
        <p:spPr bwMode="auto">
          <a:xfrm>
            <a:off x="6484938" y="3876675"/>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31" name="Rectangle 430">
            <a:extLst>
              <a:ext uri="{FF2B5EF4-FFF2-40B4-BE49-F238E27FC236}">
                <a16:creationId xmlns:a16="http://schemas.microsoft.com/office/drawing/2014/main" id="{77610C1C-BE66-1351-C70C-7A905AB66C1A}"/>
              </a:ext>
            </a:extLst>
          </p:cNvPr>
          <p:cNvSpPr/>
          <p:nvPr>
            <p:custDataLst>
              <p:tags r:id="rId98"/>
            </p:custDataLst>
          </p:nvPr>
        </p:nvSpPr>
        <p:spPr bwMode="auto">
          <a:xfrm>
            <a:off x="7794625" y="3876675"/>
            <a:ext cx="179388" cy="133350"/>
          </a:xfrm>
          <a:prstGeom prst="rect">
            <a:avLst/>
          </a:prstGeom>
          <a:solidFill>
            <a:schemeClr val="accent5"/>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32" name="Rectangle 431">
            <a:extLst>
              <a:ext uri="{FF2B5EF4-FFF2-40B4-BE49-F238E27FC236}">
                <a16:creationId xmlns:a16="http://schemas.microsoft.com/office/drawing/2014/main" id="{6A9EF71A-5088-AB36-FE4B-22D47A7D3252}"/>
              </a:ext>
            </a:extLst>
          </p:cNvPr>
          <p:cNvSpPr/>
          <p:nvPr>
            <p:custDataLst>
              <p:tags r:id="rId99"/>
            </p:custDataLst>
          </p:nvPr>
        </p:nvSpPr>
        <p:spPr bwMode="auto">
          <a:xfrm>
            <a:off x="8990013" y="3876675"/>
            <a:ext cx="179388" cy="133350"/>
          </a:xfrm>
          <a:prstGeom prst="rect">
            <a:avLst/>
          </a:prstGeom>
          <a:solidFill>
            <a:srgbClr val="007770"/>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33" name="Rectangle 432">
            <a:extLst>
              <a:ext uri="{FF2B5EF4-FFF2-40B4-BE49-F238E27FC236}">
                <a16:creationId xmlns:a16="http://schemas.microsoft.com/office/drawing/2014/main" id="{03925DCB-DF64-B10C-FF60-EB0CB04A9E83}"/>
              </a:ext>
            </a:extLst>
          </p:cNvPr>
          <p:cNvSpPr/>
          <p:nvPr>
            <p:custDataLst>
              <p:tags r:id="rId100"/>
            </p:custDataLst>
          </p:nvPr>
        </p:nvSpPr>
        <p:spPr bwMode="auto">
          <a:xfrm>
            <a:off x="9736138" y="3876675"/>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34" name="Rectangle 433">
            <a:extLst>
              <a:ext uri="{FF2B5EF4-FFF2-40B4-BE49-F238E27FC236}">
                <a16:creationId xmlns:a16="http://schemas.microsoft.com/office/drawing/2014/main" id="{3599C09A-87F6-B053-28D0-E7902DBAFA74}"/>
              </a:ext>
            </a:extLst>
          </p:cNvPr>
          <p:cNvSpPr/>
          <p:nvPr>
            <p:custDataLst>
              <p:tags r:id="rId101"/>
            </p:custDataLst>
          </p:nvPr>
        </p:nvSpPr>
        <p:spPr bwMode="auto">
          <a:xfrm>
            <a:off x="10677525" y="3876675"/>
            <a:ext cx="179388" cy="133350"/>
          </a:xfrm>
          <a:prstGeom prst="rect">
            <a:avLst/>
          </a:prstGeom>
          <a:pattFill prst="ltDnDiag">
            <a:fgClr>
              <a:srgbClr val="000000"/>
            </a:fgClr>
            <a:bgClr>
              <a:srgbClr val="FFFFFF"/>
            </a:bgClr>
          </a:patt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24" name="Text Placeholder 19">
            <a:extLst>
              <a:ext uri="{FF2B5EF4-FFF2-40B4-BE49-F238E27FC236}">
                <a16:creationId xmlns:a16="http://schemas.microsoft.com/office/drawing/2014/main" id="{9F9869AF-B0F6-4E89-B216-4EC18C7334C2}"/>
              </a:ext>
            </a:extLst>
          </p:cNvPr>
          <p:cNvSpPr>
            <a:spLocks noGrp="1"/>
          </p:cNvSpPr>
          <p:nvPr>
            <p:custDataLst>
              <p:tags r:id="rId102"/>
            </p:custDataLst>
          </p:nvPr>
        </p:nvSpPr>
        <p:spPr bwMode="auto">
          <a:xfrm>
            <a:off x="6715125" y="3871913"/>
            <a:ext cx="977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AAFFA6A3-CBC2-438C-8A9F-94C0C4CDF9E1}" type="datetime'''''C''''a''thod''e'''' ''M''a''''te''''''''''r''i''a''''l'''">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athode Material</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20" name="Text Placeholder 19">
            <a:extLst>
              <a:ext uri="{FF2B5EF4-FFF2-40B4-BE49-F238E27FC236}">
                <a16:creationId xmlns:a16="http://schemas.microsoft.com/office/drawing/2014/main" id="{9F9869AF-B0F6-4E89-B216-4EC18C7334C2}"/>
              </a:ext>
            </a:extLst>
          </p:cNvPr>
          <p:cNvSpPr>
            <a:spLocks noGrp="1"/>
          </p:cNvSpPr>
          <p:nvPr>
            <p:custDataLst>
              <p:tags r:id="rId103"/>
            </p:custDataLst>
          </p:nvPr>
        </p:nvSpPr>
        <p:spPr bwMode="auto">
          <a:xfrm>
            <a:off x="8024813" y="3871913"/>
            <a:ext cx="863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B549498-42DF-43D1-B563-1635D922CC22}" type="datetime'A''''''''''nod''''''''''e'' ''''''''''M''ater''ia''''''l'">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Anode Material</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26" name="Text Placeholder 19">
            <a:extLst>
              <a:ext uri="{FF2B5EF4-FFF2-40B4-BE49-F238E27FC236}">
                <a16:creationId xmlns:a16="http://schemas.microsoft.com/office/drawing/2014/main" id="{9F9869AF-B0F6-4E89-B216-4EC18C7334C2}"/>
              </a:ext>
            </a:extLst>
          </p:cNvPr>
          <p:cNvSpPr>
            <a:spLocks noGrp="1"/>
          </p:cNvSpPr>
          <p:nvPr>
            <p:custDataLst>
              <p:tags r:id="rId104"/>
            </p:custDataLst>
          </p:nvPr>
        </p:nvSpPr>
        <p:spPr bwMode="auto">
          <a:xfrm>
            <a:off x="9220199" y="3871913"/>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28D5B80-DDFE-4AB4-B0BB-DEA31B96FC4A}" type="datetime'''''''''''''''''''''''C''o''''''''''''''''p''pe''r'">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opper</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25" name="Text Placeholder 19">
            <a:extLst>
              <a:ext uri="{FF2B5EF4-FFF2-40B4-BE49-F238E27FC236}">
                <a16:creationId xmlns:a16="http://schemas.microsoft.com/office/drawing/2014/main" id="{9F9869AF-B0F6-4E89-B216-4EC18C7334C2}"/>
              </a:ext>
            </a:extLst>
          </p:cNvPr>
          <p:cNvSpPr>
            <a:spLocks noGrp="1"/>
          </p:cNvSpPr>
          <p:nvPr>
            <p:custDataLst>
              <p:tags r:id="rId105"/>
            </p:custDataLst>
          </p:nvPr>
        </p:nvSpPr>
        <p:spPr bwMode="auto">
          <a:xfrm>
            <a:off x="9966324" y="3871913"/>
            <a:ext cx="609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40AFBE0-ED2F-48B5-AA2E-C513AAF95814}" type="datetime'''E''''''''l''''e''''''''''ct''''r''ol''y''''t''''''e'''''''">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Electrolyte</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27" name="Text Placeholder 19">
            <a:extLst>
              <a:ext uri="{FF2B5EF4-FFF2-40B4-BE49-F238E27FC236}">
                <a16:creationId xmlns:a16="http://schemas.microsoft.com/office/drawing/2014/main" id="{9F9869AF-B0F6-4E89-B216-4EC18C7334C2}"/>
              </a:ext>
            </a:extLst>
          </p:cNvPr>
          <p:cNvSpPr>
            <a:spLocks noGrp="1"/>
          </p:cNvSpPr>
          <p:nvPr>
            <p:custDataLst>
              <p:tags r:id="rId106"/>
            </p:custDataLst>
          </p:nvPr>
        </p:nvSpPr>
        <p:spPr bwMode="auto">
          <a:xfrm>
            <a:off x="10907713" y="3871913"/>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59DF42E-5C16-4897-A96B-91B6C38C1409}" type="datetime'''''''''''''''''''''''Ot''''''''''''''he''''r'''''''''">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Other</a:t>
            </a:fld>
            <a:r>
              <a:rPr kumimoji="0" lang="en-GB" sz="1000" b="0" i="0" u="none" strike="noStrike" kern="1200" cap="none" spc="0" normalizeH="0" baseline="30000" noProof="0">
                <a:ln>
                  <a:noFill/>
                </a:ln>
                <a:solidFill>
                  <a:srgbClr val="3C3C3B"/>
                </a:solidFill>
                <a:effectLst/>
                <a:uLnTx/>
                <a:uFillTx/>
                <a:latin typeface="Lato" panose="020F0502020204030203" pitchFamily="34" charset="0"/>
                <a:sym typeface="Lato" panose="020F0502020204030203" pitchFamily="34" charset="0"/>
              </a:rPr>
              <a:t>6</a:t>
            </a:r>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 name="Text Placeholder 4">
            <a:extLst>
              <a:ext uri="{FF2B5EF4-FFF2-40B4-BE49-F238E27FC236}">
                <a16:creationId xmlns:a16="http://schemas.microsoft.com/office/drawing/2014/main" id="{759BD453-A651-735C-5A1E-34A5B01CA66C}"/>
              </a:ext>
            </a:extLst>
          </p:cNvPr>
          <p:cNvSpPr txBox="1">
            <a:spLocks/>
          </p:cNvSpPr>
          <p:nvPr/>
        </p:nvSpPr>
        <p:spPr>
          <a:xfrm>
            <a:off x="371474" y="6692900"/>
            <a:ext cx="2652970" cy="110800"/>
          </a:xfrm>
          <a:prstGeom prst="rect">
            <a:avLst/>
          </a:prstGeom>
        </p:spPr>
        <p:txBody>
          <a:bodyPr vert="horz" wrap="none" lIns="0" tIns="0" rIns="0" bIns="0" rtlCol="0" anchor="b" anchorCtr="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GB" sz="8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Sources: Aurora Energy Research,, </a:t>
            </a:r>
            <a:r>
              <a:rPr kumimoji="0" lang="en-GB" sz="800" b="0" i="0" u="none" strike="noStrike" kern="1200" cap="none" spc="0" normalizeH="0" baseline="0" noProof="0" err="1">
                <a:ln>
                  <a:noFill/>
                </a:ln>
                <a:solidFill>
                  <a:srgbClr val="3C3C3B"/>
                </a:solidFill>
                <a:effectLst/>
                <a:uLnTx/>
                <a:uFillTx/>
                <a:latin typeface="Lato" panose="020F0502020204030203" pitchFamily="34" charset="0"/>
                <a:sym typeface="Lato" panose="020F0502020204030203" pitchFamily="34" charset="0"/>
              </a:rPr>
              <a:t>MySteel</a:t>
            </a:r>
            <a:r>
              <a:rPr kumimoji="0" lang="en-GB" sz="8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UK Investing</a:t>
            </a:r>
          </a:p>
        </p:txBody>
      </p:sp>
      <p:sp>
        <p:nvSpPr>
          <p:cNvPr id="18" name="Oval 17">
            <a:extLst>
              <a:ext uri="{FF2B5EF4-FFF2-40B4-BE49-F238E27FC236}">
                <a16:creationId xmlns:a16="http://schemas.microsoft.com/office/drawing/2014/main" id="{B27BA10B-3982-18A8-0A1F-506654A8DDD3}"/>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19" name="Oval 18">
            <a:extLst>
              <a:ext uri="{FF2B5EF4-FFF2-40B4-BE49-F238E27FC236}">
                <a16:creationId xmlns:a16="http://schemas.microsoft.com/office/drawing/2014/main" id="{DCFC6A79-D56A-B754-C550-AAD0DDE4F14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Tree>
    <p:extLst>
      <p:ext uri="{BB962C8B-B14F-4D97-AF65-F5344CB8AC3E}">
        <p14:creationId xmlns:p14="http://schemas.microsoft.com/office/powerpoint/2010/main" val="22403066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F1A6B87-C34F-02C2-16B4-0740487440FC}"/>
              </a:ext>
            </a:extLst>
          </p:cNvPr>
          <p:cNvGraphicFramePr>
            <a:graphicFrameLocks noChangeAspect="1"/>
          </p:cNvGraphicFramePr>
          <p:nvPr>
            <p:custDataLst>
              <p:tags r:id="rId1"/>
            </p:custDataLst>
            <p:extLst>
              <p:ext uri="{D42A27DB-BD31-4B8C-83A1-F6EECF244321}">
                <p14:modId xmlns:p14="http://schemas.microsoft.com/office/powerpoint/2010/main" val="163642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15" name="Object 14" hidden="1">
                        <a:extLst>
                          <a:ext uri="{FF2B5EF4-FFF2-40B4-BE49-F238E27FC236}">
                            <a16:creationId xmlns:a16="http://schemas.microsoft.com/office/drawing/2014/main" id="{1F1A6B87-C34F-02C2-16B4-0740487440F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F50537E-534D-4806-4E50-67923FFE6116}"/>
              </a:ext>
            </a:extLst>
          </p:cNvPr>
          <p:cNvSpPr>
            <a:spLocks noGrp="1"/>
          </p:cNvSpPr>
          <p:nvPr>
            <p:ph type="body" sz="quarter" idx="22"/>
          </p:nvPr>
        </p:nvSpPr>
        <p:spPr>
          <a:xfrm>
            <a:off x="381001" y="6715169"/>
            <a:ext cx="1703993" cy="110800"/>
          </a:xfrm>
        </p:spPr>
        <p:txBody>
          <a:bodyPr/>
          <a:lstStyle/>
          <a:p>
            <a:r>
              <a:rPr lang="en-GB"/>
              <a:t>Sources: Aurora Energy Research, IEA</a:t>
            </a:r>
          </a:p>
        </p:txBody>
      </p:sp>
      <p:sp>
        <p:nvSpPr>
          <p:cNvPr id="3" name="Title 2">
            <a:extLst>
              <a:ext uri="{FF2B5EF4-FFF2-40B4-BE49-F238E27FC236}">
                <a16:creationId xmlns:a16="http://schemas.microsoft.com/office/drawing/2014/main" id="{D8597262-0B26-A989-F866-93ABD9682B16}"/>
              </a:ext>
            </a:extLst>
          </p:cNvPr>
          <p:cNvSpPr>
            <a:spLocks noGrp="1"/>
          </p:cNvSpPr>
          <p:nvPr>
            <p:ph type="title"/>
          </p:nvPr>
        </p:nvSpPr>
        <p:spPr/>
        <p:txBody>
          <a:bodyPr vert="horz"/>
          <a:lstStyle/>
          <a:p>
            <a:r>
              <a:rPr lang="en-GB">
                <a:latin typeface="Lato"/>
                <a:ea typeface="Lato"/>
                <a:cs typeface="Lato"/>
              </a:rPr>
              <a:t>Supply chains for Lithium-ion batteries are dominated by China; US is gearing up to increase market share while Europe lags</a:t>
            </a:r>
          </a:p>
        </p:txBody>
      </p:sp>
      <p:sp>
        <p:nvSpPr>
          <p:cNvPr id="4" name="Text Placeholder 3">
            <a:extLst>
              <a:ext uri="{FF2B5EF4-FFF2-40B4-BE49-F238E27FC236}">
                <a16:creationId xmlns:a16="http://schemas.microsoft.com/office/drawing/2014/main" id="{D019BCEC-33A2-CC24-E0E4-A82DB7385673}"/>
              </a:ext>
            </a:extLst>
          </p:cNvPr>
          <p:cNvSpPr>
            <a:spLocks noGrp="1"/>
          </p:cNvSpPr>
          <p:nvPr>
            <p:ph type="body" sz="quarter" idx="32"/>
          </p:nvPr>
        </p:nvSpPr>
        <p:spPr>
          <a:xfrm>
            <a:off x="381600" y="6474841"/>
            <a:ext cx="11428800" cy="332399"/>
          </a:xfrm>
        </p:spPr>
        <p:txBody>
          <a:bodyPr/>
          <a:lstStyle/>
          <a:p>
            <a:r>
              <a:rPr lang="en-GB"/>
              <a:t>1) </a:t>
            </a:r>
            <a:r>
              <a:rPr lang="en-US"/>
              <a:t>F</a:t>
            </a:r>
            <a:r>
              <a:rPr lang="en-US" sz="800"/>
              <a:t>rom </a:t>
            </a:r>
            <a:r>
              <a:rPr lang="en-US" sz="800" err="1"/>
              <a:t>REPowerEU</a:t>
            </a:r>
            <a:r>
              <a:rPr lang="en-US" sz="800"/>
              <a:t>, the Recovery and Resilience Facility, the Innovation Fund as well as Invest EU. </a:t>
            </a:r>
            <a:r>
              <a:rPr lang="en-GB" sz="800" b="0">
                <a:effectLst/>
              </a:rPr>
              <a:t>In November 2023, the EU’s </a:t>
            </a:r>
            <a:r>
              <a:rPr lang="en-GB" sz="800"/>
              <a:t>Innovation </a:t>
            </a:r>
            <a:r>
              <a:rPr lang="en-GB" sz="800" b="0">
                <a:effectLst/>
              </a:rPr>
              <a:t>Fund announced that </a:t>
            </a:r>
            <a:r>
              <a:rPr lang="en-US" sz="800" b="0" kern="1200">
                <a:solidFill>
                  <a:schemeClr val="dk1"/>
                </a:solidFill>
                <a:effectLst/>
                <a:latin typeface="+mn-lt"/>
                <a:ea typeface="+mn-ea"/>
                <a:cs typeface="+mn-cs"/>
              </a:rPr>
              <a:t>€1.4 billion in grant funding – double the previous year’s budget - will be made available for projects manufacturing clean-energy components, including for batteries.</a:t>
            </a:r>
          </a:p>
          <a:p>
            <a:r>
              <a:rPr lang="en-US" sz="800"/>
              <a:t> </a:t>
            </a:r>
          </a:p>
        </p:txBody>
      </p:sp>
      <p:sp>
        <p:nvSpPr>
          <p:cNvPr id="5" name="Text Placeholder 4">
            <a:extLst>
              <a:ext uri="{FF2B5EF4-FFF2-40B4-BE49-F238E27FC236}">
                <a16:creationId xmlns:a16="http://schemas.microsoft.com/office/drawing/2014/main" id="{47DC5B0A-E1A8-4A32-170D-AE3355CAD6EA}"/>
              </a:ext>
            </a:extLst>
          </p:cNvPr>
          <p:cNvSpPr>
            <a:spLocks noGrp="1"/>
          </p:cNvSpPr>
          <p:nvPr>
            <p:ph type="body" sz="quarter" idx="31"/>
          </p:nvPr>
        </p:nvSpPr>
        <p:spPr>
          <a:xfrm>
            <a:off x="381599" y="79401"/>
            <a:ext cx="4097597" cy="184666"/>
          </a:xfrm>
        </p:spPr>
        <p:txBody>
          <a:bodyPr/>
          <a:lstStyle/>
          <a:p>
            <a:r>
              <a:rPr lang="en-GB"/>
              <a:t>		Introduction to battery storage – Battery technologies</a:t>
            </a:r>
          </a:p>
        </p:txBody>
      </p:sp>
      <p:sp>
        <p:nvSpPr>
          <p:cNvPr id="8" name="Text Placeholder 30">
            <a:extLst>
              <a:ext uri="{FF2B5EF4-FFF2-40B4-BE49-F238E27FC236}">
                <a16:creationId xmlns:a16="http://schemas.microsoft.com/office/drawing/2014/main" id="{B7263C66-8150-21C9-CA02-DD625C14F604}"/>
              </a:ext>
            </a:extLst>
          </p:cNvPr>
          <p:cNvSpPr txBox="1">
            <a:spLocks/>
          </p:cNvSpPr>
          <p:nvPr/>
        </p:nvSpPr>
        <p:spPr>
          <a:xfrm>
            <a:off x="409937" y="1288512"/>
            <a:ext cx="5376000" cy="368300"/>
          </a:xfrm>
          <a:prstGeom prst="rect">
            <a:avLst/>
          </a:prstGeom>
        </p:spPr>
        <p:txBody>
          <a:bodyPr lIns="0" tIns="0" rIns="0" bIns="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Lithium-ion battery cell manufacturing capacity by region</a:t>
            </a:r>
            <a:b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br>
            <a: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t>% of total manufacturing capacity</a:t>
            </a:r>
          </a:p>
        </p:txBody>
      </p:sp>
      <p:graphicFrame>
        <p:nvGraphicFramePr>
          <p:cNvPr id="11" name="Chart 10">
            <a:extLst>
              <a:ext uri="{FF2B5EF4-FFF2-40B4-BE49-F238E27FC236}">
                <a16:creationId xmlns:a16="http://schemas.microsoft.com/office/drawing/2014/main" id="{881A5E90-7395-049F-BF5C-4F049146F607}"/>
              </a:ext>
            </a:extLst>
          </p:cNvPr>
          <p:cNvGraphicFramePr/>
          <p:nvPr>
            <p:custDataLst>
              <p:tags r:id="rId2"/>
            </p:custDataLst>
            <p:extLst>
              <p:ext uri="{D42A27DB-BD31-4B8C-83A1-F6EECF244321}">
                <p14:modId xmlns:p14="http://schemas.microsoft.com/office/powerpoint/2010/main" val="790712124"/>
              </p:ext>
            </p:extLst>
          </p:nvPr>
        </p:nvGraphicFramePr>
        <p:xfrm>
          <a:off x="387350" y="1897063"/>
          <a:ext cx="5481638" cy="3684587"/>
        </p:xfrm>
        <a:graphic>
          <a:graphicData uri="http://schemas.openxmlformats.org/drawingml/2006/chart">
            <c:chart xmlns:c="http://schemas.openxmlformats.org/drawingml/2006/chart" xmlns:r="http://schemas.openxmlformats.org/officeDocument/2006/relationships" r:id="rId9"/>
          </a:graphicData>
        </a:graphic>
      </p:graphicFrame>
      <p:sp>
        <p:nvSpPr>
          <p:cNvPr id="51" name="Text Placeholder 19">
            <a:extLst>
              <a:ext uri="{FF2B5EF4-FFF2-40B4-BE49-F238E27FC236}">
                <a16:creationId xmlns:a16="http://schemas.microsoft.com/office/drawing/2014/main" id="{767CB8FB-3EDC-7E0B-9617-CB4CE3885314}"/>
              </a:ext>
            </a:extLst>
          </p:cNvPr>
          <p:cNvSpPr>
            <a:spLocks noGrp="1"/>
          </p:cNvSpPr>
          <p:nvPr>
            <p:custDataLst>
              <p:tags r:id="rId3"/>
            </p:custDataLst>
          </p:nvPr>
        </p:nvSpPr>
        <p:spPr bwMode="auto">
          <a:xfrm>
            <a:off x="1614488" y="55499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FAF2EF0-C9B3-43E4-8D0C-6F18D83D01C6}" type="datetime'2''''0''2''''''''''2'''''''''''''''''">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2</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54" name="Text Placeholder 19">
            <a:extLst>
              <a:ext uri="{FF2B5EF4-FFF2-40B4-BE49-F238E27FC236}">
                <a16:creationId xmlns:a16="http://schemas.microsoft.com/office/drawing/2014/main" id="{EF7FDA3F-1892-FE86-4A23-D623DF8D8FFD}"/>
              </a:ext>
            </a:extLst>
          </p:cNvPr>
          <p:cNvSpPr>
            <a:spLocks noGrp="1"/>
          </p:cNvSpPr>
          <p:nvPr>
            <p:custDataLst>
              <p:tags r:id="rId4"/>
            </p:custDataLst>
          </p:nvPr>
        </p:nvSpPr>
        <p:spPr bwMode="auto">
          <a:xfrm>
            <a:off x="4273550" y="55499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513A888-D642-4CA0-972E-2769245DFD35}" type="datetime'''''''''''''''''2''''''''''''''''''''''''''''''''0''''''30'">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4" name="Oval 3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37" name="Oval 36">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graphicFrame>
        <p:nvGraphicFramePr>
          <p:cNvPr id="77" name="Table 76">
            <a:extLst>
              <a:ext uri="{FF2B5EF4-FFF2-40B4-BE49-F238E27FC236}">
                <a16:creationId xmlns:a16="http://schemas.microsoft.com/office/drawing/2014/main" id="{C2226912-A1CC-F775-F971-A50ADD55749B}"/>
              </a:ext>
            </a:extLst>
          </p:cNvPr>
          <p:cNvGraphicFramePr>
            <a:graphicFrameLocks noGrp="1"/>
          </p:cNvGraphicFramePr>
          <p:nvPr>
            <p:extLst>
              <p:ext uri="{D42A27DB-BD31-4B8C-83A1-F6EECF244321}">
                <p14:modId xmlns:p14="http://schemas.microsoft.com/office/powerpoint/2010/main" val="1228890363"/>
              </p:ext>
            </p:extLst>
          </p:nvPr>
        </p:nvGraphicFramePr>
        <p:xfrm>
          <a:off x="6406064" y="1288513"/>
          <a:ext cx="5417636" cy="4210497"/>
        </p:xfrm>
        <a:graphic>
          <a:graphicData uri="http://schemas.openxmlformats.org/drawingml/2006/table">
            <a:tbl>
              <a:tblPr firstRow="1" bandRow="1">
                <a:effectLst/>
                <a:tableStyleId>{5C22544A-7EE6-4342-B048-85BDC9FD1C3A}</a:tableStyleId>
              </a:tblPr>
              <a:tblGrid>
                <a:gridCol w="995767">
                  <a:extLst>
                    <a:ext uri="{9D8B030D-6E8A-4147-A177-3AD203B41FA5}">
                      <a16:colId xmlns:a16="http://schemas.microsoft.com/office/drawing/2014/main" val="2767320327"/>
                    </a:ext>
                  </a:extLst>
                </a:gridCol>
                <a:gridCol w="108911">
                  <a:extLst>
                    <a:ext uri="{9D8B030D-6E8A-4147-A177-3AD203B41FA5}">
                      <a16:colId xmlns:a16="http://schemas.microsoft.com/office/drawing/2014/main" val="1802363565"/>
                    </a:ext>
                  </a:extLst>
                </a:gridCol>
                <a:gridCol w="4312958">
                  <a:extLst>
                    <a:ext uri="{9D8B030D-6E8A-4147-A177-3AD203B41FA5}">
                      <a16:colId xmlns:a16="http://schemas.microsoft.com/office/drawing/2014/main" val="3455283744"/>
                    </a:ext>
                  </a:extLst>
                </a:gridCol>
              </a:tblGrid>
              <a:tr h="252146">
                <a:tc gridSpan="3">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kern="1200">
                          <a:solidFill>
                            <a:sysClr val="windowText" lastClr="000000"/>
                          </a:solidFill>
                          <a:latin typeface="+mn-lt"/>
                          <a:ea typeface="+mn-ea"/>
                          <a:cs typeface="+mn-cs"/>
                        </a:rPr>
                        <a:t>Policy support for battery manufacturing in the US and Europe</a:t>
                      </a:r>
                    </a:p>
                  </a:txBody>
                  <a:tcPr marL="0" marR="54000" marT="54000" marB="54000"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ysClr val="windowText" lastClr="000000"/>
                          </a:solidFill>
                        </a:rPr>
                        <a:t>Policy support for battery manufacturing</a:t>
                      </a:r>
                    </a:p>
                  </a:txBody>
                  <a:tcPr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42328266"/>
                  </a:ext>
                </a:extLst>
              </a:tr>
              <a:tr h="859849">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chemeClr val="tx1"/>
                        </a:solidFill>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chemeClr val="tx1"/>
                        </a:solidFill>
                      </a:endParaRP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Inflation Reduction Act</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a:spcBef>
                          <a:spcPts val="600"/>
                        </a:spcBef>
                        <a:buFont typeface="Wingdings" panose="05000000000000000000" pitchFamily="2" charset="2"/>
                        <a:buChar char="§"/>
                      </a:pPr>
                      <a:r>
                        <a:rPr lang="en-GB" sz="1100" b="0">
                          <a:effectLst/>
                        </a:rPr>
                        <a:t>The </a:t>
                      </a:r>
                      <a:r>
                        <a:rPr lang="en-GB" sz="1100" b="1">
                          <a:effectLst/>
                        </a:rPr>
                        <a:t>US Inflation Reduction Act (IRA) </a:t>
                      </a:r>
                      <a:r>
                        <a:rPr lang="en-GB" sz="1100" b="0">
                          <a:effectLst/>
                        </a:rPr>
                        <a:t>includes significant support for battery manufacturing, making up ~</a:t>
                      </a:r>
                      <a:r>
                        <a:rPr lang="en-GB" sz="1100" b="1" i="0" u="none" strike="noStrike" kern="1200" baseline="0">
                          <a:solidFill>
                            <a:srgbClr val="808080"/>
                          </a:solidFill>
                          <a:highlight>
                            <a:srgbClr val="808080"/>
                          </a:highlight>
                          <a:latin typeface="Lato" panose="020F0502020204030203" pitchFamily="34" charset="0"/>
                        </a:rPr>
                        <a:t>XX</a:t>
                      </a:r>
                      <a:r>
                        <a:rPr lang="en-GB" sz="1100" b="0">
                          <a:effectLst/>
                        </a:rPr>
                        <a:t>% of total factory CAPEX and OPEX via the Advanced Manufacturing Tax Credit over </a:t>
                      </a:r>
                      <a:r>
                        <a:rPr lang="en-GB" sz="1100" b="1" i="0" u="none" strike="noStrike" kern="1200" baseline="0">
                          <a:solidFill>
                            <a:srgbClr val="808080"/>
                          </a:solidFill>
                          <a:highlight>
                            <a:srgbClr val="808080"/>
                          </a:highlight>
                          <a:latin typeface="Lato" panose="020F0502020204030203" pitchFamily="34" charset="0"/>
                        </a:rPr>
                        <a:t>XX</a:t>
                      </a:r>
                      <a:r>
                        <a:rPr lang="en-GB" sz="1100" b="0">
                          <a:effectLst/>
                        </a:rPr>
                        <a:t> years.</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980078"/>
                  </a:ext>
                </a:extLst>
              </a:tr>
              <a:tr h="197855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chemeClr val="tx1"/>
                        </a:solidFill>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chemeClr val="tx1"/>
                        </a:solidFill>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chemeClr val="tx1"/>
                        </a:solidFill>
                      </a:endParaRP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Net Zero Industry Act</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100" b="0">
                          <a:effectLst/>
                        </a:rPr>
                        <a:t>EU’s</a:t>
                      </a:r>
                      <a:r>
                        <a:rPr lang="en-GB" sz="1100" b="1">
                          <a:effectLst/>
                        </a:rPr>
                        <a:t> Net Zero Industry Act </a:t>
                      </a:r>
                      <a:r>
                        <a:rPr lang="en-GB" sz="1100" b="0">
                          <a:effectLst/>
                        </a:rPr>
                        <a:t>aims to accelerate clean-tech development and introduces</a:t>
                      </a:r>
                      <a:r>
                        <a:rPr lang="en-US" sz="1100"/>
                        <a:t> a </a:t>
                      </a:r>
                      <a:r>
                        <a:rPr lang="en-GB" sz="1100" b="1" i="0" u="none" strike="noStrike" kern="1200" baseline="0">
                          <a:solidFill>
                            <a:srgbClr val="808080"/>
                          </a:solidFill>
                          <a:highlight>
                            <a:srgbClr val="808080"/>
                          </a:highlight>
                          <a:latin typeface="Lato" panose="020F0502020204030203" pitchFamily="34" charset="0"/>
                        </a:rPr>
                        <a:t>XX</a:t>
                      </a:r>
                      <a:r>
                        <a:rPr lang="en-US" sz="1100"/>
                        <a:t>% minimum EU manufacturing quota across key industries, including energy storage, until 2030.</a:t>
                      </a:r>
                      <a:endParaRPr lang="en-GB" sz="1100" b="0">
                        <a:effectLst/>
                      </a:endParaRPr>
                    </a:p>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US" sz="1100"/>
                        <a:t>The Act </a:t>
                      </a:r>
                      <a:r>
                        <a:rPr lang="en-GB" sz="1100" b="0">
                          <a:effectLst/>
                        </a:rPr>
                        <a:t>does not include dedicated support for battery manufacturing, but </a:t>
                      </a:r>
                      <a:r>
                        <a:rPr lang="en-US" sz="1100"/>
                        <a:t>10 bn € of funding from Member States will be available through the Strategic Technologies for Europe Platform (STEP). Further support will be repurposed from unused funds</a:t>
                      </a:r>
                      <a:r>
                        <a:rPr lang="en-US" sz="1100" baseline="30000"/>
                        <a:t>1.</a:t>
                      </a:r>
                      <a:endParaRPr lang="en-US" sz="1100"/>
                    </a:p>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100" b="0" kern="1200">
                          <a:solidFill>
                            <a:schemeClr val="tx1"/>
                          </a:solidFill>
                          <a:effectLst/>
                          <a:latin typeface="+mn-lt"/>
                          <a:ea typeface="+mn-ea"/>
                          <a:cs typeface="+mn-cs"/>
                        </a:rPr>
                        <a:t>European battery “gigafactories” have typically been supported by individual EU member states from their own budgets, pursuant to European State Aid regulations</a:t>
                      </a:r>
                      <a:endParaRPr lang="en-US" sz="1100" b="0" kern="1200">
                        <a:solidFill>
                          <a:schemeClr val="dk1"/>
                        </a:solidFill>
                        <a:effectLst/>
                        <a:latin typeface="+mn-lt"/>
                        <a:ea typeface="+mn-ea"/>
                        <a:cs typeface="+mn-cs"/>
                      </a:endParaRP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211608"/>
                  </a:ext>
                </a:extLst>
              </a:tr>
              <a:tr h="934568">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chemeClr val="tx1"/>
                        </a:solidFill>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chemeClr val="tx1"/>
                        </a:solidFill>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chemeClr val="tx1"/>
                        </a:solidFill>
                      </a:endParaRP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chemeClr val="tx1"/>
                          </a:solidFill>
                        </a:rPr>
                        <a:t>UK Battery Strategy</a:t>
                      </a:r>
                    </a:p>
                  </a:txBody>
                  <a:tcPr marL="4572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indent="-182880" algn="l">
                        <a:spcBef>
                          <a:spcPts val="600"/>
                        </a:spcBef>
                        <a:buFont typeface="Wingdings" panose="05000000000000000000" pitchFamily="2" charset="2"/>
                        <a:buChar char="§"/>
                      </a:pPr>
                      <a:r>
                        <a:rPr lang="en-GB" sz="1100" b="0">
                          <a:effectLst/>
                        </a:rPr>
                        <a:t>The UK Battery Strategy, released by the Department of Business and Trade in Dec-23, focuses on the growth of the UK’s domestic battery manufacturing supply chains through supportive policies, however no direct funding was proposed.</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8113508"/>
                  </a:ext>
                </a:extLst>
              </a:tr>
            </a:tbl>
          </a:graphicData>
        </a:graphic>
      </p:graphicFrame>
      <p:pic>
        <p:nvPicPr>
          <p:cNvPr id="1026" name="Picture 2" descr="Flag of the United States of America">
            <a:extLst>
              <a:ext uri="{FF2B5EF4-FFF2-40B4-BE49-F238E27FC236}">
                <a16:creationId xmlns:a16="http://schemas.microsoft.com/office/drawing/2014/main" id="{1201878D-83D9-B00E-6CEE-E296B72F4B2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50908" y="1732400"/>
            <a:ext cx="513736" cy="27051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defined">
            <a:extLst>
              <a:ext uri="{FF2B5EF4-FFF2-40B4-BE49-F238E27FC236}">
                <a16:creationId xmlns:a16="http://schemas.microsoft.com/office/drawing/2014/main" id="{B78D539E-18E9-A3C4-E6F4-E06A24F2A4A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50908" y="3135534"/>
            <a:ext cx="513736" cy="34249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7821008-BD1A-4393-B55C-21AA093D5A9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flipV="1">
            <a:off x="6650908" y="4664444"/>
            <a:ext cx="513736" cy="34249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250BB6A8-7151-8650-D603-05594EBF489D}"/>
              </a:ext>
            </a:extLst>
          </p:cNvPr>
          <p:cNvSpPr txBox="1"/>
          <p:nvPr/>
        </p:nvSpPr>
        <p:spPr>
          <a:xfrm>
            <a:off x="4133850" y="6264275"/>
            <a:ext cx="3613693" cy="152400"/>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Global manufacturing capacity (TWh)</a:t>
            </a:r>
          </a:p>
        </p:txBody>
      </p:sp>
      <p:sp>
        <p:nvSpPr>
          <p:cNvPr id="17" name="Rounded Rectangle 96">
            <a:extLst>
              <a:ext uri="{FF2B5EF4-FFF2-40B4-BE49-F238E27FC236}">
                <a16:creationId xmlns:a16="http://schemas.microsoft.com/office/drawing/2014/main" id="{31037F34-8E76-3F1E-D16F-74FD66AB3CC6}"/>
              </a:ext>
            </a:extLst>
          </p:cNvPr>
          <p:cNvSpPr/>
          <p:nvPr/>
        </p:nvSpPr>
        <p:spPr>
          <a:xfrm>
            <a:off x="1460500" y="5818758"/>
            <a:ext cx="685800" cy="233283"/>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p>
        </p:txBody>
      </p:sp>
      <p:sp>
        <p:nvSpPr>
          <p:cNvPr id="18" name="Rounded Rectangle 96">
            <a:extLst>
              <a:ext uri="{FF2B5EF4-FFF2-40B4-BE49-F238E27FC236}">
                <a16:creationId xmlns:a16="http://schemas.microsoft.com/office/drawing/2014/main" id="{36CE204F-F745-E3FF-022C-97F7A85FF010}"/>
              </a:ext>
            </a:extLst>
          </p:cNvPr>
          <p:cNvSpPr/>
          <p:nvPr/>
        </p:nvSpPr>
        <p:spPr>
          <a:xfrm>
            <a:off x="3546350" y="6251575"/>
            <a:ext cx="540000" cy="177800"/>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p>
        </p:txBody>
      </p:sp>
      <p:sp>
        <p:nvSpPr>
          <p:cNvPr id="19" name="Rounded Rectangle 96">
            <a:extLst>
              <a:ext uri="{FF2B5EF4-FFF2-40B4-BE49-F238E27FC236}">
                <a16:creationId xmlns:a16="http://schemas.microsoft.com/office/drawing/2014/main" id="{5DEAE968-2692-8AE0-4EF7-1D91D880162E}"/>
              </a:ext>
            </a:extLst>
          </p:cNvPr>
          <p:cNvSpPr/>
          <p:nvPr/>
        </p:nvSpPr>
        <p:spPr>
          <a:xfrm>
            <a:off x="4114800" y="5818758"/>
            <a:ext cx="685800" cy="233283"/>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p>
        </p:txBody>
      </p:sp>
      <p:sp>
        <p:nvSpPr>
          <p:cNvPr id="23" name="Rectangle 22">
            <a:extLst>
              <a:ext uri="{FF2B5EF4-FFF2-40B4-BE49-F238E27FC236}">
                <a16:creationId xmlns:a16="http://schemas.microsoft.com/office/drawing/2014/main" id="{5559A091-6651-AEA5-3E7F-4AC631BE1374}"/>
              </a:ext>
            </a:extLst>
          </p:cNvPr>
          <p:cNvSpPr/>
          <p:nvPr/>
        </p:nvSpPr>
        <p:spPr>
          <a:xfrm>
            <a:off x="6450197" y="5607272"/>
            <a:ext cx="5373504" cy="49759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5" name="Text Placeholder 18">
            <a:extLst>
              <a:ext uri="{FF2B5EF4-FFF2-40B4-BE49-F238E27FC236}">
                <a16:creationId xmlns:a16="http://schemas.microsoft.com/office/drawing/2014/main" id="{7C0FE151-CFCC-235A-7EED-7FA7D6B01B4D}"/>
              </a:ext>
            </a:extLst>
          </p:cNvPr>
          <p:cNvSpPr txBox="1">
            <a:spLocks/>
          </p:cNvSpPr>
          <p:nvPr/>
        </p:nvSpPr>
        <p:spPr>
          <a:xfrm>
            <a:off x="6736764" y="5601534"/>
            <a:ext cx="5148592" cy="507831"/>
          </a:xfrm>
          <a:prstGeom prst="rect">
            <a:avLst/>
          </a:prstGeom>
          <a:ln>
            <a:noFill/>
          </a:ln>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100" b="0">
                <a:solidFill>
                  <a:schemeClr val="dk1"/>
                </a:solidFill>
                <a:latin typeface="+mn-lt"/>
                <a:ea typeface="+mn-ea"/>
                <a:cs typeface="+mn-cs"/>
              </a:rPr>
              <a:t>Aurora Central scenario assumes that batteries continue to be sourced primarily from China; European efforts to reshore manufacturing but without adequate financial support mechanisms could increase costs in the medium-term.</a:t>
            </a:r>
          </a:p>
        </p:txBody>
      </p:sp>
      <p:sp>
        <p:nvSpPr>
          <p:cNvPr id="26" name="Isosceles Triangle 25">
            <a:extLst>
              <a:ext uri="{FF2B5EF4-FFF2-40B4-BE49-F238E27FC236}">
                <a16:creationId xmlns:a16="http://schemas.microsoft.com/office/drawing/2014/main" id="{2E8BAA1C-6501-EFB1-C6EB-ACBBFA21903A}"/>
              </a:ext>
            </a:extLst>
          </p:cNvPr>
          <p:cNvSpPr/>
          <p:nvPr/>
        </p:nvSpPr>
        <p:spPr>
          <a:xfrm rot="5400000">
            <a:off x="6301756" y="5753683"/>
            <a:ext cx="497592" cy="200712"/>
          </a:xfrm>
          <a:prstGeom prst="triangle">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 name="Rectangle 5">
            <a:extLst>
              <a:ext uri="{FF2B5EF4-FFF2-40B4-BE49-F238E27FC236}">
                <a16:creationId xmlns:a16="http://schemas.microsoft.com/office/drawing/2014/main" id="{2102ADBB-90A6-221C-CC85-C2ECEC64A078}"/>
              </a:ext>
            </a:extLst>
          </p:cNvPr>
          <p:cNvSpPr/>
          <p:nvPr/>
        </p:nvSpPr>
        <p:spPr>
          <a:xfrm>
            <a:off x="381000" y="1656812"/>
            <a:ext cx="11423650" cy="4536597"/>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9637587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639704F-CF7D-22C7-4126-7E7A2A7A4610}"/>
              </a:ext>
            </a:extLst>
          </p:cNvPr>
          <p:cNvGraphicFramePr>
            <a:graphicFrameLocks noChangeAspect="1"/>
          </p:cNvGraphicFramePr>
          <p:nvPr>
            <p:custDataLst>
              <p:tags r:id="rId1"/>
            </p:custDataLst>
            <p:extLst>
              <p:ext uri="{D42A27DB-BD31-4B8C-83A1-F6EECF244321}">
                <p14:modId xmlns:p14="http://schemas.microsoft.com/office/powerpoint/2010/main" val="282577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4" name="Object 13" hidden="1">
                        <a:extLst>
                          <a:ext uri="{FF2B5EF4-FFF2-40B4-BE49-F238E27FC236}">
                            <a16:creationId xmlns:a16="http://schemas.microsoft.com/office/drawing/2014/main" id="{6639704F-CF7D-22C7-4126-7E7A2A7A46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5F195728-ECE6-C45C-FCFB-A411D41E93FE}"/>
              </a:ext>
            </a:extLst>
          </p:cNvPr>
          <p:cNvSpPr>
            <a:spLocks noGrp="1"/>
          </p:cNvSpPr>
          <p:nvPr>
            <p:ph type="body" sz="quarter" idx="27"/>
          </p:nvPr>
        </p:nvSpPr>
        <p:spPr>
          <a:xfrm>
            <a:off x="507362" y="2544765"/>
            <a:ext cx="3517124" cy="738664"/>
          </a:xfrm>
        </p:spPr>
        <p:txBody>
          <a:bodyPr/>
          <a:lstStyle/>
          <a:p>
            <a:pPr marL="171450" indent="-171450">
              <a:buFont typeface="Wingdings" panose="05000000000000000000" pitchFamily="2" charset="2"/>
              <a:buChar char="§"/>
            </a:pPr>
            <a:r>
              <a:rPr lang="en-GB"/>
              <a:t>CAPEX on new-build costs are aggregated from a combination of client quotes, benchmarked with market research and historical cost outturns. Base values are reflective of installation costs in 2021.</a:t>
            </a:r>
          </a:p>
        </p:txBody>
      </p:sp>
      <p:sp>
        <p:nvSpPr>
          <p:cNvPr id="13" name="Text Placeholder 12">
            <a:extLst>
              <a:ext uri="{FF2B5EF4-FFF2-40B4-BE49-F238E27FC236}">
                <a16:creationId xmlns:a16="http://schemas.microsoft.com/office/drawing/2014/main" id="{1A4C5745-C9B4-C3BC-AE29-D91CA44DF5AD}"/>
              </a:ext>
            </a:extLst>
          </p:cNvPr>
          <p:cNvSpPr>
            <a:spLocks noGrp="1"/>
          </p:cNvSpPr>
          <p:nvPr>
            <p:ph type="body" sz="quarter" idx="22"/>
          </p:nvPr>
        </p:nvSpPr>
        <p:spPr>
          <a:xfrm>
            <a:off x="381001" y="6715169"/>
            <a:ext cx="1500411" cy="110800"/>
          </a:xfrm>
        </p:spPr>
        <p:txBody>
          <a:bodyPr/>
          <a:lstStyle/>
          <a:p>
            <a:r>
              <a:rPr lang="en-GB"/>
              <a:t>Source: Aurora Energy Research</a:t>
            </a:r>
          </a:p>
        </p:txBody>
      </p:sp>
      <p:sp>
        <p:nvSpPr>
          <p:cNvPr id="7" name="Title 6">
            <a:extLst>
              <a:ext uri="{FF2B5EF4-FFF2-40B4-BE49-F238E27FC236}">
                <a16:creationId xmlns:a16="http://schemas.microsoft.com/office/drawing/2014/main" id="{88ACC3A9-2726-3929-6DF8-7908CE22533C}"/>
              </a:ext>
            </a:extLst>
          </p:cNvPr>
          <p:cNvSpPr>
            <a:spLocks noGrp="1"/>
          </p:cNvSpPr>
          <p:nvPr>
            <p:ph type="title"/>
          </p:nvPr>
        </p:nvSpPr>
        <p:spPr/>
        <p:txBody>
          <a:bodyPr vert="horz"/>
          <a:lstStyle/>
          <a:p>
            <a:r>
              <a:rPr lang="en-GB"/>
              <a:t>Aurora applies learning rates from historical battery cost reductions and key raw materials price movements to forecast CAPEX</a:t>
            </a:r>
          </a:p>
        </p:txBody>
      </p:sp>
      <p:sp>
        <p:nvSpPr>
          <p:cNvPr id="21" name="Text Placeholder 20">
            <a:extLst>
              <a:ext uri="{FF2B5EF4-FFF2-40B4-BE49-F238E27FC236}">
                <a16:creationId xmlns:a16="http://schemas.microsoft.com/office/drawing/2014/main" id="{0C01628D-B69E-6835-4826-D8981F364CB2}"/>
              </a:ext>
            </a:extLst>
          </p:cNvPr>
          <p:cNvSpPr>
            <a:spLocks noGrp="1"/>
          </p:cNvSpPr>
          <p:nvPr>
            <p:ph type="body" sz="quarter" idx="32"/>
          </p:nvPr>
        </p:nvSpPr>
        <p:spPr/>
        <p:txBody>
          <a:bodyPr/>
          <a:lstStyle/>
          <a:p>
            <a:endParaRPr lang="en-GB"/>
          </a:p>
        </p:txBody>
      </p:sp>
      <p:sp>
        <p:nvSpPr>
          <p:cNvPr id="22" name="Text Placeholder 21">
            <a:extLst>
              <a:ext uri="{FF2B5EF4-FFF2-40B4-BE49-F238E27FC236}">
                <a16:creationId xmlns:a16="http://schemas.microsoft.com/office/drawing/2014/main" id="{DA579412-10E8-1896-0A42-B8273F099A1A}"/>
              </a:ext>
            </a:extLst>
          </p:cNvPr>
          <p:cNvSpPr>
            <a:spLocks noGrp="1"/>
          </p:cNvSpPr>
          <p:nvPr>
            <p:ph type="body" sz="quarter" idx="33"/>
          </p:nvPr>
        </p:nvSpPr>
        <p:spPr>
          <a:xfrm>
            <a:off x="8306576" y="2576583"/>
            <a:ext cx="3517124" cy="738664"/>
          </a:xfrm>
        </p:spPr>
        <p:txBody>
          <a:bodyPr/>
          <a:lstStyle/>
          <a:p>
            <a:pPr marL="171450" indent="-171450">
              <a:buFont typeface="Wingdings" panose="05000000000000000000" pitchFamily="2" charset="2"/>
              <a:buChar char="§"/>
            </a:pPr>
            <a:r>
              <a:rPr lang="en-GB"/>
              <a:t>The forecasted global deployment of battery storage systems in combination with expected learning rates per cost component are used to project future cost reductions.</a:t>
            </a:r>
          </a:p>
        </p:txBody>
      </p:sp>
      <p:sp>
        <p:nvSpPr>
          <p:cNvPr id="24" name="Text Placeholder 21">
            <a:extLst>
              <a:ext uri="{FF2B5EF4-FFF2-40B4-BE49-F238E27FC236}">
                <a16:creationId xmlns:a16="http://schemas.microsoft.com/office/drawing/2014/main" id="{DD788256-9B47-2356-E347-3BCD5E9794F2}"/>
              </a:ext>
            </a:extLst>
          </p:cNvPr>
          <p:cNvSpPr txBox="1">
            <a:spLocks/>
          </p:cNvSpPr>
          <p:nvPr/>
        </p:nvSpPr>
        <p:spPr>
          <a:xfrm>
            <a:off x="4406970" y="2576583"/>
            <a:ext cx="3451384" cy="738664"/>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783" rtl="0" eaLnBrk="1" fontAlgn="auto" latinLnBrk="0" hangingPunct="1">
              <a:lnSpc>
                <a:spcPct val="100000"/>
              </a:lnSpc>
              <a:spcBef>
                <a:spcPts val="75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Learning rates are obtained from market research of historical battery cost reductions and checked against publicly available sources and views from key stakeholders.</a:t>
            </a:r>
          </a:p>
        </p:txBody>
      </p:sp>
      <p:sp>
        <p:nvSpPr>
          <p:cNvPr id="25" name="Text Placeholder 65">
            <a:extLst>
              <a:ext uri="{FF2B5EF4-FFF2-40B4-BE49-F238E27FC236}">
                <a16:creationId xmlns:a16="http://schemas.microsoft.com/office/drawing/2014/main" id="{FD0F2C7A-A80E-821C-F555-4F3FC952512E}"/>
              </a:ext>
            </a:extLst>
          </p:cNvPr>
          <p:cNvSpPr txBox="1">
            <a:spLocks/>
          </p:cNvSpPr>
          <p:nvPr/>
        </p:nvSpPr>
        <p:spPr>
          <a:xfrm>
            <a:off x="507362" y="1818622"/>
            <a:ext cx="3517200" cy="668168"/>
          </a:xfrm>
          <a:prstGeom prst="roundRect">
            <a:avLst/>
          </a:prstGeom>
          <a:solidFill>
            <a:schemeClr val="bg2"/>
          </a:solidFill>
        </p:spPr>
        <p:txBody>
          <a:bodyPr vert="horz" lIns="180000" tIns="0" rIns="108000" bIns="0" rtlCol="0" anchor="ctr">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mn-lt"/>
                <a:ea typeface="Lato Black" panose="020F0502020204030203" pitchFamily="34" charset="0"/>
                <a:cs typeface="Lato Black"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i="0" u="none" strike="noStrike" kern="1200" cap="none" spc="0" normalizeH="0" baseline="0" noProof="0">
                <a:ln>
                  <a:noFill/>
                </a:ln>
                <a:solidFill>
                  <a:srgbClr val="3C3C3B"/>
                </a:solidFill>
                <a:effectLst/>
                <a:uLnTx/>
                <a:uFillTx/>
                <a:latin typeface="Lato"/>
              </a:rPr>
              <a:t>Historical data available to Aurora on CAPEX by cost component is compiled for 1h, 2h and 4h duration battery systems </a:t>
            </a:r>
          </a:p>
        </p:txBody>
      </p:sp>
      <p:sp>
        <p:nvSpPr>
          <p:cNvPr id="27" name="Text Placeholder 7">
            <a:extLst>
              <a:ext uri="{FF2B5EF4-FFF2-40B4-BE49-F238E27FC236}">
                <a16:creationId xmlns:a16="http://schemas.microsoft.com/office/drawing/2014/main" id="{D1655EEB-CAB5-E37C-E387-F844C49C35C6}"/>
              </a:ext>
            </a:extLst>
          </p:cNvPr>
          <p:cNvSpPr txBox="1">
            <a:spLocks/>
          </p:cNvSpPr>
          <p:nvPr/>
        </p:nvSpPr>
        <p:spPr>
          <a:xfrm>
            <a:off x="372965" y="2027294"/>
            <a:ext cx="252000" cy="250825"/>
          </a:xfrm>
          <a:prstGeom prst="ellipse">
            <a:avLst/>
          </a:prstGeom>
          <a:solidFill>
            <a:schemeClr val="accent2"/>
          </a:solidFill>
        </p:spPr>
        <p:txBody>
          <a:bodyPr vert="horz" lIns="0" tIns="0" rIns="0" bIns="0" rtlCol="0" anchor="ctr" anchorCtr="0">
            <a:noAutofit/>
          </a:bodyPr>
          <a:lstStyle>
            <a:lvl1pPr marL="0" indent="0" algn="ctr" defTabSz="685783" rtl="0" eaLnBrk="1" latinLnBrk="0" hangingPunct="1">
              <a:lnSpc>
                <a:spcPct val="100000"/>
              </a:lnSpc>
              <a:spcBef>
                <a:spcPts val="750"/>
              </a:spcBef>
              <a:buFont typeface="Wingdings" panose="05000000000000000000" pitchFamily="2" charset="2"/>
              <a:buNone/>
              <a:defRPr sz="1200" b="1" kern="1200">
                <a:solidFill>
                  <a:schemeClr val="tx1"/>
                </a:solidFill>
                <a:latin typeface="+mn-lt"/>
                <a:ea typeface="+mn-ea"/>
                <a:cs typeface="+mn-cs"/>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1</a:t>
            </a:r>
          </a:p>
        </p:txBody>
      </p:sp>
      <p:sp>
        <p:nvSpPr>
          <p:cNvPr id="28" name="Text Placeholder 65">
            <a:extLst>
              <a:ext uri="{FF2B5EF4-FFF2-40B4-BE49-F238E27FC236}">
                <a16:creationId xmlns:a16="http://schemas.microsoft.com/office/drawing/2014/main" id="{C245F8B2-EAA4-2B0F-F92B-F0EC1A44F2C9}"/>
              </a:ext>
            </a:extLst>
          </p:cNvPr>
          <p:cNvSpPr txBox="1">
            <a:spLocks/>
          </p:cNvSpPr>
          <p:nvPr/>
        </p:nvSpPr>
        <p:spPr>
          <a:xfrm>
            <a:off x="4343074" y="1837179"/>
            <a:ext cx="3644991" cy="668168"/>
          </a:xfrm>
          <a:prstGeom prst="roundRect">
            <a:avLst/>
          </a:prstGeom>
          <a:solidFill>
            <a:schemeClr val="bg2"/>
          </a:solidFill>
        </p:spPr>
        <p:txBody>
          <a:bodyPr vert="horz" lIns="180000" tIns="0" rIns="108000" bIns="0" rtlCol="0" anchor="ctr">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mn-lt"/>
                <a:ea typeface="Lato Black" panose="020F0502020204030203" pitchFamily="34" charset="0"/>
                <a:cs typeface="Lato Black"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i="0" u="none" strike="noStrike" kern="1200" cap="none" spc="0" normalizeH="0" baseline="0" noProof="0">
                <a:ln>
                  <a:noFill/>
                </a:ln>
                <a:solidFill>
                  <a:srgbClr val="3C3C3B"/>
                </a:solidFill>
                <a:effectLst/>
                <a:uLnTx/>
                <a:uFillTx/>
                <a:latin typeface="Lato"/>
              </a:rPr>
              <a:t>Expected learning rates for each cost component are applied to reflect technological improvements from economies of scale</a:t>
            </a:r>
          </a:p>
        </p:txBody>
      </p:sp>
      <p:sp>
        <p:nvSpPr>
          <p:cNvPr id="29" name="Text Placeholder 7">
            <a:extLst>
              <a:ext uri="{FF2B5EF4-FFF2-40B4-BE49-F238E27FC236}">
                <a16:creationId xmlns:a16="http://schemas.microsoft.com/office/drawing/2014/main" id="{F0225592-D0CF-75FA-D537-35300DF82555}"/>
              </a:ext>
            </a:extLst>
          </p:cNvPr>
          <p:cNvSpPr txBox="1">
            <a:spLocks/>
          </p:cNvSpPr>
          <p:nvPr/>
        </p:nvSpPr>
        <p:spPr>
          <a:xfrm>
            <a:off x="4217074" y="2027294"/>
            <a:ext cx="252000" cy="250825"/>
          </a:xfrm>
          <a:prstGeom prst="ellipse">
            <a:avLst/>
          </a:prstGeom>
          <a:solidFill>
            <a:schemeClr val="accent2"/>
          </a:solidFill>
        </p:spPr>
        <p:txBody>
          <a:bodyPr vert="horz" lIns="0" tIns="0" rIns="0" bIns="0" rtlCol="0" anchor="ctr" anchorCtr="0">
            <a:noAutofit/>
          </a:bodyPr>
          <a:lstStyle>
            <a:lvl1pPr marL="0" indent="0" algn="ctr" defTabSz="685783" rtl="0" eaLnBrk="1" latinLnBrk="0" hangingPunct="1">
              <a:lnSpc>
                <a:spcPct val="100000"/>
              </a:lnSpc>
              <a:spcBef>
                <a:spcPts val="750"/>
              </a:spcBef>
              <a:buFont typeface="Wingdings" panose="05000000000000000000" pitchFamily="2" charset="2"/>
              <a:buNone/>
              <a:defRPr sz="1200" b="1" kern="1200">
                <a:solidFill>
                  <a:schemeClr val="tx1"/>
                </a:solidFill>
                <a:latin typeface="+mn-lt"/>
                <a:ea typeface="+mn-ea"/>
                <a:cs typeface="+mn-cs"/>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2</a:t>
            </a:r>
          </a:p>
        </p:txBody>
      </p:sp>
      <p:sp>
        <p:nvSpPr>
          <p:cNvPr id="30" name="Text Placeholder 65">
            <a:extLst>
              <a:ext uri="{FF2B5EF4-FFF2-40B4-BE49-F238E27FC236}">
                <a16:creationId xmlns:a16="http://schemas.microsoft.com/office/drawing/2014/main" id="{A626FDE0-CD97-37D8-036F-7C59CB231061}"/>
              </a:ext>
            </a:extLst>
          </p:cNvPr>
          <p:cNvSpPr txBox="1">
            <a:spLocks/>
          </p:cNvSpPr>
          <p:nvPr/>
        </p:nvSpPr>
        <p:spPr>
          <a:xfrm>
            <a:off x="8306577" y="1818622"/>
            <a:ext cx="3517123" cy="668168"/>
          </a:xfrm>
          <a:prstGeom prst="roundRect">
            <a:avLst/>
          </a:prstGeom>
          <a:solidFill>
            <a:schemeClr val="bg2"/>
          </a:solidFill>
        </p:spPr>
        <p:txBody>
          <a:bodyPr vert="horz" lIns="180000" tIns="0" rIns="108000" bIns="0" rtlCol="0" anchor="ctr">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mn-lt"/>
                <a:ea typeface="Lato Black" panose="020F0502020204030203" pitchFamily="34" charset="0"/>
                <a:cs typeface="Lato Black"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i="0" u="none" strike="noStrike" kern="1200" cap="none" spc="0" normalizeH="0" baseline="0" noProof="0">
                <a:ln>
                  <a:noFill/>
                </a:ln>
                <a:solidFill>
                  <a:srgbClr val="3C3C3B"/>
                </a:solidFill>
                <a:effectLst/>
                <a:uLnTx/>
                <a:uFillTx/>
                <a:latin typeface="Lato"/>
              </a:rPr>
              <a:t>Aurora’s cost model combines expected learning rates and CAPEX quotes to arrive at forecasted CAPEX reductions</a:t>
            </a:r>
          </a:p>
        </p:txBody>
      </p:sp>
      <p:sp>
        <p:nvSpPr>
          <p:cNvPr id="31" name="Text Placeholder 7">
            <a:extLst>
              <a:ext uri="{FF2B5EF4-FFF2-40B4-BE49-F238E27FC236}">
                <a16:creationId xmlns:a16="http://schemas.microsoft.com/office/drawing/2014/main" id="{7316176D-2E86-EC4F-3006-C1D699962A07}"/>
              </a:ext>
            </a:extLst>
          </p:cNvPr>
          <p:cNvSpPr txBox="1">
            <a:spLocks/>
          </p:cNvSpPr>
          <p:nvPr/>
        </p:nvSpPr>
        <p:spPr>
          <a:xfrm>
            <a:off x="8169738" y="2027294"/>
            <a:ext cx="252000" cy="250825"/>
          </a:xfrm>
          <a:prstGeom prst="ellipse">
            <a:avLst/>
          </a:prstGeom>
          <a:solidFill>
            <a:schemeClr val="accent2"/>
          </a:solidFill>
        </p:spPr>
        <p:txBody>
          <a:bodyPr vert="horz" lIns="0" tIns="0" rIns="0" bIns="0" rtlCol="0" anchor="ctr" anchorCtr="0">
            <a:noAutofit/>
          </a:bodyPr>
          <a:lstStyle>
            <a:lvl1pPr marL="0" indent="0" algn="ctr" defTabSz="685783" rtl="0" eaLnBrk="1" latinLnBrk="0" hangingPunct="1">
              <a:lnSpc>
                <a:spcPct val="100000"/>
              </a:lnSpc>
              <a:spcBef>
                <a:spcPts val="750"/>
              </a:spcBef>
              <a:buFont typeface="Wingdings" panose="05000000000000000000" pitchFamily="2" charset="2"/>
              <a:buNone/>
              <a:defRPr sz="1200" b="1" kern="1200">
                <a:solidFill>
                  <a:schemeClr val="tx1"/>
                </a:solidFill>
                <a:latin typeface="+mn-lt"/>
                <a:ea typeface="+mn-ea"/>
                <a:cs typeface="+mn-cs"/>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3</a:t>
            </a:r>
          </a:p>
        </p:txBody>
      </p:sp>
      <p:sp>
        <p:nvSpPr>
          <p:cNvPr id="38" name="Text Placeholder 14">
            <a:extLst>
              <a:ext uri="{FF2B5EF4-FFF2-40B4-BE49-F238E27FC236}">
                <a16:creationId xmlns:a16="http://schemas.microsoft.com/office/drawing/2014/main" id="{4B6F98EA-5345-4919-DA17-78D2ADD31BA2}"/>
              </a:ext>
            </a:extLst>
          </p:cNvPr>
          <p:cNvSpPr txBox="1">
            <a:spLocks/>
          </p:cNvSpPr>
          <p:nvPr/>
        </p:nvSpPr>
        <p:spPr>
          <a:xfrm>
            <a:off x="381000" y="1268787"/>
            <a:ext cx="11449199" cy="204311"/>
          </a:xfrm>
          <a:prstGeom prst="roundRect">
            <a:avLst/>
          </a:prstGeom>
          <a:solidFill>
            <a:schemeClr val="accent2"/>
          </a:solidFill>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ctr"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Aurora’s battery CAPEX follows a three-step approach for long-term and short-term cost forecasts</a:t>
            </a:r>
          </a:p>
        </p:txBody>
      </p:sp>
      <p:graphicFrame>
        <p:nvGraphicFramePr>
          <p:cNvPr id="40" name="Table 39">
            <a:extLst>
              <a:ext uri="{FF2B5EF4-FFF2-40B4-BE49-F238E27FC236}">
                <a16:creationId xmlns:a16="http://schemas.microsoft.com/office/drawing/2014/main" id="{85DCA0D2-7CF0-5AEC-A737-062471403CAF}"/>
              </a:ext>
            </a:extLst>
          </p:cNvPr>
          <p:cNvGraphicFramePr>
            <a:graphicFrameLocks noGrp="1"/>
          </p:cNvGraphicFramePr>
          <p:nvPr>
            <p:extLst>
              <p:ext uri="{D42A27DB-BD31-4B8C-83A1-F6EECF244321}">
                <p14:modId xmlns:p14="http://schemas.microsoft.com/office/powerpoint/2010/main" val="2380890624"/>
              </p:ext>
            </p:extLst>
          </p:nvPr>
        </p:nvGraphicFramePr>
        <p:xfrm>
          <a:off x="381000" y="4896767"/>
          <a:ext cx="11449199" cy="1363442"/>
        </p:xfrm>
        <a:graphic>
          <a:graphicData uri="http://schemas.openxmlformats.org/drawingml/2006/table">
            <a:tbl>
              <a:tblPr firstRow="1" bandRow="1">
                <a:tableStyleId>{5C22544A-7EE6-4342-B048-85BDC9FD1C3A}</a:tableStyleId>
              </a:tblPr>
              <a:tblGrid>
                <a:gridCol w="2527643">
                  <a:extLst>
                    <a:ext uri="{9D8B030D-6E8A-4147-A177-3AD203B41FA5}">
                      <a16:colId xmlns:a16="http://schemas.microsoft.com/office/drawing/2014/main" val="1542598124"/>
                    </a:ext>
                  </a:extLst>
                </a:gridCol>
                <a:gridCol w="442762">
                  <a:extLst>
                    <a:ext uri="{9D8B030D-6E8A-4147-A177-3AD203B41FA5}">
                      <a16:colId xmlns:a16="http://schemas.microsoft.com/office/drawing/2014/main" val="3874396365"/>
                    </a:ext>
                  </a:extLst>
                </a:gridCol>
                <a:gridCol w="8478794">
                  <a:extLst>
                    <a:ext uri="{9D8B030D-6E8A-4147-A177-3AD203B41FA5}">
                      <a16:colId xmlns:a16="http://schemas.microsoft.com/office/drawing/2014/main" val="3482223379"/>
                    </a:ext>
                  </a:extLst>
                </a:gridCol>
              </a:tblGrid>
              <a:tr h="871586">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kern="1200" noProof="0">
                          <a:solidFill>
                            <a:schemeClr val="tx1"/>
                          </a:solidFill>
                          <a:latin typeface="+mj-lt"/>
                          <a:ea typeface="+mn-ea"/>
                          <a:cs typeface="+mn-cs"/>
                        </a:rPr>
                        <a:t>Battery cathode chemistry</a:t>
                      </a:r>
                    </a:p>
                  </a:txBody>
                  <a:tcPr marL="72000" marR="36000" marT="36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mj-lt"/>
                        <a:ea typeface="+mn-ea"/>
                        <a:cs typeface="+mn-cs"/>
                      </a:endParaRPr>
                    </a:p>
                  </a:txBody>
                  <a:tcPr marL="72000" marR="36000" marT="36000" marB="72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600"/>
                        </a:spcBef>
                        <a:buFont typeface="Arial"/>
                        <a:buChar char="•"/>
                      </a:pPr>
                      <a:r>
                        <a:rPr lang="en-GB" sz="1200" b="0" kern="1200">
                          <a:solidFill>
                            <a:schemeClr val="tx1"/>
                          </a:solidFill>
                          <a:latin typeface="+mj-lt"/>
                          <a:ea typeface="+mn-ea"/>
                          <a:cs typeface="+mn-cs"/>
                        </a:rPr>
                        <a:t>CAPEX forecasts assume a Lithium Iron Phosphate (LFP) cathode chemistry. This is typical for a stationary storage use-case, as LFP chemistries are generally cheaper but lower in energy density compared to other cathode chemistries. For an electric vehicle use-case that necessitates higher energy densities, other more expensive cathode chemistries (such as NMC cathodes) are a more suitable benchmark.</a:t>
                      </a:r>
                    </a:p>
                  </a:txBody>
                  <a:tcPr marL="137160" marR="137160" marT="36000" marB="72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2433123"/>
                  </a:ext>
                </a:extLst>
              </a:tr>
              <a:tr h="491856">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kern="1200" noProof="0">
                          <a:solidFill>
                            <a:schemeClr val="tx1"/>
                          </a:solidFill>
                          <a:latin typeface="+mj-lt"/>
                          <a:ea typeface="+mn-ea"/>
                          <a:cs typeface="+mn-cs"/>
                        </a:rPr>
                        <a:t>Localisation</a:t>
                      </a:r>
                    </a:p>
                  </a:txBody>
                  <a:tcPr marL="72000" marR="36000" marT="36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mj-lt"/>
                        <a:ea typeface="+mn-ea"/>
                        <a:cs typeface="+mn-cs"/>
                      </a:endParaRPr>
                    </a:p>
                  </a:txBody>
                  <a:tcPr marL="72000" marR="36000" marT="36000" marB="72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563" indent="-182563" algn="l" defTabSz="685783" rtl="0" eaLnBrk="1" latinLnBrk="0" hangingPunct="1">
                        <a:spcBef>
                          <a:spcPts val="600"/>
                        </a:spcBef>
                        <a:buFont typeface="Wingdings" panose="05000000000000000000" pitchFamily="2" charset="2"/>
                        <a:buChar char="§"/>
                      </a:pPr>
                      <a:r>
                        <a:rPr lang="en-GB" sz="1200" b="0" kern="1200">
                          <a:solidFill>
                            <a:schemeClr val="tx1"/>
                          </a:solidFill>
                          <a:latin typeface="+mj-lt"/>
                          <a:ea typeface="+mn-ea"/>
                          <a:cs typeface="+mn-cs"/>
                        </a:rPr>
                        <a:t>CAPEX components that are location-dependent (such as business rates and grid connection costs) are revised independently by country teams to more accurately reflect cost differences between countries.</a:t>
                      </a:r>
                    </a:p>
                  </a:txBody>
                  <a:tcPr marL="137160" marR="137160" marT="36000" marB="72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3835260"/>
                  </a:ext>
                </a:extLst>
              </a:tr>
            </a:tbl>
          </a:graphicData>
        </a:graphic>
      </p:graphicFrame>
      <p:sp>
        <p:nvSpPr>
          <p:cNvPr id="2" name="Oval 1">
            <a:extLst>
              <a:ext uri="{FF2B5EF4-FFF2-40B4-BE49-F238E27FC236}">
                <a16:creationId xmlns:a16="http://schemas.microsoft.com/office/drawing/2014/main" id="{B5221003-B6F0-7781-CBA4-C82E8FFAC94A}"/>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3" name="Oval 2">
            <a:extLst>
              <a:ext uri="{FF2B5EF4-FFF2-40B4-BE49-F238E27FC236}">
                <a16:creationId xmlns:a16="http://schemas.microsoft.com/office/drawing/2014/main" id="{DB3B35B1-B96C-259A-35E6-0A60DD882938}"/>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6" name="Text Placeholder 4">
            <a:extLst>
              <a:ext uri="{FF2B5EF4-FFF2-40B4-BE49-F238E27FC236}">
                <a16:creationId xmlns:a16="http://schemas.microsoft.com/office/drawing/2014/main" id="{EC5BCEC6-7596-F3B2-CE28-1A4B36D09D63}"/>
              </a:ext>
            </a:extLst>
          </p:cNvPr>
          <p:cNvSpPr txBox="1">
            <a:spLocks/>
          </p:cNvSpPr>
          <p:nvPr/>
        </p:nvSpPr>
        <p:spPr>
          <a:xfrm>
            <a:off x="381599" y="79401"/>
            <a:ext cx="4097597"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Introduction to battery storage – Battery technologies</a:t>
            </a:r>
          </a:p>
        </p:txBody>
      </p:sp>
      <p:sp>
        <p:nvSpPr>
          <p:cNvPr id="5" name="Text Placeholder 65">
            <a:extLst>
              <a:ext uri="{FF2B5EF4-FFF2-40B4-BE49-F238E27FC236}">
                <a16:creationId xmlns:a16="http://schemas.microsoft.com/office/drawing/2014/main" id="{E7C1C82D-8C3D-67C6-C88C-90483B49F4E0}"/>
              </a:ext>
            </a:extLst>
          </p:cNvPr>
          <p:cNvSpPr txBox="1">
            <a:spLocks/>
          </p:cNvSpPr>
          <p:nvPr/>
        </p:nvSpPr>
        <p:spPr>
          <a:xfrm>
            <a:off x="503462" y="3762473"/>
            <a:ext cx="3517124" cy="581126"/>
          </a:xfrm>
          <a:prstGeom prst="roundRect">
            <a:avLst/>
          </a:prstGeom>
          <a:solidFill>
            <a:schemeClr val="bg2"/>
          </a:solidFill>
        </p:spPr>
        <p:txBody>
          <a:bodyPr vert="horz" lIns="180000" tIns="0" rIns="108000" bIns="0" rtlCol="0" anchor="ctr">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mn-lt"/>
                <a:ea typeface="Lato Black" panose="020F0502020204030203" pitchFamily="34" charset="0"/>
                <a:cs typeface="Lato Black"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rPr>
              <a:t>Prices of key raw materials in the previous 6 months, as well as expected demand and supply trends, are surveyed biannually</a:t>
            </a:r>
          </a:p>
        </p:txBody>
      </p:sp>
      <p:sp>
        <p:nvSpPr>
          <p:cNvPr id="19" name="Text Placeholder 65">
            <a:extLst>
              <a:ext uri="{FF2B5EF4-FFF2-40B4-BE49-F238E27FC236}">
                <a16:creationId xmlns:a16="http://schemas.microsoft.com/office/drawing/2014/main" id="{1E9D719E-2A8D-CB1D-CE6A-913AAD5A0249}"/>
              </a:ext>
            </a:extLst>
          </p:cNvPr>
          <p:cNvSpPr txBox="1">
            <a:spLocks/>
          </p:cNvSpPr>
          <p:nvPr/>
        </p:nvSpPr>
        <p:spPr>
          <a:xfrm>
            <a:off x="4343074" y="3699528"/>
            <a:ext cx="3644991" cy="668168"/>
          </a:xfrm>
          <a:prstGeom prst="roundRect">
            <a:avLst/>
          </a:prstGeom>
          <a:solidFill>
            <a:schemeClr val="bg2"/>
          </a:solidFill>
        </p:spPr>
        <p:txBody>
          <a:bodyPr vert="horz" lIns="180000" tIns="0" rIns="108000" bIns="0" rtlCol="0" anchor="ctr">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mn-lt"/>
                <a:ea typeface="Lato Black" panose="020F0502020204030203" pitchFamily="34" charset="0"/>
                <a:cs typeface="Lato Black"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rPr>
              <a:t>Short-term uplift in CAPEX relative to the base year of available data is calculated, combining price trends and cost contributions by material</a:t>
            </a:r>
          </a:p>
        </p:txBody>
      </p:sp>
      <p:sp>
        <p:nvSpPr>
          <p:cNvPr id="20" name="Text Placeholder 7">
            <a:extLst>
              <a:ext uri="{FF2B5EF4-FFF2-40B4-BE49-F238E27FC236}">
                <a16:creationId xmlns:a16="http://schemas.microsoft.com/office/drawing/2014/main" id="{D4C7A681-4C68-9D64-9827-2CBA8A1A1478}"/>
              </a:ext>
            </a:extLst>
          </p:cNvPr>
          <p:cNvSpPr txBox="1">
            <a:spLocks/>
          </p:cNvSpPr>
          <p:nvPr/>
        </p:nvSpPr>
        <p:spPr>
          <a:xfrm>
            <a:off x="4217074" y="3889643"/>
            <a:ext cx="252000" cy="250825"/>
          </a:xfrm>
          <a:prstGeom prst="ellipse">
            <a:avLst/>
          </a:prstGeom>
          <a:solidFill>
            <a:schemeClr val="accent2"/>
          </a:solidFill>
        </p:spPr>
        <p:txBody>
          <a:bodyPr vert="horz" lIns="0" tIns="0" rIns="0" bIns="0" rtlCol="0" anchor="ctr" anchorCtr="0">
            <a:noAutofit/>
          </a:bodyPr>
          <a:lstStyle>
            <a:lvl1pPr marL="0" indent="0" algn="ctr" defTabSz="685783" rtl="0" eaLnBrk="1" latinLnBrk="0" hangingPunct="1">
              <a:lnSpc>
                <a:spcPct val="100000"/>
              </a:lnSpc>
              <a:spcBef>
                <a:spcPts val="750"/>
              </a:spcBef>
              <a:buFont typeface="Wingdings" panose="05000000000000000000" pitchFamily="2" charset="2"/>
              <a:buNone/>
              <a:defRPr sz="1200" b="1" kern="1200">
                <a:solidFill>
                  <a:schemeClr val="tx1"/>
                </a:solidFill>
                <a:latin typeface="+mn-lt"/>
                <a:ea typeface="+mn-ea"/>
                <a:cs typeface="+mn-cs"/>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2</a:t>
            </a:r>
          </a:p>
        </p:txBody>
      </p:sp>
      <p:sp>
        <p:nvSpPr>
          <p:cNvPr id="23" name="Text Placeholder 65">
            <a:extLst>
              <a:ext uri="{FF2B5EF4-FFF2-40B4-BE49-F238E27FC236}">
                <a16:creationId xmlns:a16="http://schemas.microsoft.com/office/drawing/2014/main" id="{8E167971-AB15-D008-FF03-BA96ADDCA97A}"/>
              </a:ext>
            </a:extLst>
          </p:cNvPr>
          <p:cNvSpPr txBox="1">
            <a:spLocks/>
          </p:cNvSpPr>
          <p:nvPr/>
        </p:nvSpPr>
        <p:spPr>
          <a:xfrm>
            <a:off x="8306577" y="3680971"/>
            <a:ext cx="3517123" cy="668168"/>
          </a:xfrm>
          <a:prstGeom prst="roundRect">
            <a:avLst/>
          </a:prstGeom>
          <a:solidFill>
            <a:schemeClr val="bg2"/>
          </a:solidFill>
        </p:spPr>
        <p:txBody>
          <a:bodyPr vert="horz" lIns="180000" tIns="0" rIns="108000" bIns="0" rtlCol="0" anchor="ctr">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mn-lt"/>
                <a:ea typeface="Lato Black" panose="020F0502020204030203" pitchFamily="34" charset="0"/>
                <a:cs typeface="Lato Black"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i="0" u="none" strike="noStrike" kern="1200" cap="none" spc="0" normalizeH="0" baseline="0" noProof="0">
                <a:ln>
                  <a:noFill/>
                </a:ln>
                <a:solidFill>
                  <a:srgbClr val="3C3C3B"/>
                </a:solidFill>
                <a:effectLst/>
                <a:uLnTx/>
                <a:uFillTx/>
                <a:latin typeface="Lato"/>
              </a:rPr>
              <a:t>This short-term uplift is blended into the long-term CAPEX outlook, accounting for expected material supply and demand trends</a:t>
            </a:r>
          </a:p>
        </p:txBody>
      </p:sp>
      <p:sp>
        <p:nvSpPr>
          <p:cNvPr id="26" name="Text Placeholder 7">
            <a:extLst>
              <a:ext uri="{FF2B5EF4-FFF2-40B4-BE49-F238E27FC236}">
                <a16:creationId xmlns:a16="http://schemas.microsoft.com/office/drawing/2014/main" id="{17DDEC43-BD5C-6B6B-1355-B3AF39A3D936}"/>
              </a:ext>
            </a:extLst>
          </p:cNvPr>
          <p:cNvSpPr txBox="1">
            <a:spLocks/>
          </p:cNvSpPr>
          <p:nvPr/>
        </p:nvSpPr>
        <p:spPr>
          <a:xfrm>
            <a:off x="8169738" y="3889643"/>
            <a:ext cx="252000" cy="250825"/>
          </a:xfrm>
          <a:prstGeom prst="ellipse">
            <a:avLst/>
          </a:prstGeom>
          <a:solidFill>
            <a:schemeClr val="accent2"/>
          </a:solidFill>
        </p:spPr>
        <p:txBody>
          <a:bodyPr vert="horz" lIns="0" tIns="0" rIns="0" bIns="0" rtlCol="0" anchor="ctr" anchorCtr="0">
            <a:noAutofit/>
          </a:bodyPr>
          <a:lstStyle>
            <a:lvl1pPr marL="0" indent="0" algn="ctr" defTabSz="685783" rtl="0" eaLnBrk="1" latinLnBrk="0" hangingPunct="1">
              <a:lnSpc>
                <a:spcPct val="100000"/>
              </a:lnSpc>
              <a:spcBef>
                <a:spcPts val="750"/>
              </a:spcBef>
              <a:buFont typeface="Wingdings" panose="05000000000000000000" pitchFamily="2" charset="2"/>
              <a:buNone/>
              <a:defRPr sz="1200" b="1" kern="1200">
                <a:solidFill>
                  <a:schemeClr val="tx1"/>
                </a:solidFill>
                <a:latin typeface="+mn-lt"/>
                <a:ea typeface="+mn-ea"/>
                <a:cs typeface="+mn-cs"/>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3</a:t>
            </a:r>
          </a:p>
        </p:txBody>
      </p:sp>
      <p:sp>
        <p:nvSpPr>
          <p:cNvPr id="33" name="Text Placeholder 7">
            <a:extLst>
              <a:ext uri="{FF2B5EF4-FFF2-40B4-BE49-F238E27FC236}">
                <a16:creationId xmlns:a16="http://schemas.microsoft.com/office/drawing/2014/main" id="{C5966183-41B8-8D72-9CB5-CEF1E4792D24}"/>
              </a:ext>
            </a:extLst>
          </p:cNvPr>
          <p:cNvSpPr txBox="1">
            <a:spLocks/>
          </p:cNvSpPr>
          <p:nvPr/>
        </p:nvSpPr>
        <p:spPr>
          <a:xfrm>
            <a:off x="372965" y="3948879"/>
            <a:ext cx="252000" cy="250825"/>
          </a:xfrm>
          <a:prstGeom prst="ellipse">
            <a:avLst/>
          </a:prstGeom>
          <a:solidFill>
            <a:schemeClr val="accent2"/>
          </a:solidFill>
        </p:spPr>
        <p:txBody>
          <a:bodyPr vert="horz" lIns="0" tIns="0" rIns="0" bIns="0" rtlCol="0" anchor="ctr" anchorCtr="0">
            <a:noAutofit/>
          </a:bodyPr>
          <a:lstStyle>
            <a:lvl1pPr marL="0" indent="0" algn="ctr" defTabSz="685783" rtl="0" eaLnBrk="1" latinLnBrk="0" hangingPunct="1">
              <a:lnSpc>
                <a:spcPct val="100000"/>
              </a:lnSpc>
              <a:spcBef>
                <a:spcPts val="750"/>
              </a:spcBef>
              <a:buFont typeface="Wingdings" panose="05000000000000000000" pitchFamily="2" charset="2"/>
              <a:buNone/>
              <a:defRPr sz="1200" b="1" kern="1200">
                <a:solidFill>
                  <a:schemeClr val="tx1"/>
                </a:solidFill>
                <a:latin typeface="+mn-lt"/>
                <a:ea typeface="+mn-ea"/>
                <a:cs typeface="+mn-cs"/>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mn-lt"/>
                <a:ea typeface="+mn-ea"/>
                <a:cs typeface="+mn-cs"/>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1</a:t>
            </a:r>
          </a:p>
        </p:txBody>
      </p:sp>
      <p:sp>
        <p:nvSpPr>
          <p:cNvPr id="34" name="Text Placeholder 14">
            <a:extLst>
              <a:ext uri="{FF2B5EF4-FFF2-40B4-BE49-F238E27FC236}">
                <a16:creationId xmlns:a16="http://schemas.microsoft.com/office/drawing/2014/main" id="{6E0B8F29-4D52-4EC3-3C1A-12F783139A7E}"/>
              </a:ext>
            </a:extLst>
          </p:cNvPr>
          <p:cNvSpPr txBox="1">
            <a:spLocks/>
          </p:cNvSpPr>
          <p:nvPr/>
        </p:nvSpPr>
        <p:spPr>
          <a:xfrm>
            <a:off x="533641" y="1615751"/>
            <a:ext cx="1258871" cy="205200"/>
          </a:xfrm>
          <a:prstGeom prst="roundRect">
            <a:avLst/>
          </a:prstGeom>
          <a:solidFill>
            <a:schemeClr val="accent3"/>
          </a:solidFill>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ctr"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Long-term</a:t>
            </a:r>
          </a:p>
        </p:txBody>
      </p:sp>
      <p:sp>
        <p:nvSpPr>
          <p:cNvPr id="35" name="Text Placeholder 14">
            <a:extLst>
              <a:ext uri="{FF2B5EF4-FFF2-40B4-BE49-F238E27FC236}">
                <a16:creationId xmlns:a16="http://schemas.microsoft.com/office/drawing/2014/main" id="{81D0A366-A54F-7B93-CA48-08029AE507AD}"/>
              </a:ext>
            </a:extLst>
          </p:cNvPr>
          <p:cNvSpPr txBox="1">
            <a:spLocks/>
          </p:cNvSpPr>
          <p:nvPr/>
        </p:nvSpPr>
        <p:spPr>
          <a:xfrm>
            <a:off x="533640" y="3560953"/>
            <a:ext cx="1258871" cy="204311"/>
          </a:xfrm>
          <a:prstGeom prst="roundRect">
            <a:avLst/>
          </a:prstGeom>
          <a:solidFill>
            <a:schemeClr val="accent3"/>
          </a:solidFill>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ctr"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lang="en-GB" b="1">
                <a:solidFill>
                  <a:srgbClr val="3C3C3B"/>
                </a:solidFill>
              </a:rPr>
              <a:t>Short-term</a:t>
            </a:r>
            <a:endPar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36" name="Text Placeholder 14">
            <a:extLst>
              <a:ext uri="{FF2B5EF4-FFF2-40B4-BE49-F238E27FC236}">
                <a16:creationId xmlns:a16="http://schemas.microsoft.com/office/drawing/2014/main" id="{F115133D-281B-7B84-5D3B-E05AE18CA657}"/>
              </a:ext>
            </a:extLst>
          </p:cNvPr>
          <p:cNvSpPr txBox="1">
            <a:spLocks/>
          </p:cNvSpPr>
          <p:nvPr/>
        </p:nvSpPr>
        <p:spPr>
          <a:xfrm>
            <a:off x="381000" y="4599021"/>
            <a:ext cx="11449199" cy="204311"/>
          </a:xfrm>
          <a:prstGeom prst="roundRect">
            <a:avLst/>
          </a:prstGeom>
          <a:solidFill>
            <a:schemeClr val="accent2"/>
          </a:solidFill>
        </p:spPr>
        <p:txBody>
          <a:bodyPr vert="horz" wrap="square" lIns="0" tIns="0" rIns="0" bIns="0" rtlCol="0" anchor="ctr"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ctr"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Other assumptions include modelled battery chemistry and variations between countries</a:t>
            </a:r>
          </a:p>
        </p:txBody>
      </p:sp>
    </p:spTree>
    <p:extLst>
      <p:ext uri="{BB962C8B-B14F-4D97-AF65-F5344CB8AC3E}">
        <p14:creationId xmlns:p14="http://schemas.microsoft.com/office/powerpoint/2010/main" val="25325820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EFB8483B-35EE-4905-B329-B23AFC36F1CA}"/>
              </a:ext>
            </a:extLst>
          </p:cNvPr>
          <p:cNvGraphicFramePr>
            <a:graphicFrameLocks noChangeAspect="1"/>
          </p:cNvGraphicFramePr>
          <p:nvPr>
            <p:custDataLst>
              <p:tags r:id="rId1"/>
            </p:custDataLst>
            <p:extLst>
              <p:ext uri="{D42A27DB-BD31-4B8C-83A1-F6EECF244321}">
                <p14:modId xmlns:p14="http://schemas.microsoft.com/office/powerpoint/2010/main" val="4109075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4" progId="TCLayout.ActiveDocument.1">
                  <p:embed/>
                </p:oleObj>
              </mc:Choice>
              <mc:Fallback>
                <p:oleObj name="think-cell Slide" r:id="rId42" imgW="395" imgH="394" progId="TCLayout.ActiveDocument.1">
                  <p:embed/>
                  <p:pic>
                    <p:nvPicPr>
                      <p:cNvPr id="59" name="Object 58" hidden="1">
                        <a:extLst>
                          <a:ext uri="{FF2B5EF4-FFF2-40B4-BE49-F238E27FC236}">
                            <a16:creationId xmlns:a16="http://schemas.microsoft.com/office/drawing/2014/main" id="{EFB8483B-35EE-4905-B329-B23AFC36F1C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cxnSp>
        <p:nvCxnSpPr>
          <p:cNvPr id="104" name="Straight Connector 103">
            <a:extLst>
              <a:ext uri="{FF2B5EF4-FFF2-40B4-BE49-F238E27FC236}">
                <a16:creationId xmlns:a16="http://schemas.microsoft.com/office/drawing/2014/main" id="{B79B6907-EECD-B085-6A36-A013C0380608}"/>
              </a:ext>
            </a:extLst>
          </p:cNvPr>
          <p:cNvCxnSpPr/>
          <p:nvPr>
            <p:custDataLst>
              <p:tags r:id="rId2"/>
            </p:custDataLst>
          </p:nvPr>
        </p:nvCxnSpPr>
        <p:spPr bwMode="gray">
          <a:xfrm>
            <a:off x="895350" y="5400675"/>
            <a:ext cx="1092200"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251F1F53-E47F-ACE4-17E8-F1A04FE96746}"/>
              </a:ext>
            </a:extLst>
          </p:cNvPr>
          <p:cNvCxnSpPr/>
          <p:nvPr>
            <p:custDataLst>
              <p:tags r:id="rId3"/>
            </p:custDataLst>
          </p:nvPr>
        </p:nvCxnSpPr>
        <p:spPr bwMode="gray">
          <a:xfrm>
            <a:off x="895350" y="5119688"/>
            <a:ext cx="1092200" cy="0"/>
          </a:xfrm>
          <a:prstGeom prst="line">
            <a:avLst/>
          </a:prstGeom>
          <a:ln w="3175" cap="flat" cmpd="sng" algn="ctr">
            <a:solidFill>
              <a:schemeClr val="accent6"/>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403C2A12-40C8-1A10-C5BF-7DADB3D00637}"/>
              </a:ext>
            </a:extLst>
          </p:cNvPr>
          <p:cNvCxnSpPr/>
          <p:nvPr>
            <p:custDataLst>
              <p:tags r:id="rId4"/>
            </p:custDataLst>
          </p:nvPr>
        </p:nvCxnSpPr>
        <p:spPr bwMode="gray">
          <a:xfrm>
            <a:off x="895350" y="4838700"/>
            <a:ext cx="1092200"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83A90308-8DF1-E1CA-97EE-F5DF2919F2DE}"/>
              </a:ext>
            </a:extLst>
          </p:cNvPr>
          <p:cNvCxnSpPr/>
          <p:nvPr>
            <p:custDataLst>
              <p:tags r:id="rId5"/>
            </p:custDataLst>
          </p:nvPr>
        </p:nvCxnSpPr>
        <p:spPr bwMode="gray">
          <a:xfrm>
            <a:off x="895350" y="4557713"/>
            <a:ext cx="1092200" cy="0"/>
          </a:xfrm>
          <a:prstGeom prst="line">
            <a:avLst/>
          </a:prstGeom>
          <a:ln w="3175" cap="flat" cmpd="sng" algn="ctr">
            <a:solidFill>
              <a:schemeClr val="accent6"/>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D9E2B6F6-4356-998E-3F69-F7FA7D991549}"/>
              </a:ext>
            </a:extLst>
          </p:cNvPr>
          <p:cNvCxnSpPr/>
          <p:nvPr>
            <p:custDataLst>
              <p:tags r:id="rId6"/>
            </p:custDataLst>
          </p:nvPr>
        </p:nvCxnSpPr>
        <p:spPr bwMode="gray">
          <a:xfrm>
            <a:off x="895350" y="4276725"/>
            <a:ext cx="1092200"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CDD53885-662D-CB20-2152-0ADC315691FF}"/>
              </a:ext>
            </a:extLst>
          </p:cNvPr>
          <p:cNvCxnSpPr/>
          <p:nvPr>
            <p:custDataLst>
              <p:tags r:id="rId7"/>
            </p:custDataLst>
          </p:nvPr>
        </p:nvCxnSpPr>
        <p:spPr bwMode="gray">
          <a:xfrm>
            <a:off x="895350" y="3995738"/>
            <a:ext cx="1092200"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FC10CA0B-9F9D-210C-F3D1-E5F20131D717}"/>
              </a:ext>
            </a:extLst>
          </p:cNvPr>
          <p:cNvGraphicFramePr/>
          <p:nvPr>
            <p:custDataLst>
              <p:tags r:id="rId8"/>
            </p:custDataLst>
            <p:extLst>
              <p:ext uri="{D42A27DB-BD31-4B8C-83A1-F6EECF244321}">
                <p14:modId xmlns:p14="http://schemas.microsoft.com/office/powerpoint/2010/main" val="1814074719"/>
              </p:ext>
            </p:extLst>
          </p:nvPr>
        </p:nvGraphicFramePr>
        <p:xfrm>
          <a:off x="812800" y="1946275"/>
          <a:ext cx="1257300" cy="3817938"/>
        </p:xfrm>
        <a:graphic>
          <a:graphicData uri="http://schemas.openxmlformats.org/drawingml/2006/chart">
            <c:chart xmlns:c="http://schemas.openxmlformats.org/drawingml/2006/chart" xmlns:r="http://schemas.openxmlformats.org/officeDocument/2006/relationships" r:id="rId44"/>
          </a:graphicData>
        </a:graphic>
      </p:graphicFrame>
      <p:sp>
        <p:nvSpPr>
          <p:cNvPr id="8" name="Text Placeholder 1">
            <a:extLst>
              <a:ext uri="{FF2B5EF4-FFF2-40B4-BE49-F238E27FC236}">
                <a16:creationId xmlns:a16="http://schemas.microsoft.com/office/drawing/2014/main" id="{83ED3C21-84B1-3FCE-B29C-6D5052C300CB}"/>
              </a:ext>
            </a:extLst>
          </p:cNvPr>
          <p:cNvSpPr>
            <a:spLocks noGrp="1"/>
          </p:cNvSpPr>
          <p:nvPr>
            <p:custDataLst>
              <p:tags r:id="rId9"/>
            </p:custDataLst>
          </p:nvPr>
        </p:nvSpPr>
        <p:spPr bwMode="auto">
          <a:xfrm>
            <a:off x="711200" y="5732463"/>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6262330-3E17-4CBF-855E-E1F6E9764781}" type="datetime'''''''''''''2''''''''0''1''''''''''''8'''''''''">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18</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cxnSp>
        <p:nvCxnSpPr>
          <p:cNvPr id="112" name="Straight Connector 111">
            <a:extLst>
              <a:ext uri="{FF2B5EF4-FFF2-40B4-BE49-F238E27FC236}">
                <a16:creationId xmlns:a16="http://schemas.microsoft.com/office/drawing/2014/main" id="{F3FCBDC1-C76D-2AA4-0AFD-92E0B094D094}"/>
              </a:ext>
            </a:extLst>
          </p:cNvPr>
          <p:cNvCxnSpPr/>
          <p:nvPr>
            <p:custDataLst>
              <p:tags r:id="rId10"/>
            </p:custDataLst>
          </p:nvPr>
        </p:nvCxnSpPr>
        <p:spPr bwMode="gray">
          <a:xfrm>
            <a:off x="1987550" y="5400675"/>
            <a:ext cx="3800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98D2E1D9-C7EA-B55E-5906-38BB68A31ECD}"/>
              </a:ext>
            </a:extLst>
          </p:cNvPr>
          <p:cNvCxnSpPr/>
          <p:nvPr>
            <p:custDataLst>
              <p:tags r:id="rId11"/>
            </p:custDataLst>
          </p:nvPr>
        </p:nvCxnSpPr>
        <p:spPr bwMode="gray">
          <a:xfrm>
            <a:off x="1987550" y="5119688"/>
            <a:ext cx="3800475" cy="0"/>
          </a:xfrm>
          <a:prstGeom prst="line">
            <a:avLst/>
          </a:prstGeom>
          <a:ln w="3175" cap="flat" cmpd="sng" algn="ctr">
            <a:solidFill>
              <a:schemeClr val="accent6"/>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56867BAC-5DE8-1830-78A0-F41DFFF2769F}"/>
              </a:ext>
            </a:extLst>
          </p:cNvPr>
          <p:cNvCxnSpPr/>
          <p:nvPr>
            <p:custDataLst>
              <p:tags r:id="rId12"/>
            </p:custDataLst>
          </p:nvPr>
        </p:nvCxnSpPr>
        <p:spPr bwMode="gray">
          <a:xfrm>
            <a:off x="1987550" y="4838700"/>
            <a:ext cx="3800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CB236194-D69C-85F5-4819-301BA8BEA80E}"/>
              </a:ext>
            </a:extLst>
          </p:cNvPr>
          <p:cNvCxnSpPr/>
          <p:nvPr>
            <p:custDataLst>
              <p:tags r:id="rId13"/>
            </p:custDataLst>
          </p:nvPr>
        </p:nvCxnSpPr>
        <p:spPr bwMode="gray">
          <a:xfrm>
            <a:off x="1987550" y="4557713"/>
            <a:ext cx="3800475" cy="0"/>
          </a:xfrm>
          <a:prstGeom prst="line">
            <a:avLst/>
          </a:prstGeom>
          <a:ln w="3175" cap="flat" cmpd="sng" algn="ctr">
            <a:solidFill>
              <a:schemeClr val="accent6"/>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3" name="Chart 2">
            <a:extLst>
              <a:ext uri="{FF2B5EF4-FFF2-40B4-BE49-F238E27FC236}">
                <a16:creationId xmlns:a16="http://schemas.microsoft.com/office/drawing/2014/main" id="{CD6DC7C8-C011-9C52-58DD-AC0B0AF3CFD7}"/>
              </a:ext>
            </a:extLst>
          </p:cNvPr>
          <p:cNvGraphicFramePr/>
          <p:nvPr>
            <p:custDataLst>
              <p:tags r:id="rId14"/>
            </p:custDataLst>
            <p:extLst>
              <p:ext uri="{D42A27DB-BD31-4B8C-83A1-F6EECF244321}">
                <p14:modId xmlns:p14="http://schemas.microsoft.com/office/powerpoint/2010/main" val="3321862786"/>
              </p:ext>
            </p:extLst>
          </p:nvPr>
        </p:nvGraphicFramePr>
        <p:xfrm>
          <a:off x="1905000" y="1946275"/>
          <a:ext cx="3965575" cy="3817938"/>
        </p:xfrm>
        <a:graphic>
          <a:graphicData uri="http://schemas.openxmlformats.org/drawingml/2006/chart">
            <c:chart xmlns:c="http://schemas.openxmlformats.org/drawingml/2006/chart" xmlns:r="http://schemas.openxmlformats.org/officeDocument/2006/relationships" r:id="rId45"/>
          </a:graphicData>
        </a:graphic>
      </p:graphicFrame>
      <p:sp>
        <p:nvSpPr>
          <p:cNvPr id="26" name="Text Placeholder 1">
            <a:extLst>
              <a:ext uri="{FF2B5EF4-FFF2-40B4-BE49-F238E27FC236}">
                <a16:creationId xmlns:a16="http://schemas.microsoft.com/office/drawing/2014/main" id="{5C03D136-418A-9938-79BB-B632C127716B}"/>
              </a:ext>
            </a:extLst>
          </p:cNvPr>
          <p:cNvSpPr>
            <a:spLocks noGrp="1"/>
          </p:cNvSpPr>
          <p:nvPr>
            <p:custDataLst>
              <p:tags r:id="rId15"/>
            </p:custDataLst>
          </p:nvPr>
        </p:nvSpPr>
        <p:spPr bwMode="auto">
          <a:xfrm>
            <a:off x="1949450" y="5732463"/>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D1807A6-9172-4D2F-8E93-F4755D61365D}" type="datetime'''''''2''''''''''''''''''''025'''''">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5</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23" name="Text Placeholder 1">
            <a:extLst>
              <a:ext uri="{FF2B5EF4-FFF2-40B4-BE49-F238E27FC236}">
                <a16:creationId xmlns:a16="http://schemas.microsoft.com/office/drawing/2014/main" id="{2C6DD1AF-6D36-4108-BA53-AEF1A1C06E71}"/>
              </a:ext>
            </a:extLst>
          </p:cNvPr>
          <p:cNvSpPr>
            <a:spLocks noGrp="1"/>
          </p:cNvSpPr>
          <p:nvPr>
            <p:custDataLst>
              <p:tags r:id="rId16"/>
            </p:custDataLst>
          </p:nvPr>
        </p:nvSpPr>
        <p:spPr bwMode="auto">
          <a:xfrm>
            <a:off x="2679700" y="5732463"/>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194A45E-CF09-421C-82E3-F44853170227}" type="datetime'''''''''2''''''''''''''''''''0''''3''''''''''''''''''''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166" name="Text Placeholder 1">
            <a:extLst>
              <a:ext uri="{FF2B5EF4-FFF2-40B4-BE49-F238E27FC236}">
                <a16:creationId xmlns:a16="http://schemas.microsoft.com/office/drawing/2014/main" id="{8B57990E-2DF9-3A25-B678-9ECDB37494C1}"/>
              </a:ext>
            </a:extLst>
          </p:cNvPr>
          <p:cNvSpPr>
            <a:spLocks noGrp="1"/>
          </p:cNvSpPr>
          <p:nvPr>
            <p:custDataLst>
              <p:tags r:id="rId17"/>
            </p:custDataLst>
          </p:nvPr>
        </p:nvSpPr>
        <p:spPr bwMode="auto">
          <a:xfrm>
            <a:off x="3411538" y="5732463"/>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6CC5458-E365-421E-B3A6-27C7F476ADA2}" type="datetime'2''''0''''''''''''''''3''''''''''''''''''5'''''''''''''">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5</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167" name="Text Placeholder 1">
            <a:extLst>
              <a:ext uri="{FF2B5EF4-FFF2-40B4-BE49-F238E27FC236}">
                <a16:creationId xmlns:a16="http://schemas.microsoft.com/office/drawing/2014/main" id="{3A56ECE9-9F83-7591-D48B-3D39C74E7EA0}"/>
              </a:ext>
            </a:extLst>
          </p:cNvPr>
          <p:cNvSpPr>
            <a:spLocks noGrp="1"/>
          </p:cNvSpPr>
          <p:nvPr>
            <p:custDataLst>
              <p:tags r:id="rId18"/>
            </p:custDataLst>
          </p:nvPr>
        </p:nvSpPr>
        <p:spPr bwMode="auto">
          <a:xfrm>
            <a:off x="4141788" y="5732463"/>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6F2FCF5-799D-4D70-91E3-5BF61A98CC32}" type="datetime'''''''2''''0''''''''4''''''''''''''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168" name="Text Placeholder 1">
            <a:extLst>
              <a:ext uri="{FF2B5EF4-FFF2-40B4-BE49-F238E27FC236}">
                <a16:creationId xmlns:a16="http://schemas.microsoft.com/office/drawing/2014/main" id="{D8034F2A-B784-0229-E5B3-E3E172D5E9B1}"/>
              </a:ext>
            </a:extLst>
          </p:cNvPr>
          <p:cNvSpPr>
            <a:spLocks noGrp="1"/>
          </p:cNvSpPr>
          <p:nvPr>
            <p:custDataLst>
              <p:tags r:id="rId19"/>
            </p:custDataLst>
          </p:nvPr>
        </p:nvSpPr>
        <p:spPr bwMode="auto">
          <a:xfrm>
            <a:off x="4873625" y="5732463"/>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514DB04-DA31-4295-A34F-A18BB1ACBB38}" type="datetime'''''''''2''''''''''''0''''''4''''''''5'''''''''''''''''">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5</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123" name="Text Placeholder 1">
            <a:extLst>
              <a:ext uri="{FF2B5EF4-FFF2-40B4-BE49-F238E27FC236}">
                <a16:creationId xmlns:a16="http://schemas.microsoft.com/office/drawing/2014/main" id="{E82429F7-D31A-48C4-19EB-64B6DAE8AA71}"/>
              </a:ext>
            </a:extLst>
          </p:cNvPr>
          <p:cNvSpPr>
            <a:spLocks noGrp="1"/>
          </p:cNvSpPr>
          <p:nvPr>
            <p:custDataLst>
              <p:tags r:id="rId20"/>
            </p:custDataLst>
          </p:nvPr>
        </p:nvSpPr>
        <p:spPr bwMode="auto">
          <a:xfrm>
            <a:off x="5603875" y="5732463"/>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6C20FC9-66BF-4F45-993C-6D32B13C9212}" type="datetime'''''''''''''''''''''''''''''''''''20''''5''0'">
              <a:rPr kumimoji="0" lang="en-GB" altLang="en-US" sz="12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5" name="Text Placeholder 4">
            <a:extLst>
              <a:ext uri="{FF2B5EF4-FFF2-40B4-BE49-F238E27FC236}">
                <a16:creationId xmlns:a16="http://schemas.microsoft.com/office/drawing/2014/main" id="{C2E68605-AAFD-4587-9F0D-57E6905437BF}"/>
              </a:ext>
            </a:extLst>
          </p:cNvPr>
          <p:cNvSpPr>
            <a:spLocks noGrp="1"/>
          </p:cNvSpPr>
          <p:nvPr>
            <p:ph type="body" sz="quarter" idx="22"/>
          </p:nvPr>
        </p:nvSpPr>
        <p:spPr>
          <a:xfrm>
            <a:off x="381001" y="6715169"/>
            <a:ext cx="1968488" cy="110800"/>
          </a:xfrm>
        </p:spPr>
        <p:txBody>
          <a:bodyPr/>
          <a:lstStyle/>
          <a:p>
            <a:r>
              <a:rPr lang="en-GB"/>
              <a:t>Source: Aurora Energy Research, NREL ATB</a:t>
            </a:r>
          </a:p>
        </p:txBody>
      </p:sp>
      <p:sp>
        <p:nvSpPr>
          <p:cNvPr id="6" name="Title 5">
            <a:extLst>
              <a:ext uri="{FF2B5EF4-FFF2-40B4-BE49-F238E27FC236}">
                <a16:creationId xmlns:a16="http://schemas.microsoft.com/office/drawing/2014/main" id="{6C055058-15CD-4E78-B870-2DD764315E27}"/>
              </a:ext>
            </a:extLst>
          </p:cNvPr>
          <p:cNvSpPr>
            <a:spLocks noGrp="1"/>
          </p:cNvSpPr>
          <p:nvPr>
            <p:ph type="title"/>
          </p:nvPr>
        </p:nvSpPr>
        <p:spPr>
          <a:xfrm>
            <a:off x="381599" y="411856"/>
            <a:ext cx="8724175" cy="609398"/>
          </a:xfrm>
        </p:spPr>
        <p:txBody>
          <a:bodyPr vert="horz"/>
          <a:lstStyle/>
          <a:p>
            <a:r>
              <a:rPr lang="en-GB"/>
              <a:t>Quickly falling commodity prices in 2023 results in battery system CAPEX resolving to Aurora’s long-term battery cost outlook</a:t>
            </a:r>
            <a:endParaRPr lang="en-GB">
              <a:solidFill>
                <a:srgbClr val="FF0000"/>
              </a:solidFill>
            </a:endParaRPr>
          </a:p>
        </p:txBody>
      </p:sp>
      <p:sp>
        <p:nvSpPr>
          <p:cNvPr id="7" name="Text Placeholder 6">
            <a:extLst>
              <a:ext uri="{FF2B5EF4-FFF2-40B4-BE49-F238E27FC236}">
                <a16:creationId xmlns:a16="http://schemas.microsoft.com/office/drawing/2014/main" id="{2DC66416-B69D-4567-877D-88164F076FBE}"/>
              </a:ext>
            </a:extLst>
          </p:cNvPr>
          <p:cNvSpPr>
            <a:spLocks noGrp="1"/>
          </p:cNvSpPr>
          <p:nvPr>
            <p:ph type="body" sz="quarter" idx="30"/>
          </p:nvPr>
        </p:nvSpPr>
        <p:spPr>
          <a:xfrm>
            <a:off x="6433799" y="1263129"/>
            <a:ext cx="5376000" cy="369332"/>
          </a:xfrm>
        </p:spPr>
        <p:txBody>
          <a:bodyPr/>
          <a:lstStyle/>
          <a:p>
            <a:r>
              <a:rPr lang="en-GB"/>
              <a:t>CAPEX changes by component from 2023 to 2030</a:t>
            </a:r>
          </a:p>
          <a:p>
            <a:r>
              <a:rPr lang="en-GB" b="0">
                <a:solidFill>
                  <a:schemeClr val="accent5"/>
                </a:solidFill>
              </a:rPr>
              <a:t>€/kW, real 2022</a:t>
            </a:r>
          </a:p>
        </p:txBody>
      </p:sp>
      <p:sp>
        <p:nvSpPr>
          <p:cNvPr id="60" name="Text Placeholder 2">
            <a:extLst>
              <a:ext uri="{FF2B5EF4-FFF2-40B4-BE49-F238E27FC236}">
                <a16:creationId xmlns:a16="http://schemas.microsoft.com/office/drawing/2014/main" id="{D7009E74-DE25-4A4B-BF0C-F76BC896F40C}"/>
              </a:ext>
            </a:extLst>
          </p:cNvPr>
          <p:cNvSpPr>
            <a:spLocks noGrp="1"/>
          </p:cNvSpPr>
          <p:nvPr>
            <p:ph type="body" sz="quarter" idx="29"/>
          </p:nvPr>
        </p:nvSpPr>
        <p:spPr>
          <a:xfrm>
            <a:off x="381001" y="1263129"/>
            <a:ext cx="5654675" cy="369332"/>
          </a:xfrm>
        </p:spPr>
        <p:txBody>
          <a:bodyPr/>
          <a:lstStyle/>
          <a:p>
            <a:r>
              <a:rPr lang="en-GB" sz="1200"/>
              <a:t>Li-ion battery total system costs</a:t>
            </a:r>
            <a:r>
              <a:rPr lang="en-GB" sz="1200" baseline="30000"/>
              <a:t> </a:t>
            </a:r>
            <a:r>
              <a:rPr lang="en-GB" sz="1200"/>
              <a:t>– 2h asset</a:t>
            </a:r>
            <a:endParaRPr lang="en-GB"/>
          </a:p>
          <a:p>
            <a:r>
              <a:rPr lang="en-GB" b="0">
                <a:solidFill>
                  <a:schemeClr val="accent5"/>
                </a:solidFill>
              </a:rPr>
              <a:t>€/kW real 2022</a:t>
            </a:r>
            <a:endParaRPr lang="en-GB" b="0"/>
          </a:p>
        </p:txBody>
      </p:sp>
      <p:graphicFrame>
        <p:nvGraphicFramePr>
          <p:cNvPr id="11" name="Chart 10">
            <a:extLst>
              <a:ext uri="{FF2B5EF4-FFF2-40B4-BE49-F238E27FC236}">
                <a16:creationId xmlns:a16="http://schemas.microsoft.com/office/drawing/2014/main" id="{95D61E2D-4B65-D20C-E6AE-75E046ADD895}"/>
              </a:ext>
            </a:extLst>
          </p:cNvPr>
          <p:cNvGraphicFramePr/>
          <p:nvPr>
            <p:custDataLst>
              <p:tags r:id="rId21"/>
            </p:custDataLst>
            <p:extLst>
              <p:ext uri="{D42A27DB-BD31-4B8C-83A1-F6EECF244321}">
                <p14:modId xmlns:p14="http://schemas.microsoft.com/office/powerpoint/2010/main" val="2851521653"/>
              </p:ext>
            </p:extLst>
          </p:nvPr>
        </p:nvGraphicFramePr>
        <p:xfrm>
          <a:off x="6861175" y="1946275"/>
          <a:ext cx="5030788" cy="3719513"/>
        </p:xfrm>
        <a:graphic>
          <a:graphicData uri="http://schemas.openxmlformats.org/drawingml/2006/chart">
            <c:chart xmlns:c="http://schemas.openxmlformats.org/drawingml/2006/chart" xmlns:r="http://schemas.openxmlformats.org/officeDocument/2006/relationships" r:id="rId46"/>
          </a:graphicData>
        </a:graphic>
      </p:graphicFrame>
      <p:sp>
        <p:nvSpPr>
          <p:cNvPr id="65"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auto">
          <a:xfrm>
            <a:off x="7410451" y="5634038"/>
            <a:ext cx="688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1BD442C-AC17-45E5-A2B2-1FD6F7FF94F7}" type="datetime'1''''''''''''''''''h ''''''''s''y''''s''''''''te''''m'">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1h system</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80" name="Text Placeholder 19">
            <a:extLst>
              <a:ext uri="{FF2B5EF4-FFF2-40B4-BE49-F238E27FC236}">
                <a16:creationId xmlns:a16="http://schemas.microsoft.com/office/drawing/2014/main" id="{3F30DDF1-F1FF-4F55-98FA-4B39066B2D97}"/>
              </a:ext>
            </a:extLst>
          </p:cNvPr>
          <p:cNvSpPr>
            <a:spLocks noGrp="1"/>
          </p:cNvSpPr>
          <p:nvPr>
            <p:custDataLst>
              <p:tags r:id="rId23"/>
            </p:custDataLst>
          </p:nvPr>
        </p:nvSpPr>
        <p:spPr bwMode="auto">
          <a:xfrm>
            <a:off x="9031289" y="5634038"/>
            <a:ext cx="688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7381E41-6D2F-49A2-B15D-206AD55B9AB7}" type="datetime'2''h'''''''''' ''''s''''''''''y''''''''s''''''''t''em'''''">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h system</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85" name="Text Placeholder 19">
            <a:extLst>
              <a:ext uri="{FF2B5EF4-FFF2-40B4-BE49-F238E27FC236}">
                <a16:creationId xmlns:a16="http://schemas.microsoft.com/office/drawing/2014/main" id="{4519CDEF-F465-45F9-91E6-56D7F4428296}"/>
              </a:ext>
            </a:extLst>
          </p:cNvPr>
          <p:cNvSpPr>
            <a:spLocks noGrp="1"/>
          </p:cNvSpPr>
          <p:nvPr>
            <p:custDataLst>
              <p:tags r:id="rId24"/>
            </p:custDataLst>
          </p:nvPr>
        </p:nvSpPr>
        <p:spPr bwMode="auto">
          <a:xfrm>
            <a:off x="10653714" y="5634038"/>
            <a:ext cx="688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F80B5A8-2B78-4C28-AE33-13569EAC096A}" type="datetime'4''''''''''h'''''''''' ''''s''''y''s''te''m'''''''">
              <a:rPr kumimoji="0" lang="en-GB" altLang="en-US" sz="12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4h system</a:t>
            </a:fld>
            <a:endParaRPr kumimoji="0" lang="en-GB" sz="12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82" name="Rectangle 81">
            <a:extLst>
              <a:ext uri="{FF2B5EF4-FFF2-40B4-BE49-F238E27FC236}">
                <a16:creationId xmlns:a16="http://schemas.microsoft.com/office/drawing/2014/main" id="{05CAB672-9944-4DE1-8985-2706DEA038F6}"/>
              </a:ext>
            </a:extLst>
          </p:cNvPr>
          <p:cNvSpPr/>
          <p:nvPr/>
        </p:nvSpPr>
        <p:spPr>
          <a:xfrm>
            <a:off x="7578726" y="2126263"/>
            <a:ext cx="3884612" cy="815974"/>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a:ln>
                  <a:noFill/>
                </a:ln>
                <a:solidFill>
                  <a:srgbClr val="3C3C3B"/>
                </a:solidFill>
                <a:effectLst/>
                <a:uLnTx/>
                <a:uFillTx/>
                <a:latin typeface="Lato"/>
                <a:ea typeface="+mn-ea"/>
                <a:cs typeface="+mn-cs"/>
              </a:rPr>
              <a:t>The bulk of expected CAPEX declines is the result of decreasing costs of the battery system. The impact of this is felt the most by assets with longer durations, which require more battery modules than shorter-duration assets. </a:t>
            </a:r>
          </a:p>
        </p:txBody>
      </p:sp>
      <p:sp>
        <p:nvSpPr>
          <p:cNvPr id="175" name="Rectangle 174">
            <a:extLst>
              <a:ext uri="{FF2B5EF4-FFF2-40B4-BE49-F238E27FC236}">
                <a16:creationId xmlns:a16="http://schemas.microsoft.com/office/drawing/2014/main" id="{F00C9667-909E-FD7B-F428-A047CBF85E77}"/>
              </a:ext>
            </a:extLst>
          </p:cNvPr>
          <p:cNvSpPr/>
          <p:nvPr/>
        </p:nvSpPr>
        <p:spPr>
          <a:xfrm>
            <a:off x="2379663" y="2127078"/>
            <a:ext cx="3130550" cy="137336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Short term uplift in CAPEX was observed in 2022, driven by high lithium prices. Although the lithium price </a:t>
            </a:r>
            <a:r>
              <a:rPr kumimoji="0" lang="en-US" sz="1050" b="0" i="0" u="none" strike="noStrike" kern="1200" cap="none" spc="0" normalizeH="0" baseline="0" noProof="0">
                <a:ln>
                  <a:noFill/>
                </a:ln>
                <a:solidFill>
                  <a:srgbClr val="3C3C3B"/>
                </a:solidFill>
                <a:effectLst/>
                <a:uLnTx/>
                <a:uFillTx/>
                <a:latin typeface="Lato"/>
                <a:ea typeface="+mn-ea"/>
                <a:cs typeface="+mn-cs"/>
              </a:rPr>
              <a:t>is decreasing, it is still slightly higher than the average level in the long run.</a:t>
            </a:r>
            <a:endParaRPr kumimoji="0" lang="en-GB" sz="1050" b="0" i="0" u="none" strike="noStrike" kern="1200" cap="none" spc="0" normalizeH="0" baseline="0" noProof="0">
              <a:ln>
                <a:noFill/>
              </a:ln>
              <a:solidFill>
                <a:srgbClr val="3C3C3B"/>
              </a:solidFill>
              <a:effectLst/>
              <a:uLnTx/>
              <a:uFillTx/>
              <a:latin typeface="Lato"/>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3C3C3B"/>
                </a:solidFill>
                <a:effectLst/>
                <a:uLnTx/>
                <a:uFillTx/>
                <a:latin typeface="Lato"/>
                <a:ea typeface="+mn-ea"/>
                <a:cs typeface="+mn-cs"/>
              </a:rPr>
              <a:t>CAPEX is expected to revert back to the declining trajectory of our original forecast by 2030 as raw material supply and demand imbalances ease.</a:t>
            </a:r>
            <a:endParaRPr kumimoji="0" lang="en-GB" sz="1050" b="0" i="0" u="none" strike="noStrike" kern="1200" cap="none" spc="0" normalizeH="0" baseline="0" noProof="0">
              <a:ln>
                <a:noFill/>
              </a:ln>
              <a:solidFill>
                <a:srgbClr val="FF0000"/>
              </a:solidFill>
              <a:effectLst/>
              <a:uLnTx/>
              <a:uFillTx/>
              <a:latin typeface="Lato"/>
              <a:ea typeface="+mn-ea"/>
              <a:cs typeface="+mn-cs"/>
            </a:endParaRPr>
          </a:p>
        </p:txBody>
      </p:sp>
      <p:cxnSp>
        <p:nvCxnSpPr>
          <p:cNvPr id="176" name="Straight Connector 175">
            <a:extLst>
              <a:ext uri="{FF2B5EF4-FFF2-40B4-BE49-F238E27FC236}">
                <a16:creationId xmlns:a16="http://schemas.microsoft.com/office/drawing/2014/main" id="{039F5864-AEEF-D0FD-9047-3C202925AF38}"/>
              </a:ext>
            </a:extLst>
          </p:cNvPr>
          <p:cNvCxnSpPr>
            <a:cxnSpLocks/>
            <a:stCxn id="175" idx="1"/>
          </p:cNvCxnSpPr>
          <p:nvPr/>
        </p:nvCxnSpPr>
        <p:spPr>
          <a:xfrm flipH="1" flipV="1">
            <a:off x="1810067" y="2471738"/>
            <a:ext cx="569596" cy="34202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94D1E6BF-31DE-7E3D-4F13-4385CE7137DD}"/>
              </a:ext>
            </a:extLst>
          </p:cNvPr>
          <p:cNvCxnSpPr>
            <a:cxnSpLocks/>
            <a:stCxn id="82" idx="2"/>
          </p:cNvCxnSpPr>
          <p:nvPr/>
        </p:nvCxnSpPr>
        <p:spPr>
          <a:xfrm>
            <a:off x="9521032" y="2942237"/>
            <a:ext cx="1415359" cy="191533"/>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8389D5E7-3A4C-B005-4BE9-810FB881CD3B}"/>
              </a:ext>
            </a:extLst>
          </p:cNvPr>
          <p:cNvSpPr txBox="1">
            <a:spLocks/>
          </p:cNvSpPr>
          <p:nvPr/>
        </p:nvSpPr>
        <p:spPr>
          <a:xfrm>
            <a:off x="381599" y="79401"/>
            <a:ext cx="4097597"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Introduction to battery storage – Battery technologies</a:t>
            </a:r>
          </a:p>
        </p:txBody>
      </p:sp>
      <p:sp>
        <p:nvSpPr>
          <p:cNvPr id="17" name="Oval 16">
            <a:extLst>
              <a:ext uri="{FF2B5EF4-FFF2-40B4-BE49-F238E27FC236}">
                <a16:creationId xmlns:a16="http://schemas.microsoft.com/office/drawing/2014/main" id="{FB4668D2-AA07-9E69-CB7F-B75559DE249E}"/>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18" name="Oval 17">
            <a:extLst>
              <a:ext uri="{FF2B5EF4-FFF2-40B4-BE49-F238E27FC236}">
                <a16:creationId xmlns:a16="http://schemas.microsoft.com/office/drawing/2014/main" id="{3E2A06B3-21BB-BFE5-44A1-F3DB7ABD201B}"/>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460" name="Rectangle 459">
            <a:extLst>
              <a:ext uri="{FF2B5EF4-FFF2-40B4-BE49-F238E27FC236}">
                <a16:creationId xmlns:a16="http://schemas.microsoft.com/office/drawing/2014/main" id="{75692256-B9B4-6A29-9FA2-D5CE03E8CB42}"/>
              </a:ext>
            </a:extLst>
          </p:cNvPr>
          <p:cNvSpPr/>
          <p:nvPr>
            <p:custDataLst>
              <p:tags r:id="rId25"/>
            </p:custDataLst>
          </p:nvPr>
        </p:nvSpPr>
        <p:spPr bwMode="auto">
          <a:xfrm>
            <a:off x="431800" y="6181725"/>
            <a:ext cx="179388" cy="133350"/>
          </a:xfrm>
          <a:prstGeom prst="rect">
            <a:avLst/>
          </a:prstGeom>
          <a:solidFill>
            <a:schemeClr val="accent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61" name="Rectangle 460">
            <a:extLst>
              <a:ext uri="{FF2B5EF4-FFF2-40B4-BE49-F238E27FC236}">
                <a16:creationId xmlns:a16="http://schemas.microsoft.com/office/drawing/2014/main" id="{EE41E777-D478-D116-114D-28A66D7F15E6}"/>
              </a:ext>
            </a:extLst>
          </p:cNvPr>
          <p:cNvSpPr/>
          <p:nvPr>
            <p:custDataLst>
              <p:tags r:id="rId26"/>
            </p:custDataLst>
          </p:nvPr>
        </p:nvSpPr>
        <p:spPr bwMode="auto">
          <a:xfrm>
            <a:off x="1517650" y="6181725"/>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62" name="Rectangle 461">
            <a:extLst>
              <a:ext uri="{FF2B5EF4-FFF2-40B4-BE49-F238E27FC236}">
                <a16:creationId xmlns:a16="http://schemas.microsoft.com/office/drawing/2014/main" id="{2DADB1D1-EF20-DE79-BE04-F2746369D81D}"/>
              </a:ext>
            </a:extLst>
          </p:cNvPr>
          <p:cNvSpPr/>
          <p:nvPr>
            <p:custDataLst>
              <p:tags r:id="rId27"/>
            </p:custDataLst>
          </p:nvPr>
        </p:nvSpPr>
        <p:spPr bwMode="auto">
          <a:xfrm>
            <a:off x="2490788" y="6181725"/>
            <a:ext cx="179388" cy="133350"/>
          </a:xfrm>
          <a:prstGeom prst="rect">
            <a:avLst/>
          </a:prstGeom>
          <a:solidFill>
            <a:schemeClr val="accent3"/>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63" name="Rectangle 462">
            <a:extLst>
              <a:ext uri="{FF2B5EF4-FFF2-40B4-BE49-F238E27FC236}">
                <a16:creationId xmlns:a16="http://schemas.microsoft.com/office/drawing/2014/main" id="{6B70BA0B-6049-66B1-5630-EA2668FB4D79}"/>
              </a:ext>
            </a:extLst>
          </p:cNvPr>
          <p:cNvSpPr/>
          <p:nvPr>
            <p:custDataLst>
              <p:tags r:id="rId28"/>
            </p:custDataLst>
          </p:nvPr>
        </p:nvSpPr>
        <p:spPr bwMode="auto">
          <a:xfrm>
            <a:off x="3060700" y="6181725"/>
            <a:ext cx="179388" cy="133350"/>
          </a:xfrm>
          <a:prstGeom prst="rect">
            <a:avLst/>
          </a:prstGeom>
          <a:solidFill>
            <a:srgbClr val="C3CFE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64" name="Rectangle 463">
            <a:extLst>
              <a:ext uri="{FF2B5EF4-FFF2-40B4-BE49-F238E27FC236}">
                <a16:creationId xmlns:a16="http://schemas.microsoft.com/office/drawing/2014/main" id="{2A4712C2-886D-FBE9-1BBA-646CE9A5C6C5}"/>
              </a:ext>
            </a:extLst>
          </p:cNvPr>
          <p:cNvSpPr/>
          <p:nvPr>
            <p:custDataLst>
              <p:tags r:id="rId29"/>
            </p:custDataLst>
          </p:nvPr>
        </p:nvSpPr>
        <p:spPr bwMode="auto">
          <a:xfrm>
            <a:off x="4387850" y="6181725"/>
            <a:ext cx="179388" cy="133350"/>
          </a:xfrm>
          <a:prstGeom prst="rect">
            <a:avLst/>
          </a:prstGeom>
          <a:solidFill>
            <a:srgbClr val="9DB1CF"/>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65" name="Rectangle 464">
            <a:extLst>
              <a:ext uri="{FF2B5EF4-FFF2-40B4-BE49-F238E27FC236}">
                <a16:creationId xmlns:a16="http://schemas.microsoft.com/office/drawing/2014/main" id="{1A56BD19-CF4A-7665-AD10-03440DEF50C2}"/>
              </a:ext>
            </a:extLst>
          </p:cNvPr>
          <p:cNvSpPr/>
          <p:nvPr>
            <p:custDataLst>
              <p:tags r:id="rId30"/>
            </p:custDataLst>
          </p:nvPr>
        </p:nvSpPr>
        <p:spPr bwMode="auto">
          <a:xfrm>
            <a:off x="5176838" y="6181725"/>
            <a:ext cx="179388" cy="133350"/>
          </a:xfrm>
          <a:prstGeom prst="rect">
            <a:avLst/>
          </a:prstGeom>
          <a:solidFill>
            <a:srgbClr val="6F8DB9"/>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69" name="Rectangle 468">
            <a:extLst>
              <a:ext uri="{FF2B5EF4-FFF2-40B4-BE49-F238E27FC236}">
                <a16:creationId xmlns:a16="http://schemas.microsoft.com/office/drawing/2014/main" id="{8CB27E51-786C-EB24-63BC-FC21967803B3}"/>
              </a:ext>
            </a:extLst>
          </p:cNvPr>
          <p:cNvSpPr/>
          <p:nvPr>
            <p:custDataLst>
              <p:tags r:id="rId31"/>
            </p:custDataLst>
          </p:nvPr>
        </p:nvSpPr>
        <p:spPr bwMode="auto">
          <a:xfrm>
            <a:off x="6353175" y="6181725"/>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49" name="Text Placeholder 19">
            <a:extLst>
              <a:ext uri="{FF2B5EF4-FFF2-40B4-BE49-F238E27FC236}">
                <a16:creationId xmlns:a16="http://schemas.microsoft.com/office/drawing/2014/main" id="{9F9869AF-B0F6-4E89-B216-4EC18C7334C2}"/>
              </a:ext>
            </a:extLst>
          </p:cNvPr>
          <p:cNvSpPr>
            <a:spLocks noGrp="1"/>
          </p:cNvSpPr>
          <p:nvPr>
            <p:custDataLst>
              <p:tags r:id="rId32"/>
            </p:custDataLst>
          </p:nvPr>
        </p:nvSpPr>
        <p:spPr bwMode="auto">
          <a:xfrm>
            <a:off x="661988" y="6176963"/>
            <a:ext cx="754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9B8A657-2CAF-4671-B067-896837A382C3}" type="datetime'''D''''e''v''''e''''l''''''o''''''p''''''''me''''n''t'">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Development</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53" name="Text Placeholder 19">
            <a:extLst>
              <a:ext uri="{FF2B5EF4-FFF2-40B4-BE49-F238E27FC236}">
                <a16:creationId xmlns:a16="http://schemas.microsoft.com/office/drawing/2014/main" id="{9F9869AF-B0F6-4E89-B216-4EC18C7334C2}"/>
              </a:ext>
            </a:extLst>
          </p:cNvPr>
          <p:cNvSpPr>
            <a:spLocks noGrp="1"/>
          </p:cNvSpPr>
          <p:nvPr>
            <p:custDataLst>
              <p:tags r:id="rId33"/>
            </p:custDataLst>
          </p:nvPr>
        </p:nvSpPr>
        <p:spPr bwMode="auto">
          <a:xfrm>
            <a:off x="1747838" y="6176963"/>
            <a:ext cx="641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9BF0006-BDF5-4273-8D37-359B1D4254FA}" type="datetime'''''''''C''o''''n''''ne''''''''''''''''''''c''''''ti''''on'">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onnection</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52"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auto">
          <a:xfrm>
            <a:off x="2720976" y="6176963"/>
            <a:ext cx="238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FCE32C0-9A83-4516-A9C9-56BA809828C5}" type="datetime'''''''''''''''''''''''''''''''''E''P''C'''''''''">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EPC</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54" name="Text Placeholder 19">
            <a:extLst>
              <a:ext uri="{FF2B5EF4-FFF2-40B4-BE49-F238E27FC236}">
                <a16:creationId xmlns:a16="http://schemas.microsoft.com/office/drawing/2014/main" id="{9F9869AF-B0F6-4E89-B216-4EC18C7334C2}"/>
              </a:ext>
            </a:extLst>
          </p:cNvPr>
          <p:cNvSpPr>
            <a:spLocks noGrp="1"/>
          </p:cNvSpPr>
          <p:nvPr>
            <p:custDataLst>
              <p:tags r:id="rId35"/>
            </p:custDataLst>
          </p:nvPr>
        </p:nvSpPr>
        <p:spPr bwMode="auto">
          <a:xfrm>
            <a:off x="3290888" y="6176963"/>
            <a:ext cx="995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6DC672F-F981-44C4-99CB-6B1B2753A55B}" type="datetime'Bal''''''a''n''''c''''''''e'''' o''f'' ''''''sys''''t''''em'">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Balance of system</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58" name="Text Placeholder 19">
            <a:extLst>
              <a:ext uri="{FF2B5EF4-FFF2-40B4-BE49-F238E27FC236}">
                <a16:creationId xmlns:a16="http://schemas.microsoft.com/office/drawing/2014/main" id="{9F9869AF-B0F6-4E89-B216-4EC18C7334C2}"/>
              </a:ext>
            </a:extLst>
          </p:cNvPr>
          <p:cNvSpPr>
            <a:spLocks noGrp="1"/>
          </p:cNvSpPr>
          <p:nvPr>
            <p:custDataLst>
              <p:tags r:id="rId36"/>
            </p:custDataLst>
          </p:nvPr>
        </p:nvSpPr>
        <p:spPr bwMode="auto">
          <a:xfrm>
            <a:off x="4618038" y="6176963"/>
            <a:ext cx="457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C460D27-28C2-4129-9A2F-5E1629DA6499}" type="datetime'''''''''I''''''''''n''v''''er''''te''''''''''r'''''''">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Inverter</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56" name="Text Placeholder 19">
            <a:extLst>
              <a:ext uri="{FF2B5EF4-FFF2-40B4-BE49-F238E27FC236}">
                <a16:creationId xmlns:a16="http://schemas.microsoft.com/office/drawing/2014/main" id="{9F9869AF-B0F6-4E89-B216-4EC18C7334C2}"/>
              </a:ext>
            </a:extLst>
          </p:cNvPr>
          <p:cNvSpPr>
            <a:spLocks noGrp="1"/>
          </p:cNvSpPr>
          <p:nvPr>
            <p:custDataLst>
              <p:tags r:id="rId37"/>
            </p:custDataLst>
          </p:nvPr>
        </p:nvSpPr>
        <p:spPr bwMode="auto">
          <a:xfrm>
            <a:off x="5407025" y="6176963"/>
            <a:ext cx="844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50D7CD9-8837-4D0E-A91F-4D398E195D8F}" type="datetime'''''''''B''''''atte''''r''''''y ''''''s''ys''t''''e''m'''">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Battery system</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451" name="Text Placeholder 19">
            <a:extLst>
              <a:ext uri="{FF2B5EF4-FFF2-40B4-BE49-F238E27FC236}">
                <a16:creationId xmlns:a16="http://schemas.microsoft.com/office/drawing/2014/main" id="{9F9869AF-B0F6-4E89-B216-4EC18C7334C2}"/>
              </a:ext>
            </a:extLst>
          </p:cNvPr>
          <p:cNvSpPr>
            <a:spLocks noGrp="1"/>
          </p:cNvSpPr>
          <p:nvPr>
            <p:custDataLst>
              <p:tags r:id="rId38"/>
            </p:custDataLst>
          </p:nvPr>
        </p:nvSpPr>
        <p:spPr bwMode="auto">
          <a:xfrm>
            <a:off x="6583364" y="6176963"/>
            <a:ext cx="849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EB3CDAC-CBDC-4171-9BAF-D5226B725A3E}" type="datetime'''H''i''s''t''o''''''''''ric''''al ''''''co''''''''s''ts'">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Historical costs</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2" name="Rectangle 1">
            <a:extLst>
              <a:ext uri="{FF2B5EF4-FFF2-40B4-BE49-F238E27FC236}">
                <a16:creationId xmlns:a16="http://schemas.microsoft.com/office/drawing/2014/main" id="{87D7C757-7A18-A008-0C9B-938BFA8668A3}"/>
              </a:ext>
            </a:extLst>
          </p:cNvPr>
          <p:cNvSpPr/>
          <p:nvPr/>
        </p:nvSpPr>
        <p:spPr>
          <a:xfrm>
            <a:off x="163033" y="1700213"/>
            <a:ext cx="11728930" cy="4357687"/>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4" name="Group 3">
            <a:extLst>
              <a:ext uri="{FF2B5EF4-FFF2-40B4-BE49-F238E27FC236}">
                <a16:creationId xmlns:a16="http://schemas.microsoft.com/office/drawing/2014/main" id="{DB10044E-C81D-27EA-08E1-854C9681EC33}"/>
              </a:ext>
            </a:extLst>
          </p:cNvPr>
          <p:cNvGrpSpPr/>
          <p:nvPr/>
        </p:nvGrpSpPr>
        <p:grpSpPr>
          <a:xfrm>
            <a:off x="4772297" y="2928257"/>
            <a:ext cx="2647407" cy="1001486"/>
            <a:chOff x="8251369" y="2255520"/>
            <a:chExt cx="2647407" cy="1001486"/>
          </a:xfrm>
        </p:grpSpPr>
        <p:sp>
          <p:nvSpPr>
            <p:cNvPr id="10" name="Rectangle: Rounded Corners 9">
              <a:extLst>
                <a:ext uri="{FF2B5EF4-FFF2-40B4-BE49-F238E27FC236}">
                  <a16:creationId xmlns:a16="http://schemas.microsoft.com/office/drawing/2014/main" id="{5113D234-FE5E-BA76-26D8-B2FB89F00633}"/>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2" name="TextBox 11">
              <a:extLst>
                <a:ext uri="{FF2B5EF4-FFF2-40B4-BE49-F238E27FC236}">
                  <a16:creationId xmlns:a16="http://schemas.microsoft.com/office/drawing/2014/main" id="{AD3E2B40-602C-327C-C0F5-58591889501A}"/>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3171992403"/>
      </p:ext>
    </p:extLst>
  </p:cSld>
  <p:clrMapOvr>
    <a:masterClrMapping/>
  </p:clrMapOvr>
  <p:extLst>
    <p:ext uri="{6950BFC3-D8DA-4A85-94F7-54DA5524770B}">
      <p188:commentRel xmlns:p188="http://schemas.microsoft.com/office/powerpoint/2018/8/main" r:id="rId41"/>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E939167-BA23-4224-BC8A-448F43560EA1}"/>
              </a:ext>
            </a:extLst>
          </p:cNvPr>
          <p:cNvGraphicFramePr>
            <a:graphicFrameLocks noChangeAspect="1"/>
          </p:cNvGraphicFramePr>
          <p:nvPr>
            <p:custDataLst>
              <p:tags r:id="rId1"/>
            </p:custDataLst>
            <p:extLst>
              <p:ext uri="{D42A27DB-BD31-4B8C-83A1-F6EECF244321}">
                <p14:modId xmlns:p14="http://schemas.microsoft.com/office/powerpoint/2010/main" val="196232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73" imgH="476" progId="TCLayout.ActiveDocument.1">
                  <p:embed/>
                </p:oleObj>
              </mc:Choice>
              <mc:Fallback>
                <p:oleObj name="think-cell Slide" r:id="rId34" imgW="473" imgH="476" progId="TCLayout.ActiveDocument.1">
                  <p:embed/>
                  <p:pic>
                    <p:nvPicPr>
                      <p:cNvPr id="10" name="Object 9" hidden="1">
                        <a:extLst>
                          <a:ext uri="{FF2B5EF4-FFF2-40B4-BE49-F238E27FC236}">
                            <a16:creationId xmlns:a16="http://schemas.microsoft.com/office/drawing/2014/main" id="{EE939167-BA23-4224-BC8A-448F43560EA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13" name="Text Placeholder 24">
            <a:extLst>
              <a:ext uri="{FF2B5EF4-FFF2-40B4-BE49-F238E27FC236}">
                <a16:creationId xmlns:a16="http://schemas.microsoft.com/office/drawing/2014/main" id="{F65E3310-1D84-4B74-95E5-8F8978D328FC}"/>
              </a:ext>
            </a:extLst>
          </p:cNvPr>
          <p:cNvSpPr>
            <a:spLocks noGrp="1"/>
          </p:cNvSpPr>
          <p:nvPr>
            <p:ph type="body" sz="quarter" idx="27"/>
          </p:nvPr>
        </p:nvSpPr>
        <p:spPr>
          <a:xfrm>
            <a:off x="381599" y="1270033"/>
            <a:ext cx="11428800" cy="369332"/>
          </a:xfrm>
        </p:spPr>
        <p:txBody>
          <a:bodyPr/>
          <a:lstStyle/>
          <a:p>
            <a:r>
              <a:rPr lang="en-GB" b="1">
                <a:solidFill>
                  <a:schemeClr val="tx1"/>
                </a:solidFill>
              </a:rPr>
              <a:t>Battery storage CAPEX, by duration</a:t>
            </a:r>
            <a:r>
              <a:rPr lang="en-GB" b="1" baseline="30000">
                <a:solidFill>
                  <a:schemeClr val="tx1"/>
                </a:solidFill>
              </a:rPr>
              <a:t>1</a:t>
            </a:r>
            <a:br>
              <a:rPr lang="en-GB" b="1" baseline="30000">
                <a:solidFill>
                  <a:schemeClr val="tx1"/>
                </a:solidFill>
              </a:rPr>
            </a:br>
            <a:r>
              <a:rPr lang="en-GB">
                <a:solidFill>
                  <a:schemeClr val="accent5"/>
                </a:solidFill>
              </a:rPr>
              <a:t>€/kW (real </a:t>
            </a:r>
            <a:r>
              <a:rPr lang="en-GB" b="0">
                <a:solidFill>
                  <a:schemeClr val="accent5"/>
                </a:solidFill>
              </a:rPr>
              <a:t>2022)</a:t>
            </a:r>
            <a:endParaRPr lang="en-GB"/>
          </a:p>
        </p:txBody>
      </p:sp>
      <p:sp>
        <p:nvSpPr>
          <p:cNvPr id="23" name="Text Placeholder 22">
            <a:extLst>
              <a:ext uri="{FF2B5EF4-FFF2-40B4-BE49-F238E27FC236}">
                <a16:creationId xmlns:a16="http://schemas.microsoft.com/office/drawing/2014/main" id="{F5C982BD-CBB7-4566-A7DC-DE5209C46962}"/>
              </a:ext>
            </a:extLst>
          </p:cNvPr>
          <p:cNvSpPr>
            <a:spLocks noGrp="1"/>
          </p:cNvSpPr>
          <p:nvPr>
            <p:ph type="body" sz="quarter" idx="22"/>
          </p:nvPr>
        </p:nvSpPr>
        <p:spPr>
          <a:xfrm>
            <a:off x="381001" y="6715169"/>
            <a:ext cx="1519647" cy="110800"/>
          </a:xfrm>
        </p:spPr>
        <p:txBody>
          <a:bodyPr/>
          <a:lstStyle/>
          <a:p>
            <a:r>
              <a:rPr lang="en-GB"/>
              <a:t>Sources: Aurora Energy Research</a:t>
            </a:r>
            <a:r>
              <a:rPr lang="en-US"/>
              <a:t> </a:t>
            </a:r>
            <a:endParaRPr lang="en-GB">
              <a:highlight>
                <a:srgbClr val="FFFF00"/>
              </a:highlight>
            </a:endParaRPr>
          </a:p>
        </p:txBody>
      </p:sp>
      <p:sp>
        <p:nvSpPr>
          <p:cNvPr id="4" name="Title 3">
            <a:extLst>
              <a:ext uri="{FF2B5EF4-FFF2-40B4-BE49-F238E27FC236}">
                <a16:creationId xmlns:a16="http://schemas.microsoft.com/office/drawing/2014/main" id="{4C77EBDF-3972-4C61-BE7B-F198064783BD}"/>
              </a:ext>
            </a:extLst>
          </p:cNvPr>
          <p:cNvSpPr>
            <a:spLocks noGrp="1"/>
          </p:cNvSpPr>
          <p:nvPr>
            <p:ph type="title"/>
          </p:nvPr>
        </p:nvSpPr>
        <p:spPr/>
        <p:txBody>
          <a:bodyPr vert="horz"/>
          <a:lstStyle/>
          <a:p>
            <a:r>
              <a:rPr lang="en-GB"/>
              <a:t>Battery CAPEX decline by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a:t>% by 2030 due to technology progress and economies of scale in production</a:t>
            </a:r>
            <a:br>
              <a:rPr lang="en-GB"/>
            </a:br>
            <a:endParaRPr lang="en-GB"/>
          </a:p>
        </p:txBody>
      </p:sp>
      <p:sp>
        <p:nvSpPr>
          <p:cNvPr id="28" name="Text Placeholder 27">
            <a:extLst>
              <a:ext uri="{FF2B5EF4-FFF2-40B4-BE49-F238E27FC236}">
                <a16:creationId xmlns:a16="http://schemas.microsoft.com/office/drawing/2014/main" id="{4397C6AF-738D-4F31-BE90-0B9C73762529}"/>
              </a:ext>
            </a:extLst>
          </p:cNvPr>
          <p:cNvSpPr>
            <a:spLocks noGrp="1"/>
          </p:cNvSpPr>
          <p:nvPr>
            <p:ph type="body" sz="quarter" idx="32"/>
          </p:nvPr>
        </p:nvSpPr>
        <p:spPr/>
        <p:txBody>
          <a:bodyPr/>
          <a:lstStyle/>
          <a:p>
            <a:r>
              <a:rPr lang="en-GB"/>
              <a:t>1) Representative average stationary battery cost for Europe</a:t>
            </a:r>
          </a:p>
        </p:txBody>
      </p:sp>
      <p:sp>
        <p:nvSpPr>
          <p:cNvPr id="208" name="Rounded Rectangle 30">
            <a:extLst>
              <a:ext uri="{FF2B5EF4-FFF2-40B4-BE49-F238E27FC236}">
                <a16:creationId xmlns:a16="http://schemas.microsoft.com/office/drawing/2014/main" id="{C44C464E-FC9C-CF22-9D54-5BECFE6C6EED}"/>
              </a:ext>
            </a:extLst>
          </p:cNvPr>
          <p:cNvSpPr/>
          <p:nvPr/>
        </p:nvSpPr>
        <p:spPr>
          <a:xfrm>
            <a:off x="4929187" y="1716778"/>
            <a:ext cx="2700000" cy="287338"/>
          </a:xfrm>
          <a:prstGeom prst="roundRect">
            <a:avLst>
              <a:gd name="adj" fmla="val 50000"/>
            </a:avLst>
          </a:prstGeom>
          <a:solidFill>
            <a:srgbClr val="A6964E"/>
          </a:solidFill>
          <a:ln w="6350">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2hr battery</a:t>
            </a:r>
          </a:p>
        </p:txBody>
      </p:sp>
      <p:sp>
        <p:nvSpPr>
          <p:cNvPr id="209" name="Rounded Rectangle 30">
            <a:extLst>
              <a:ext uri="{FF2B5EF4-FFF2-40B4-BE49-F238E27FC236}">
                <a16:creationId xmlns:a16="http://schemas.microsoft.com/office/drawing/2014/main" id="{26C95F6B-18B6-3A16-AF2C-CD82D327980D}"/>
              </a:ext>
            </a:extLst>
          </p:cNvPr>
          <p:cNvSpPr/>
          <p:nvPr/>
        </p:nvSpPr>
        <p:spPr>
          <a:xfrm>
            <a:off x="8715748" y="1716778"/>
            <a:ext cx="2700000" cy="287338"/>
          </a:xfrm>
          <a:prstGeom prst="roundRect">
            <a:avLst>
              <a:gd name="adj" fmla="val 50000"/>
            </a:avLst>
          </a:prstGeom>
          <a:solidFill>
            <a:srgbClr val="736835"/>
          </a:solidFill>
          <a:ln w="6350">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4hr battery</a:t>
            </a:r>
          </a:p>
        </p:txBody>
      </p:sp>
      <p:sp>
        <p:nvSpPr>
          <p:cNvPr id="210" name="Rounded Rectangle 30">
            <a:extLst>
              <a:ext uri="{FF2B5EF4-FFF2-40B4-BE49-F238E27FC236}">
                <a16:creationId xmlns:a16="http://schemas.microsoft.com/office/drawing/2014/main" id="{0669ABB5-8555-20E8-5733-3BC90D1F6C6F}"/>
              </a:ext>
            </a:extLst>
          </p:cNvPr>
          <p:cNvSpPr/>
          <p:nvPr/>
        </p:nvSpPr>
        <p:spPr>
          <a:xfrm>
            <a:off x="1142626" y="1716778"/>
            <a:ext cx="2700000" cy="287338"/>
          </a:xfrm>
          <a:prstGeom prst="roundRect">
            <a:avLst>
              <a:gd name="adj" fmla="val 50000"/>
            </a:avLst>
          </a:prstGeom>
          <a:solidFill>
            <a:srgbClr val="C8BD88"/>
          </a:solidFill>
          <a:ln w="6350">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1hr battery</a:t>
            </a:r>
          </a:p>
        </p:txBody>
      </p:sp>
      <p:graphicFrame>
        <p:nvGraphicFramePr>
          <p:cNvPr id="39" name="Chart 38">
            <a:extLst>
              <a:ext uri="{FF2B5EF4-FFF2-40B4-BE49-F238E27FC236}">
                <a16:creationId xmlns:a16="http://schemas.microsoft.com/office/drawing/2014/main" id="{FDC9E8EA-12EC-DA41-D716-7B7DE11C299F}"/>
              </a:ext>
            </a:extLst>
          </p:cNvPr>
          <p:cNvGraphicFramePr/>
          <p:nvPr>
            <p:custDataLst>
              <p:tags r:id="rId2"/>
            </p:custDataLst>
            <p:extLst>
              <p:ext uri="{D42A27DB-BD31-4B8C-83A1-F6EECF244321}">
                <p14:modId xmlns:p14="http://schemas.microsoft.com/office/powerpoint/2010/main" val="3714395815"/>
              </p:ext>
            </p:extLst>
          </p:nvPr>
        </p:nvGraphicFramePr>
        <p:xfrm>
          <a:off x="828675" y="2241550"/>
          <a:ext cx="3311525" cy="3403600"/>
        </p:xfrm>
        <a:graphic>
          <a:graphicData uri="http://schemas.openxmlformats.org/drawingml/2006/chart">
            <c:chart xmlns:c="http://schemas.openxmlformats.org/drawingml/2006/chart" xmlns:r="http://schemas.openxmlformats.org/officeDocument/2006/relationships" r:id="rId36"/>
          </a:graphicData>
        </a:graphic>
      </p:graphicFrame>
      <p:sp>
        <p:nvSpPr>
          <p:cNvPr id="5" name="Text Placeholder 19">
            <a:extLst>
              <a:ext uri="{FF2B5EF4-FFF2-40B4-BE49-F238E27FC236}">
                <a16:creationId xmlns:a16="http://schemas.microsoft.com/office/drawing/2014/main" id="{86D957D8-AC6E-6AB9-209F-22CC22F74BD5}"/>
              </a:ext>
            </a:extLst>
          </p:cNvPr>
          <p:cNvSpPr>
            <a:spLocks noGrp="1"/>
          </p:cNvSpPr>
          <p:nvPr>
            <p:custDataLst>
              <p:tags r:id="rId3"/>
            </p:custDataLst>
          </p:nvPr>
        </p:nvSpPr>
        <p:spPr bwMode="auto">
          <a:xfrm>
            <a:off x="1041400"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9E78AE6-DD19-40E1-A7B6-07701C8E3A5B}" type="datetime'''''''''''''''''''20''''''2''''''''''''''''''''''3'''''">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3</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81" name="Text Placeholder 19">
            <a:extLst>
              <a:ext uri="{FF2B5EF4-FFF2-40B4-BE49-F238E27FC236}">
                <a16:creationId xmlns:a16="http://schemas.microsoft.com/office/drawing/2014/main" id="{2300C2C2-066F-0F11-3A7B-60F63818F55F}"/>
              </a:ext>
            </a:extLst>
          </p:cNvPr>
          <p:cNvSpPr>
            <a:spLocks noGrp="1"/>
          </p:cNvSpPr>
          <p:nvPr>
            <p:custDataLst>
              <p:tags r:id="rId4"/>
            </p:custDataLst>
          </p:nvPr>
        </p:nvSpPr>
        <p:spPr bwMode="auto">
          <a:xfrm>
            <a:off x="1670050"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38B7818-82D6-4136-9D29-9ECF5E3E398A}" type="datetime'''''2''''''''''''''''0''''''''2''''''''''''''''''''5'''''">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5</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79" name="Text Placeholder 19">
            <a:extLst>
              <a:ext uri="{FF2B5EF4-FFF2-40B4-BE49-F238E27FC236}">
                <a16:creationId xmlns:a16="http://schemas.microsoft.com/office/drawing/2014/main" id="{18D08CDD-69C8-CD6F-690C-E2268E2BC31D}"/>
              </a:ext>
            </a:extLst>
          </p:cNvPr>
          <p:cNvSpPr>
            <a:spLocks noGrp="1"/>
          </p:cNvSpPr>
          <p:nvPr>
            <p:custDataLst>
              <p:tags r:id="rId5"/>
            </p:custDataLst>
          </p:nvPr>
        </p:nvSpPr>
        <p:spPr bwMode="auto">
          <a:xfrm>
            <a:off x="2300288"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95A0698-C4D8-4C1E-A0E0-A7E0919D6909}" type="datetime'''''''''''''''''2''''''''''0''''''''''''''''''''3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82" name="Text Placeholder 19">
            <a:extLst>
              <a:ext uri="{FF2B5EF4-FFF2-40B4-BE49-F238E27FC236}">
                <a16:creationId xmlns:a16="http://schemas.microsoft.com/office/drawing/2014/main" id="{C37ECA03-0880-899A-CC00-E1AA7433D816}"/>
              </a:ext>
            </a:extLst>
          </p:cNvPr>
          <p:cNvSpPr>
            <a:spLocks noGrp="1"/>
          </p:cNvSpPr>
          <p:nvPr>
            <p:custDataLst>
              <p:tags r:id="rId6"/>
            </p:custDataLst>
          </p:nvPr>
        </p:nvSpPr>
        <p:spPr bwMode="auto">
          <a:xfrm>
            <a:off x="2928938"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BEFED65-AC86-4393-B6C0-6AD5F899A0B4}" type="datetime'''''''''''''''2''''0''''''4''''''''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80" name="Text Placeholder 19">
            <a:extLst>
              <a:ext uri="{FF2B5EF4-FFF2-40B4-BE49-F238E27FC236}">
                <a16:creationId xmlns:a16="http://schemas.microsoft.com/office/drawing/2014/main" id="{9F7E0AD8-67FA-9C8E-5F6D-C5E5FDD753D4}"/>
              </a:ext>
            </a:extLst>
          </p:cNvPr>
          <p:cNvSpPr>
            <a:spLocks noGrp="1"/>
          </p:cNvSpPr>
          <p:nvPr>
            <p:custDataLst>
              <p:tags r:id="rId7"/>
            </p:custDataLst>
          </p:nvPr>
        </p:nvSpPr>
        <p:spPr bwMode="auto">
          <a:xfrm>
            <a:off x="3559175"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4457FFA-61D6-494A-9BDE-4517F7663F5C}" type="datetime'''''2''''''''''05''''''''''''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340" name="Rectangle 1339">
            <a:extLst>
              <a:ext uri="{FF2B5EF4-FFF2-40B4-BE49-F238E27FC236}">
                <a16:creationId xmlns:a16="http://schemas.microsoft.com/office/drawing/2014/main" id="{B3393E1C-698B-BAA0-A7FF-325CB16D4B49}"/>
              </a:ext>
            </a:extLst>
          </p:cNvPr>
          <p:cNvSpPr/>
          <p:nvPr>
            <p:custDataLst>
              <p:tags r:id="rId8"/>
            </p:custDataLst>
          </p:nvPr>
        </p:nvSpPr>
        <p:spPr bwMode="auto">
          <a:xfrm>
            <a:off x="431800" y="6167438"/>
            <a:ext cx="179388" cy="133350"/>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1341" name="Rectangle 1340">
            <a:extLst>
              <a:ext uri="{FF2B5EF4-FFF2-40B4-BE49-F238E27FC236}">
                <a16:creationId xmlns:a16="http://schemas.microsoft.com/office/drawing/2014/main" id="{AE564928-1D32-72CB-53B5-4DE7097B3A43}"/>
              </a:ext>
            </a:extLst>
          </p:cNvPr>
          <p:cNvSpPr/>
          <p:nvPr>
            <p:custDataLst>
              <p:tags r:id="rId9"/>
            </p:custDataLst>
          </p:nvPr>
        </p:nvSpPr>
        <p:spPr bwMode="auto">
          <a:xfrm>
            <a:off x="1608138" y="6167438"/>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1342" name="Rectangle 1341">
            <a:extLst>
              <a:ext uri="{FF2B5EF4-FFF2-40B4-BE49-F238E27FC236}">
                <a16:creationId xmlns:a16="http://schemas.microsoft.com/office/drawing/2014/main" id="{8A8491E7-E036-775F-AEC7-247130F3AD6E}"/>
              </a:ext>
            </a:extLst>
          </p:cNvPr>
          <p:cNvSpPr/>
          <p:nvPr>
            <p:custDataLst>
              <p:tags r:id="rId10"/>
            </p:custDataLst>
          </p:nvPr>
        </p:nvSpPr>
        <p:spPr bwMode="auto">
          <a:xfrm>
            <a:off x="2397125" y="6167438"/>
            <a:ext cx="179388" cy="133350"/>
          </a:xfrm>
          <a:prstGeom prst="rect">
            <a:avLst/>
          </a:prstGeom>
          <a:solidFill>
            <a:srgbClr val="C3CFE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1343" name="Rectangle 1342">
            <a:extLst>
              <a:ext uri="{FF2B5EF4-FFF2-40B4-BE49-F238E27FC236}">
                <a16:creationId xmlns:a16="http://schemas.microsoft.com/office/drawing/2014/main" id="{F2D3789C-1B37-ABFC-36F2-700605D7ADA9}"/>
              </a:ext>
            </a:extLst>
          </p:cNvPr>
          <p:cNvSpPr/>
          <p:nvPr>
            <p:custDataLst>
              <p:tags r:id="rId11"/>
            </p:custDataLst>
          </p:nvPr>
        </p:nvSpPr>
        <p:spPr bwMode="auto">
          <a:xfrm>
            <a:off x="3724275" y="6167438"/>
            <a:ext cx="179388" cy="133350"/>
          </a:xfrm>
          <a:prstGeom prst="rect">
            <a:avLst/>
          </a:prstGeom>
          <a:solidFill>
            <a:srgbClr val="FFD966"/>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40" name="Rectangle 639">
            <a:extLst>
              <a:ext uri="{FF2B5EF4-FFF2-40B4-BE49-F238E27FC236}">
                <a16:creationId xmlns:a16="http://schemas.microsoft.com/office/drawing/2014/main" id="{54649252-5F08-328B-A5A7-67824FB38981}"/>
              </a:ext>
            </a:extLst>
          </p:cNvPr>
          <p:cNvSpPr/>
          <p:nvPr>
            <p:custDataLst>
              <p:tags r:id="rId12"/>
            </p:custDataLst>
          </p:nvPr>
        </p:nvSpPr>
        <p:spPr bwMode="auto">
          <a:xfrm>
            <a:off x="4810125" y="6167438"/>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41" name="Rectangle 640">
            <a:extLst>
              <a:ext uri="{FF2B5EF4-FFF2-40B4-BE49-F238E27FC236}">
                <a16:creationId xmlns:a16="http://schemas.microsoft.com/office/drawing/2014/main" id="{0C856625-0A71-178E-161B-13C857178A23}"/>
              </a:ext>
            </a:extLst>
          </p:cNvPr>
          <p:cNvSpPr/>
          <p:nvPr>
            <p:custDataLst>
              <p:tags r:id="rId13"/>
            </p:custDataLst>
          </p:nvPr>
        </p:nvSpPr>
        <p:spPr bwMode="auto">
          <a:xfrm>
            <a:off x="6026150" y="6167438"/>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745" name="Text Placeholder 19">
            <a:extLst>
              <a:ext uri="{FF2B5EF4-FFF2-40B4-BE49-F238E27FC236}">
                <a16:creationId xmlns:a16="http://schemas.microsoft.com/office/drawing/2014/main" id="{9F9869AF-B0F6-4E89-B216-4EC18C7334C2}"/>
              </a:ext>
            </a:extLst>
          </p:cNvPr>
          <p:cNvSpPr>
            <a:spLocks noGrp="1"/>
          </p:cNvSpPr>
          <p:nvPr>
            <p:custDataLst>
              <p:tags r:id="rId14"/>
            </p:custDataLst>
          </p:nvPr>
        </p:nvSpPr>
        <p:spPr bwMode="auto">
          <a:xfrm>
            <a:off x="661987" y="6162675"/>
            <a:ext cx="844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F356DDE-AC47-40C2-877B-78BF23E54491}" type="datetime'B''at''t''''''''''ery'' ''''''''''s''ys''''''t''''e''m'''''''">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Battery system</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47" name="Text Placeholder 19">
            <a:extLst>
              <a:ext uri="{FF2B5EF4-FFF2-40B4-BE49-F238E27FC236}">
                <a16:creationId xmlns:a16="http://schemas.microsoft.com/office/drawing/2014/main" id="{9F9869AF-B0F6-4E89-B216-4EC18C7334C2}"/>
              </a:ext>
            </a:extLst>
          </p:cNvPr>
          <p:cNvSpPr>
            <a:spLocks noGrp="1"/>
          </p:cNvSpPr>
          <p:nvPr>
            <p:custDataLst>
              <p:tags r:id="rId15"/>
            </p:custDataLst>
          </p:nvPr>
        </p:nvSpPr>
        <p:spPr bwMode="auto">
          <a:xfrm>
            <a:off x="1838324" y="6162675"/>
            <a:ext cx="457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1336D70-B17F-4F42-9137-81C99D293D49}" type="datetime'''I''''''''n''ve''''''''''''r''''''t''''''e''r'''''''''">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Inverter</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48" name="Text Placeholder 19">
            <a:extLst>
              <a:ext uri="{FF2B5EF4-FFF2-40B4-BE49-F238E27FC236}">
                <a16:creationId xmlns:a16="http://schemas.microsoft.com/office/drawing/2014/main" id="{9F9869AF-B0F6-4E89-B216-4EC18C7334C2}"/>
              </a:ext>
            </a:extLst>
          </p:cNvPr>
          <p:cNvSpPr>
            <a:spLocks noGrp="1"/>
          </p:cNvSpPr>
          <p:nvPr>
            <p:custDataLst>
              <p:tags r:id="rId16"/>
            </p:custDataLst>
          </p:nvPr>
        </p:nvSpPr>
        <p:spPr bwMode="auto">
          <a:xfrm>
            <a:off x="2627314" y="6162675"/>
            <a:ext cx="995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7192FCA-107E-4675-A054-6860396B2DDA}" type="datetime'''B''a''''''''lanc''''''e ''''''''''o''f'''''' sy''ste''m'">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Balance of system</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43" name="Text Placeholder 19">
            <a:extLst>
              <a:ext uri="{FF2B5EF4-FFF2-40B4-BE49-F238E27FC236}">
                <a16:creationId xmlns:a16="http://schemas.microsoft.com/office/drawing/2014/main" id="{9F9869AF-B0F6-4E89-B216-4EC18C7334C2}"/>
              </a:ext>
            </a:extLst>
          </p:cNvPr>
          <p:cNvSpPr>
            <a:spLocks noGrp="1"/>
          </p:cNvSpPr>
          <p:nvPr>
            <p:custDataLst>
              <p:tags r:id="rId17"/>
            </p:custDataLst>
          </p:nvPr>
        </p:nvSpPr>
        <p:spPr bwMode="auto">
          <a:xfrm>
            <a:off x="3954464" y="6162675"/>
            <a:ext cx="754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4AC4CFC-81CE-42BE-9D6C-0518524E435E}" type="datetime'''''''De''ve''l''''''o''''p''''''''m''''''''e''''''''n''t'''">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Development</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49" name="Text Placeholder 19">
            <a:extLst>
              <a:ext uri="{FF2B5EF4-FFF2-40B4-BE49-F238E27FC236}">
                <a16:creationId xmlns:a16="http://schemas.microsoft.com/office/drawing/2014/main" id="{9F9869AF-B0F6-4E89-B216-4EC18C7334C2}"/>
              </a:ext>
            </a:extLst>
          </p:cNvPr>
          <p:cNvSpPr>
            <a:spLocks noGrp="1"/>
          </p:cNvSpPr>
          <p:nvPr>
            <p:custDataLst>
              <p:tags r:id="rId18"/>
            </p:custDataLst>
          </p:nvPr>
        </p:nvSpPr>
        <p:spPr bwMode="auto">
          <a:xfrm>
            <a:off x="5040313" y="6162675"/>
            <a:ext cx="884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C72E90E-1230-4970-B833-483387A72179}" type="datetime'G''''ri''''''''d ''co''''''''n''n''''e''''c''''''''ti''''on'">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Grid connection</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50" name="Text Placeholder 19">
            <a:extLst>
              <a:ext uri="{FF2B5EF4-FFF2-40B4-BE49-F238E27FC236}">
                <a16:creationId xmlns:a16="http://schemas.microsoft.com/office/drawing/2014/main" id="{9F9869AF-B0F6-4E89-B216-4EC18C7334C2}"/>
              </a:ext>
            </a:extLst>
          </p:cNvPr>
          <p:cNvSpPr>
            <a:spLocks noGrp="1"/>
          </p:cNvSpPr>
          <p:nvPr>
            <p:custDataLst>
              <p:tags r:id="rId19"/>
            </p:custDataLst>
          </p:nvPr>
        </p:nvSpPr>
        <p:spPr bwMode="auto">
          <a:xfrm>
            <a:off x="6256338" y="6162675"/>
            <a:ext cx="788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0BBE06E-F773-4059-AFE4-3CE125E1DAD4}" type="datetime'''''''E''''''''P''''''C'''''''' ''''''so''ft'' ''''c''o''sts'">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EPC soft costs</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graphicFrame>
        <p:nvGraphicFramePr>
          <p:cNvPr id="45" name="Chart 44">
            <a:extLst>
              <a:ext uri="{FF2B5EF4-FFF2-40B4-BE49-F238E27FC236}">
                <a16:creationId xmlns:a16="http://schemas.microsoft.com/office/drawing/2014/main" id="{A0C1DEE7-5FC2-CB7A-8DB9-01ABBBF6EE98}"/>
              </a:ext>
            </a:extLst>
          </p:cNvPr>
          <p:cNvGraphicFramePr/>
          <p:nvPr>
            <p:custDataLst>
              <p:tags r:id="rId20"/>
            </p:custDataLst>
            <p:extLst>
              <p:ext uri="{D42A27DB-BD31-4B8C-83A1-F6EECF244321}">
                <p14:modId xmlns:p14="http://schemas.microsoft.com/office/powerpoint/2010/main" val="1172954007"/>
              </p:ext>
            </p:extLst>
          </p:nvPr>
        </p:nvGraphicFramePr>
        <p:xfrm>
          <a:off x="4597400" y="2241550"/>
          <a:ext cx="3508375" cy="3403600"/>
        </p:xfrm>
        <a:graphic>
          <a:graphicData uri="http://schemas.openxmlformats.org/drawingml/2006/chart">
            <c:chart xmlns:c="http://schemas.openxmlformats.org/drawingml/2006/chart" xmlns:r="http://schemas.openxmlformats.org/officeDocument/2006/relationships" r:id="rId37"/>
          </a:graphicData>
        </a:graphic>
      </p:graphicFrame>
      <p:sp>
        <p:nvSpPr>
          <p:cNvPr id="27" name="Text Placeholder 19">
            <a:extLst>
              <a:ext uri="{FF2B5EF4-FFF2-40B4-BE49-F238E27FC236}">
                <a16:creationId xmlns:a16="http://schemas.microsoft.com/office/drawing/2014/main" id="{C3300885-E17B-94BA-9AB7-AB7B1C4CBDC4}"/>
              </a:ext>
            </a:extLst>
          </p:cNvPr>
          <p:cNvSpPr>
            <a:spLocks noGrp="1"/>
          </p:cNvSpPr>
          <p:nvPr>
            <p:custDataLst>
              <p:tags r:id="rId21"/>
            </p:custDataLst>
          </p:nvPr>
        </p:nvSpPr>
        <p:spPr bwMode="auto">
          <a:xfrm>
            <a:off x="4829175"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42A72D2-786B-4CED-8C19-C37CADABE53A}" type="datetime'''''''''''''''''20''''''''''''''''''''2''''''''''''''''''3'">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3</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53" name="Text Placeholder 19">
            <a:extLst>
              <a:ext uri="{FF2B5EF4-FFF2-40B4-BE49-F238E27FC236}">
                <a16:creationId xmlns:a16="http://schemas.microsoft.com/office/drawing/2014/main" id="{859F9018-6D2F-E43E-B0EB-AC5ABD452F67}"/>
              </a:ext>
            </a:extLst>
          </p:cNvPr>
          <p:cNvSpPr>
            <a:spLocks noGrp="1"/>
          </p:cNvSpPr>
          <p:nvPr>
            <p:custDataLst>
              <p:tags r:id="rId22"/>
            </p:custDataLst>
          </p:nvPr>
        </p:nvSpPr>
        <p:spPr bwMode="auto">
          <a:xfrm>
            <a:off x="5497513"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C0CAA63-664B-4E7F-806E-4E62EE3256EE}" type="datetime'''202''''5'''">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5</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55" name="Text Placeholder 19">
            <a:extLst>
              <a:ext uri="{FF2B5EF4-FFF2-40B4-BE49-F238E27FC236}">
                <a16:creationId xmlns:a16="http://schemas.microsoft.com/office/drawing/2014/main" id="{08B57B0D-0E66-1757-CE77-8AD001B38DDB}"/>
              </a:ext>
            </a:extLst>
          </p:cNvPr>
          <p:cNvSpPr>
            <a:spLocks noGrp="1"/>
          </p:cNvSpPr>
          <p:nvPr>
            <p:custDataLst>
              <p:tags r:id="rId23"/>
            </p:custDataLst>
          </p:nvPr>
        </p:nvSpPr>
        <p:spPr bwMode="auto">
          <a:xfrm>
            <a:off x="6165850"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86E0BF2-EF01-46DB-9826-6BBA7943C33F}" type="datetime'''''''''''''''''2''0''''''''''3''''''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54" name="Text Placeholder 19">
            <a:extLst>
              <a:ext uri="{FF2B5EF4-FFF2-40B4-BE49-F238E27FC236}">
                <a16:creationId xmlns:a16="http://schemas.microsoft.com/office/drawing/2014/main" id="{043D7BF0-25DE-4AA0-28BE-F382F3504336}"/>
              </a:ext>
            </a:extLst>
          </p:cNvPr>
          <p:cNvSpPr>
            <a:spLocks noGrp="1"/>
          </p:cNvSpPr>
          <p:nvPr>
            <p:custDataLst>
              <p:tags r:id="rId24"/>
            </p:custDataLst>
          </p:nvPr>
        </p:nvSpPr>
        <p:spPr bwMode="auto">
          <a:xfrm>
            <a:off x="6835775"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0CEE5F4-380D-4F6F-A0FC-9389E9EE13F4}" type="datetime'''''2''''''''''''''0''4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51" name="Text Placeholder 19">
            <a:extLst>
              <a:ext uri="{FF2B5EF4-FFF2-40B4-BE49-F238E27FC236}">
                <a16:creationId xmlns:a16="http://schemas.microsoft.com/office/drawing/2014/main" id="{17133E26-2E28-4D86-F0A4-285CFF472F6B}"/>
              </a:ext>
            </a:extLst>
          </p:cNvPr>
          <p:cNvSpPr>
            <a:spLocks noGrp="1"/>
          </p:cNvSpPr>
          <p:nvPr>
            <p:custDataLst>
              <p:tags r:id="rId25"/>
            </p:custDataLst>
          </p:nvPr>
        </p:nvSpPr>
        <p:spPr bwMode="auto">
          <a:xfrm>
            <a:off x="7504113"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C4292C8-EE44-4449-83ED-227BFA9B4FAF}" type="datetime'''''''''''''20''''''''''''''''''''5''''''''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aphicFrame>
        <p:nvGraphicFramePr>
          <p:cNvPr id="55" name="Chart 54">
            <a:extLst>
              <a:ext uri="{FF2B5EF4-FFF2-40B4-BE49-F238E27FC236}">
                <a16:creationId xmlns:a16="http://schemas.microsoft.com/office/drawing/2014/main" id="{0F96C869-550B-E394-E1CD-D357F41F5ADA}"/>
              </a:ext>
            </a:extLst>
          </p:cNvPr>
          <p:cNvGraphicFramePr/>
          <p:nvPr>
            <p:custDataLst>
              <p:tags r:id="rId26"/>
            </p:custDataLst>
            <p:extLst>
              <p:ext uri="{D42A27DB-BD31-4B8C-83A1-F6EECF244321}">
                <p14:modId xmlns:p14="http://schemas.microsoft.com/office/powerpoint/2010/main" val="2200333592"/>
              </p:ext>
            </p:extLst>
          </p:nvPr>
        </p:nvGraphicFramePr>
        <p:xfrm>
          <a:off x="8383588" y="2241550"/>
          <a:ext cx="3508375" cy="3403600"/>
        </p:xfrm>
        <a:graphic>
          <a:graphicData uri="http://schemas.openxmlformats.org/drawingml/2006/chart">
            <c:chart xmlns:c="http://schemas.openxmlformats.org/drawingml/2006/chart" xmlns:r="http://schemas.openxmlformats.org/officeDocument/2006/relationships" r:id="rId38"/>
          </a:graphicData>
        </a:graphic>
      </p:graphicFrame>
      <p:sp>
        <p:nvSpPr>
          <p:cNvPr id="71" name="Text Placeholder 19">
            <a:extLst>
              <a:ext uri="{FF2B5EF4-FFF2-40B4-BE49-F238E27FC236}">
                <a16:creationId xmlns:a16="http://schemas.microsoft.com/office/drawing/2014/main" id="{56A83725-8C23-48E1-53A5-F7D4E41B09D7}"/>
              </a:ext>
            </a:extLst>
          </p:cNvPr>
          <p:cNvSpPr>
            <a:spLocks noGrp="1"/>
          </p:cNvSpPr>
          <p:nvPr>
            <p:custDataLst>
              <p:tags r:id="rId27"/>
            </p:custDataLst>
          </p:nvPr>
        </p:nvSpPr>
        <p:spPr bwMode="auto">
          <a:xfrm>
            <a:off x="8615363"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71FA099-60F8-4588-A7B6-C9248D1C7EA3}" type="datetime'''''''''''''''''''''''''''''''''''2''0''''''23'''''''''''">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3</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101" name="Text Placeholder 19">
            <a:extLst>
              <a:ext uri="{FF2B5EF4-FFF2-40B4-BE49-F238E27FC236}">
                <a16:creationId xmlns:a16="http://schemas.microsoft.com/office/drawing/2014/main" id="{0266D870-EE5F-4BE4-96D6-5A3F7759756E}"/>
              </a:ext>
            </a:extLst>
          </p:cNvPr>
          <p:cNvSpPr>
            <a:spLocks noGrp="1"/>
          </p:cNvSpPr>
          <p:nvPr>
            <p:custDataLst>
              <p:tags r:id="rId28"/>
            </p:custDataLst>
          </p:nvPr>
        </p:nvSpPr>
        <p:spPr bwMode="auto">
          <a:xfrm>
            <a:off x="9283700"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FDE1135-3D31-4AB7-9F11-D95A69C0999B}" type="datetime'''''''''''''''''''''''''''''''''2''''''''0''2''''''5'">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5</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102" name="Text Placeholder 19">
            <a:extLst>
              <a:ext uri="{FF2B5EF4-FFF2-40B4-BE49-F238E27FC236}">
                <a16:creationId xmlns:a16="http://schemas.microsoft.com/office/drawing/2014/main" id="{8D1D2F58-131B-F530-CDC6-C6EF0458407E}"/>
              </a:ext>
            </a:extLst>
          </p:cNvPr>
          <p:cNvSpPr>
            <a:spLocks noGrp="1"/>
          </p:cNvSpPr>
          <p:nvPr>
            <p:custDataLst>
              <p:tags r:id="rId29"/>
            </p:custDataLst>
          </p:nvPr>
        </p:nvSpPr>
        <p:spPr bwMode="auto">
          <a:xfrm>
            <a:off x="9952038"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9656665-DD35-464C-A3EC-5C1ADA6B4079}" type="datetime'''''''''''''''''''''''''''''''''2''''''''''''''''''03''''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98" name="Text Placeholder 19">
            <a:extLst>
              <a:ext uri="{FF2B5EF4-FFF2-40B4-BE49-F238E27FC236}">
                <a16:creationId xmlns:a16="http://schemas.microsoft.com/office/drawing/2014/main" id="{95D930DF-A0EC-5C85-2BEA-6D1AEB81B6D3}"/>
              </a:ext>
            </a:extLst>
          </p:cNvPr>
          <p:cNvSpPr>
            <a:spLocks noGrp="1"/>
          </p:cNvSpPr>
          <p:nvPr>
            <p:custDataLst>
              <p:tags r:id="rId30"/>
            </p:custDataLst>
          </p:nvPr>
        </p:nvSpPr>
        <p:spPr bwMode="auto">
          <a:xfrm>
            <a:off x="10621963"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D3ED57D-257C-41E7-B112-98D1BE40FCAC}" type="datetime'''''''''''''''''2''''''''''''''''''''''''''''04''''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100" name="Text Placeholder 19">
            <a:extLst>
              <a:ext uri="{FF2B5EF4-FFF2-40B4-BE49-F238E27FC236}">
                <a16:creationId xmlns:a16="http://schemas.microsoft.com/office/drawing/2014/main" id="{DFBAC551-2351-7231-2994-731BF53E4AA5}"/>
              </a:ext>
            </a:extLst>
          </p:cNvPr>
          <p:cNvSpPr>
            <a:spLocks noGrp="1"/>
          </p:cNvSpPr>
          <p:nvPr>
            <p:custDataLst>
              <p:tags r:id="rId31"/>
            </p:custDataLst>
          </p:nvPr>
        </p:nvSpPr>
        <p:spPr bwMode="auto">
          <a:xfrm>
            <a:off x="11290300" y="56134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18093C4-1803-4EF1-9FEF-10414F1F74B7}" type="datetime'''2''''''''''0''''''''5''''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9" name="Text Placeholder 2">
            <a:extLst>
              <a:ext uri="{FF2B5EF4-FFF2-40B4-BE49-F238E27FC236}">
                <a16:creationId xmlns:a16="http://schemas.microsoft.com/office/drawing/2014/main" id="{D03D4831-A8B5-D62E-6CD1-5051B5966567}"/>
              </a:ext>
            </a:extLst>
          </p:cNvPr>
          <p:cNvSpPr>
            <a:spLocks noGrp="1"/>
          </p:cNvSpPr>
          <p:nvPr>
            <p:ph type="body" sz="quarter" idx="31"/>
          </p:nvPr>
        </p:nvSpPr>
        <p:spPr>
          <a:xfrm>
            <a:off x="381599" y="79401"/>
            <a:ext cx="4097597" cy="184666"/>
          </a:xfrm>
        </p:spPr>
        <p:txBody>
          <a:bodyPr/>
          <a:lstStyle/>
          <a:p>
            <a:r>
              <a:rPr lang="en-GB"/>
              <a:t>		Introduction to battery storage – Battery technologies</a:t>
            </a:r>
          </a:p>
        </p:txBody>
      </p:sp>
      <p:sp>
        <p:nvSpPr>
          <p:cNvPr id="11" name="Oval 10">
            <a:extLst>
              <a:ext uri="{FF2B5EF4-FFF2-40B4-BE49-F238E27FC236}">
                <a16:creationId xmlns:a16="http://schemas.microsoft.com/office/drawing/2014/main" id="{4347BFA4-6FC0-5FB5-0AB4-75F2E0E0D272}"/>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13" name="Oval 12">
            <a:extLst>
              <a:ext uri="{FF2B5EF4-FFF2-40B4-BE49-F238E27FC236}">
                <a16:creationId xmlns:a16="http://schemas.microsoft.com/office/drawing/2014/main" id="{E21FF60B-F887-9001-7122-04BF6944D77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2" name="Rectangle 1">
            <a:extLst>
              <a:ext uri="{FF2B5EF4-FFF2-40B4-BE49-F238E27FC236}">
                <a16:creationId xmlns:a16="http://schemas.microsoft.com/office/drawing/2014/main" id="{00D05513-427A-DA35-97D3-8835874D4525}"/>
              </a:ext>
            </a:extLst>
          </p:cNvPr>
          <p:cNvSpPr/>
          <p:nvPr/>
        </p:nvSpPr>
        <p:spPr>
          <a:xfrm>
            <a:off x="561494" y="2173357"/>
            <a:ext cx="11330469" cy="3683373"/>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7914921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3866106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53" imgH="363" progId="TCLayout.ActiveDocument.1">
                  <p:embed/>
                </p:oleObj>
              </mc:Choice>
              <mc:Fallback>
                <p:oleObj name="think-cell Slide" r:id="rId38" imgW="353" imgH="363" progId="TCLayout.ActiveDocument.1">
                  <p:embed/>
                  <p:pic>
                    <p:nvPicPr>
                      <p:cNvPr id="14" name="Object 13"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6" name="Text Placeholder 5"/>
          <p:cNvSpPr>
            <a:spLocks noGrp="1"/>
          </p:cNvSpPr>
          <p:nvPr>
            <p:ph type="body" sz="quarter" idx="22"/>
          </p:nvPr>
        </p:nvSpPr>
        <p:spPr>
          <a:xfrm>
            <a:off x="381001" y="6715169"/>
            <a:ext cx="1497205" cy="110800"/>
          </a:xfrm>
        </p:spPr>
        <p:txBody>
          <a:bodyPr/>
          <a:lstStyle/>
          <a:p>
            <a:r>
              <a:rPr lang="en-GB"/>
              <a:t>Sources: Aurora Energy Research</a:t>
            </a:r>
          </a:p>
        </p:txBody>
      </p:sp>
      <p:sp>
        <p:nvSpPr>
          <p:cNvPr id="7" name="Title 6"/>
          <p:cNvSpPr>
            <a:spLocks noGrp="1"/>
          </p:cNvSpPr>
          <p:nvPr>
            <p:ph type="title"/>
          </p:nvPr>
        </p:nvSpPr>
        <p:spPr/>
        <p:txBody>
          <a:bodyPr vert="horz"/>
          <a:lstStyle/>
          <a:p>
            <a:r>
              <a:rPr lang="en-GB"/>
              <a:t>Ongoing fixed costs include route-to-market fees, grid charges, O&amp;M, insurance, and land lease</a:t>
            </a:r>
          </a:p>
        </p:txBody>
      </p:sp>
      <p:sp>
        <p:nvSpPr>
          <p:cNvPr id="9" name="Text Placeholder 8"/>
          <p:cNvSpPr>
            <a:spLocks noGrp="1"/>
          </p:cNvSpPr>
          <p:nvPr>
            <p:ph type="body" sz="quarter" idx="33"/>
          </p:nvPr>
        </p:nvSpPr>
        <p:spPr>
          <a:xfrm>
            <a:off x="4918097" y="1268129"/>
            <a:ext cx="4089377" cy="369332"/>
          </a:xfrm>
        </p:spPr>
        <p:txBody>
          <a:bodyPr/>
          <a:lstStyle/>
          <a:p>
            <a:r>
              <a:rPr lang="en-GB"/>
              <a:t>Fixed costs breakdown by duration</a:t>
            </a:r>
            <a:r>
              <a:rPr lang="en-GB" baseline="30000"/>
              <a:t>1,2</a:t>
            </a:r>
            <a:r>
              <a:rPr lang="en-GB"/>
              <a:t> – central assumption</a:t>
            </a:r>
            <a:br>
              <a:rPr lang="en-GB"/>
            </a:br>
            <a:r>
              <a:rPr lang="en-GB" b="0">
                <a:solidFill>
                  <a:schemeClr val="accent5"/>
                </a:solidFill>
              </a:rPr>
              <a:t>€/kW/year, real 2022</a:t>
            </a:r>
          </a:p>
        </p:txBody>
      </p:sp>
      <p:sp>
        <p:nvSpPr>
          <p:cNvPr id="10" name="Text Placeholder 9"/>
          <p:cNvSpPr>
            <a:spLocks noGrp="1"/>
          </p:cNvSpPr>
          <p:nvPr>
            <p:ph type="body" sz="quarter" idx="32"/>
          </p:nvPr>
        </p:nvSpPr>
        <p:spPr>
          <a:xfrm>
            <a:off x="381600" y="6479137"/>
            <a:ext cx="8601074" cy="221599"/>
          </a:xfrm>
        </p:spPr>
        <p:txBody>
          <a:bodyPr/>
          <a:lstStyle/>
          <a:p>
            <a:r>
              <a:rPr lang="en-GB"/>
              <a:t>1) OPEX shown for 2023 operational year. 2) </a:t>
            </a:r>
            <a:r>
              <a:rPr lang="en-US"/>
              <a:t>OPEX shown exclude property taxes. The reason is that we calculate pre-tax IRR for better comparability across markets</a:t>
            </a:r>
            <a:r>
              <a:rPr lang="en-GB"/>
              <a:t>; 3) Includes admin charges, communications and other small costs; 4) Trading and optimisation fees may have both fixed and variable elements but are represented here as a single fixed charge.</a:t>
            </a:r>
          </a:p>
        </p:txBody>
      </p:sp>
      <p:cxnSp>
        <p:nvCxnSpPr>
          <p:cNvPr id="17" name="Straight Connector 16">
            <a:extLst>
              <a:ext uri="{FF2B5EF4-FFF2-40B4-BE49-F238E27FC236}">
                <a16:creationId xmlns:a16="http://schemas.microsoft.com/office/drawing/2014/main" id="{27A051E5-683E-CAA3-A00A-B222AA6F3042}"/>
              </a:ext>
            </a:extLst>
          </p:cNvPr>
          <p:cNvCxnSpPr/>
          <p:nvPr>
            <p:custDataLst>
              <p:tags r:id="rId3"/>
            </p:custDataLst>
          </p:nvPr>
        </p:nvCxnSpPr>
        <p:spPr bwMode="gray">
          <a:xfrm>
            <a:off x="5257800" y="4532313"/>
            <a:ext cx="37496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6C3FBB4-4A2E-7F57-6594-391A90E241A5}"/>
              </a:ext>
            </a:extLst>
          </p:cNvPr>
          <p:cNvCxnSpPr/>
          <p:nvPr>
            <p:custDataLst>
              <p:tags r:id="rId4"/>
            </p:custDataLst>
          </p:nvPr>
        </p:nvCxnSpPr>
        <p:spPr bwMode="gray">
          <a:xfrm>
            <a:off x="5257800" y="3606800"/>
            <a:ext cx="37496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314F2B1-5FE1-105D-83E4-8DD309C26E72}"/>
              </a:ext>
            </a:extLst>
          </p:cNvPr>
          <p:cNvCxnSpPr/>
          <p:nvPr>
            <p:custDataLst>
              <p:tags r:id="rId5"/>
            </p:custDataLst>
          </p:nvPr>
        </p:nvCxnSpPr>
        <p:spPr bwMode="gray">
          <a:xfrm>
            <a:off x="5257800" y="2679700"/>
            <a:ext cx="37496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AF34EB61-CD14-AD79-5C17-A8178B6AAE20}"/>
              </a:ext>
            </a:extLst>
          </p:cNvPr>
          <p:cNvCxnSpPr/>
          <p:nvPr>
            <p:custDataLst>
              <p:tags r:id="rId6"/>
            </p:custDataLst>
          </p:nvPr>
        </p:nvCxnSpPr>
        <p:spPr bwMode="gray">
          <a:xfrm>
            <a:off x="5257800" y="1752600"/>
            <a:ext cx="37496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3" name="Chart 32">
            <a:extLst>
              <a:ext uri="{FF2B5EF4-FFF2-40B4-BE49-F238E27FC236}">
                <a16:creationId xmlns:a16="http://schemas.microsoft.com/office/drawing/2014/main" id="{3E85D4C9-B947-5B29-85D0-1B062E3B1A81}"/>
              </a:ext>
            </a:extLst>
          </p:cNvPr>
          <p:cNvGraphicFramePr/>
          <p:nvPr>
            <p:custDataLst>
              <p:tags r:id="rId7"/>
            </p:custDataLst>
            <p:extLst>
              <p:ext uri="{D42A27DB-BD31-4B8C-83A1-F6EECF244321}">
                <p14:modId xmlns:p14="http://schemas.microsoft.com/office/powerpoint/2010/main" val="3629032712"/>
              </p:ext>
            </p:extLst>
          </p:nvPr>
        </p:nvGraphicFramePr>
        <p:xfrm>
          <a:off x="5175250" y="1670050"/>
          <a:ext cx="3914775" cy="3871913"/>
        </p:xfrm>
        <a:graphic>
          <a:graphicData uri="http://schemas.openxmlformats.org/drawingml/2006/chart">
            <c:chart xmlns:c="http://schemas.openxmlformats.org/drawingml/2006/chart" xmlns:r="http://schemas.openxmlformats.org/officeDocument/2006/relationships" r:id="rId40"/>
          </a:graphicData>
        </a:graphic>
      </p:graphicFrame>
      <p:cxnSp>
        <p:nvCxnSpPr>
          <p:cNvPr id="183" name="Straight Connector 182">
            <a:extLst>
              <a:ext uri="{FF2B5EF4-FFF2-40B4-BE49-F238E27FC236}">
                <a16:creationId xmlns:a16="http://schemas.microsoft.com/office/drawing/2014/main" id="{EEE0E886-481F-4305-AB7F-F3B52E0C122D}"/>
              </a:ext>
            </a:extLst>
          </p:cNvPr>
          <p:cNvCxnSpPr>
            <a:cxnSpLocks/>
          </p:cNvCxnSpPr>
          <p:nvPr>
            <p:custDataLst>
              <p:tags r:id="rId8"/>
            </p:custDataLst>
          </p:nvPr>
        </p:nvCxnSpPr>
        <p:spPr bwMode="gray">
          <a:xfrm flipV="1">
            <a:off x="5726113" y="3178175"/>
            <a:ext cx="0" cy="569913"/>
          </a:xfrm>
          <a:prstGeom prst="line">
            <a:avLst/>
          </a:prstGeom>
          <a:ln w="9525" cap="flat" cmpd="sng" algn="ctr">
            <a:solidFill>
              <a:schemeClr val="tx2"/>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A53A8274-CFB3-4B2C-AF7B-166A5948A950}"/>
              </a:ext>
            </a:extLst>
          </p:cNvPr>
          <p:cNvCxnSpPr/>
          <p:nvPr>
            <p:custDataLst>
              <p:tags r:id="rId9"/>
            </p:custDataLst>
          </p:nvPr>
        </p:nvCxnSpPr>
        <p:spPr bwMode="gray">
          <a:xfrm>
            <a:off x="5726113" y="3178175"/>
            <a:ext cx="900112" cy="0"/>
          </a:xfrm>
          <a:prstGeom prst="line">
            <a:avLst/>
          </a:prstGeom>
          <a:ln w="9525" cap="flat" cmpd="sng" algn="ctr">
            <a:solidFill>
              <a:schemeClr val="tx2"/>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6E87167E-27BA-451A-B4DA-B1B560104EA1}"/>
              </a:ext>
            </a:extLst>
          </p:cNvPr>
          <p:cNvCxnSpPr/>
          <p:nvPr>
            <p:custDataLst>
              <p:tags r:id="rId10"/>
            </p:custDataLst>
          </p:nvPr>
        </p:nvCxnSpPr>
        <p:spPr bwMode="gray">
          <a:xfrm>
            <a:off x="6626225" y="3178175"/>
            <a:ext cx="0" cy="168275"/>
          </a:xfrm>
          <a:prstGeom prst="line">
            <a:avLst/>
          </a:prstGeom>
          <a:ln w="9525" cap="flat" cmpd="sng" algn="ctr">
            <a:solidFill>
              <a:schemeClr val="tx2"/>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C7FA56F1-EDEF-43A9-B577-C2F66B5085EE}"/>
              </a:ext>
            </a:extLst>
          </p:cNvPr>
          <p:cNvCxnSpPr/>
          <p:nvPr>
            <p:custDataLst>
              <p:tags r:id="rId11"/>
            </p:custDataLst>
          </p:nvPr>
        </p:nvCxnSpPr>
        <p:spPr bwMode="gray">
          <a:xfrm flipV="1">
            <a:off x="6702425" y="2619375"/>
            <a:ext cx="0" cy="727075"/>
          </a:xfrm>
          <a:prstGeom prst="line">
            <a:avLst/>
          </a:prstGeom>
          <a:ln w="9525" cap="flat" cmpd="sng" algn="ctr">
            <a:solidFill>
              <a:schemeClr val="tx2"/>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FD26921E-533B-4EA4-A48C-723F37FA862B}"/>
              </a:ext>
            </a:extLst>
          </p:cNvPr>
          <p:cNvCxnSpPr/>
          <p:nvPr>
            <p:custDataLst>
              <p:tags r:id="rId12"/>
            </p:custDataLst>
          </p:nvPr>
        </p:nvCxnSpPr>
        <p:spPr bwMode="gray">
          <a:xfrm>
            <a:off x="6702425" y="2619375"/>
            <a:ext cx="860425" cy="0"/>
          </a:xfrm>
          <a:prstGeom prst="line">
            <a:avLst/>
          </a:prstGeom>
          <a:ln w="9525" cap="flat" cmpd="sng" algn="ctr">
            <a:solidFill>
              <a:schemeClr val="tx2"/>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4A1A7D9D-04FC-4279-8CD1-15E4C9AE0060}"/>
              </a:ext>
            </a:extLst>
          </p:cNvPr>
          <p:cNvCxnSpPr/>
          <p:nvPr>
            <p:custDataLst>
              <p:tags r:id="rId13"/>
            </p:custDataLst>
          </p:nvPr>
        </p:nvCxnSpPr>
        <p:spPr bwMode="gray">
          <a:xfrm>
            <a:off x="7562850" y="2619375"/>
            <a:ext cx="0" cy="168275"/>
          </a:xfrm>
          <a:prstGeom prst="line">
            <a:avLst/>
          </a:prstGeom>
          <a:ln w="9525" cap="flat" cmpd="sng" algn="ctr">
            <a:solidFill>
              <a:schemeClr val="tx2"/>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24762D6E-4F20-4174-8F5A-50E1C8BF748F}"/>
              </a:ext>
            </a:extLst>
          </p:cNvPr>
          <p:cNvCxnSpPr/>
          <p:nvPr>
            <p:custDataLst>
              <p:tags r:id="rId14"/>
            </p:custDataLst>
          </p:nvPr>
        </p:nvCxnSpPr>
        <p:spPr bwMode="gray">
          <a:xfrm flipV="1">
            <a:off x="7639050" y="1997075"/>
            <a:ext cx="0" cy="790575"/>
          </a:xfrm>
          <a:prstGeom prst="line">
            <a:avLst/>
          </a:prstGeom>
          <a:ln w="9525" cap="flat" cmpd="sng" algn="ctr">
            <a:solidFill>
              <a:schemeClr val="tx2"/>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0743821E-3DC4-4329-B067-229B53E0978F}"/>
              </a:ext>
            </a:extLst>
          </p:cNvPr>
          <p:cNvCxnSpPr/>
          <p:nvPr>
            <p:custDataLst>
              <p:tags r:id="rId15"/>
            </p:custDataLst>
          </p:nvPr>
        </p:nvCxnSpPr>
        <p:spPr bwMode="gray">
          <a:xfrm>
            <a:off x="7639051" y="1997075"/>
            <a:ext cx="900113" cy="0"/>
          </a:xfrm>
          <a:prstGeom prst="line">
            <a:avLst/>
          </a:prstGeom>
          <a:ln w="9525" cap="flat" cmpd="sng" algn="ctr">
            <a:solidFill>
              <a:schemeClr val="tx2"/>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E0BE28B1-DDD3-4192-BFCD-98F69CD86B81}"/>
              </a:ext>
            </a:extLst>
          </p:cNvPr>
          <p:cNvCxnSpPr/>
          <p:nvPr>
            <p:custDataLst>
              <p:tags r:id="rId16"/>
            </p:custDataLst>
          </p:nvPr>
        </p:nvCxnSpPr>
        <p:spPr bwMode="gray">
          <a:xfrm>
            <a:off x="8539163" y="1997075"/>
            <a:ext cx="0" cy="168275"/>
          </a:xfrm>
          <a:prstGeom prst="line">
            <a:avLst/>
          </a:prstGeom>
          <a:ln w="9525" cap="flat" cmpd="sng" algn="ctr">
            <a:solidFill>
              <a:schemeClr val="tx2"/>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86" name="Text Placeholder 1">
            <a:extLst>
              <a:ext uri="{FF2B5EF4-FFF2-40B4-BE49-F238E27FC236}">
                <a16:creationId xmlns:a16="http://schemas.microsoft.com/office/drawing/2014/main" id="{E6EE5529-2342-47F1-A7C3-7188A326E0EF}"/>
              </a:ext>
            </a:extLst>
          </p:cNvPr>
          <p:cNvSpPr>
            <a:spLocks noGrp="1"/>
          </p:cNvSpPr>
          <p:nvPr>
            <p:custDataLst>
              <p:tags r:id="rId17"/>
            </p:custDataLst>
          </p:nvPr>
        </p:nvSpPr>
        <p:spPr bwMode="auto">
          <a:xfrm>
            <a:off x="5465763" y="5505450"/>
            <a:ext cx="5207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F7E5DEC-9E00-4E47-B5BB-4D6393EBBAE0}" type="datetime'''''''0''''''''''''.''''''5 ''''''''h''''''''''''''o''ur'">
              <a:rPr kumimoji="0" lang="en-GB" altLang="en-US" sz="11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0.5 hour</a:t>
            </a:fld>
            <a:endParaRPr kumimoji="0" lang="en-GB" sz="11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85" name="Text Placeholder 1">
            <a:extLst>
              <a:ext uri="{FF2B5EF4-FFF2-40B4-BE49-F238E27FC236}">
                <a16:creationId xmlns:a16="http://schemas.microsoft.com/office/drawing/2014/main" id="{6073483B-099F-4013-BE45-17523F0F0A4F}"/>
              </a:ext>
            </a:extLst>
          </p:cNvPr>
          <p:cNvSpPr>
            <a:spLocks noGrp="1"/>
          </p:cNvSpPr>
          <p:nvPr>
            <p:custDataLst>
              <p:tags r:id="rId18"/>
            </p:custDataLst>
          </p:nvPr>
        </p:nvSpPr>
        <p:spPr bwMode="auto">
          <a:xfrm>
            <a:off x="6459538" y="5505450"/>
            <a:ext cx="4095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3C7CC3F-0C48-445D-9311-297418B8B912}" type="datetime'''''''1'''''''''' ''''h''''o''''''''''''''''u''''''''r'''''''">
              <a:rPr kumimoji="0" lang="en-GB" altLang="en-US" sz="11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1 hour</a:t>
            </a:fld>
            <a:endParaRPr kumimoji="0" lang="en-GB" sz="11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95" name="Text Placeholder 1">
            <a:extLst>
              <a:ext uri="{FF2B5EF4-FFF2-40B4-BE49-F238E27FC236}">
                <a16:creationId xmlns:a16="http://schemas.microsoft.com/office/drawing/2014/main" id="{ED91018E-53C3-4B8C-9810-E4A966ADED2C}"/>
              </a:ext>
            </a:extLst>
          </p:cNvPr>
          <p:cNvSpPr>
            <a:spLocks noGrp="1"/>
          </p:cNvSpPr>
          <p:nvPr>
            <p:custDataLst>
              <p:tags r:id="rId19"/>
            </p:custDataLst>
          </p:nvPr>
        </p:nvSpPr>
        <p:spPr bwMode="auto">
          <a:xfrm>
            <a:off x="7396163" y="5505450"/>
            <a:ext cx="4095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D016CA9-142B-47F5-B676-E312C50E91D9}" type="datetime'''2'''''''''''''''''' ''h''''''''''''''''o''ur'''''''''''''">
              <a:rPr kumimoji="0" lang="en-GB" altLang="en-US" sz="11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 hour</a:t>
            </a:fld>
            <a:endParaRPr kumimoji="0" lang="en-GB" sz="11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98" name="Text Placeholder 1">
            <a:extLst>
              <a:ext uri="{FF2B5EF4-FFF2-40B4-BE49-F238E27FC236}">
                <a16:creationId xmlns:a16="http://schemas.microsoft.com/office/drawing/2014/main" id="{9CE53AEC-250B-40CF-80E7-5A6C106E082F}"/>
              </a:ext>
            </a:extLst>
          </p:cNvPr>
          <p:cNvSpPr>
            <a:spLocks noGrp="1"/>
          </p:cNvSpPr>
          <p:nvPr>
            <p:custDataLst>
              <p:tags r:id="rId20"/>
            </p:custDataLst>
          </p:nvPr>
        </p:nvSpPr>
        <p:spPr bwMode="auto">
          <a:xfrm>
            <a:off x="8334375" y="5505450"/>
            <a:ext cx="4095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DA6C573-CD30-404B-835B-F5DE145FBEFF}" type="datetime'''''''4'''''' h''''''''''''''ou''''r'">
              <a:rPr kumimoji="0" lang="en-GB" altLang="en-US" sz="1100" b="0" i="0" u="none" strike="noStrike" kern="1200" cap="none" spc="0" normalizeH="0" baseline="0" noProof="0" smtClean="0">
                <a:ln>
                  <a:noFill/>
                </a:ln>
                <a:solidFill>
                  <a:srgbClr val="3C3C3B"/>
                </a:solidFill>
                <a:effectLst/>
                <a:uLnTx/>
                <a:uFillTx/>
                <a:latin typeface="Lato"/>
                <a:ea typeface="+mn-ea"/>
                <a:cs typeface="+mn-cs"/>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4 hour</a:t>
            </a:fld>
            <a:endParaRPr kumimoji="0" lang="en-GB" sz="11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180"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auto">
          <a:xfrm>
            <a:off x="5943600" y="3049588"/>
            <a:ext cx="465138" cy="258763"/>
          </a:xfrm>
          <a:prstGeom prst="ellipse">
            <a:avLst/>
          </a:prstGeom>
          <a:solidFill>
            <a:schemeClr val="bg1"/>
          </a:solidFill>
          <a:ln w="9525" algn="ctr">
            <a:solidFill>
              <a:schemeClr val="tx2"/>
            </a:solidFill>
          </a:ln>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188"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auto">
          <a:xfrm>
            <a:off x="6900863" y="2490788"/>
            <a:ext cx="465138" cy="258763"/>
          </a:xfrm>
          <a:prstGeom prst="ellipse">
            <a:avLst/>
          </a:prstGeom>
          <a:solidFill>
            <a:schemeClr val="bg1"/>
          </a:solidFill>
          <a:ln w="9525" algn="ctr">
            <a:solidFill>
              <a:schemeClr val="tx2"/>
            </a:solidFill>
          </a:ln>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210"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auto">
          <a:xfrm>
            <a:off x="7856538" y="1868488"/>
            <a:ext cx="465138" cy="258763"/>
          </a:xfrm>
          <a:prstGeom prst="ellipse">
            <a:avLst/>
          </a:prstGeom>
          <a:solidFill>
            <a:schemeClr val="bg1"/>
          </a:solidFill>
          <a:ln w="9525" algn="ctr">
            <a:solidFill>
              <a:schemeClr val="tx2"/>
            </a:solidFill>
          </a:ln>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XX%</a:t>
            </a:r>
            <a:endParaRPr kumimoji="0" lang="en-GB" sz="1200" b="1"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195" name="Rectangle 194" hidden="1">
            <a:extLst>
              <a:ext uri="{FF2B5EF4-FFF2-40B4-BE49-F238E27FC236}">
                <a16:creationId xmlns:a16="http://schemas.microsoft.com/office/drawing/2014/main" id="{8F3F8C65-532A-47DC-B889-378DB78BC9B2}"/>
              </a:ext>
            </a:extLst>
          </p:cNvPr>
          <p:cNvSpPr/>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1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48" name="Rectangle 347">
            <a:extLst>
              <a:ext uri="{FF2B5EF4-FFF2-40B4-BE49-F238E27FC236}">
                <a16:creationId xmlns:a16="http://schemas.microsoft.com/office/drawing/2014/main" id="{8B7F8D58-844C-488C-8CBB-747601000C07}"/>
              </a:ext>
            </a:extLst>
          </p:cNvPr>
          <p:cNvSpPr/>
          <p:nvPr>
            <p:custDataLst>
              <p:tags r:id="rId24"/>
            </p:custDataLst>
          </p:nvPr>
        </p:nvSpPr>
        <p:spPr bwMode="auto">
          <a:xfrm>
            <a:off x="4733925" y="5973763"/>
            <a:ext cx="179388" cy="133350"/>
          </a:xfrm>
          <a:prstGeom prst="rect">
            <a:avLst/>
          </a:prstGeom>
          <a:solidFill>
            <a:schemeClr val="accent1"/>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22" name="Rectangle 21">
            <a:extLst>
              <a:ext uri="{FF2B5EF4-FFF2-40B4-BE49-F238E27FC236}">
                <a16:creationId xmlns:a16="http://schemas.microsoft.com/office/drawing/2014/main" id="{8337EE96-8998-142D-0350-28358B91F8CA}"/>
              </a:ext>
            </a:extLst>
          </p:cNvPr>
          <p:cNvSpPr/>
          <p:nvPr>
            <p:custDataLst>
              <p:tags r:id="rId25"/>
            </p:custDataLst>
          </p:nvPr>
        </p:nvSpPr>
        <p:spPr bwMode="auto">
          <a:xfrm>
            <a:off x="4733925" y="6176963"/>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49" name="Rectangle 348">
            <a:extLst>
              <a:ext uri="{FF2B5EF4-FFF2-40B4-BE49-F238E27FC236}">
                <a16:creationId xmlns:a16="http://schemas.microsoft.com/office/drawing/2014/main" id="{BB598324-01CA-4601-BBEE-AB9554565FA1}"/>
              </a:ext>
            </a:extLst>
          </p:cNvPr>
          <p:cNvSpPr/>
          <p:nvPr>
            <p:custDataLst>
              <p:tags r:id="rId26"/>
            </p:custDataLst>
          </p:nvPr>
        </p:nvSpPr>
        <p:spPr bwMode="auto">
          <a:xfrm>
            <a:off x="5646738" y="5973763"/>
            <a:ext cx="179388" cy="133350"/>
          </a:xfrm>
          <a:prstGeom prst="rect">
            <a:avLst/>
          </a:prstGeom>
          <a:solidFill>
            <a:schemeClr val="accent3"/>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51" name="Rectangle 350">
            <a:extLst>
              <a:ext uri="{FF2B5EF4-FFF2-40B4-BE49-F238E27FC236}">
                <a16:creationId xmlns:a16="http://schemas.microsoft.com/office/drawing/2014/main" id="{43EB5EA1-D09C-403F-BAA5-F917F9142D15}"/>
              </a:ext>
            </a:extLst>
          </p:cNvPr>
          <p:cNvSpPr/>
          <p:nvPr>
            <p:custDataLst>
              <p:tags r:id="rId27"/>
            </p:custDataLst>
          </p:nvPr>
        </p:nvSpPr>
        <p:spPr bwMode="auto">
          <a:xfrm>
            <a:off x="5646738" y="6176963"/>
            <a:ext cx="179388" cy="133350"/>
          </a:xfrm>
          <a:prstGeom prst="rect">
            <a:avLst/>
          </a:prstGeom>
          <a:solidFill>
            <a:srgbClr val="C0C0C0"/>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52" name="Rectangle 351">
            <a:extLst>
              <a:ext uri="{FF2B5EF4-FFF2-40B4-BE49-F238E27FC236}">
                <a16:creationId xmlns:a16="http://schemas.microsoft.com/office/drawing/2014/main" id="{BAC52F1C-E21D-452C-81AC-BB8F84080DA2}"/>
              </a:ext>
            </a:extLst>
          </p:cNvPr>
          <p:cNvSpPr/>
          <p:nvPr>
            <p:custDataLst>
              <p:tags r:id="rId28"/>
            </p:custDataLst>
          </p:nvPr>
        </p:nvSpPr>
        <p:spPr bwMode="auto">
          <a:xfrm>
            <a:off x="7069138" y="5973763"/>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53" name="Rectangle 352">
            <a:extLst>
              <a:ext uri="{FF2B5EF4-FFF2-40B4-BE49-F238E27FC236}">
                <a16:creationId xmlns:a16="http://schemas.microsoft.com/office/drawing/2014/main" id="{6AA44C06-5C24-4503-9B74-61C6C5E22C23}"/>
              </a:ext>
            </a:extLst>
          </p:cNvPr>
          <p:cNvSpPr/>
          <p:nvPr>
            <p:custDataLst>
              <p:tags r:id="rId29"/>
            </p:custDataLst>
          </p:nvPr>
        </p:nvSpPr>
        <p:spPr bwMode="auto">
          <a:xfrm>
            <a:off x="7069138" y="6176963"/>
            <a:ext cx="179388" cy="133350"/>
          </a:xfrm>
          <a:prstGeom prst="rect">
            <a:avLst/>
          </a:prstGeom>
          <a:solidFill>
            <a:srgbClr val="3C3C3B"/>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340" name="Text Placeholder 19">
            <a:extLst>
              <a:ext uri="{FF2B5EF4-FFF2-40B4-BE49-F238E27FC236}">
                <a16:creationId xmlns:a16="http://schemas.microsoft.com/office/drawing/2014/main" id="{9F9869AF-B0F6-4E89-B216-4EC18C7334C2}"/>
              </a:ext>
            </a:extLst>
          </p:cNvPr>
          <p:cNvSpPr>
            <a:spLocks noGrp="1"/>
          </p:cNvSpPr>
          <p:nvPr>
            <p:custDataLst>
              <p:tags r:id="rId30"/>
            </p:custDataLst>
          </p:nvPr>
        </p:nvSpPr>
        <p:spPr bwMode="auto">
          <a:xfrm>
            <a:off x="4964113" y="59690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AE21F8F-64FB-453F-BFDC-62A6BCDE2F8F}" type="datetime'''''O''''''t''''''''h''er'''''''''''''''''''''''''''''''''">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Other</a:t>
            </a:fld>
            <a:r>
              <a:rPr kumimoji="0" lang="en-GB" altLang="en-US" sz="1000" b="0" i="0" u="none" strike="noStrike" kern="1200" cap="none" spc="0" normalizeH="0" baseline="30000" noProof="0">
                <a:ln>
                  <a:noFill/>
                </a:ln>
                <a:solidFill>
                  <a:srgbClr val="3C3C3B"/>
                </a:solidFill>
                <a:effectLst/>
                <a:uLnTx/>
                <a:uFillTx/>
                <a:latin typeface="Lato"/>
                <a:ea typeface="+mn-ea"/>
                <a:cs typeface="+mn-cs"/>
                <a:sym typeface="+mn-lt"/>
              </a:rPr>
              <a:t>3</a:t>
            </a:r>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12" name="Text Placeholder 19">
            <a:extLst>
              <a:ext uri="{FF2B5EF4-FFF2-40B4-BE49-F238E27FC236}">
                <a16:creationId xmlns:a16="http://schemas.microsoft.com/office/drawing/2014/main" id="{C7D9EE4A-F963-DC1E-E6CA-0996E398461D}"/>
              </a:ext>
            </a:extLst>
          </p:cNvPr>
          <p:cNvSpPr>
            <a:spLocks noGrp="1"/>
          </p:cNvSpPr>
          <p:nvPr>
            <p:custDataLst>
              <p:tags r:id="rId31"/>
            </p:custDataLst>
          </p:nvPr>
        </p:nvSpPr>
        <p:spPr bwMode="auto">
          <a:xfrm>
            <a:off x="4964113" y="6172200"/>
            <a:ext cx="5810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CD5F2E0C-0B96-4DB5-8D3C-B13779781399}" type="datetime'La''n''d'''''''' ''le''a''''''s''''''''''e'''''''''''''">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Land lease</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43" name="Text Placeholder 19">
            <a:extLst>
              <a:ext uri="{FF2B5EF4-FFF2-40B4-BE49-F238E27FC236}">
                <a16:creationId xmlns:a16="http://schemas.microsoft.com/office/drawing/2014/main" id="{9F9869AF-B0F6-4E89-B216-4EC18C7334C2}"/>
              </a:ext>
            </a:extLst>
          </p:cNvPr>
          <p:cNvSpPr>
            <a:spLocks noGrp="1"/>
          </p:cNvSpPr>
          <p:nvPr>
            <p:custDataLst>
              <p:tags r:id="rId32"/>
            </p:custDataLst>
          </p:nvPr>
        </p:nvSpPr>
        <p:spPr bwMode="auto">
          <a:xfrm>
            <a:off x="5876925" y="5969000"/>
            <a:ext cx="546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6124552-5CC3-4F07-A833-E2C035A99122}" type="datetime'''''''Insu''''''''''''''''''''''r''''''''an''''c''''''''e'''">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Insurance</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44" name="Text Placeholder 19">
            <a:extLst>
              <a:ext uri="{FF2B5EF4-FFF2-40B4-BE49-F238E27FC236}">
                <a16:creationId xmlns:a16="http://schemas.microsoft.com/office/drawing/2014/main" id="{9F9869AF-B0F6-4E89-B216-4EC18C7334C2}"/>
              </a:ext>
            </a:extLst>
          </p:cNvPr>
          <p:cNvSpPr>
            <a:spLocks noGrp="1"/>
          </p:cNvSpPr>
          <p:nvPr>
            <p:custDataLst>
              <p:tags r:id="rId33"/>
            </p:custDataLst>
          </p:nvPr>
        </p:nvSpPr>
        <p:spPr bwMode="auto">
          <a:xfrm>
            <a:off x="5876925" y="6172200"/>
            <a:ext cx="1090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CFBB091F-1AE7-4F55-9DE1-65ADEF2C8AC9}" type="datetime'O&amp;''M ''''''''''''''''fix''e''''d expen''''''''s''e'''''''''''">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O&amp;M fixed expense</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45"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auto">
          <a:xfrm>
            <a:off x="7299325" y="5969000"/>
            <a:ext cx="703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C2394A43-476B-488F-AB3B-229C95191361}" type="datetime'''''''''G''''''r''''i''''''d ''c''h''''a''rg''e''''''''s'''">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Grid charges</a:t>
            </a:fld>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sp>
        <p:nvSpPr>
          <p:cNvPr id="346" name="Text Placeholder 19">
            <a:extLst>
              <a:ext uri="{FF2B5EF4-FFF2-40B4-BE49-F238E27FC236}">
                <a16:creationId xmlns:a16="http://schemas.microsoft.com/office/drawing/2014/main" id="{9F9869AF-B0F6-4E89-B216-4EC18C7334C2}"/>
              </a:ext>
            </a:extLst>
          </p:cNvPr>
          <p:cNvSpPr>
            <a:spLocks noGrp="1"/>
          </p:cNvSpPr>
          <p:nvPr>
            <p:custDataLst>
              <p:tags r:id="rId35"/>
            </p:custDataLst>
          </p:nvPr>
        </p:nvSpPr>
        <p:spPr bwMode="auto">
          <a:xfrm>
            <a:off x="7299325" y="6172200"/>
            <a:ext cx="16827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7B341D1-E3D6-451E-B096-750FD7A3729A}" type="datetime'''''Trad''''ing'' a''''''nd ''''''op''timisation ''f''e''''es'">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mn-lt"/>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Trading and optimisation fees</a:t>
            </a:fld>
            <a:r>
              <a:rPr kumimoji="0" lang="en-GB" altLang="en-US" sz="1000" b="0" i="0" u="none" strike="noStrike" kern="1200" cap="none" spc="0" normalizeH="0" baseline="30000" noProof="0">
                <a:ln>
                  <a:noFill/>
                </a:ln>
                <a:solidFill>
                  <a:srgbClr val="3C3C3B"/>
                </a:solidFill>
                <a:effectLst/>
                <a:uLnTx/>
                <a:uFillTx/>
                <a:latin typeface="Lato"/>
                <a:ea typeface="+mn-ea"/>
                <a:cs typeface="+mn-cs"/>
                <a:sym typeface="+mn-lt"/>
              </a:rPr>
              <a:t>4</a:t>
            </a:r>
            <a:endParaRPr kumimoji="0" lang="en-GB" sz="1000" b="0" i="0" u="none" strike="noStrike" kern="1200" cap="none" spc="0" normalizeH="0" baseline="0" noProof="0">
              <a:ln>
                <a:noFill/>
              </a:ln>
              <a:solidFill>
                <a:srgbClr val="3C3C3B"/>
              </a:solidFill>
              <a:effectLst/>
              <a:uLnTx/>
              <a:uFillTx/>
              <a:latin typeface="Lato"/>
              <a:ea typeface="+mn-ea"/>
              <a:cs typeface="+mn-cs"/>
              <a:sym typeface="+mn-lt"/>
            </a:endParaRPr>
          </a:p>
        </p:txBody>
      </p:sp>
      <p:graphicFrame>
        <p:nvGraphicFramePr>
          <p:cNvPr id="69" name="Table 3">
            <a:extLst>
              <a:ext uri="{FF2B5EF4-FFF2-40B4-BE49-F238E27FC236}">
                <a16:creationId xmlns:a16="http://schemas.microsoft.com/office/drawing/2014/main" id="{A7FE16F5-8FDF-77C1-CB75-4A8C118202D8}"/>
              </a:ext>
            </a:extLst>
          </p:cNvPr>
          <p:cNvGraphicFramePr>
            <a:graphicFrameLocks noGrp="1"/>
          </p:cNvGraphicFramePr>
          <p:nvPr/>
        </p:nvGraphicFramePr>
        <p:xfrm>
          <a:off x="381002" y="1279114"/>
          <a:ext cx="4270373" cy="5045485"/>
        </p:xfrm>
        <a:graphic>
          <a:graphicData uri="http://schemas.openxmlformats.org/drawingml/2006/table">
            <a:tbl>
              <a:tblPr firstRow="1" bandRow="1">
                <a:tableStyleId>{5C22544A-7EE6-4342-B048-85BDC9FD1C3A}</a:tableStyleId>
              </a:tblPr>
              <a:tblGrid>
                <a:gridCol w="1158238">
                  <a:extLst>
                    <a:ext uri="{9D8B030D-6E8A-4147-A177-3AD203B41FA5}">
                      <a16:colId xmlns:a16="http://schemas.microsoft.com/office/drawing/2014/main" val="1064084938"/>
                    </a:ext>
                  </a:extLst>
                </a:gridCol>
                <a:gridCol w="3112135">
                  <a:extLst>
                    <a:ext uri="{9D8B030D-6E8A-4147-A177-3AD203B41FA5}">
                      <a16:colId xmlns:a16="http://schemas.microsoft.com/office/drawing/2014/main" val="2806386024"/>
                    </a:ext>
                  </a:extLst>
                </a:gridCol>
              </a:tblGrid>
              <a:tr h="365631">
                <a:tc>
                  <a:txBody>
                    <a:bodyPr/>
                    <a:lstStyle/>
                    <a:p>
                      <a:pPr rtl="0"/>
                      <a:r>
                        <a:rPr lang="en-GB" sz="1200">
                          <a:solidFill>
                            <a:schemeClr val="bg1"/>
                          </a:solidFill>
                        </a:rPr>
                        <a:t>Component</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rtl="0"/>
                      <a:r>
                        <a:rPr lang="en-GB" sz="1200">
                          <a:solidFill>
                            <a:schemeClr val="bg1"/>
                          </a:solidFill>
                        </a:rPr>
                        <a:t>Descript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847567585"/>
                  </a:ext>
                </a:extLst>
              </a:tr>
              <a:tr h="1057199">
                <a:tc>
                  <a:txBody>
                    <a:bodyPr/>
                    <a:lstStyle/>
                    <a:p>
                      <a:pPr rtl="0"/>
                      <a:r>
                        <a:rPr lang="en-GB" sz="1200" b="1"/>
                        <a:t>Trading and optimisation fees</a:t>
                      </a:r>
                      <a:endParaRPr lang="en-GB" sz="1200">
                        <a:solidFill>
                          <a:schemeClr val="accent5"/>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200"/>
                        <a:t>Charges for electricity trading on wholesale and balancing markets as well as optimisation fees for use of software or external providers managing optimised battery u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4548546"/>
                  </a:ext>
                </a:extLst>
              </a:tr>
              <a:tr h="1194828">
                <a:tc>
                  <a:txBody>
                    <a:bodyPr/>
                    <a:lstStyle/>
                    <a:p>
                      <a:pPr rtl="0"/>
                      <a:r>
                        <a:rPr lang="en-GB" sz="1200" b="1">
                          <a:solidFill>
                            <a:schemeClr val="tx1"/>
                          </a:solidFill>
                        </a:rPr>
                        <a:t>Grid charges</a:t>
                      </a:r>
                      <a:endParaRPr lang="en-GB" sz="1200">
                        <a:solidFill>
                          <a:schemeClr val="accent5"/>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200"/>
                        <a:t>Can vary significantly depending on site and in case local upgrades to distribution grids are required. Typically paid either as annual capacity charge or per kWh exchanged with the gri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1151737"/>
                  </a:ext>
                </a:extLst>
              </a:tr>
              <a:tr h="672763">
                <a:tc>
                  <a:txBody>
                    <a:bodyPr/>
                    <a:lstStyle/>
                    <a:p>
                      <a:pPr rtl="0"/>
                      <a:r>
                        <a:rPr lang="en-GB" sz="1200" b="1"/>
                        <a:t>O&amp;M fixed expen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200"/>
                        <a:t>Includes costs such as scheduled maintenance, performance monitoring and extended performance guarantees.</a:t>
                      </a:r>
                      <a:endParaRPr lang="en-GB" sz="1200">
                        <a:solidFill>
                          <a:srgbClr val="FF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1260131"/>
                  </a:ext>
                </a:extLst>
              </a:tr>
              <a:tr h="672763">
                <a:tc>
                  <a:txBody>
                    <a:bodyPr/>
                    <a:lstStyle/>
                    <a:p>
                      <a:pPr rtl="0"/>
                      <a:r>
                        <a:rPr lang="en-GB" sz="1200" b="1"/>
                        <a:t>Insurance</a:t>
                      </a:r>
                      <a:endParaRPr lang="en-GB" sz="1200">
                        <a:solidFill>
                          <a:schemeClr val="accent5"/>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200"/>
                        <a:t>Can include liability, environmental, property, and other insurances such as cyber security et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7594584"/>
                  </a:ext>
                </a:extLst>
              </a:tr>
              <a:tr h="480545">
                <a:tc>
                  <a:txBody>
                    <a:bodyPr/>
                    <a:lstStyle/>
                    <a:p>
                      <a:pPr marL="0" algn="l" defTabSz="685783" rtl="0" eaLnBrk="1" latinLnBrk="0" hangingPunct="1"/>
                      <a:r>
                        <a:rPr lang="en-GB" sz="1200" b="1" kern="1200">
                          <a:solidFill>
                            <a:schemeClr val="tx1"/>
                          </a:solidFill>
                          <a:latin typeface="+mn-lt"/>
                          <a:ea typeface="+mn-ea"/>
                          <a:cs typeface="+mn-cs"/>
                        </a:rPr>
                        <a:t>Land lea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783" rtl="0" eaLnBrk="1" latinLnBrk="0" hangingPunct="1"/>
                      <a:r>
                        <a:rPr lang="en-GB" sz="1200" b="0" kern="1200">
                          <a:solidFill>
                            <a:schemeClr val="dk1"/>
                          </a:solidFill>
                          <a:latin typeface="+mn-lt"/>
                          <a:ea typeface="+mn-ea"/>
                          <a:cs typeface="+mn-cs"/>
                        </a:rPr>
                        <a:t>Agreement allowing use of land in exchange for r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1363240"/>
                  </a:ext>
                </a:extLst>
              </a:tr>
              <a:tr h="601756">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b="1"/>
                        <a:t>Other</a:t>
                      </a:r>
                      <a:endParaRPr lang="en-GB" sz="1200">
                        <a:solidFill>
                          <a:schemeClr val="accent5"/>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GB" sz="1200"/>
                        <a:t>Covers cost such as auxiliary load, admin, communication and other small cos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7514664"/>
                  </a:ext>
                </a:extLst>
              </a:tr>
            </a:tbl>
          </a:graphicData>
        </a:graphic>
      </p:graphicFrame>
      <p:sp>
        <p:nvSpPr>
          <p:cNvPr id="24" name="Text Placeholder 2">
            <a:extLst>
              <a:ext uri="{FF2B5EF4-FFF2-40B4-BE49-F238E27FC236}">
                <a16:creationId xmlns:a16="http://schemas.microsoft.com/office/drawing/2014/main" id="{C88D7EE4-28B4-13AE-EC2C-D7E4DEF32BE3}"/>
              </a:ext>
            </a:extLst>
          </p:cNvPr>
          <p:cNvSpPr txBox="1">
            <a:spLocks/>
          </p:cNvSpPr>
          <p:nvPr/>
        </p:nvSpPr>
        <p:spPr>
          <a:xfrm>
            <a:off x="381599" y="79401"/>
            <a:ext cx="4097597"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Introduction to battery storage – Battery technologies</a:t>
            </a:r>
          </a:p>
        </p:txBody>
      </p:sp>
      <p:sp>
        <p:nvSpPr>
          <p:cNvPr id="25" name="Oval 24">
            <a:extLst>
              <a:ext uri="{FF2B5EF4-FFF2-40B4-BE49-F238E27FC236}">
                <a16:creationId xmlns:a16="http://schemas.microsoft.com/office/drawing/2014/main" id="{798C87A9-06F9-BF3E-4689-6A071B6B8663}"/>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a:t>
            </a:r>
          </a:p>
        </p:txBody>
      </p:sp>
      <p:sp>
        <p:nvSpPr>
          <p:cNvPr id="26" name="Oval 25">
            <a:extLst>
              <a:ext uri="{FF2B5EF4-FFF2-40B4-BE49-F238E27FC236}">
                <a16:creationId xmlns:a16="http://schemas.microsoft.com/office/drawing/2014/main" id="{4B976137-3B23-DBFB-3132-ED0013587027}"/>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36" name="Text Placeholder 16">
            <a:extLst>
              <a:ext uri="{FF2B5EF4-FFF2-40B4-BE49-F238E27FC236}">
                <a16:creationId xmlns:a16="http://schemas.microsoft.com/office/drawing/2014/main" id="{4CC974D1-336A-1720-2284-12D7FA2B07C7}"/>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1869309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extLst>
              <p:ext uri="{D42A27DB-BD31-4B8C-83A1-F6EECF244321}">
                <p14:modId xmlns:p14="http://schemas.microsoft.com/office/powerpoint/2010/main" val="2341256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2179586"/>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514846"/>
          </a:xfrm>
        </p:spPr>
        <p:txBody>
          <a:bodyPr/>
          <a:lstStyle/>
          <a:p>
            <a:r>
              <a:rPr lang="en-GB" sz="1400" dirty="0">
                <a:hlinkClick r:id="rId6" action="ppaction://hlinksldjump"/>
              </a:rPr>
              <a:t>Executive summary</a:t>
            </a:r>
            <a:endParaRPr lang="en-GB" sz="1400" dirty="0"/>
          </a:p>
          <a:p>
            <a:r>
              <a:rPr lang="en-GB" sz="1400" dirty="0">
                <a:hlinkClick r:id="" action="ppaction://noaction"/>
              </a:rPr>
              <a:t>Introduction to battery storage</a:t>
            </a:r>
            <a:r>
              <a:rPr lang="en-GB" sz="1400" dirty="0"/>
              <a:t>	</a:t>
            </a:r>
          </a:p>
          <a:p>
            <a:r>
              <a:rPr lang="en-GB" sz="1400" dirty="0">
                <a:hlinkClick r:id="rId7" action="ppaction://hlinksldjump"/>
              </a:rPr>
              <a:t>Market size and outlook </a:t>
            </a:r>
            <a:endParaRPr lang="en-GB" sz="1400" dirty="0"/>
          </a:p>
          <a:p>
            <a:pPr lvl="1"/>
            <a:r>
              <a:rPr lang="en-GB" sz="1400" dirty="0"/>
              <a:t>Competitive environment</a:t>
            </a:r>
          </a:p>
          <a:p>
            <a:pPr lvl="1"/>
            <a:r>
              <a:rPr lang="en-GB" sz="1400" dirty="0"/>
              <a:t>Long-term market outlook</a:t>
            </a:r>
          </a:p>
          <a:p>
            <a:r>
              <a:rPr lang="en-GB" sz="1400" dirty="0">
                <a:hlinkClick r:id="" action="ppaction://noaction"/>
              </a:rPr>
              <a:t>Policy and regulatory environment</a:t>
            </a:r>
            <a:endParaRPr lang="en-GB" sz="1400" dirty="0"/>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2" name="Group 1">
            <a:extLst>
              <a:ext uri="{FF2B5EF4-FFF2-40B4-BE49-F238E27FC236}">
                <a16:creationId xmlns:a16="http://schemas.microsoft.com/office/drawing/2014/main" id="{DD385359-9406-A2F9-E782-A610FE984F79}"/>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3AD99A02-42F3-7F5B-3300-5505AB205AAE}"/>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6" name="TextBox 5">
              <a:extLst>
                <a:ext uri="{FF2B5EF4-FFF2-40B4-BE49-F238E27FC236}">
                  <a16:creationId xmlns:a16="http://schemas.microsoft.com/office/drawing/2014/main" id="{5EF79987-903C-581A-D1AA-2D539C332B29}"/>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35568598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851418-8EEA-C740-6C63-B74B3124D9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4851418-8EEA-C740-6C63-B74B3124D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1D2E9AA-7FE4-78B0-D36B-3C959C0CA05E}"/>
              </a:ext>
            </a:extLst>
          </p:cNvPr>
          <p:cNvSpPr>
            <a:spLocks noGrp="1"/>
          </p:cNvSpPr>
          <p:nvPr>
            <p:ph type="body" sz="quarter" idx="27"/>
          </p:nvPr>
        </p:nvSpPr>
        <p:spPr>
          <a:xfrm>
            <a:off x="380996" y="2860467"/>
            <a:ext cx="3038479" cy="369332"/>
          </a:xfrm>
        </p:spPr>
        <p:txBody>
          <a:bodyPr/>
          <a:lstStyle/>
          <a:p>
            <a:r>
              <a:rPr lang="en-GB" sz="2400" i="1"/>
              <a:t>Market size and outlook</a:t>
            </a:r>
          </a:p>
        </p:txBody>
      </p:sp>
      <p:sp>
        <p:nvSpPr>
          <p:cNvPr id="3" name="Text Placeholder 2">
            <a:extLst>
              <a:ext uri="{FF2B5EF4-FFF2-40B4-BE49-F238E27FC236}">
                <a16:creationId xmlns:a16="http://schemas.microsoft.com/office/drawing/2014/main" id="{A54D5BFC-8DFA-9E5F-B542-1941CC42EBC7}"/>
              </a:ext>
            </a:extLst>
          </p:cNvPr>
          <p:cNvSpPr>
            <a:spLocks noGrp="1"/>
          </p:cNvSpPr>
          <p:nvPr>
            <p:ph type="body" sz="quarter" idx="28"/>
          </p:nvPr>
        </p:nvSpPr>
        <p:spPr>
          <a:xfrm>
            <a:off x="3814481" y="1270000"/>
            <a:ext cx="8009220" cy="5016758"/>
          </a:xfrm>
        </p:spPr>
        <p:txBody>
          <a:bodyPr vert="horz" lIns="0" tIns="0" rIns="0" bIns="0" rtlCol="0" anchor="t">
            <a:spAutoFit/>
          </a:bodyPr>
          <a:lstStyle/>
          <a:p>
            <a:pPr marL="182880" indent="-182880">
              <a:buSzPts val="1200"/>
              <a:buFont typeface="Wingdings" panose="05000000000000000000" pitchFamily="2" charset="2"/>
              <a:buChar char="§"/>
            </a:pPr>
            <a:r>
              <a:rPr lang="en-GB" sz="1200" kern="1200">
                <a:effectLst/>
                <a:latin typeface="Lato"/>
                <a:ea typeface="Lato"/>
                <a:cs typeface="Lato"/>
              </a:rPr>
              <a:t>Total installed grid scale battery capacity across Europe as at the end of 2023 stood at over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latin typeface="Lato"/>
                <a:ea typeface="Lato"/>
                <a:cs typeface="Lato"/>
              </a:rPr>
              <a:t>GW, </a:t>
            </a:r>
            <a:r>
              <a:rPr lang="en-GB" sz="1200" kern="1200">
                <a:effectLst/>
                <a:latin typeface="Lato"/>
                <a:ea typeface="Lato"/>
                <a:cs typeface="Lato"/>
              </a:rPr>
              <a:t>making up less than 1% of total installed </a:t>
            </a:r>
            <a:r>
              <a:rPr lang="en-GB">
                <a:latin typeface="Lato"/>
                <a:ea typeface="Lato"/>
                <a:cs typeface="Lato"/>
              </a:rPr>
              <a:t>generation capacity</a:t>
            </a:r>
            <a:r>
              <a:rPr lang="en-GB" sz="1200" kern="1200">
                <a:effectLst/>
                <a:latin typeface="Lato"/>
                <a:ea typeface="Lato"/>
                <a:cs typeface="Lato"/>
              </a:rPr>
              <a:t>.</a:t>
            </a:r>
            <a:endParaRPr lang="en-GB">
              <a:latin typeface="Lato"/>
              <a:ea typeface="Lato"/>
              <a:cs typeface="Lato"/>
            </a:endParaRPr>
          </a:p>
          <a:p>
            <a:pPr marL="182880" indent="-182880">
              <a:buSzPts val="1200"/>
              <a:buFont typeface="Wingdings" panose="05000000000000000000" pitchFamily="2" charset="2"/>
              <a:buChar char="§"/>
            </a:pPr>
            <a:r>
              <a:rPr lang="en-GB">
                <a:latin typeface="Lato"/>
                <a:ea typeface="Lato"/>
                <a:cs typeface="Lato"/>
              </a:rPr>
              <a:t>Battery storage capacity continued to deploy at record highs in 2023, totalling over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latin typeface="Lato"/>
                <a:ea typeface="Lato"/>
                <a:cs typeface="Lato"/>
              </a:rPr>
              <a:t>GW of new capacity across Europe. </a:t>
            </a:r>
          </a:p>
          <a:p>
            <a:pPr marL="182880" indent="-182880">
              <a:buSzPts val="1200"/>
              <a:buFont typeface="Wingdings" panose="05000000000000000000" pitchFamily="2" charset="2"/>
              <a:buChar char="§"/>
            </a:pPr>
            <a:r>
              <a:rPr lang="en-GB">
                <a:ea typeface="Lato"/>
                <a:cs typeface="Lato"/>
              </a:rPr>
              <a:t>Although the market is fragmented, leading battery storage developers/investors in Europe include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a:t>
            </a:r>
            <a:r>
              <a:rPr lang="en-GB" sz="1200" b="1" i="0" u="none" strike="noStrike" kern="1200" baseline="0">
                <a:solidFill>
                  <a:srgbClr val="838383"/>
                </a:solidFill>
                <a:highlight>
                  <a:srgbClr val="808080"/>
                </a:highlight>
                <a:latin typeface="Lato" panose="020F0502020204030203" pitchFamily="34" charset="0"/>
              </a:rPr>
              <a:t>XX</a:t>
            </a:r>
            <a:r>
              <a:rPr lang="en-GB" sz="1200" b="1" i="0" u="none" strike="noStrike" kern="1200" baseline="0">
                <a:solidFill>
                  <a:srgbClr val="838383"/>
                </a:solidFill>
                <a:latin typeface="Lato" panose="020F0502020204030203" pitchFamily="34" charset="0"/>
              </a:rPr>
              <a:t> </a:t>
            </a:r>
            <a:r>
              <a:rPr lang="en-GB">
                <a:ea typeface="Lato"/>
                <a:cs typeface="Lato"/>
              </a:rPr>
              <a:t>and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who collectively represent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of installed capacity and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of pipeline capacity.</a:t>
            </a:r>
          </a:p>
          <a:p>
            <a:pPr marL="182880" indent="-182880">
              <a:buFont typeface="Wingdings" panose="05000000000000000000" pitchFamily="2" charset="2"/>
              <a:buChar char="§"/>
            </a:pPr>
            <a:r>
              <a:rPr lang="en-US">
                <a:ea typeface="Lato"/>
                <a:cs typeface="Lato"/>
              </a:rPr>
              <a:t>The top three battery suppliers (</a:t>
            </a:r>
            <a:r>
              <a:rPr lang="en-GB" sz="1200" b="1" i="0" u="none" strike="noStrike" kern="1200" baseline="0">
                <a:solidFill>
                  <a:srgbClr val="838383"/>
                </a:solidFill>
                <a:highlight>
                  <a:srgbClr val="808080"/>
                </a:highlight>
                <a:latin typeface="Lato" panose="020F0502020204030203" pitchFamily="34" charset="0"/>
              </a:rPr>
              <a:t>XX</a:t>
            </a:r>
            <a:r>
              <a:rPr lang="en-US">
                <a:ea typeface="Lato"/>
                <a:cs typeface="Lato"/>
              </a:rPr>
              <a:t>, </a:t>
            </a:r>
            <a:r>
              <a:rPr lang="en-GB" sz="1200" b="1" i="0" u="none" strike="noStrike" kern="1200" baseline="0">
                <a:solidFill>
                  <a:srgbClr val="838383"/>
                </a:solidFill>
                <a:highlight>
                  <a:srgbClr val="808080"/>
                </a:highlight>
                <a:latin typeface="Lato" panose="020F0502020204030203" pitchFamily="34" charset="0"/>
              </a:rPr>
              <a:t>XX</a:t>
            </a:r>
            <a:r>
              <a:rPr lang="en-US">
                <a:ea typeface="Lato"/>
                <a:cs typeface="Lato"/>
              </a:rPr>
              <a:t>, and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US">
                <a:ea typeface="Lato"/>
                <a:cs typeface="Lato"/>
              </a:rPr>
              <a:t>) collectively hold more than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US">
                <a:ea typeface="Lato"/>
                <a:cs typeface="Lato"/>
              </a:rPr>
              <a:t>% of global market share, while the leading three integrators in Europe (</a:t>
            </a:r>
            <a:r>
              <a:rPr lang="en-GB" sz="1200" b="1" i="0" u="none" strike="noStrike" kern="1200" baseline="0">
                <a:solidFill>
                  <a:srgbClr val="838383"/>
                </a:solidFill>
                <a:highlight>
                  <a:srgbClr val="808080"/>
                </a:highlight>
                <a:latin typeface="Lato" panose="020F0502020204030203" pitchFamily="34" charset="0"/>
              </a:rPr>
              <a:t>XX</a:t>
            </a:r>
            <a:r>
              <a:rPr lang="en-US">
                <a:ea typeface="Lato"/>
                <a:cs typeface="Lato"/>
              </a:rPr>
              <a:t>, </a:t>
            </a:r>
            <a:r>
              <a:rPr lang="en-GB" sz="1200" b="1" i="0" u="none" strike="noStrike" kern="1200" baseline="0">
                <a:solidFill>
                  <a:srgbClr val="838383"/>
                </a:solidFill>
                <a:highlight>
                  <a:srgbClr val="808080"/>
                </a:highlight>
                <a:latin typeface="Lato" panose="020F0502020204030203" pitchFamily="34" charset="0"/>
              </a:rPr>
              <a:t>XX</a:t>
            </a:r>
            <a:r>
              <a:rPr lang="en-US">
                <a:ea typeface="Lato"/>
                <a:cs typeface="Lato"/>
              </a:rPr>
              <a:t>, and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US">
                <a:ea typeface="Lato"/>
                <a:cs typeface="Lato"/>
              </a:rPr>
              <a:t>) account for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US">
                <a:ea typeface="Lato"/>
                <a:cs typeface="Lato"/>
              </a:rPr>
              <a:t>% of the market share.</a:t>
            </a:r>
          </a:p>
          <a:p>
            <a:pPr marL="182880" indent="-182880">
              <a:buFont typeface="Wingdings" panose="05000000000000000000" pitchFamily="2" charset="2"/>
              <a:buChar char="§"/>
            </a:pPr>
            <a:r>
              <a:rPr lang="en-GB">
                <a:ea typeface="Lato"/>
                <a:cs typeface="Lato"/>
              </a:rPr>
              <a:t>There are many route-to-market providers providing optimisation and risk management services to asset owners; </a:t>
            </a:r>
            <a:r>
              <a:rPr lang="en-GB" sz="1200" b="1" i="0" u="none" strike="noStrike" kern="1200" baseline="0">
                <a:solidFill>
                  <a:srgbClr val="808080"/>
                </a:solidFill>
                <a:highlight>
                  <a:srgbClr val="808080"/>
                </a:highlight>
                <a:latin typeface="Lato" panose="020F0502020204030203" pitchFamily="34" charset="0"/>
              </a:rPr>
              <a:t>XX</a:t>
            </a:r>
            <a:r>
              <a:rPr lang="en-GB">
                <a:ea typeface="Lato"/>
                <a:cs typeface="Lato"/>
              </a:rPr>
              <a:t> features the largest number of active optimisers, with fewer players in the rest of Europe suggesting a market gap.</a:t>
            </a:r>
          </a:p>
          <a:p>
            <a:pPr marL="182880" indent="-182880">
              <a:buFont typeface="Wingdings" panose="05000000000000000000" pitchFamily="2" charset="2"/>
              <a:buChar char="§"/>
            </a:pPr>
            <a:r>
              <a:rPr lang="en-GB">
                <a:ea typeface="Lato"/>
                <a:cs typeface="Lato"/>
              </a:rPr>
              <a:t>Full delivery of the current pipeline would see battery capacity in Europe increase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growing by at least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GW to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GW by 2026. </a:t>
            </a:r>
            <a:r>
              <a:rPr lang="en-GB">
                <a:solidFill>
                  <a:srgbClr val="808080"/>
                </a:solidFill>
                <a:highlight>
                  <a:srgbClr val="808080"/>
                </a:highlight>
                <a:ea typeface="Lato"/>
                <a:cs typeface="Lato"/>
              </a:rPr>
              <a:t>XXX</a:t>
            </a:r>
            <a:r>
              <a:rPr lang="en-GB">
                <a:solidFill>
                  <a:srgbClr val="808080"/>
                </a:solidFill>
                <a:ea typeface="Lato"/>
                <a:cs typeface="Lato"/>
              </a:rPr>
              <a:t> </a:t>
            </a:r>
            <a:r>
              <a:rPr lang="en-GB">
                <a:ea typeface="Lato"/>
                <a:cs typeface="Lato"/>
              </a:rPr>
              <a:t>alone makes up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of the total expected capacity additions.</a:t>
            </a:r>
          </a:p>
          <a:p>
            <a:pPr marL="182880" indent="-182880">
              <a:buFont typeface="Wingdings" panose="05000000000000000000" pitchFamily="2" charset="2"/>
              <a:buChar char="§"/>
            </a:pPr>
            <a:r>
              <a:rPr lang="en-GB">
                <a:ea typeface="Lato"/>
                <a:cs typeface="Lato"/>
              </a:rPr>
              <a:t>Based on Aurora‘s Central market forecast, grid scale battery storage in Europe could grow to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GW by 2030, representing additional investment opportunity of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GW on top of the near-term pipeline to 2026.</a:t>
            </a:r>
          </a:p>
          <a:p>
            <a:pPr marL="182880" indent="-182880">
              <a:buFont typeface="Wingdings" panose="05000000000000000000" pitchFamily="2" charset="2"/>
              <a:buChar char="§"/>
            </a:pPr>
            <a:r>
              <a:rPr lang="en-GB">
                <a:ea typeface="Lato"/>
                <a:cs typeface="Lato"/>
              </a:rPr>
              <a:t>Aurora‘s 2030 forecasted capacity represents at least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GW of capacity additions from 2023, mainly deployed in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and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a:t>
            </a:r>
          </a:p>
          <a:p>
            <a:pPr marL="182880" indent="-182880">
              <a:buFont typeface="Wingdings" panose="05000000000000000000" pitchFamily="2" charset="2"/>
              <a:buChar char="§"/>
            </a:pPr>
            <a:r>
              <a:rPr lang="en-GB">
                <a:ea typeface="Lato"/>
                <a:cs typeface="Lato"/>
              </a:rPr>
              <a:t>These new capacity additions are expected to represent a cumulative investment opportunity of up to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sz="1200" kern="1200">
                <a:effectLst/>
                <a:latin typeface="Lato"/>
                <a:ea typeface="Lato"/>
                <a:cs typeface="Lato"/>
              </a:rPr>
              <a:t> bn € </a:t>
            </a:r>
            <a:r>
              <a:rPr lang="en-GB">
                <a:ea typeface="Lato"/>
                <a:cs typeface="Lato"/>
              </a:rPr>
              <a:t>for grid scale assets between today and 2030. An additional</a:t>
            </a:r>
            <a:r>
              <a:rPr lang="en-GB" sz="1200" kern="1200">
                <a:effectLst/>
                <a:latin typeface="Lato"/>
                <a:ea typeface="Lato"/>
                <a:cs typeface="Lato"/>
              </a:rPr>
              <a:t>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latin typeface="Lato"/>
                <a:ea typeface="Lato"/>
                <a:cs typeface="Lato"/>
              </a:rPr>
              <a:t> </a:t>
            </a:r>
            <a:r>
              <a:rPr lang="en-GB" sz="1200" kern="1200">
                <a:effectLst/>
                <a:latin typeface="Lato"/>
                <a:ea typeface="Lato"/>
                <a:cs typeface="Lato"/>
              </a:rPr>
              <a:t>bn € is expected </a:t>
            </a:r>
            <a:r>
              <a:rPr lang="en-GB">
                <a:ea typeface="Lato"/>
                <a:cs typeface="Lato"/>
              </a:rPr>
              <a:t>between 2030 and 2050, including investments in repowering of almost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bn </a:t>
            </a:r>
            <a:r>
              <a:rPr lang="en-GB" sz="1200" kern="1200">
                <a:effectLst/>
                <a:latin typeface="Lato"/>
                <a:ea typeface="Lato"/>
                <a:cs typeface="Lato"/>
              </a:rPr>
              <a:t>€</a:t>
            </a:r>
            <a:r>
              <a:rPr lang="en-GB">
                <a:ea typeface="Lato"/>
                <a:cs typeface="Lato"/>
              </a:rPr>
              <a:t> in this period.</a:t>
            </a:r>
          </a:p>
          <a:p>
            <a:pPr marL="182880" indent="-182880">
              <a:buFont typeface="Wingdings" panose="05000000000000000000" pitchFamily="2" charset="2"/>
              <a:buChar char="§"/>
            </a:pPr>
            <a:r>
              <a:rPr lang="en-GB">
                <a:ea typeface="Lato"/>
                <a:cs typeface="Lato"/>
              </a:rPr>
              <a:t>Grid-scale installed battery capacities began to exceed behind-the-meter battery installations in 2023 and are expected to grow faster than behind-the-meter installations until 2030.</a:t>
            </a:r>
          </a:p>
          <a:p>
            <a:pPr marL="182880" indent="-182880">
              <a:buFont typeface="Wingdings" panose="05000000000000000000" pitchFamily="2" charset="2"/>
              <a:buChar char="§"/>
            </a:pPr>
            <a:r>
              <a:rPr lang="en-GB">
                <a:ea typeface="Lato"/>
                <a:cs typeface="Lato"/>
              </a:rPr>
              <a:t>Aurora’s attractiveness assessment of the 24 regions based on the market size and outlook category sees </a:t>
            </a:r>
            <a:r>
              <a:rPr lang="en-GB" sz="1200" b="1" i="0" u="none" strike="noStrike" kern="1200" baseline="0">
                <a:solidFill>
                  <a:srgbClr val="3C3C3B"/>
                </a:solidFill>
                <a:latin typeface="Lato" panose="020F0502020204030203" pitchFamily="34" charset="0"/>
              </a:rPr>
              <a:t> </a:t>
            </a:r>
            <a:r>
              <a:rPr lang="en-GB" sz="1200" b="1" i="0" u="none" strike="noStrike" kern="1200" baseline="0" err="1">
                <a:solidFill>
                  <a:srgbClr val="838383"/>
                </a:solidFill>
                <a:highlight>
                  <a:srgbClr val="808080"/>
                </a:highlight>
                <a:latin typeface="Lato" panose="020F0502020204030203" pitchFamily="34" charset="0"/>
              </a:rPr>
              <a:t>XX</a:t>
            </a:r>
            <a:r>
              <a:rPr lang="en-GB" err="1">
                <a:ea typeface="Lato"/>
                <a:cs typeface="Lato"/>
              </a:rPr>
              <a:t>emerge</a:t>
            </a:r>
            <a:r>
              <a:rPr lang="en-GB">
                <a:ea typeface="Lato"/>
                <a:cs typeface="Lato"/>
              </a:rPr>
              <a:t> as the leading market in terms of size and outlook, followed by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 and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ea typeface="Lato"/>
                <a:cs typeface="Lato"/>
              </a:rPr>
              <a:t>.</a:t>
            </a:r>
          </a:p>
        </p:txBody>
      </p:sp>
      <p:sp>
        <p:nvSpPr>
          <p:cNvPr id="7" name="Text Placeholder 6">
            <a:extLst>
              <a:ext uri="{FF2B5EF4-FFF2-40B4-BE49-F238E27FC236}">
                <a16:creationId xmlns:a16="http://schemas.microsoft.com/office/drawing/2014/main" id="{AE58477A-B044-300D-2788-D6FCAEEEE861}"/>
              </a:ext>
            </a:extLst>
          </p:cNvPr>
          <p:cNvSpPr>
            <a:spLocks noGrp="1"/>
          </p:cNvSpPr>
          <p:nvPr>
            <p:ph type="body" sz="quarter" idx="22"/>
          </p:nvPr>
        </p:nvSpPr>
        <p:spPr>
          <a:xfrm>
            <a:off x="3814481" y="6715169"/>
            <a:ext cx="1455527" cy="110800"/>
          </a:xfrm>
        </p:spPr>
        <p:txBody>
          <a:bodyPr/>
          <a:lstStyle/>
          <a:p>
            <a:r>
              <a:rPr lang="en-GB"/>
              <a:t>Source: Aurora Energy Research</a:t>
            </a:r>
          </a:p>
        </p:txBody>
      </p:sp>
      <p:sp>
        <p:nvSpPr>
          <p:cNvPr id="8" name="Text Placeholder 7">
            <a:extLst>
              <a:ext uri="{FF2B5EF4-FFF2-40B4-BE49-F238E27FC236}">
                <a16:creationId xmlns:a16="http://schemas.microsoft.com/office/drawing/2014/main" id="{D245078F-7B57-9225-C5E2-93882475BF43}"/>
              </a:ext>
            </a:extLst>
          </p:cNvPr>
          <p:cNvSpPr>
            <a:spLocks noGrp="1"/>
          </p:cNvSpPr>
          <p:nvPr>
            <p:ph type="body" sz="quarter" idx="32"/>
          </p:nvPr>
        </p:nvSpPr>
        <p:spPr/>
        <p:txBody>
          <a:bodyPr/>
          <a:lstStyle/>
          <a:p>
            <a:endParaRPr lang="en-GB"/>
          </a:p>
        </p:txBody>
      </p:sp>
      <p:sp>
        <p:nvSpPr>
          <p:cNvPr id="6" name="Text Placeholder 5">
            <a:extLst>
              <a:ext uri="{FF2B5EF4-FFF2-40B4-BE49-F238E27FC236}">
                <a16:creationId xmlns:a16="http://schemas.microsoft.com/office/drawing/2014/main" id="{46E5013F-10F2-4FE5-EDE2-7140DEDED6AD}"/>
              </a:ext>
            </a:extLst>
          </p:cNvPr>
          <p:cNvSpPr>
            <a:spLocks noGrp="1"/>
          </p:cNvSpPr>
          <p:nvPr>
            <p:ph type="body" sz="quarter" idx="31"/>
          </p:nvPr>
        </p:nvSpPr>
        <p:spPr>
          <a:xfrm>
            <a:off x="3814481" y="79401"/>
            <a:ext cx="1858201" cy="184666"/>
          </a:xfrm>
        </p:spPr>
        <p:txBody>
          <a:bodyPr/>
          <a:lstStyle/>
          <a:p>
            <a:r>
              <a:rPr lang="en-GB"/>
              <a:t>	Market size and outlook</a:t>
            </a:r>
          </a:p>
        </p:txBody>
      </p:sp>
      <p:pic>
        <p:nvPicPr>
          <p:cNvPr id="11" name="Picture 10" descr="Background pattern&#10;&#10;Description automatically generated">
            <a:extLst>
              <a:ext uri="{FF2B5EF4-FFF2-40B4-BE49-F238E27FC236}">
                <a16:creationId xmlns:a16="http://schemas.microsoft.com/office/drawing/2014/main" id="{FD946F60-4E13-A4FD-2CFD-5AA0A53CE40D}"/>
              </a:ext>
            </a:extLst>
          </p:cNvPr>
          <p:cNvPicPr>
            <a:picLocks noChangeAspect="1"/>
          </p:cNvPicPr>
          <p:nvPr/>
        </p:nvPicPr>
        <p:blipFill>
          <a:blip r:embed="rId6"/>
          <a:stretch>
            <a:fillRect/>
          </a:stretch>
        </p:blipFill>
        <p:spPr>
          <a:xfrm>
            <a:off x="902744" y="3968750"/>
            <a:ext cx="1746380" cy="1876815"/>
          </a:xfrm>
          <a:prstGeom prst="rect">
            <a:avLst/>
          </a:prstGeom>
        </p:spPr>
      </p:pic>
      <p:sp>
        <p:nvSpPr>
          <p:cNvPr id="9" name="Oval 8">
            <a:extLst>
              <a:ext uri="{FF2B5EF4-FFF2-40B4-BE49-F238E27FC236}">
                <a16:creationId xmlns:a16="http://schemas.microsoft.com/office/drawing/2014/main" id="{0BC58E50-522D-428B-9F05-49819E4DF99C}"/>
              </a:ext>
            </a:extLst>
          </p:cNvPr>
          <p:cNvSpPr/>
          <p:nvPr/>
        </p:nvSpPr>
        <p:spPr>
          <a:xfrm>
            <a:off x="3814481"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12" name="Rectangle 11">
            <a:extLst>
              <a:ext uri="{FF2B5EF4-FFF2-40B4-BE49-F238E27FC236}">
                <a16:creationId xmlns:a16="http://schemas.microsoft.com/office/drawing/2014/main" id="{B0A3C316-D88B-7E9F-C6FB-44A8110397D5}"/>
              </a:ext>
            </a:extLst>
          </p:cNvPr>
          <p:cNvSpPr/>
          <p:nvPr/>
        </p:nvSpPr>
        <p:spPr>
          <a:xfrm>
            <a:off x="3719744" y="754602"/>
            <a:ext cx="8229600" cy="553215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267741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E69CE6-A077-4331-9700-35F6304FA5F3}"/>
              </a:ext>
            </a:extLst>
          </p:cNvPr>
          <p:cNvGraphicFramePr>
            <a:graphicFrameLocks noChangeAspect="1"/>
          </p:cNvGraphicFramePr>
          <p:nvPr>
            <p:custDataLst>
              <p:tags r:id="rId1"/>
            </p:custDataLst>
            <p:extLst>
              <p:ext uri="{D42A27DB-BD31-4B8C-83A1-F6EECF244321}">
                <p14:modId xmlns:p14="http://schemas.microsoft.com/office/powerpoint/2010/main" val="1240462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97E69CE6-A077-4331-9700-35F6304FA5F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10" name="Tabelle 7">
            <a:extLst>
              <a:ext uri="{FF2B5EF4-FFF2-40B4-BE49-F238E27FC236}">
                <a16:creationId xmlns:a16="http://schemas.microsoft.com/office/drawing/2014/main" id="{6A465C48-7EB0-3C1E-B2B4-B866977A65CF}"/>
              </a:ext>
            </a:extLst>
          </p:cNvPr>
          <p:cNvGraphicFramePr>
            <a:graphicFrameLocks noGrp="1"/>
          </p:cNvGraphicFramePr>
          <p:nvPr>
            <p:custDataLst>
              <p:tags r:id="rId2"/>
            </p:custDataLst>
            <p:extLst>
              <p:ext uri="{D42A27DB-BD31-4B8C-83A1-F6EECF244321}">
                <p14:modId xmlns:p14="http://schemas.microsoft.com/office/powerpoint/2010/main" val="3790318794"/>
              </p:ext>
            </p:extLst>
          </p:nvPr>
        </p:nvGraphicFramePr>
        <p:xfrm>
          <a:off x="394158" y="3101939"/>
          <a:ext cx="5346766" cy="3017520"/>
        </p:xfrm>
        <a:graphic>
          <a:graphicData uri="http://schemas.openxmlformats.org/drawingml/2006/table">
            <a:tbl>
              <a:tblPr firstRow="1" bandRow="1">
                <a:effectLst/>
                <a:tableStyleId>{5C22544A-7EE6-4342-B048-85BDC9FD1C3A}</a:tableStyleId>
              </a:tblPr>
              <a:tblGrid>
                <a:gridCol w="620142">
                  <a:extLst>
                    <a:ext uri="{9D8B030D-6E8A-4147-A177-3AD203B41FA5}">
                      <a16:colId xmlns:a16="http://schemas.microsoft.com/office/drawing/2014/main" val="2084924206"/>
                    </a:ext>
                  </a:extLst>
                </a:gridCol>
                <a:gridCol w="1138556">
                  <a:extLst>
                    <a:ext uri="{9D8B030D-6E8A-4147-A177-3AD203B41FA5}">
                      <a16:colId xmlns:a16="http://schemas.microsoft.com/office/drawing/2014/main" val="2561383920"/>
                    </a:ext>
                  </a:extLst>
                </a:gridCol>
                <a:gridCol w="116840">
                  <a:extLst>
                    <a:ext uri="{9D8B030D-6E8A-4147-A177-3AD203B41FA5}">
                      <a16:colId xmlns:a16="http://schemas.microsoft.com/office/drawing/2014/main" val="872547697"/>
                    </a:ext>
                  </a:extLst>
                </a:gridCol>
                <a:gridCol w="3471228">
                  <a:extLst>
                    <a:ext uri="{9D8B030D-6E8A-4147-A177-3AD203B41FA5}">
                      <a16:colId xmlns:a16="http://schemas.microsoft.com/office/drawing/2014/main" val="3029055405"/>
                    </a:ext>
                  </a:extLst>
                </a:gridCol>
              </a:tblGrid>
              <a:tr h="251536">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ank</a:t>
                      </a:r>
                    </a:p>
                  </a:txBody>
                  <a:tcPr marL="45720" marR="45720" anchor="b">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45720" marR="45720" anchor="b">
                    <a:lnR w="12700" cmpd="sng">
                      <a:noFill/>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200" b="1" i="0" kern="1200">
                        <a:solidFill>
                          <a:schemeClr val="tx1"/>
                        </a:solidFill>
                        <a:latin typeface="+mn-lt"/>
                        <a:ea typeface="Lato" panose="020F0502020204030203" pitchFamily="34" charset="0"/>
                        <a:cs typeface="Lato" panose="020F0502020204030203" pitchFamily="34" charset="0"/>
                      </a:endParaRPr>
                    </a:p>
                  </a:txBody>
                  <a:tcPr marL="45720" marR="4572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a:solidFill>
                            <a:schemeClr val="tx1"/>
                          </a:solidFill>
                          <a:latin typeface="+mn-lt"/>
                          <a:ea typeface="Lato" panose="020F0502020204030203" pitchFamily="34" charset="0"/>
                          <a:cs typeface="Lato" panose="020F0502020204030203" pitchFamily="34" charset="0"/>
                        </a:rPr>
                        <a:t>Market attractiveness score</a:t>
                      </a:r>
                    </a:p>
                  </a:txBody>
                  <a:tcPr marL="45720" marR="45720" anchor="b">
                    <a:lnL w="12700" cmpd="sng">
                      <a:noFill/>
                    </a:lnL>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5036239"/>
                  </a:ext>
                </a:extLst>
              </a:tr>
              <a:tr h="266721">
                <a:tc>
                  <a:txBody>
                    <a:bodyPr/>
                    <a:lstStyle/>
                    <a:p>
                      <a:pPr algn="ctr" rtl="0" fontAlgn="b"/>
                      <a:r>
                        <a:rPr lang="en-GB" sz="1200" b="0" i="0" u="none" strike="noStrike">
                          <a:solidFill>
                            <a:schemeClr val="tx1"/>
                          </a:solidFill>
                          <a:effectLst/>
                          <a:latin typeface="+mn-lt"/>
                        </a:rPr>
                        <a:t>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6721">
                <a:tc>
                  <a:txBody>
                    <a:bodyPr/>
                    <a:lstStyle/>
                    <a:p>
                      <a:pPr algn="ctr" rtl="0" fontAlgn="b"/>
                      <a:r>
                        <a:rPr lang="en-GB" sz="1200" b="0" i="0" u="none" strike="noStrike">
                          <a:solidFill>
                            <a:schemeClr val="tx1"/>
                          </a:solidFill>
                          <a:effectLst/>
                          <a:latin typeface="+mn-lt"/>
                        </a:rPr>
                        <a:t>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9210508"/>
                  </a:ext>
                </a:extLst>
              </a:tr>
              <a:tr h="266721">
                <a:tc>
                  <a:txBody>
                    <a:bodyPr/>
                    <a:lstStyle/>
                    <a:p>
                      <a:pPr algn="ctr" rtl="0" fontAlgn="b"/>
                      <a:r>
                        <a:rPr lang="en-GB" sz="1200" b="0" i="0" u="none" strike="noStrike">
                          <a:solidFill>
                            <a:schemeClr val="tx1"/>
                          </a:solidFill>
                          <a:effectLst/>
                          <a:latin typeface="+mn-lt"/>
                        </a:rPr>
                        <a:t>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8080983"/>
                  </a:ext>
                </a:extLst>
              </a:tr>
              <a:tr h="266721">
                <a:tc>
                  <a:txBody>
                    <a:bodyPr/>
                    <a:lstStyle/>
                    <a:p>
                      <a:pPr algn="ctr" rtl="0" fontAlgn="b"/>
                      <a:r>
                        <a:rPr lang="en-GB" sz="1200" b="0" i="0" u="none" strike="noStrike">
                          <a:solidFill>
                            <a:schemeClr val="tx1"/>
                          </a:solidFill>
                          <a:effectLst/>
                          <a:latin typeface="+mn-lt"/>
                        </a:rPr>
                        <a:t>4</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8261833"/>
                  </a:ext>
                </a:extLst>
              </a:tr>
              <a:tr h="266721">
                <a:tc>
                  <a:txBody>
                    <a:bodyPr/>
                    <a:lstStyle/>
                    <a:p>
                      <a:pPr algn="ctr" rtl="0" fontAlgn="b"/>
                      <a:r>
                        <a:rPr lang="en-GB" sz="1200" b="0" i="0" u="none" strike="noStrike">
                          <a:solidFill>
                            <a:schemeClr val="tx1"/>
                          </a:solidFill>
                          <a:effectLst/>
                          <a:latin typeface="+mn-lt"/>
                        </a:rPr>
                        <a:t>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8506081"/>
                  </a:ext>
                </a:extLst>
              </a:tr>
              <a:tr h="266721">
                <a:tc>
                  <a:txBody>
                    <a:bodyPr/>
                    <a:lstStyle/>
                    <a:p>
                      <a:pPr algn="ctr" rtl="0" fontAlgn="b"/>
                      <a:r>
                        <a:rPr lang="en-GB" sz="1200" b="0" i="0" u="none" strike="noStrike">
                          <a:solidFill>
                            <a:schemeClr val="tx1"/>
                          </a:solidFill>
                          <a:effectLst/>
                          <a:latin typeface="+mn-lt"/>
                        </a:rPr>
                        <a:t>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9309152"/>
                  </a:ext>
                </a:extLst>
              </a:tr>
              <a:tr h="266721">
                <a:tc>
                  <a:txBody>
                    <a:bodyPr/>
                    <a:lstStyle/>
                    <a:p>
                      <a:pPr algn="ctr" rtl="0" fontAlgn="b"/>
                      <a:r>
                        <a:rPr lang="en-GB" sz="1200" b="0" i="0" u="none" strike="noStrike">
                          <a:solidFill>
                            <a:schemeClr val="tx1"/>
                          </a:solidFill>
                          <a:effectLst/>
                          <a:latin typeface="+mn-lt"/>
                        </a:rPr>
                        <a:t>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0424253"/>
                  </a:ext>
                </a:extLst>
              </a:tr>
              <a:tr h="266721">
                <a:tc>
                  <a:txBody>
                    <a:bodyPr/>
                    <a:lstStyle/>
                    <a:p>
                      <a:pPr algn="ctr" rtl="0" fontAlgn="b"/>
                      <a:r>
                        <a:rPr lang="en-GB" sz="1200" b="0" i="0" u="none" strike="noStrike">
                          <a:solidFill>
                            <a:schemeClr val="tx1"/>
                          </a:solidFill>
                          <a:effectLst/>
                          <a:latin typeface="+mn-lt"/>
                        </a:rPr>
                        <a:t>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5004117"/>
                  </a:ext>
                </a:extLst>
              </a:tr>
              <a:tr h="266721">
                <a:tc>
                  <a:txBody>
                    <a:bodyPr/>
                    <a:lstStyle/>
                    <a:p>
                      <a:pPr algn="ctr" rtl="0" fontAlgn="b"/>
                      <a:r>
                        <a:rPr lang="en-GB" sz="1200" b="0" i="0" u="none" strike="noStrike">
                          <a:solidFill>
                            <a:schemeClr val="tx1"/>
                          </a:solidFill>
                          <a:effectLst/>
                          <a:latin typeface="+mn-lt"/>
                        </a:rPr>
                        <a:t>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675267"/>
                  </a:ext>
                </a:extLst>
              </a:tr>
              <a:tr h="266721">
                <a:tc>
                  <a:txBody>
                    <a:bodyPr/>
                    <a:lstStyle/>
                    <a:p>
                      <a:pPr algn="ctr" rtl="0" fontAlgn="b"/>
                      <a:r>
                        <a:rPr lang="en-GB" sz="1200" b="0" i="0" u="none" strike="noStrike">
                          <a:solidFill>
                            <a:schemeClr val="tx1"/>
                          </a:solidFill>
                          <a:effectLst/>
                          <a:latin typeface="+mn-lt"/>
                        </a:rPr>
                        <a:t>10</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7503049"/>
                  </a:ext>
                </a:extLst>
              </a:tr>
            </a:tbl>
          </a:graphicData>
        </a:graphic>
      </p:graphicFrame>
      <p:graphicFrame>
        <p:nvGraphicFramePr>
          <p:cNvPr id="106" name="Table 42">
            <a:extLst>
              <a:ext uri="{FF2B5EF4-FFF2-40B4-BE49-F238E27FC236}">
                <a16:creationId xmlns:a16="http://schemas.microsoft.com/office/drawing/2014/main" id="{3EA051E3-8257-D718-6FF8-F2C3083ACF1F}"/>
              </a:ext>
            </a:extLst>
          </p:cNvPr>
          <p:cNvGraphicFramePr>
            <a:graphicFrameLocks noGrp="1"/>
          </p:cNvGraphicFramePr>
          <p:nvPr>
            <p:extLst>
              <p:ext uri="{D42A27DB-BD31-4B8C-83A1-F6EECF244321}">
                <p14:modId xmlns:p14="http://schemas.microsoft.com/office/powerpoint/2010/main" val="3028015138"/>
              </p:ext>
            </p:extLst>
          </p:nvPr>
        </p:nvGraphicFramePr>
        <p:xfrm>
          <a:off x="374689" y="1709168"/>
          <a:ext cx="11461990" cy="1244600"/>
        </p:xfrm>
        <a:graphic>
          <a:graphicData uri="http://schemas.openxmlformats.org/drawingml/2006/table">
            <a:tbl>
              <a:tblPr firstRow="1" bandRow="1">
                <a:tableStyleId>{2D5ABB26-0587-4C30-8999-92F81FD0307C}</a:tableStyleId>
              </a:tblPr>
              <a:tblGrid>
                <a:gridCol w="3863936">
                  <a:extLst>
                    <a:ext uri="{9D8B030D-6E8A-4147-A177-3AD203B41FA5}">
                      <a16:colId xmlns:a16="http://schemas.microsoft.com/office/drawing/2014/main" val="501274450"/>
                    </a:ext>
                  </a:extLst>
                </a:gridCol>
                <a:gridCol w="1057275">
                  <a:extLst>
                    <a:ext uri="{9D8B030D-6E8A-4147-A177-3AD203B41FA5}">
                      <a16:colId xmlns:a16="http://schemas.microsoft.com/office/drawing/2014/main" val="4065989005"/>
                    </a:ext>
                  </a:extLst>
                </a:gridCol>
                <a:gridCol w="6540779">
                  <a:extLst>
                    <a:ext uri="{9D8B030D-6E8A-4147-A177-3AD203B41FA5}">
                      <a16:colId xmlns:a16="http://schemas.microsoft.com/office/drawing/2014/main" val="3864269130"/>
                    </a:ext>
                  </a:extLst>
                </a:gridCol>
              </a:tblGrid>
              <a:tr h="0">
                <a:tc>
                  <a:txBody>
                    <a:bodyPr/>
                    <a:lstStyle/>
                    <a:p>
                      <a:pPr algn="l" rtl="0"/>
                      <a:r>
                        <a:rPr lang="en-GB" sz="1200" b="1"/>
                        <a:t>Metri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b="1"/>
                        <a:t>Weight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b="1"/>
                        <a:t>Rationa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1830504"/>
                  </a:ext>
                </a:extLst>
              </a:tr>
              <a:tr h="240032">
                <a:tc>
                  <a:txBody>
                    <a:bodyPr/>
                    <a:lstStyle/>
                    <a:p>
                      <a:pPr marL="171450" indent="-171450" rtl="0">
                        <a:buFont typeface="Wingdings" panose="05000000000000000000" pitchFamily="2" charset="2"/>
                        <a:buChar char="§"/>
                      </a:pPr>
                      <a:r>
                        <a:rPr lang="en-GB" sz="1200"/>
                        <a:t>Current installed battery capac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200"/>
                        <a:t>4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ts val="1340"/>
                        </a:lnSpc>
                      </a:pPr>
                      <a:r>
                        <a:rPr lang="en-GB" sz="1200"/>
                        <a:t>Indicates current market size</a:t>
                      </a:r>
                      <a:r>
                        <a:rPr lang="en-GB" sz="1200" baseline="30000"/>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3895335"/>
                  </a:ext>
                </a:extLst>
              </a:tr>
              <a:tr h="240032">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a:t>Projected battery buildout by 2030</a:t>
                      </a:r>
                      <a:endParaRPr lang="en-GB" sz="1200" baseline="30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200"/>
                        <a:t>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ts val="1340"/>
                        </a:lnSpc>
                        <a:spcBef>
                          <a:spcPts val="0"/>
                        </a:spcBef>
                        <a:spcAft>
                          <a:spcPts val="0"/>
                        </a:spcAft>
                        <a:buClrTx/>
                        <a:buSzTx/>
                        <a:buFontTx/>
                        <a:buNone/>
                        <a:tabLst/>
                        <a:defRPr/>
                      </a:pPr>
                      <a:r>
                        <a:rPr lang="en-GB" sz="1200"/>
                        <a:t>Indicates expected future market size</a:t>
                      </a:r>
                      <a:r>
                        <a:rPr lang="en-GB" sz="1200" baseline="30000"/>
                        <a:t>1</a:t>
                      </a:r>
                      <a:r>
                        <a:rPr lang="en-GB" sz="1200"/>
                        <a:t> in the medium term, based on Aurora’s Central scenari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0956290"/>
                  </a:ext>
                </a:extLst>
              </a:tr>
              <a:tr h="240032">
                <a:tc>
                  <a:txBody>
                    <a:bodyPr/>
                    <a:lstStyle/>
                    <a:p>
                      <a:pPr marL="171450" indent="-171450" rtl="0">
                        <a:buFont typeface="Wingdings" panose="05000000000000000000" pitchFamily="2" charset="2"/>
                        <a:buChar char="§"/>
                      </a:pPr>
                      <a:r>
                        <a:rPr lang="en-GB" sz="1200"/>
                        <a:t>Projected CAPEX spend until 20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200"/>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lnSpc>
                          <a:spcPts val="1340"/>
                        </a:lnSpc>
                      </a:pPr>
                      <a:r>
                        <a:rPr lang="en-GB" sz="1200"/>
                        <a:t>Indicates expected future investment need, accounting for required battery durations and repower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048218"/>
                  </a:ext>
                </a:extLst>
              </a:tr>
            </a:tbl>
          </a:graphicData>
        </a:graphic>
      </p:graphicFrame>
      <p:sp>
        <p:nvSpPr>
          <p:cNvPr id="208" name="Text Placeholder 207">
            <a:extLst>
              <a:ext uri="{FF2B5EF4-FFF2-40B4-BE49-F238E27FC236}">
                <a16:creationId xmlns:a16="http://schemas.microsoft.com/office/drawing/2014/main" id="{83729209-CEA6-404D-ABE4-51581910B7F2}"/>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83F456BF-D62F-4BA3-9D8F-8884BA87F243}"/>
              </a:ext>
            </a:extLst>
          </p:cNvPr>
          <p:cNvSpPr>
            <a:spLocks noGrp="1"/>
          </p:cNvSpPr>
          <p:nvPr>
            <p:ph type="title"/>
          </p:nvPr>
        </p:nvSpPr>
        <p:spPr/>
        <p:txBody>
          <a:bodyPr vert="horz"/>
          <a:lstStyle/>
          <a:p>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sz="2200" b="1" i="0" u="none" strike="noStrike" kern="1200" baseline="0">
                <a:solidFill>
                  <a:srgbClr val="808080"/>
                </a:solidFill>
                <a:latin typeface="Lato" panose="020F0502020204030203" pitchFamily="34" charset="0"/>
              </a:rPr>
              <a:t> </a:t>
            </a:r>
            <a:r>
              <a:rPr lang="en-GB">
                <a:solidFill>
                  <a:schemeClr val="tx1"/>
                </a:solidFill>
              </a:rPr>
              <a:t>is currently the leading market in terms of size and outlook, followed by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a:solidFill>
                  <a:schemeClr val="tx1"/>
                </a:solidFill>
              </a:rPr>
              <a:t> and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endParaRPr lang="en-GB">
              <a:solidFill>
                <a:srgbClr val="808080"/>
              </a:solidFill>
            </a:endParaRPr>
          </a:p>
        </p:txBody>
      </p:sp>
      <p:sp>
        <p:nvSpPr>
          <p:cNvPr id="17" name="Text Placeholder 16">
            <a:extLst>
              <a:ext uri="{FF2B5EF4-FFF2-40B4-BE49-F238E27FC236}">
                <a16:creationId xmlns:a16="http://schemas.microsoft.com/office/drawing/2014/main" id="{4AFC6844-CF9C-34FE-7C8E-539B4E334F24}"/>
              </a:ext>
            </a:extLst>
          </p:cNvPr>
          <p:cNvSpPr>
            <a:spLocks noGrp="1"/>
          </p:cNvSpPr>
          <p:nvPr>
            <p:ph type="body" sz="quarter" idx="31"/>
          </p:nvPr>
        </p:nvSpPr>
        <p:spPr>
          <a:xfrm>
            <a:off x="381599" y="79401"/>
            <a:ext cx="1858201" cy="184666"/>
          </a:xfrm>
        </p:spPr>
        <p:txBody>
          <a:bodyPr/>
          <a:lstStyle/>
          <a:p>
            <a:r>
              <a:rPr lang="en-GB"/>
              <a:t>	Market size and outlook</a:t>
            </a:r>
          </a:p>
        </p:txBody>
      </p:sp>
      <p:sp>
        <p:nvSpPr>
          <p:cNvPr id="8" name="Text Placeholder 11">
            <a:extLst>
              <a:ext uri="{FF2B5EF4-FFF2-40B4-BE49-F238E27FC236}">
                <a16:creationId xmlns:a16="http://schemas.microsoft.com/office/drawing/2014/main" id="{A1E1712E-EF13-49EC-AA82-02B5EE448690}"/>
              </a:ext>
            </a:extLst>
          </p:cNvPr>
          <p:cNvSpPr txBox="1">
            <a:spLocks/>
          </p:cNvSpPr>
          <p:nvPr/>
        </p:nvSpPr>
        <p:spPr>
          <a:xfrm>
            <a:off x="3025775" y="1282473"/>
            <a:ext cx="8795527" cy="369332"/>
          </a:xfrm>
          <a:prstGeom prst="rect">
            <a:avLst/>
          </a:prstGeom>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r>
              <a:rPr lang="en-GB" i="1"/>
              <a:t>Countries are assessed in terms of their market size and outlook for batteries between 2024-2030, based on three metrics shown below. An overall score for the market size indicator is assigned between 0-10 reflecting the specified weighting of the metrics.</a:t>
            </a:r>
          </a:p>
        </p:txBody>
      </p:sp>
      <p:graphicFrame>
        <p:nvGraphicFramePr>
          <p:cNvPr id="11" name="Chart 10">
            <a:extLst>
              <a:ext uri="{FF2B5EF4-FFF2-40B4-BE49-F238E27FC236}">
                <a16:creationId xmlns:a16="http://schemas.microsoft.com/office/drawing/2014/main" id="{572766A0-490E-2D89-D6E3-F7C6EDFF1950}"/>
              </a:ext>
            </a:extLst>
          </p:cNvPr>
          <p:cNvGraphicFramePr/>
          <p:nvPr>
            <p:custDataLst>
              <p:tags r:id="rId3"/>
            </p:custDataLst>
            <p:extLst>
              <p:ext uri="{D42A27DB-BD31-4B8C-83A1-F6EECF244321}">
                <p14:modId xmlns:p14="http://schemas.microsoft.com/office/powerpoint/2010/main" val="3948055062"/>
              </p:ext>
            </p:extLst>
          </p:nvPr>
        </p:nvGraphicFramePr>
        <p:xfrm>
          <a:off x="2459038" y="3313113"/>
          <a:ext cx="3027362" cy="2889250"/>
        </p:xfrm>
        <a:graphic>
          <a:graphicData uri="http://schemas.openxmlformats.org/drawingml/2006/chart">
            <c:chart xmlns:c="http://schemas.openxmlformats.org/drawingml/2006/chart" xmlns:r="http://schemas.openxmlformats.org/officeDocument/2006/relationships" r:id="rId14"/>
          </a:graphicData>
        </a:graphic>
      </p:graphicFrame>
      <p:sp>
        <p:nvSpPr>
          <p:cNvPr id="263" name="Rectangle 262">
            <a:extLst>
              <a:ext uri="{FF2B5EF4-FFF2-40B4-BE49-F238E27FC236}">
                <a16:creationId xmlns:a16="http://schemas.microsoft.com/office/drawing/2014/main" id="{CF25D329-80A1-4EAB-A66D-180570B1DE8D}"/>
              </a:ext>
            </a:extLst>
          </p:cNvPr>
          <p:cNvSpPr/>
          <p:nvPr>
            <p:custDataLst>
              <p:tags r:id="rId4"/>
            </p:custDataLst>
          </p:nvPr>
        </p:nvSpPr>
        <p:spPr bwMode="auto">
          <a:xfrm>
            <a:off x="442913" y="6261100"/>
            <a:ext cx="179388" cy="133350"/>
          </a:xfrm>
          <a:prstGeom prst="rect">
            <a:avLst/>
          </a:prstGeom>
          <a:solidFill>
            <a:schemeClr val="accent3"/>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64" name="Rectangle 263">
            <a:extLst>
              <a:ext uri="{FF2B5EF4-FFF2-40B4-BE49-F238E27FC236}">
                <a16:creationId xmlns:a16="http://schemas.microsoft.com/office/drawing/2014/main" id="{9F7A64FF-7FBE-41DE-AF26-9CCF6D6DBC8C}"/>
              </a:ext>
            </a:extLst>
          </p:cNvPr>
          <p:cNvSpPr/>
          <p:nvPr>
            <p:custDataLst>
              <p:tags r:id="rId5"/>
            </p:custDataLst>
          </p:nvPr>
        </p:nvSpPr>
        <p:spPr bwMode="auto">
          <a:xfrm>
            <a:off x="2201863" y="6261100"/>
            <a:ext cx="179388" cy="133350"/>
          </a:xfrm>
          <a:prstGeom prst="rect">
            <a:avLst/>
          </a:prstGeom>
          <a:solidFill>
            <a:schemeClr val="accent2"/>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0" name="Rectangle 9">
            <a:extLst>
              <a:ext uri="{FF2B5EF4-FFF2-40B4-BE49-F238E27FC236}">
                <a16:creationId xmlns:a16="http://schemas.microsoft.com/office/drawing/2014/main" id="{BDDD13A2-ED4F-1177-A8A6-83BD100C4BC6}"/>
              </a:ext>
            </a:extLst>
          </p:cNvPr>
          <p:cNvSpPr/>
          <p:nvPr>
            <p:custDataLst>
              <p:tags r:id="rId6"/>
            </p:custDataLst>
          </p:nvPr>
        </p:nvSpPr>
        <p:spPr bwMode="auto">
          <a:xfrm>
            <a:off x="4038600" y="6261100"/>
            <a:ext cx="179388" cy="133350"/>
          </a:xfrm>
          <a:prstGeom prst="rect">
            <a:avLst/>
          </a:prstGeom>
          <a:solidFill>
            <a:schemeClr val="accent1"/>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55"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auto">
          <a:xfrm>
            <a:off x="673101" y="6256338"/>
            <a:ext cx="1427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F0466792-B174-4543-840D-3AA65DE29F38}" type="datetime'Inst''a''lled ba''tte''''''''''ry ''c''''a''pac''''i''''ty '''">
              <a:rPr lang="en-GB" altLang="en-US" sz="1000" smtClean="0">
                <a:ea typeface="+mn-ea"/>
                <a:cs typeface="+mn-cs"/>
              </a:rPr>
              <a:pPr>
                <a:spcBef>
                  <a:spcPct val="0"/>
                </a:spcBef>
                <a:spcAft>
                  <a:spcPct val="0"/>
                </a:spcAft>
              </a:pPr>
              <a:t>Installed battery capacity </a:t>
            </a:fld>
            <a:endParaRPr lang="en-GB" sz="1000">
              <a:ea typeface="+mn-ea"/>
              <a:cs typeface="+mn-cs"/>
            </a:endParaRPr>
          </a:p>
        </p:txBody>
      </p:sp>
      <p:sp>
        <p:nvSpPr>
          <p:cNvPr id="257" name="Text Placeholder 19">
            <a:extLst>
              <a:ext uri="{FF2B5EF4-FFF2-40B4-BE49-F238E27FC236}">
                <a16:creationId xmlns:a16="http://schemas.microsoft.com/office/drawing/2014/main" id="{9F9869AF-B0F6-4E89-B216-4EC18C7334C2}"/>
              </a:ext>
            </a:extLst>
          </p:cNvPr>
          <p:cNvSpPr>
            <a:spLocks noGrp="1"/>
          </p:cNvSpPr>
          <p:nvPr>
            <p:custDataLst>
              <p:tags r:id="rId8"/>
            </p:custDataLst>
          </p:nvPr>
        </p:nvSpPr>
        <p:spPr bwMode="auto">
          <a:xfrm>
            <a:off x="2432050" y="6256338"/>
            <a:ext cx="1504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05AB2C40-6975-48C6-B884-5C0A3CB258CB}" type="datetime'''Pro''j''ected ''bu''''ild''ou''''''t ''b''y'''' ''2''0''30'">
              <a:rPr lang="en-GB" altLang="en-US" sz="1000" smtClean="0">
                <a:ea typeface="+mn-ea"/>
                <a:cs typeface="+mn-cs"/>
              </a:rPr>
              <a:pPr>
                <a:spcBef>
                  <a:spcPct val="0"/>
                </a:spcBef>
                <a:spcAft>
                  <a:spcPct val="0"/>
                </a:spcAft>
              </a:pPr>
              <a:t>Projected buildout by 2030</a:t>
            </a:fld>
            <a:endParaRPr lang="en-GB" sz="1000">
              <a:ea typeface="+mn-ea"/>
              <a:cs typeface="+mn-cs"/>
            </a:endParaRPr>
          </a:p>
        </p:txBody>
      </p:sp>
      <p:sp>
        <p:nvSpPr>
          <p:cNvPr id="43" name="Text Placeholder 19">
            <a:extLst>
              <a:ext uri="{FF2B5EF4-FFF2-40B4-BE49-F238E27FC236}">
                <a16:creationId xmlns:a16="http://schemas.microsoft.com/office/drawing/2014/main" id="{A3D27A3F-61C9-AD32-0C17-6C14E39E74F2}"/>
              </a:ext>
            </a:extLst>
          </p:cNvPr>
          <p:cNvSpPr>
            <a:spLocks noGrp="1"/>
          </p:cNvSpPr>
          <p:nvPr>
            <p:custDataLst>
              <p:tags r:id="rId9"/>
            </p:custDataLst>
          </p:nvPr>
        </p:nvSpPr>
        <p:spPr bwMode="auto">
          <a:xfrm>
            <a:off x="4268788" y="6256338"/>
            <a:ext cx="1327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5DEDC253-9A2B-4525-BD1D-F831D19394A3}" type="datetime'P''roje''''''''''c''''t''e''d CAPE''X ''''spen''d'''''''''">
              <a:rPr lang="en-GB" altLang="en-US" sz="1000" smtClean="0">
                <a:ea typeface="+mn-ea"/>
                <a:cs typeface="+mn-cs"/>
              </a:rPr>
              <a:pPr>
                <a:spcBef>
                  <a:spcPct val="0"/>
                </a:spcBef>
                <a:spcAft>
                  <a:spcPct val="0"/>
                </a:spcAft>
              </a:pPr>
              <a:t>Projected CAPEX spend</a:t>
            </a:fld>
            <a:endParaRPr lang="en-GB" sz="1000">
              <a:ea typeface="+mn-ea"/>
              <a:cs typeface="+mn-cs"/>
            </a:endParaRPr>
          </a:p>
        </p:txBody>
      </p:sp>
      <p:sp>
        <p:nvSpPr>
          <p:cNvPr id="105" name="Text Placeholder 10">
            <a:extLst>
              <a:ext uri="{FF2B5EF4-FFF2-40B4-BE49-F238E27FC236}">
                <a16:creationId xmlns:a16="http://schemas.microsoft.com/office/drawing/2014/main" id="{2A6E68D7-EB44-3E0B-376E-48DDB735F6CE}"/>
              </a:ext>
            </a:extLst>
          </p:cNvPr>
          <p:cNvSpPr txBox="1">
            <a:spLocks/>
          </p:cNvSpPr>
          <p:nvPr/>
        </p:nvSpPr>
        <p:spPr>
          <a:xfrm>
            <a:off x="6438900" y="3498904"/>
            <a:ext cx="5376000" cy="2236510"/>
          </a:xfrm>
          <a:prstGeom prst="rect">
            <a:avLst/>
          </a:prstGeom>
        </p:spPr>
        <p:txBody>
          <a:bodyPr vert="horz"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2880" indent="-182880">
              <a:buFont typeface="Wingdings" panose="05000000000000000000" pitchFamily="2" charset="2"/>
              <a:buChar char="§"/>
            </a:pPr>
            <a:r>
              <a:rPr lang="en-GB" sz="1200" b="1" i="0" u="none" strike="noStrike" kern="1200" baseline="0">
                <a:solidFill>
                  <a:srgbClr val="3C3C3B"/>
                </a:solidFill>
                <a:latin typeface="Lato" panose="020F0502020204030203" pitchFamily="34" charset="0"/>
              </a:rPr>
              <a:t> </a:t>
            </a:r>
            <a:r>
              <a:rPr lang="en-GB" sz="1200" b="1" i="0" u="none" strike="noStrike" kern="1200" baseline="0" err="1">
                <a:solidFill>
                  <a:srgbClr val="838383"/>
                </a:solidFill>
                <a:highlight>
                  <a:srgbClr val="808080"/>
                </a:highlight>
                <a:latin typeface="Lato" panose="020F0502020204030203" pitchFamily="34" charset="0"/>
              </a:rPr>
              <a:t>XX</a:t>
            </a:r>
            <a:r>
              <a:rPr lang="en-GB" err="1"/>
              <a:t>has</a:t>
            </a:r>
            <a:r>
              <a:rPr lang="en-GB"/>
              <a:t> the largest installed capacity today which, supported by a robust pipeline and the capacity market, makes it the most attractive market in Europe in terms of market size.</a:t>
            </a:r>
          </a:p>
          <a:p>
            <a:pPr marL="182880" indent="-182880">
              <a:buFont typeface="Wingdings" panose="05000000000000000000" pitchFamily="2" charset="2"/>
              <a:buChar char="§"/>
            </a:pPr>
            <a:r>
              <a:rPr lang="en-GB"/>
              <a:t>Despite low installed capacity today, </a:t>
            </a:r>
            <a:r>
              <a:rPr lang="en-GB" sz="1200" b="1" i="0" u="none" strike="noStrike" kern="1200" baseline="0">
                <a:solidFill>
                  <a:srgbClr val="838383"/>
                </a:solidFill>
                <a:highlight>
                  <a:srgbClr val="808080"/>
                </a:highlight>
                <a:latin typeface="Lato" panose="020F0502020204030203" pitchFamily="34" charset="0"/>
              </a:rPr>
              <a:t>XX</a:t>
            </a:r>
            <a:r>
              <a:rPr lang="en-GB"/>
              <a:t>’s high levels of battery build out (driven by lucrative capacity market payments) present a sizeable market to enter as batteries are now eligible to participate in the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sz="1200" b="1" i="0" u="none" strike="noStrike" kern="1200" baseline="30000">
                <a:solidFill>
                  <a:srgbClr val="838383"/>
                </a:solidFill>
                <a:highlight>
                  <a:srgbClr val="808080"/>
                </a:highlight>
                <a:latin typeface="Lato" panose="020F0502020204030203" pitchFamily="34" charset="0"/>
              </a:rPr>
              <a:t>2</a:t>
            </a:r>
            <a:r>
              <a:rPr lang="en-GB"/>
              <a:t> and the details of the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t> subsidy scheme which targets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t>GW of capacity have been confirmed.</a:t>
            </a:r>
          </a:p>
          <a:p>
            <a:pPr marL="182880" indent="-182880">
              <a:buFont typeface="Wingdings" panose="05000000000000000000" pitchFamily="2" charset="2"/>
              <a:buChar char="§"/>
            </a:pP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t> shows strong growth in required battery capacity until 2030 and has the third largest battery capacity build-out between 2023-2030, driven by significant deployment of variable renewables.</a:t>
            </a:r>
          </a:p>
        </p:txBody>
      </p:sp>
      <p:sp>
        <p:nvSpPr>
          <p:cNvPr id="107" name="Text Placeholder 12">
            <a:extLst>
              <a:ext uri="{FF2B5EF4-FFF2-40B4-BE49-F238E27FC236}">
                <a16:creationId xmlns:a16="http://schemas.microsoft.com/office/drawing/2014/main" id="{CAD0DA8C-1575-DD25-A12A-601364B27FE0}"/>
              </a:ext>
            </a:extLst>
          </p:cNvPr>
          <p:cNvSpPr txBox="1">
            <a:spLocks/>
          </p:cNvSpPr>
          <p:nvPr/>
        </p:nvSpPr>
        <p:spPr>
          <a:xfrm>
            <a:off x="6438900" y="3211567"/>
            <a:ext cx="5376000" cy="184150"/>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u="sng"/>
              <a:t>Top markets</a:t>
            </a:r>
          </a:p>
        </p:txBody>
      </p:sp>
      <p:sp>
        <p:nvSpPr>
          <p:cNvPr id="32" name="Oval 11">
            <a:extLst>
              <a:ext uri="{FF2B5EF4-FFF2-40B4-BE49-F238E27FC236}">
                <a16:creationId xmlns:a16="http://schemas.microsoft.com/office/drawing/2014/main" id="{781E5C93-59C3-FC59-6903-B891A0F0D19F}"/>
              </a:ext>
            </a:extLst>
          </p:cNvPr>
          <p:cNvSpPr>
            <a:spLocks/>
          </p:cNvSpPr>
          <p:nvPr/>
        </p:nvSpPr>
        <p:spPr>
          <a:xfrm>
            <a:off x="399571" y="1345624"/>
            <a:ext cx="2503967" cy="253119"/>
          </a:xfrm>
          <a:prstGeom prst="roundRect">
            <a:avLst>
              <a:gd name="adj" fmla="val 50000"/>
            </a:avLst>
          </a:prstGeom>
          <a:solidFill>
            <a:srgbClr val="FFE680"/>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eaLnBrk="1" fontAlgn="auto" latinLnBrk="0" hangingPunct="1">
              <a:lnSpc>
                <a:spcPct val="100000"/>
              </a:lnSpc>
              <a:spcBef>
                <a:spcPts val="0"/>
              </a:spcBef>
              <a:spcAft>
                <a:spcPts val="0"/>
              </a:spcAft>
              <a:buClrTx/>
              <a:buSzTx/>
              <a:buFontTx/>
              <a:buNone/>
              <a:tabLst/>
              <a:defRPr/>
            </a:pPr>
            <a:r>
              <a:rPr lang="en-GB" sz="1100" b="1"/>
              <a:t>Market size and outlook</a:t>
            </a:r>
          </a:p>
        </p:txBody>
      </p:sp>
      <p:sp>
        <p:nvSpPr>
          <p:cNvPr id="33" name="Text Placeholder 14">
            <a:extLst>
              <a:ext uri="{FF2B5EF4-FFF2-40B4-BE49-F238E27FC236}">
                <a16:creationId xmlns:a16="http://schemas.microsoft.com/office/drawing/2014/main" id="{A96DC681-EDFA-BEC4-BCEE-72A0601FBA54}"/>
              </a:ext>
            </a:extLst>
          </p:cNvPr>
          <p:cNvSpPr txBox="1">
            <a:spLocks/>
          </p:cNvSpPr>
          <p:nvPr/>
        </p:nvSpPr>
        <p:spPr>
          <a:xfrm>
            <a:off x="399571" y="2008549"/>
            <a:ext cx="180000" cy="180000"/>
          </a:xfrm>
          <a:prstGeom prst="ellipse">
            <a:avLst/>
          </a:prstGeom>
          <a:solidFill>
            <a:srgbClr val="FFF2B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1</a:t>
            </a:r>
          </a:p>
        </p:txBody>
      </p:sp>
      <p:sp>
        <p:nvSpPr>
          <p:cNvPr id="34" name="Text Placeholder 14">
            <a:extLst>
              <a:ext uri="{FF2B5EF4-FFF2-40B4-BE49-F238E27FC236}">
                <a16:creationId xmlns:a16="http://schemas.microsoft.com/office/drawing/2014/main" id="{C1063AC2-49C0-4621-7CF0-FD50D93B9D4E}"/>
              </a:ext>
            </a:extLst>
          </p:cNvPr>
          <p:cNvSpPr txBox="1">
            <a:spLocks/>
          </p:cNvSpPr>
          <p:nvPr/>
        </p:nvSpPr>
        <p:spPr>
          <a:xfrm>
            <a:off x="399571" y="2290180"/>
            <a:ext cx="180000" cy="180000"/>
          </a:xfrm>
          <a:prstGeom prst="ellipse">
            <a:avLst/>
          </a:prstGeom>
          <a:solidFill>
            <a:srgbClr val="FFE680"/>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2</a:t>
            </a:r>
          </a:p>
        </p:txBody>
      </p:sp>
      <p:sp>
        <p:nvSpPr>
          <p:cNvPr id="35" name="Text Placeholder 14">
            <a:extLst>
              <a:ext uri="{FF2B5EF4-FFF2-40B4-BE49-F238E27FC236}">
                <a16:creationId xmlns:a16="http://schemas.microsoft.com/office/drawing/2014/main" id="{9EA651A2-183F-0E42-B2B5-E82C6F1EA24C}"/>
              </a:ext>
            </a:extLst>
          </p:cNvPr>
          <p:cNvSpPr txBox="1">
            <a:spLocks/>
          </p:cNvSpPr>
          <p:nvPr/>
        </p:nvSpPr>
        <p:spPr>
          <a:xfrm>
            <a:off x="399571" y="2562046"/>
            <a:ext cx="180000" cy="180000"/>
          </a:xfrm>
          <a:prstGeom prst="ellipse">
            <a:avLst/>
          </a:prstGeom>
          <a:solidFill>
            <a:srgbClr val="FFCC00"/>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3</a:t>
            </a:r>
          </a:p>
        </p:txBody>
      </p:sp>
      <p:sp>
        <p:nvSpPr>
          <p:cNvPr id="36" name="Oval 35">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2" name="Rectangle 1">
            <a:extLst>
              <a:ext uri="{FF2B5EF4-FFF2-40B4-BE49-F238E27FC236}">
                <a16:creationId xmlns:a16="http://schemas.microsoft.com/office/drawing/2014/main" id="{CCA8A1FA-BE12-0236-920C-55FEF2CD6D3A}"/>
              </a:ext>
            </a:extLst>
          </p:cNvPr>
          <p:cNvSpPr/>
          <p:nvPr/>
        </p:nvSpPr>
        <p:spPr>
          <a:xfrm>
            <a:off x="6178858" y="3101939"/>
            <a:ext cx="5894773" cy="2908244"/>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4213781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23940D-1012-106B-16EC-0B4D1C3373A4}"/>
              </a:ext>
            </a:extLst>
          </p:cNvPr>
          <p:cNvGraphicFramePr>
            <a:graphicFrameLocks noChangeAspect="1"/>
          </p:cNvGraphicFramePr>
          <p:nvPr>
            <p:custDataLst>
              <p:tags r:id="rId1"/>
            </p:custDataLst>
            <p:extLst>
              <p:ext uri="{D42A27DB-BD31-4B8C-83A1-F6EECF244321}">
                <p14:modId xmlns:p14="http://schemas.microsoft.com/office/powerpoint/2010/main" val="459802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1F23940D-1012-106B-16EC-0B4D1C3373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70B452A-6C95-5D0D-8C49-7190B119FE64}"/>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3C20FF08-0C77-8FD5-C2E9-3F4FEBBC4A92}"/>
              </a:ext>
            </a:extLst>
          </p:cNvPr>
          <p:cNvSpPr>
            <a:spLocks noGrp="1"/>
          </p:cNvSpPr>
          <p:nvPr>
            <p:ph type="title"/>
          </p:nvPr>
        </p:nvSpPr>
        <p:spPr/>
        <p:txBody>
          <a:bodyPr vert="horz"/>
          <a:lstStyle/>
          <a:p>
            <a:r>
              <a:rPr lang="en-GB"/>
              <a:t>The 3</a:t>
            </a:r>
            <a:r>
              <a:rPr lang="en-GB" baseline="30000"/>
              <a:t>rd</a:t>
            </a:r>
            <a:r>
              <a:rPr lang="en-GB"/>
              <a:t> Edition of the Aurora </a:t>
            </a:r>
            <a:r>
              <a:rPr lang="en-GB" err="1"/>
              <a:t>BatMAR</a:t>
            </a:r>
            <a:r>
              <a:rPr lang="en-GB"/>
              <a:t> improves policy updates and market attractiveness metrics with added granularity</a:t>
            </a:r>
          </a:p>
        </p:txBody>
      </p:sp>
      <p:sp>
        <p:nvSpPr>
          <p:cNvPr id="4" name="Text Placeholder 3">
            <a:extLst>
              <a:ext uri="{FF2B5EF4-FFF2-40B4-BE49-F238E27FC236}">
                <a16:creationId xmlns:a16="http://schemas.microsoft.com/office/drawing/2014/main" id="{BB842D0C-8869-FC62-7B4A-7BF8452A9047}"/>
              </a:ext>
            </a:extLst>
          </p:cNvPr>
          <p:cNvSpPr>
            <a:spLocks noGrp="1"/>
          </p:cNvSpPr>
          <p:nvPr>
            <p:ph type="body" sz="quarter" idx="32"/>
          </p:nvPr>
        </p:nvSpPr>
        <p:spPr/>
        <p:txBody>
          <a:bodyPr/>
          <a:lstStyle/>
          <a:p>
            <a:endParaRPr lang="en-GB"/>
          </a:p>
        </p:txBody>
      </p:sp>
      <p:sp>
        <p:nvSpPr>
          <p:cNvPr id="5" name="Text Placeholder 4">
            <a:extLst>
              <a:ext uri="{FF2B5EF4-FFF2-40B4-BE49-F238E27FC236}">
                <a16:creationId xmlns:a16="http://schemas.microsoft.com/office/drawing/2014/main" id="{34689CE0-82BB-2EF7-DE11-075CB116F31A}"/>
              </a:ext>
            </a:extLst>
          </p:cNvPr>
          <p:cNvSpPr>
            <a:spLocks noGrp="1"/>
          </p:cNvSpPr>
          <p:nvPr>
            <p:ph type="body" sz="quarter" idx="31"/>
          </p:nvPr>
        </p:nvSpPr>
        <p:spPr>
          <a:xfrm>
            <a:off x="381599" y="79401"/>
            <a:ext cx="3920945" cy="184666"/>
          </a:xfrm>
        </p:spPr>
        <p:txBody>
          <a:bodyPr/>
          <a:lstStyle/>
          <a:p>
            <a:r>
              <a:rPr lang="en-GB"/>
              <a:t>Aurora European Battery Markets Attractiveness Report</a:t>
            </a:r>
          </a:p>
        </p:txBody>
      </p:sp>
      <p:sp>
        <p:nvSpPr>
          <p:cNvPr id="40" name="Right Arrow 170">
            <a:extLst>
              <a:ext uri="{FF2B5EF4-FFF2-40B4-BE49-F238E27FC236}">
                <a16:creationId xmlns:a16="http://schemas.microsoft.com/office/drawing/2014/main" id="{3487A4D9-FFE1-CDED-6BBA-28CF9EBFB068}"/>
              </a:ext>
            </a:extLst>
          </p:cNvPr>
          <p:cNvSpPr>
            <a:spLocks/>
          </p:cNvSpPr>
          <p:nvPr/>
        </p:nvSpPr>
        <p:spPr>
          <a:xfrm>
            <a:off x="381599" y="3229138"/>
            <a:ext cx="11428800" cy="75902"/>
          </a:xfrm>
          <a:prstGeom prst="roundRect">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1" name="TextBox 40">
            <a:extLst>
              <a:ext uri="{FF2B5EF4-FFF2-40B4-BE49-F238E27FC236}">
                <a16:creationId xmlns:a16="http://schemas.microsoft.com/office/drawing/2014/main" id="{23C9D178-0FD2-D2B7-CE6D-F792AE4CD82E}"/>
              </a:ext>
            </a:extLst>
          </p:cNvPr>
          <p:cNvSpPr txBox="1">
            <a:spLocks/>
          </p:cNvSpPr>
          <p:nvPr/>
        </p:nvSpPr>
        <p:spPr>
          <a:xfrm>
            <a:off x="381600" y="1277448"/>
            <a:ext cx="11428800" cy="514738"/>
          </a:xfrm>
          <a:prstGeom prst="rect">
            <a:avLst/>
          </a:prstGeom>
          <a:solidFill>
            <a:schemeClr val="accent4"/>
          </a:solidFill>
          <a:ln>
            <a:solidFill>
              <a:schemeClr val="accent3"/>
            </a:solidFill>
          </a:ln>
        </p:spPr>
        <p:txBody>
          <a:bodyPr wrap="square" lIns="72000" tIns="72000" rIns="72000" bIns="72000" rtlCol="0">
            <a:spAutoFit/>
          </a:bodyPr>
          <a:lstStyle/>
          <a:p>
            <a:pPr>
              <a:spcAft>
                <a:spcPts val="600"/>
              </a:spcAft>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e Aurora European Battery Market Attractiveness Report (</a:t>
            </a:r>
            <a:r>
              <a:rPr lang="en-GB" sz="1200"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atMAR</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irst published in July 2022, assesses which markets in Europe are most attractive to invest in for Battery Energy Storage Systems (BESS). Since the 2</a:t>
            </a:r>
            <a:r>
              <a:rPr lang="en-GB" sz="1200" baseline="300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d</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ublication, several changes have occurred in the BESS market in Europe, which we examine in this 3</a:t>
            </a:r>
            <a:r>
              <a:rPr lang="en-GB" sz="1200" baseline="300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d</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dition.</a:t>
            </a:r>
          </a:p>
        </p:txBody>
      </p:sp>
      <p:sp>
        <p:nvSpPr>
          <p:cNvPr id="42" name="Rectangle 41">
            <a:extLst>
              <a:ext uri="{FF2B5EF4-FFF2-40B4-BE49-F238E27FC236}">
                <a16:creationId xmlns:a16="http://schemas.microsoft.com/office/drawing/2014/main" id="{667253CE-A5B7-30BE-3F61-1705BCF3632B}"/>
              </a:ext>
            </a:extLst>
          </p:cNvPr>
          <p:cNvSpPr>
            <a:spLocks/>
          </p:cNvSpPr>
          <p:nvPr/>
        </p:nvSpPr>
        <p:spPr>
          <a:xfrm>
            <a:off x="6424799" y="3892336"/>
            <a:ext cx="4307461" cy="2385268"/>
          </a:xfrm>
          <a:prstGeom prst="rect">
            <a:avLst/>
          </a:prstGeom>
          <a:noFill/>
          <a:ln w="6667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marL="182880" indent="-182880">
              <a:spcBef>
                <a:spcPts val="600"/>
              </a:spcBef>
              <a:buFont typeface="Wingdings" panose="05000000000000000000" pitchFamily="2" charset="2"/>
              <a:buChar char="§"/>
            </a:pPr>
            <a:r>
              <a:rPr lang="en-GB" sz="1200">
                <a:latin typeface="+mj-lt"/>
                <a:ea typeface="Lato" panose="020F0502020204030203" pitchFamily="34" charset="0"/>
                <a:cs typeface="Lato" panose="020F0502020204030203" pitchFamily="34" charset="0"/>
                <a:sym typeface="Lato" panose="020F0502020204030203" pitchFamily="34" charset="0"/>
              </a:rPr>
              <a:t>New metric within the policy section, reflecting the policy competition risk for batteries from aggregation of DER, electrolysers and EVs</a:t>
            </a:r>
          </a:p>
          <a:p>
            <a:pPr marL="182880" indent="-182880">
              <a:spcBef>
                <a:spcPts val="600"/>
              </a:spcBef>
              <a:buFont typeface="Wingdings" panose="05000000000000000000" pitchFamily="2" charset="2"/>
              <a:buChar char="§"/>
            </a:pPr>
            <a:r>
              <a:rPr lang="en-GB" sz="1200">
                <a:latin typeface="+mj-lt"/>
                <a:ea typeface="Lato" panose="020F0502020204030203" pitchFamily="34" charset="0"/>
                <a:cs typeface="Lato" panose="020F0502020204030203" pitchFamily="34" charset="0"/>
                <a:sym typeface="Lato" panose="020F0502020204030203" pitchFamily="34" charset="0"/>
              </a:rPr>
              <a:t>Redesign of grid integration metric, covering ease of grid access and favourability of grid fees</a:t>
            </a:r>
          </a:p>
          <a:p>
            <a:pPr marL="182880" indent="-182880">
              <a:spcBef>
                <a:spcPts val="600"/>
              </a:spcBef>
              <a:buFont typeface="Wingdings" panose="05000000000000000000" pitchFamily="2" charset="2"/>
              <a:buChar char="§"/>
            </a:pPr>
            <a:r>
              <a:rPr lang="en-GB" sz="1200">
                <a:latin typeface="+mj-lt"/>
                <a:ea typeface="Lato" panose="020F0502020204030203" pitchFamily="34" charset="0"/>
                <a:cs typeface="Lato" panose="020F0502020204030203" pitchFamily="34" charset="0"/>
                <a:sym typeface="Lato" panose="020F0502020204030203" pitchFamily="34" charset="0"/>
              </a:rPr>
              <a:t>Redesign of co-location metric covering regulatory and market access attractiveness</a:t>
            </a:r>
          </a:p>
          <a:p>
            <a:pPr marL="182880" indent="-182880">
              <a:spcBef>
                <a:spcPts val="600"/>
              </a:spcBef>
              <a:buFont typeface="Wingdings" panose="05000000000000000000" pitchFamily="2" charset="2"/>
              <a:buChar char="§"/>
            </a:pPr>
            <a:r>
              <a:rPr lang="en-GB" sz="1200">
                <a:latin typeface="+mj-lt"/>
                <a:ea typeface="Lato" panose="020F0502020204030203" pitchFamily="34" charset="0"/>
                <a:cs typeface="Lato" panose="020F0502020204030203" pitchFamily="34" charset="0"/>
                <a:sym typeface="Lato" panose="020F0502020204030203" pitchFamily="34" charset="0"/>
              </a:rPr>
              <a:t>Redesign of project economics metric to reflect business cases for 1, 2, 4 hr batteries and co-location</a:t>
            </a:r>
          </a:p>
          <a:p>
            <a:pPr marL="182880" indent="-182880">
              <a:spcBef>
                <a:spcPts val="600"/>
              </a:spcBef>
              <a:buFont typeface="Wingdings" panose="05000000000000000000" pitchFamily="2" charset="2"/>
              <a:buChar char="§"/>
            </a:pPr>
            <a:r>
              <a:rPr lang="en-GB" sz="1200">
                <a:latin typeface="+mj-lt"/>
                <a:ea typeface="Lato" panose="020F0502020204030203" pitchFamily="34" charset="0"/>
                <a:cs typeface="Lato" panose="020F0502020204030203" pitchFamily="34" charset="0"/>
                <a:sym typeface="Lato" panose="020F0502020204030203" pitchFamily="34" charset="0"/>
              </a:rPr>
              <a:t>New market ranking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spcBef>
                <a:spcPts val="600"/>
              </a:spcBef>
            </a:pPr>
            <a:endParaRPr lang="en-GB" sz="1000"/>
          </a:p>
        </p:txBody>
      </p:sp>
      <p:grpSp>
        <p:nvGrpSpPr>
          <p:cNvPr id="56" name="Group 55">
            <a:extLst>
              <a:ext uri="{FF2B5EF4-FFF2-40B4-BE49-F238E27FC236}">
                <a16:creationId xmlns:a16="http://schemas.microsoft.com/office/drawing/2014/main" id="{885732FC-567C-A09E-84D5-AF0B4DA3ABC3}"/>
              </a:ext>
            </a:extLst>
          </p:cNvPr>
          <p:cNvGrpSpPr/>
          <p:nvPr/>
        </p:nvGrpSpPr>
        <p:grpSpPr>
          <a:xfrm>
            <a:off x="2715855" y="2353822"/>
            <a:ext cx="2067320" cy="1305825"/>
            <a:chOff x="6622586" y="2297569"/>
            <a:chExt cx="2067320" cy="1305825"/>
          </a:xfrm>
        </p:grpSpPr>
        <p:sp>
          <p:nvSpPr>
            <p:cNvPr id="58" name="Oval 57">
              <a:extLst>
                <a:ext uri="{FF2B5EF4-FFF2-40B4-BE49-F238E27FC236}">
                  <a16:creationId xmlns:a16="http://schemas.microsoft.com/office/drawing/2014/main" id="{06CEEEE1-8E55-198D-BD61-7D258B91BA46}"/>
                </a:ext>
              </a:extLst>
            </p:cNvPr>
            <p:cNvSpPr/>
            <p:nvPr/>
          </p:nvSpPr>
          <p:spPr>
            <a:xfrm>
              <a:off x="7207569" y="2709484"/>
              <a:ext cx="893910" cy="893910"/>
            </a:xfrm>
            <a:prstGeom prst="ellipse">
              <a:avLst/>
            </a:prstGeom>
            <a:solidFill>
              <a:schemeClr val="bg1"/>
            </a:solidFill>
            <a:ln w="952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lvl="0" algn="ctr"/>
              <a:endParaRPr lang="en-GB" sz="1400" b="1">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9" name="Rectangle 58">
              <a:extLst>
                <a:ext uri="{FF2B5EF4-FFF2-40B4-BE49-F238E27FC236}">
                  <a16:creationId xmlns:a16="http://schemas.microsoft.com/office/drawing/2014/main" id="{7F6AD49E-BA52-EBEA-36E7-54FE175230DE}"/>
                </a:ext>
              </a:extLst>
            </p:cNvPr>
            <p:cNvSpPr>
              <a:spLocks/>
            </p:cNvSpPr>
            <p:nvPr/>
          </p:nvSpPr>
          <p:spPr>
            <a:xfrm>
              <a:off x="6622586" y="2297569"/>
              <a:ext cx="2067320" cy="369332"/>
            </a:xfrm>
            <a:prstGeom prst="rect">
              <a:avLst/>
            </a:prstGeom>
            <a:solidFill>
              <a:schemeClr val="bg1"/>
            </a:solidFill>
            <a:ln w="6667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lvl="0" algn="ct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freshed analysis and policy updates</a:t>
              </a:r>
            </a:p>
          </p:txBody>
        </p:sp>
        <p:sp>
          <p:nvSpPr>
            <p:cNvPr id="60" name="Oval 48">
              <a:extLst>
                <a:ext uri="{FF2B5EF4-FFF2-40B4-BE49-F238E27FC236}">
                  <a16:creationId xmlns:a16="http://schemas.microsoft.com/office/drawing/2014/main" id="{F46C17F4-7B4F-13DD-D328-867CA4615974}"/>
                </a:ext>
              </a:extLst>
            </p:cNvPr>
            <p:cNvSpPr/>
            <p:nvPr/>
          </p:nvSpPr>
          <p:spPr>
            <a:xfrm>
              <a:off x="7015815" y="3041364"/>
              <a:ext cx="224219" cy="224219"/>
            </a:xfrm>
            <a:prstGeom prst="ellipse">
              <a:avLst/>
            </a:prstGeom>
            <a:solidFill>
              <a:schemeClr val="accent2"/>
            </a:solidFill>
            <a:ln w="9525">
              <a:solidFill>
                <a:schemeClr val="lt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grpSp>
      <p:grpSp>
        <p:nvGrpSpPr>
          <p:cNvPr id="61" name="Group 60">
            <a:extLst>
              <a:ext uri="{FF2B5EF4-FFF2-40B4-BE49-F238E27FC236}">
                <a16:creationId xmlns:a16="http://schemas.microsoft.com/office/drawing/2014/main" id="{C5528E0C-D3A2-838D-0917-FB85F1AF8D1C}"/>
              </a:ext>
            </a:extLst>
          </p:cNvPr>
          <p:cNvGrpSpPr/>
          <p:nvPr/>
        </p:nvGrpSpPr>
        <p:grpSpPr>
          <a:xfrm>
            <a:off x="7643770" y="2363058"/>
            <a:ext cx="2067320" cy="1296589"/>
            <a:chOff x="9600466" y="2306805"/>
            <a:chExt cx="2067320" cy="1296589"/>
          </a:xfrm>
        </p:grpSpPr>
        <p:grpSp>
          <p:nvGrpSpPr>
            <p:cNvPr id="62" name="Group 61">
              <a:extLst>
                <a:ext uri="{FF2B5EF4-FFF2-40B4-BE49-F238E27FC236}">
                  <a16:creationId xmlns:a16="http://schemas.microsoft.com/office/drawing/2014/main" id="{96A0C2FC-541B-FA3E-6853-D5FA6610EE02}"/>
                </a:ext>
              </a:extLst>
            </p:cNvPr>
            <p:cNvGrpSpPr/>
            <p:nvPr/>
          </p:nvGrpSpPr>
          <p:grpSpPr>
            <a:xfrm>
              <a:off x="9600466" y="2306805"/>
              <a:ext cx="2067320" cy="1296589"/>
              <a:chOff x="9743080" y="2306805"/>
              <a:chExt cx="2067320" cy="1296589"/>
            </a:xfrm>
          </p:grpSpPr>
          <p:sp>
            <p:nvSpPr>
              <p:cNvPr id="64" name="Oval 63">
                <a:extLst>
                  <a:ext uri="{FF2B5EF4-FFF2-40B4-BE49-F238E27FC236}">
                    <a16:creationId xmlns:a16="http://schemas.microsoft.com/office/drawing/2014/main" id="{E51011DE-442B-D4DF-5FEF-4E989ECC2773}"/>
                  </a:ext>
                </a:extLst>
              </p:cNvPr>
              <p:cNvSpPr/>
              <p:nvPr/>
            </p:nvSpPr>
            <p:spPr>
              <a:xfrm>
                <a:off x="10324619" y="2709484"/>
                <a:ext cx="893908" cy="893910"/>
              </a:xfrm>
              <a:prstGeom prst="ellipse">
                <a:avLst/>
              </a:prstGeom>
              <a:solidFill>
                <a:schemeClr val="bg1"/>
              </a:solidFill>
              <a:ln w="952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lvl="0" algn="ctr"/>
                <a:endParaRPr lang="en-GB" sz="1400" b="1">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5" name="Rectangle 64">
                <a:extLst>
                  <a:ext uri="{FF2B5EF4-FFF2-40B4-BE49-F238E27FC236}">
                    <a16:creationId xmlns:a16="http://schemas.microsoft.com/office/drawing/2014/main" id="{2C20CC81-CAF4-4C01-32AF-21913EF7A9AF}"/>
                  </a:ext>
                </a:extLst>
              </p:cNvPr>
              <p:cNvSpPr>
                <a:spLocks/>
              </p:cNvSpPr>
              <p:nvPr/>
            </p:nvSpPr>
            <p:spPr>
              <a:xfrm>
                <a:off x="9743080" y="2306805"/>
                <a:ext cx="2067320" cy="369332"/>
              </a:xfrm>
              <a:prstGeom prst="rect">
                <a:avLst/>
              </a:prstGeom>
              <a:solidFill>
                <a:schemeClr val="bg1"/>
              </a:solidFill>
              <a:ln w="6667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lvl="0" algn="ct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roved market attractiveness metrics</a:t>
                </a:r>
              </a:p>
            </p:txBody>
          </p:sp>
          <p:sp>
            <p:nvSpPr>
              <p:cNvPr id="66" name="Oval 14">
                <a:extLst>
                  <a:ext uri="{FF2B5EF4-FFF2-40B4-BE49-F238E27FC236}">
                    <a16:creationId xmlns:a16="http://schemas.microsoft.com/office/drawing/2014/main" id="{7FBFE986-9B7E-812C-7072-485E92131309}"/>
                  </a:ext>
                </a:extLst>
              </p:cNvPr>
              <p:cNvSpPr/>
              <p:nvPr/>
            </p:nvSpPr>
            <p:spPr>
              <a:xfrm>
                <a:off x="10136309" y="3041364"/>
                <a:ext cx="224219" cy="224219"/>
              </a:xfrm>
              <a:prstGeom prst="ellipse">
                <a:avLst/>
              </a:prstGeom>
              <a:solidFill>
                <a:schemeClr val="accent2"/>
              </a:solidFill>
              <a:ln w="9525">
                <a:solidFill>
                  <a:schemeClr val="lt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grpSp>
        <p:pic>
          <p:nvPicPr>
            <p:cNvPr id="63" name="Graphic 62" descr="Shopping basket with solid fill">
              <a:extLst>
                <a:ext uri="{FF2B5EF4-FFF2-40B4-BE49-F238E27FC236}">
                  <a16:creationId xmlns:a16="http://schemas.microsoft.com/office/drawing/2014/main" id="{4FC748DC-867F-4E44-4B73-9F898F42EA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30767" y="2842423"/>
              <a:ext cx="596383" cy="596383"/>
            </a:xfrm>
            <a:prstGeom prst="rect">
              <a:avLst/>
            </a:prstGeom>
          </p:spPr>
        </p:pic>
      </p:grpSp>
      <p:sp>
        <p:nvSpPr>
          <p:cNvPr id="68" name="Rectangle 67">
            <a:extLst>
              <a:ext uri="{FF2B5EF4-FFF2-40B4-BE49-F238E27FC236}">
                <a16:creationId xmlns:a16="http://schemas.microsoft.com/office/drawing/2014/main" id="{59196B9C-DFA6-781C-2544-3B14181B4231}"/>
              </a:ext>
            </a:extLst>
          </p:cNvPr>
          <p:cNvSpPr>
            <a:spLocks/>
          </p:cNvSpPr>
          <p:nvPr/>
        </p:nvSpPr>
        <p:spPr>
          <a:xfrm>
            <a:off x="1514169" y="3892336"/>
            <a:ext cx="4601400" cy="2308324"/>
          </a:xfrm>
          <a:prstGeom prst="rect">
            <a:avLst/>
          </a:prstGeom>
          <a:noFill/>
          <a:ln w="6667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marL="182880" indent="-182880">
              <a:spcBef>
                <a:spcPts val="600"/>
              </a:spcBef>
              <a:buFont typeface="Wingdings" panose="05000000000000000000" pitchFamily="2" charset="2"/>
              <a:buChar char="§"/>
            </a:pPr>
            <a:r>
              <a:rPr lang="en-GB" sz="1200">
                <a:latin typeface="+mj-lt"/>
                <a:ea typeface="Lato"/>
                <a:cs typeface="Lato"/>
              </a:rPr>
              <a:t>Updated BESS cost projections reflecting recent lithium-ion trends</a:t>
            </a:r>
          </a:p>
          <a:p>
            <a:pPr marL="182880" indent="-182880">
              <a:spcBef>
                <a:spcPts val="600"/>
              </a:spcBef>
              <a:buFont typeface="Wingdings" panose="05000000000000000000" pitchFamily="2" charset="2"/>
              <a:buChar char="§"/>
            </a:pPr>
            <a:r>
              <a:rPr lang="en-GB" sz="1200">
                <a:latin typeface="+mj-lt"/>
                <a:ea typeface="Lato" panose="020F0502020204030203" pitchFamily="34" charset="0"/>
                <a:cs typeface="Lato" panose="020F0502020204030203" pitchFamily="34" charset="0"/>
                <a:sym typeface="Lato" panose="020F0502020204030203" pitchFamily="34" charset="0"/>
              </a:rPr>
              <a:t>Refreshed gross margin and IRR analysis based on Aurora’s latest power market forecasts</a:t>
            </a:r>
          </a:p>
          <a:p>
            <a:pPr marL="182880" indent="-182880">
              <a:spcBef>
                <a:spcPts val="600"/>
              </a:spcBef>
              <a:buFont typeface="Wingdings" panose="05000000000000000000" pitchFamily="2" charset="2"/>
              <a:buChar char="§"/>
            </a:pPr>
            <a:r>
              <a:rPr lang="en-GB" sz="1200">
                <a:latin typeface="+mj-lt"/>
                <a:ea typeface="Lato"/>
                <a:cs typeface="Lato"/>
              </a:rPr>
              <a:t>Analysis on policy competition from distributed energy resources (DER), electrolysers and electric vehicles (EVs)</a:t>
            </a:r>
          </a:p>
          <a:p>
            <a:pPr marL="182880" indent="-182880">
              <a:spcBef>
                <a:spcPts val="600"/>
              </a:spcBef>
              <a:buFont typeface="Wingdings" panose="05000000000000000000" pitchFamily="2" charset="2"/>
              <a:buChar char="§"/>
            </a:pPr>
            <a:r>
              <a:rPr lang="en-GB" sz="1200">
                <a:latin typeface="+mj-lt"/>
                <a:ea typeface="Lato" panose="020F0502020204030203" pitchFamily="34" charset="0"/>
                <a:cs typeface="Lato" panose="020F0502020204030203" pitchFamily="34" charset="0"/>
                <a:sym typeface="Lato" panose="020F0502020204030203" pitchFamily="34" charset="0"/>
              </a:rPr>
              <a:t>Analysis of additional investment opportunity from repowering</a:t>
            </a:r>
            <a:endParaRPr lang="en-GB" sz="1200">
              <a:latin typeface="+mj-lt"/>
              <a:ea typeface="Lato"/>
              <a:cs typeface="Lato"/>
            </a:endParaRPr>
          </a:p>
          <a:p>
            <a:pPr marL="182880" indent="-182880" fontAlgn="base">
              <a:spcBef>
                <a:spcPts val="600"/>
              </a:spcBef>
              <a:spcAft>
                <a:spcPct val="0"/>
              </a:spcAft>
              <a:buClr>
                <a:srgbClr val="000000"/>
              </a:buClr>
              <a:buSzPct val="100000"/>
              <a:buFont typeface="Wingdings" panose="05000000000000000000" pitchFamily="2" charset="2"/>
              <a:buChar char="§"/>
            </a:pPr>
            <a:r>
              <a:rPr lang="en-GB" sz="1200">
                <a:latin typeface="+mj-lt"/>
                <a:ea typeface="Lato"/>
                <a:cs typeface="Lato"/>
              </a:rPr>
              <a:t>Market specific updates to policy and regulation impacting BESS</a:t>
            </a:r>
          </a:p>
          <a:p>
            <a:pPr marL="182880" indent="-182880" fontAlgn="base">
              <a:spcBef>
                <a:spcPts val="600"/>
              </a:spcBef>
              <a:spcAft>
                <a:spcPct val="0"/>
              </a:spcAft>
              <a:buClr>
                <a:srgbClr val="000000"/>
              </a:buClr>
              <a:buSzPct val="100000"/>
              <a:buFont typeface="Wingdings" panose="05000000000000000000" pitchFamily="2" charset="2"/>
              <a:buChar char="§"/>
            </a:pPr>
            <a:r>
              <a:rPr lang="en-GB" sz="1200">
                <a:latin typeface="+mj-lt"/>
                <a:ea typeface="Lato"/>
                <a:cs typeface="Lato"/>
              </a:rPr>
              <a:t>Overview of historical and upcoming BESS auctions</a:t>
            </a:r>
          </a:p>
          <a:p>
            <a:pPr marL="182880" indent="-182880" fontAlgn="base">
              <a:spcBef>
                <a:spcPts val="600"/>
              </a:spcBef>
              <a:spcAft>
                <a:spcPct val="0"/>
              </a:spcAft>
              <a:buClr>
                <a:srgbClr val="000000"/>
              </a:buClr>
              <a:buSzPct val="100000"/>
              <a:buFont typeface="Wingdings" panose="05000000000000000000" pitchFamily="2" charset="2"/>
              <a:buChar char="§"/>
            </a:pPr>
            <a:r>
              <a:rPr lang="en-GB" sz="1200">
                <a:latin typeface="+mj-lt"/>
                <a:ea typeface="Lato"/>
                <a:cs typeface="Lato"/>
              </a:rPr>
              <a:t>Overview of key market players, including top developers, battery suppliers, integrators and route-to-market providers</a:t>
            </a:r>
          </a:p>
        </p:txBody>
      </p:sp>
      <p:sp>
        <p:nvSpPr>
          <p:cNvPr id="69" name="TextBox 68">
            <a:extLst>
              <a:ext uri="{FF2B5EF4-FFF2-40B4-BE49-F238E27FC236}">
                <a16:creationId xmlns:a16="http://schemas.microsoft.com/office/drawing/2014/main" id="{58B3BD7A-327F-8412-76B2-84667397AC38}"/>
              </a:ext>
            </a:extLst>
          </p:cNvPr>
          <p:cNvSpPr txBox="1"/>
          <p:nvPr/>
        </p:nvSpPr>
        <p:spPr>
          <a:xfrm>
            <a:off x="381000" y="2000034"/>
            <a:ext cx="2333919" cy="276999"/>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b="1">
                <a:solidFill>
                  <a:schemeClr val="accent1"/>
                </a:solidFill>
              </a:rPr>
              <a:t>What’s new?</a:t>
            </a:r>
          </a:p>
        </p:txBody>
      </p:sp>
      <p:pic>
        <p:nvPicPr>
          <p:cNvPr id="93" name="Picture 92" descr="A close up of a logo&#10;&#10;Description automatically generated">
            <a:extLst>
              <a:ext uri="{FF2B5EF4-FFF2-40B4-BE49-F238E27FC236}">
                <a16:creationId xmlns:a16="http://schemas.microsoft.com/office/drawing/2014/main" id="{4434B875-809D-28D9-8042-D59C007D3591}"/>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3484964" y="3047429"/>
            <a:ext cx="501012" cy="367200"/>
          </a:xfrm>
          <a:prstGeom prst="rect">
            <a:avLst/>
          </a:prstGeom>
        </p:spPr>
      </p:pic>
    </p:spTree>
    <p:extLst>
      <p:ext uri="{BB962C8B-B14F-4D97-AF65-F5344CB8AC3E}">
        <p14:creationId xmlns:p14="http://schemas.microsoft.com/office/powerpoint/2010/main" val="1409371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2179586"/>
            <a:ext cx="6095996" cy="252000"/>
          </a:xfrm>
        </p:spPr>
        <p:txBody>
          <a:bodyPr/>
          <a:lstStyle/>
          <a:p>
            <a:endParaRPr lang="en-GB"/>
          </a:p>
        </p:txBody>
      </p:sp>
      <p:sp>
        <p:nvSpPr>
          <p:cNvPr id="2" name="Text Placeholder 7">
            <a:hlinkClick r:id="rId6" action="ppaction://hlinksldjump"/>
            <a:extLst>
              <a:ext uri="{FF2B5EF4-FFF2-40B4-BE49-F238E27FC236}">
                <a16:creationId xmlns:a16="http://schemas.microsoft.com/office/drawing/2014/main" id="{0870F6CD-AC2F-BD92-C310-275A12D1D256}"/>
              </a:ext>
            </a:extLst>
          </p:cNvPr>
          <p:cNvSpPr txBox="1">
            <a:spLocks/>
          </p:cNvSpPr>
          <p:nvPr/>
        </p:nvSpPr>
        <p:spPr>
          <a:xfrm>
            <a:off x="0" y="2451798"/>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514846"/>
          </a:xfrm>
        </p:spPr>
        <p:txBody>
          <a:bodyPr/>
          <a:lstStyle/>
          <a:p>
            <a:r>
              <a:rPr lang="en-GB" sz="1400" dirty="0">
                <a:hlinkClick r:id="rId7" action="ppaction://hlinksldjump"/>
              </a:rPr>
              <a:t>Executive summary</a:t>
            </a:r>
            <a:endParaRPr lang="en-GB" sz="1400" dirty="0"/>
          </a:p>
          <a:p>
            <a:r>
              <a:rPr lang="en-GB" sz="1400" dirty="0">
                <a:hlinkClick r:id="" action="ppaction://noaction"/>
              </a:rPr>
              <a:t>Introduction to battery storage</a:t>
            </a:r>
            <a:r>
              <a:rPr lang="en-GB" sz="1400" dirty="0"/>
              <a:t>	</a:t>
            </a:r>
          </a:p>
          <a:p>
            <a:r>
              <a:rPr lang="en-GB" sz="1400" dirty="0">
                <a:hlinkClick r:id="rId8" action="ppaction://hlinksldjump"/>
              </a:rPr>
              <a:t>Market size and outlook </a:t>
            </a:r>
            <a:endParaRPr lang="en-GB" sz="1400" dirty="0"/>
          </a:p>
          <a:p>
            <a:pPr lvl="1"/>
            <a:r>
              <a:rPr lang="en-GB" sz="1400" dirty="0"/>
              <a:t>Competitive environment</a:t>
            </a:r>
          </a:p>
          <a:p>
            <a:pPr lvl="1"/>
            <a:r>
              <a:rPr lang="en-GB" sz="1400" dirty="0"/>
              <a:t>Long-term market outlook</a:t>
            </a:r>
          </a:p>
          <a:p>
            <a:r>
              <a:rPr lang="en-GB" sz="1400" dirty="0">
                <a:hlinkClick r:id="" action="ppaction://noaction"/>
              </a:rPr>
              <a:t>Policy and regulatory environment</a:t>
            </a:r>
            <a:endParaRPr lang="en-GB" sz="1400" dirty="0"/>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3" name="Group 2">
            <a:extLst>
              <a:ext uri="{FF2B5EF4-FFF2-40B4-BE49-F238E27FC236}">
                <a16:creationId xmlns:a16="http://schemas.microsoft.com/office/drawing/2014/main" id="{6C602026-23C4-4EB9-1AF0-A42D46D51643}"/>
              </a:ext>
            </a:extLst>
          </p:cNvPr>
          <p:cNvGrpSpPr/>
          <p:nvPr/>
        </p:nvGrpSpPr>
        <p:grpSpPr>
          <a:xfrm>
            <a:off x="0" y="5631542"/>
            <a:ext cx="12192000" cy="841829"/>
            <a:chOff x="0" y="5631542"/>
            <a:chExt cx="12192000" cy="841829"/>
          </a:xfrm>
        </p:grpSpPr>
        <p:sp>
          <p:nvSpPr>
            <p:cNvPr id="6" name="Rectangle 5">
              <a:extLst>
                <a:ext uri="{FF2B5EF4-FFF2-40B4-BE49-F238E27FC236}">
                  <a16:creationId xmlns:a16="http://schemas.microsoft.com/office/drawing/2014/main" id="{7F19EAB5-1BBC-AB81-01B8-D79499067FE9}"/>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7" name="TextBox 6">
              <a:extLst>
                <a:ext uri="{FF2B5EF4-FFF2-40B4-BE49-F238E27FC236}">
                  <a16:creationId xmlns:a16="http://schemas.microsoft.com/office/drawing/2014/main" id="{1FC0FAC3-D454-604B-948B-06D3765F62A3}"/>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29641260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388127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6" imgW="383" imgH="384" progId="TCLayout.ActiveDocument.1">
                  <p:embed/>
                </p:oleObj>
              </mc:Choice>
              <mc:Fallback>
                <p:oleObj name="think-cell Slide" r:id="rId146" imgW="383" imgH="384" progId="TCLayout.ActiveDocument.1">
                  <p:embed/>
                  <p:pic>
                    <p:nvPicPr>
                      <p:cNvPr id="14" name="Object 13" hidden="1"/>
                      <p:cNvPicPr/>
                      <p:nvPr/>
                    </p:nvPicPr>
                    <p:blipFill>
                      <a:blip r:embed="rId147"/>
                      <a:stretch>
                        <a:fillRect/>
                      </a:stretch>
                    </p:blipFill>
                    <p:spPr>
                      <a:xfrm>
                        <a:off x="1588" y="1588"/>
                        <a:ext cx="1588" cy="1588"/>
                      </a:xfrm>
                      <a:prstGeom prst="rect">
                        <a:avLst/>
                      </a:prstGeom>
                    </p:spPr>
                  </p:pic>
                </p:oleObj>
              </mc:Fallback>
            </mc:AlternateContent>
          </a:graphicData>
        </a:graphic>
      </p:graphicFrame>
      <p:sp>
        <p:nvSpPr>
          <p:cNvPr id="9" name="Text Placeholder 8"/>
          <p:cNvSpPr>
            <a:spLocks noGrp="1"/>
          </p:cNvSpPr>
          <p:nvPr>
            <p:ph type="body" sz="quarter" idx="22"/>
          </p:nvPr>
        </p:nvSpPr>
        <p:spPr>
          <a:xfrm>
            <a:off x="381001" y="6715169"/>
            <a:ext cx="1542089" cy="110800"/>
          </a:xfrm>
        </p:spPr>
        <p:txBody>
          <a:bodyPr/>
          <a:lstStyle/>
          <a:p>
            <a:r>
              <a:rPr lang="en-GB"/>
              <a:t>Sources: Aurora Energy Research,</a:t>
            </a:r>
          </a:p>
        </p:txBody>
      </p:sp>
      <p:sp>
        <p:nvSpPr>
          <p:cNvPr id="7" name="Title 6"/>
          <p:cNvSpPr>
            <a:spLocks noGrp="1"/>
          </p:cNvSpPr>
          <p:nvPr>
            <p:ph type="title"/>
          </p:nvPr>
        </p:nvSpPr>
        <p:spPr>
          <a:xfrm>
            <a:off x="381599" y="411856"/>
            <a:ext cx="8964014" cy="609398"/>
          </a:xfrm>
        </p:spPr>
        <p:txBody>
          <a:bodyPr vert="horz"/>
          <a:lstStyle/>
          <a:p>
            <a:r>
              <a:rPr lang="en-GB"/>
              <a:t>Total battery storage in Europe reached over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a:t>GW in 2023; the developer and investor landscape for assets is fragmented</a:t>
            </a:r>
          </a:p>
        </p:txBody>
      </p:sp>
      <p:sp>
        <p:nvSpPr>
          <p:cNvPr id="779" name="Text Placeholder 778">
            <a:extLst>
              <a:ext uri="{FF2B5EF4-FFF2-40B4-BE49-F238E27FC236}">
                <a16:creationId xmlns:a16="http://schemas.microsoft.com/office/drawing/2014/main" id="{CD25C089-20EC-7158-7491-2BE0206FC706}"/>
              </a:ext>
            </a:extLst>
          </p:cNvPr>
          <p:cNvSpPr>
            <a:spLocks noGrp="1"/>
          </p:cNvSpPr>
          <p:nvPr>
            <p:ph type="body" sz="quarter" idx="32"/>
          </p:nvPr>
        </p:nvSpPr>
        <p:spPr>
          <a:xfrm>
            <a:off x="381600" y="6474841"/>
            <a:ext cx="11428800" cy="110800"/>
          </a:xfrm>
        </p:spPr>
        <p:txBody>
          <a:bodyPr/>
          <a:lstStyle/>
          <a:p>
            <a:endParaRPr lang="en-GB"/>
          </a:p>
        </p:txBody>
      </p:sp>
      <p:sp>
        <p:nvSpPr>
          <p:cNvPr id="778" name="Text Placeholder 777">
            <a:extLst>
              <a:ext uri="{FF2B5EF4-FFF2-40B4-BE49-F238E27FC236}">
                <a16:creationId xmlns:a16="http://schemas.microsoft.com/office/drawing/2014/main" id="{BE48F92F-70E8-AA84-6F2A-FB6CE21B9571}"/>
              </a:ext>
            </a:extLst>
          </p:cNvPr>
          <p:cNvSpPr>
            <a:spLocks noGrp="1"/>
          </p:cNvSpPr>
          <p:nvPr>
            <p:ph type="body" sz="quarter" idx="31"/>
          </p:nvPr>
        </p:nvSpPr>
        <p:spPr>
          <a:xfrm>
            <a:off x="381599" y="79401"/>
            <a:ext cx="4017125" cy="184666"/>
          </a:xfrm>
        </p:spPr>
        <p:txBody>
          <a:bodyPr/>
          <a:lstStyle/>
          <a:p>
            <a:pPr marL="444500" indent="-444500"/>
            <a:r>
              <a:rPr lang="en-GB"/>
              <a:t>	Market size and outlook – Competitive environment</a:t>
            </a:r>
          </a:p>
        </p:txBody>
      </p:sp>
      <p:sp>
        <p:nvSpPr>
          <p:cNvPr id="200" name="Oval 199">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800" name="Text Placeholder 10">
            <a:extLst>
              <a:ext uri="{FF2B5EF4-FFF2-40B4-BE49-F238E27FC236}">
                <a16:creationId xmlns:a16="http://schemas.microsoft.com/office/drawing/2014/main" id="{90F078F7-C40E-8425-94AE-F4A36F1C1974}"/>
              </a:ext>
            </a:extLst>
          </p:cNvPr>
          <p:cNvSpPr txBox="1">
            <a:spLocks/>
          </p:cNvSpPr>
          <p:nvPr/>
        </p:nvSpPr>
        <p:spPr>
          <a:xfrm>
            <a:off x="406400" y="1299669"/>
            <a:ext cx="8600470"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Battery capacity by leading energy storage developers/investors in Europe</a:t>
            </a:r>
            <a:r>
              <a:rPr lang="en-GB" baseline="30000"/>
              <a:t>1</a:t>
            </a:r>
            <a:br>
              <a:rPr lang="en-GB"/>
            </a:br>
            <a:r>
              <a:rPr lang="en-GB" b="0">
                <a:solidFill>
                  <a:schemeClr val="accent5"/>
                </a:solidFill>
              </a:rPr>
              <a:t>MW</a:t>
            </a:r>
            <a:endParaRPr lang="en-GB" b="0"/>
          </a:p>
        </p:txBody>
      </p:sp>
      <p:cxnSp>
        <p:nvCxnSpPr>
          <p:cNvPr id="35" name="Straight Connector 34">
            <a:extLst>
              <a:ext uri="{FF2B5EF4-FFF2-40B4-BE49-F238E27FC236}">
                <a16:creationId xmlns:a16="http://schemas.microsoft.com/office/drawing/2014/main" id="{B4E17F3D-63A2-1DE8-610F-34D519EF2206}"/>
              </a:ext>
            </a:extLst>
          </p:cNvPr>
          <p:cNvCxnSpPr/>
          <p:nvPr>
            <p:custDataLst>
              <p:tags r:id="rId2"/>
            </p:custDataLst>
          </p:nvPr>
        </p:nvCxnSpPr>
        <p:spPr bwMode="gray">
          <a:xfrm>
            <a:off x="1989139" y="4997450"/>
            <a:ext cx="982186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2" name="Straight Connector 1231">
            <a:extLst>
              <a:ext uri="{FF2B5EF4-FFF2-40B4-BE49-F238E27FC236}">
                <a16:creationId xmlns:a16="http://schemas.microsoft.com/office/drawing/2014/main" id="{15392FEF-20D4-9D62-188A-6B4AFE6AB4BC}"/>
              </a:ext>
            </a:extLst>
          </p:cNvPr>
          <p:cNvCxnSpPr/>
          <p:nvPr>
            <p:custDataLst>
              <p:tags r:id="rId3"/>
            </p:custDataLst>
          </p:nvPr>
        </p:nvCxnSpPr>
        <p:spPr bwMode="gray">
          <a:xfrm>
            <a:off x="1989139" y="4503738"/>
            <a:ext cx="982186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EFF7E5E2-F1A4-8228-2B0A-1D1D3F4AB9AA}"/>
              </a:ext>
            </a:extLst>
          </p:cNvPr>
          <p:cNvCxnSpPr/>
          <p:nvPr>
            <p:custDataLst>
              <p:tags r:id="rId4"/>
            </p:custDataLst>
          </p:nvPr>
        </p:nvCxnSpPr>
        <p:spPr bwMode="gray">
          <a:xfrm>
            <a:off x="1989139" y="4011613"/>
            <a:ext cx="982186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7" name="Straight Connector 1236">
            <a:extLst>
              <a:ext uri="{FF2B5EF4-FFF2-40B4-BE49-F238E27FC236}">
                <a16:creationId xmlns:a16="http://schemas.microsoft.com/office/drawing/2014/main" id="{076FB81D-F73E-A68D-1254-C5652EAF0C8F}"/>
              </a:ext>
            </a:extLst>
          </p:cNvPr>
          <p:cNvCxnSpPr/>
          <p:nvPr>
            <p:custDataLst>
              <p:tags r:id="rId5"/>
            </p:custDataLst>
          </p:nvPr>
        </p:nvCxnSpPr>
        <p:spPr bwMode="gray">
          <a:xfrm>
            <a:off x="1989139" y="3517900"/>
            <a:ext cx="982186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775DB7B1-B1CC-4A53-37ED-1170B31B693F}"/>
              </a:ext>
            </a:extLst>
          </p:cNvPr>
          <p:cNvCxnSpPr/>
          <p:nvPr>
            <p:custDataLst>
              <p:tags r:id="rId6"/>
            </p:custDataLst>
          </p:nvPr>
        </p:nvCxnSpPr>
        <p:spPr bwMode="gray">
          <a:xfrm>
            <a:off x="1989139" y="3025775"/>
            <a:ext cx="982186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2" name="Straight Connector 1241">
            <a:extLst>
              <a:ext uri="{FF2B5EF4-FFF2-40B4-BE49-F238E27FC236}">
                <a16:creationId xmlns:a16="http://schemas.microsoft.com/office/drawing/2014/main" id="{0CFE1475-8785-F3E0-21BD-6637E1961EAC}"/>
              </a:ext>
            </a:extLst>
          </p:cNvPr>
          <p:cNvCxnSpPr/>
          <p:nvPr>
            <p:custDataLst>
              <p:tags r:id="rId7"/>
            </p:custDataLst>
          </p:nvPr>
        </p:nvCxnSpPr>
        <p:spPr bwMode="gray">
          <a:xfrm>
            <a:off x="1989139" y="2532063"/>
            <a:ext cx="982186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A01DCAE5-1AF7-E44E-20AD-965A95C2AB5D}"/>
              </a:ext>
            </a:extLst>
          </p:cNvPr>
          <p:cNvCxnSpPr/>
          <p:nvPr>
            <p:custDataLst>
              <p:tags r:id="rId8"/>
            </p:custDataLst>
          </p:nvPr>
        </p:nvCxnSpPr>
        <p:spPr bwMode="gray">
          <a:xfrm>
            <a:off x="1989139" y="1809750"/>
            <a:ext cx="9821863"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50" name="Chart 249">
            <a:extLst>
              <a:ext uri="{FF2B5EF4-FFF2-40B4-BE49-F238E27FC236}">
                <a16:creationId xmlns:a16="http://schemas.microsoft.com/office/drawing/2014/main" id="{76EA40ED-14C6-6954-1A8B-78F53541F648}"/>
              </a:ext>
            </a:extLst>
          </p:cNvPr>
          <p:cNvGraphicFramePr/>
          <p:nvPr>
            <p:custDataLst>
              <p:tags r:id="rId9"/>
            </p:custDataLst>
            <p:extLst>
              <p:ext uri="{D42A27DB-BD31-4B8C-83A1-F6EECF244321}">
                <p14:modId xmlns:p14="http://schemas.microsoft.com/office/powerpoint/2010/main" val="1738751799"/>
              </p:ext>
            </p:extLst>
          </p:nvPr>
        </p:nvGraphicFramePr>
        <p:xfrm>
          <a:off x="1906588" y="1727200"/>
          <a:ext cx="9986962" cy="3844925"/>
        </p:xfrm>
        <a:graphic>
          <a:graphicData uri="http://schemas.openxmlformats.org/drawingml/2006/chart">
            <c:chart xmlns:c="http://schemas.openxmlformats.org/drawingml/2006/chart" xmlns:r="http://schemas.openxmlformats.org/officeDocument/2006/relationships" r:id="rId148"/>
          </a:graphicData>
        </a:graphic>
      </p:graphicFrame>
      <p:cxnSp>
        <p:nvCxnSpPr>
          <p:cNvPr id="951" name="Straight Connector 950">
            <a:extLst>
              <a:ext uri="{FF2B5EF4-FFF2-40B4-BE49-F238E27FC236}">
                <a16:creationId xmlns:a16="http://schemas.microsoft.com/office/drawing/2014/main" id="{23D3F770-C199-6A5F-1CE9-E14623922535}"/>
              </a:ext>
            </a:extLst>
          </p:cNvPr>
          <p:cNvCxnSpPr/>
          <p:nvPr>
            <p:custDataLst>
              <p:tags r:id="rId10"/>
            </p:custDataLst>
          </p:nvPr>
        </p:nvCxnSpPr>
        <p:spPr bwMode="white">
          <a:xfrm flipH="1">
            <a:off x="1938337" y="5489575"/>
            <a:ext cx="50800"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5167D5B6-BA7E-E6B0-6CD4-5FD956B8D955}"/>
              </a:ext>
            </a:extLst>
          </p:cNvPr>
          <p:cNvCxnSpPr/>
          <p:nvPr>
            <p:custDataLst>
              <p:tags r:id="rId11"/>
            </p:custDataLst>
          </p:nvPr>
        </p:nvCxnSpPr>
        <p:spPr bwMode="white">
          <a:xfrm flipH="1">
            <a:off x="1938337" y="4997450"/>
            <a:ext cx="50800"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4" name="Straight Connector 973">
            <a:extLst>
              <a:ext uri="{FF2B5EF4-FFF2-40B4-BE49-F238E27FC236}">
                <a16:creationId xmlns:a16="http://schemas.microsoft.com/office/drawing/2014/main" id="{5416B7F7-6B80-9D66-0B86-B26D3DF3CE81}"/>
              </a:ext>
            </a:extLst>
          </p:cNvPr>
          <p:cNvCxnSpPr/>
          <p:nvPr>
            <p:custDataLst>
              <p:tags r:id="rId12"/>
            </p:custDataLst>
          </p:nvPr>
        </p:nvCxnSpPr>
        <p:spPr bwMode="white">
          <a:xfrm flipH="1">
            <a:off x="1938337" y="4503738"/>
            <a:ext cx="50800"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478446ED-AF01-4D95-4192-C105B1E22D0C}"/>
              </a:ext>
            </a:extLst>
          </p:cNvPr>
          <p:cNvCxnSpPr/>
          <p:nvPr>
            <p:custDataLst>
              <p:tags r:id="rId13"/>
            </p:custDataLst>
          </p:nvPr>
        </p:nvCxnSpPr>
        <p:spPr bwMode="white">
          <a:xfrm flipH="1">
            <a:off x="1938337" y="4011613"/>
            <a:ext cx="50800"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7" name="Straight Connector 1166">
            <a:extLst>
              <a:ext uri="{FF2B5EF4-FFF2-40B4-BE49-F238E27FC236}">
                <a16:creationId xmlns:a16="http://schemas.microsoft.com/office/drawing/2014/main" id="{D65492CB-3F2E-1A33-2F53-63F83825D545}"/>
              </a:ext>
            </a:extLst>
          </p:cNvPr>
          <p:cNvCxnSpPr/>
          <p:nvPr>
            <p:custDataLst>
              <p:tags r:id="rId14"/>
            </p:custDataLst>
          </p:nvPr>
        </p:nvCxnSpPr>
        <p:spPr bwMode="white">
          <a:xfrm flipH="1">
            <a:off x="1938337" y="3517900"/>
            <a:ext cx="50800"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EC6A8F5-0072-FA6F-05FF-DF7311985B22}"/>
              </a:ext>
            </a:extLst>
          </p:cNvPr>
          <p:cNvCxnSpPr/>
          <p:nvPr>
            <p:custDataLst>
              <p:tags r:id="rId15"/>
            </p:custDataLst>
          </p:nvPr>
        </p:nvCxnSpPr>
        <p:spPr bwMode="white">
          <a:xfrm flipH="1">
            <a:off x="1938337" y="3025775"/>
            <a:ext cx="50800"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6" name="Straight Connector 745">
            <a:extLst>
              <a:ext uri="{FF2B5EF4-FFF2-40B4-BE49-F238E27FC236}">
                <a16:creationId xmlns:a16="http://schemas.microsoft.com/office/drawing/2014/main" id="{1D0F5867-D520-C9EE-D65D-0ED3C18365E9}"/>
              </a:ext>
            </a:extLst>
          </p:cNvPr>
          <p:cNvCxnSpPr/>
          <p:nvPr>
            <p:custDataLst>
              <p:tags r:id="rId16"/>
            </p:custDataLst>
          </p:nvPr>
        </p:nvCxnSpPr>
        <p:spPr bwMode="white">
          <a:xfrm flipH="1">
            <a:off x="1938337" y="2532063"/>
            <a:ext cx="50800"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1231E566-B787-5074-4037-5729F135D9E3}"/>
              </a:ext>
            </a:extLst>
          </p:cNvPr>
          <p:cNvCxnSpPr/>
          <p:nvPr>
            <p:custDataLst>
              <p:tags r:id="rId17"/>
            </p:custDataLst>
          </p:nvPr>
        </p:nvCxnSpPr>
        <p:spPr bwMode="white">
          <a:xfrm flipH="1">
            <a:off x="1938337" y="1809750"/>
            <a:ext cx="50800" cy="0"/>
          </a:xfrm>
          <a:prstGeom prst="line">
            <a:avLst/>
          </a:prstGeom>
          <a:ln w="9525"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3" name="Straight Connector 1482">
            <a:extLst>
              <a:ext uri="{FF2B5EF4-FFF2-40B4-BE49-F238E27FC236}">
                <a16:creationId xmlns:a16="http://schemas.microsoft.com/office/drawing/2014/main" id="{34AB7654-52D8-D321-89B1-62836D577430}"/>
              </a:ext>
            </a:extLst>
          </p:cNvPr>
          <p:cNvCxnSpPr/>
          <p:nvPr>
            <p:custDataLst>
              <p:tags r:id="rId18"/>
            </p:custDataLst>
          </p:nvPr>
        </p:nvCxnSpPr>
        <p:spPr bwMode="auto">
          <a:xfrm>
            <a:off x="11736388" y="4799012"/>
            <a:ext cx="0" cy="68580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2" name="Straight Connector 1481">
            <a:extLst>
              <a:ext uri="{FF2B5EF4-FFF2-40B4-BE49-F238E27FC236}">
                <a16:creationId xmlns:a16="http://schemas.microsoft.com/office/drawing/2014/main" id="{59DDC157-9574-2269-D25F-C15DA7683071}"/>
              </a:ext>
            </a:extLst>
          </p:cNvPr>
          <p:cNvCxnSpPr/>
          <p:nvPr>
            <p:custDataLst>
              <p:tags r:id="rId19"/>
            </p:custDataLst>
          </p:nvPr>
        </p:nvCxnSpPr>
        <p:spPr bwMode="auto">
          <a:xfrm>
            <a:off x="11547475" y="4799012"/>
            <a:ext cx="0" cy="68580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1" name="Straight Connector 1480">
            <a:extLst>
              <a:ext uri="{FF2B5EF4-FFF2-40B4-BE49-F238E27FC236}">
                <a16:creationId xmlns:a16="http://schemas.microsoft.com/office/drawing/2014/main" id="{4C012A74-52CA-762E-C224-3AA2B2790C2C}"/>
              </a:ext>
            </a:extLst>
          </p:cNvPr>
          <p:cNvCxnSpPr/>
          <p:nvPr>
            <p:custDataLst>
              <p:tags r:id="rId20"/>
            </p:custDataLst>
          </p:nvPr>
        </p:nvCxnSpPr>
        <p:spPr bwMode="auto">
          <a:xfrm>
            <a:off x="11547475" y="4799013"/>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9" name="Straight Connector 1478">
            <a:extLst>
              <a:ext uri="{FF2B5EF4-FFF2-40B4-BE49-F238E27FC236}">
                <a16:creationId xmlns:a16="http://schemas.microsoft.com/office/drawing/2014/main" id="{F231705D-8458-A9A0-AD5F-0B495BC43FDD}"/>
              </a:ext>
            </a:extLst>
          </p:cNvPr>
          <p:cNvCxnSpPr/>
          <p:nvPr>
            <p:custDataLst>
              <p:tags r:id="rId21"/>
            </p:custDataLst>
          </p:nvPr>
        </p:nvCxnSpPr>
        <p:spPr bwMode="auto">
          <a:xfrm>
            <a:off x="11207750" y="4503738"/>
            <a:ext cx="0" cy="9810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8" name="Straight Connector 1477">
            <a:extLst>
              <a:ext uri="{FF2B5EF4-FFF2-40B4-BE49-F238E27FC236}">
                <a16:creationId xmlns:a16="http://schemas.microsoft.com/office/drawing/2014/main" id="{9B791042-9307-FF8D-AD7C-6104D5CD7E0E}"/>
              </a:ext>
            </a:extLst>
          </p:cNvPr>
          <p:cNvCxnSpPr/>
          <p:nvPr>
            <p:custDataLst>
              <p:tags r:id="rId22"/>
            </p:custDataLst>
          </p:nvPr>
        </p:nvCxnSpPr>
        <p:spPr bwMode="auto">
          <a:xfrm>
            <a:off x="11207750" y="4503738"/>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0" name="Straight Connector 1479">
            <a:extLst>
              <a:ext uri="{FF2B5EF4-FFF2-40B4-BE49-F238E27FC236}">
                <a16:creationId xmlns:a16="http://schemas.microsoft.com/office/drawing/2014/main" id="{B665F8BC-CB42-2AEB-2D09-CFC925120595}"/>
              </a:ext>
            </a:extLst>
          </p:cNvPr>
          <p:cNvCxnSpPr/>
          <p:nvPr>
            <p:custDataLst>
              <p:tags r:id="rId23"/>
            </p:custDataLst>
          </p:nvPr>
        </p:nvCxnSpPr>
        <p:spPr bwMode="auto">
          <a:xfrm>
            <a:off x="11396663" y="4503738"/>
            <a:ext cx="0" cy="9810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3" name="Straight Connector 1422">
            <a:extLst>
              <a:ext uri="{FF2B5EF4-FFF2-40B4-BE49-F238E27FC236}">
                <a16:creationId xmlns:a16="http://schemas.microsoft.com/office/drawing/2014/main" id="{891D772C-B9F8-6CEC-B52A-20DDC2081C39}"/>
              </a:ext>
            </a:extLst>
          </p:cNvPr>
          <p:cNvCxnSpPr/>
          <p:nvPr>
            <p:custDataLst>
              <p:tags r:id="rId24"/>
            </p:custDataLst>
          </p:nvPr>
        </p:nvCxnSpPr>
        <p:spPr bwMode="auto">
          <a:xfrm>
            <a:off x="10869613" y="4464050"/>
            <a:ext cx="0" cy="102076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4" name="Straight Connector 1423">
            <a:extLst>
              <a:ext uri="{FF2B5EF4-FFF2-40B4-BE49-F238E27FC236}">
                <a16:creationId xmlns:a16="http://schemas.microsoft.com/office/drawing/2014/main" id="{9F01E7E1-6C74-0DCF-E8A0-D8F027E54E6D}"/>
              </a:ext>
            </a:extLst>
          </p:cNvPr>
          <p:cNvCxnSpPr/>
          <p:nvPr>
            <p:custDataLst>
              <p:tags r:id="rId25"/>
            </p:custDataLst>
          </p:nvPr>
        </p:nvCxnSpPr>
        <p:spPr bwMode="auto">
          <a:xfrm>
            <a:off x="11058525" y="4464050"/>
            <a:ext cx="0" cy="102076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2" name="Straight Connector 1421">
            <a:extLst>
              <a:ext uri="{FF2B5EF4-FFF2-40B4-BE49-F238E27FC236}">
                <a16:creationId xmlns:a16="http://schemas.microsoft.com/office/drawing/2014/main" id="{D738A3C7-C3DC-CE1E-D362-81CADA6ADD53}"/>
              </a:ext>
            </a:extLst>
          </p:cNvPr>
          <p:cNvCxnSpPr/>
          <p:nvPr>
            <p:custDataLst>
              <p:tags r:id="rId26"/>
            </p:custDataLst>
          </p:nvPr>
        </p:nvCxnSpPr>
        <p:spPr bwMode="auto">
          <a:xfrm>
            <a:off x="10869613" y="446405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1" name="Straight Connector 1420">
            <a:extLst>
              <a:ext uri="{FF2B5EF4-FFF2-40B4-BE49-F238E27FC236}">
                <a16:creationId xmlns:a16="http://schemas.microsoft.com/office/drawing/2014/main" id="{C815E8CD-98F9-8CCC-8C4E-EBD60A57997E}"/>
              </a:ext>
            </a:extLst>
          </p:cNvPr>
          <p:cNvCxnSpPr/>
          <p:nvPr>
            <p:custDataLst>
              <p:tags r:id="rId27"/>
            </p:custDataLst>
          </p:nvPr>
        </p:nvCxnSpPr>
        <p:spPr bwMode="auto">
          <a:xfrm>
            <a:off x="10720388" y="4405313"/>
            <a:ext cx="0" cy="107950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0" name="Straight Connector 1419">
            <a:extLst>
              <a:ext uri="{FF2B5EF4-FFF2-40B4-BE49-F238E27FC236}">
                <a16:creationId xmlns:a16="http://schemas.microsoft.com/office/drawing/2014/main" id="{628448E6-10D8-EF7D-E2EF-0DDE2AE4ED72}"/>
              </a:ext>
            </a:extLst>
          </p:cNvPr>
          <p:cNvCxnSpPr/>
          <p:nvPr>
            <p:custDataLst>
              <p:tags r:id="rId28"/>
            </p:custDataLst>
          </p:nvPr>
        </p:nvCxnSpPr>
        <p:spPr bwMode="auto">
          <a:xfrm>
            <a:off x="10531475" y="4405313"/>
            <a:ext cx="0" cy="107950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9" name="Straight Connector 1418">
            <a:extLst>
              <a:ext uri="{FF2B5EF4-FFF2-40B4-BE49-F238E27FC236}">
                <a16:creationId xmlns:a16="http://schemas.microsoft.com/office/drawing/2014/main" id="{1973A636-3913-9212-1998-EB6CB25D3DC7}"/>
              </a:ext>
            </a:extLst>
          </p:cNvPr>
          <p:cNvCxnSpPr/>
          <p:nvPr>
            <p:custDataLst>
              <p:tags r:id="rId29"/>
            </p:custDataLst>
          </p:nvPr>
        </p:nvCxnSpPr>
        <p:spPr bwMode="auto">
          <a:xfrm>
            <a:off x="10531475" y="4405313"/>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6" name="Straight Connector 1415">
            <a:extLst>
              <a:ext uri="{FF2B5EF4-FFF2-40B4-BE49-F238E27FC236}">
                <a16:creationId xmlns:a16="http://schemas.microsoft.com/office/drawing/2014/main" id="{3DB74F69-251D-D197-E0C3-D4D8C006E3CF}"/>
              </a:ext>
            </a:extLst>
          </p:cNvPr>
          <p:cNvCxnSpPr/>
          <p:nvPr>
            <p:custDataLst>
              <p:tags r:id="rId30"/>
            </p:custDataLst>
          </p:nvPr>
        </p:nvCxnSpPr>
        <p:spPr bwMode="auto">
          <a:xfrm>
            <a:off x="10191750" y="4306888"/>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8" name="Straight Connector 1417">
            <a:extLst>
              <a:ext uri="{FF2B5EF4-FFF2-40B4-BE49-F238E27FC236}">
                <a16:creationId xmlns:a16="http://schemas.microsoft.com/office/drawing/2014/main" id="{717DEAAC-6A58-9CAB-C3E8-0C77863A44A2}"/>
              </a:ext>
            </a:extLst>
          </p:cNvPr>
          <p:cNvCxnSpPr/>
          <p:nvPr>
            <p:custDataLst>
              <p:tags r:id="rId31"/>
            </p:custDataLst>
          </p:nvPr>
        </p:nvCxnSpPr>
        <p:spPr bwMode="auto">
          <a:xfrm>
            <a:off x="10380663" y="4306888"/>
            <a:ext cx="0" cy="117792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7" name="Straight Connector 1416">
            <a:extLst>
              <a:ext uri="{FF2B5EF4-FFF2-40B4-BE49-F238E27FC236}">
                <a16:creationId xmlns:a16="http://schemas.microsoft.com/office/drawing/2014/main" id="{8845DC46-2184-4D99-B424-470E37DFF15A}"/>
              </a:ext>
            </a:extLst>
          </p:cNvPr>
          <p:cNvCxnSpPr/>
          <p:nvPr>
            <p:custDataLst>
              <p:tags r:id="rId32"/>
            </p:custDataLst>
          </p:nvPr>
        </p:nvCxnSpPr>
        <p:spPr bwMode="auto">
          <a:xfrm>
            <a:off x="10191750" y="4306888"/>
            <a:ext cx="0" cy="117792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C30A81CF-A06C-6751-B275-B46B9ADB3DEA}"/>
              </a:ext>
            </a:extLst>
          </p:cNvPr>
          <p:cNvCxnSpPr/>
          <p:nvPr>
            <p:custDataLst>
              <p:tags r:id="rId33"/>
            </p:custDataLst>
          </p:nvPr>
        </p:nvCxnSpPr>
        <p:spPr bwMode="auto">
          <a:xfrm>
            <a:off x="10042525" y="4011613"/>
            <a:ext cx="0" cy="147320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FD815DBE-E92B-694F-F4F0-4DFF46C999E9}"/>
              </a:ext>
            </a:extLst>
          </p:cNvPr>
          <p:cNvCxnSpPr/>
          <p:nvPr>
            <p:custDataLst>
              <p:tags r:id="rId34"/>
            </p:custDataLst>
          </p:nvPr>
        </p:nvCxnSpPr>
        <p:spPr bwMode="auto">
          <a:xfrm>
            <a:off x="9853613" y="4011613"/>
            <a:ext cx="0" cy="147320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1A8E6002-0C60-17D3-5E5C-2191FDE97228}"/>
              </a:ext>
            </a:extLst>
          </p:cNvPr>
          <p:cNvCxnSpPr/>
          <p:nvPr>
            <p:custDataLst>
              <p:tags r:id="rId35"/>
            </p:custDataLst>
          </p:nvPr>
        </p:nvCxnSpPr>
        <p:spPr bwMode="auto">
          <a:xfrm>
            <a:off x="9853613" y="4011613"/>
            <a:ext cx="188912"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5" name="Straight Connector 1414">
            <a:extLst>
              <a:ext uri="{FF2B5EF4-FFF2-40B4-BE49-F238E27FC236}">
                <a16:creationId xmlns:a16="http://schemas.microsoft.com/office/drawing/2014/main" id="{3ACF9AE7-4387-F0BB-BB88-6CC4EC795B85}"/>
              </a:ext>
            </a:extLst>
          </p:cNvPr>
          <p:cNvCxnSpPr/>
          <p:nvPr>
            <p:custDataLst>
              <p:tags r:id="rId36"/>
            </p:custDataLst>
          </p:nvPr>
        </p:nvCxnSpPr>
        <p:spPr bwMode="auto">
          <a:xfrm>
            <a:off x="9704388" y="3911600"/>
            <a:ext cx="0" cy="15732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4" name="Straight Connector 1413">
            <a:extLst>
              <a:ext uri="{FF2B5EF4-FFF2-40B4-BE49-F238E27FC236}">
                <a16:creationId xmlns:a16="http://schemas.microsoft.com/office/drawing/2014/main" id="{A1A83200-BECC-34C5-0ECB-FAD42A220FA0}"/>
              </a:ext>
            </a:extLst>
          </p:cNvPr>
          <p:cNvCxnSpPr/>
          <p:nvPr>
            <p:custDataLst>
              <p:tags r:id="rId37"/>
            </p:custDataLst>
          </p:nvPr>
        </p:nvCxnSpPr>
        <p:spPr bwMode="auto">
          <a:xfrm>
            <a:off x="9515475" y="3911600"/>
            <a:ext cx="0" cy="15732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3" name="Straight Connector 1412">
            <a:extLst>
              <a:ext uri="{FF2B5EF4-FFF2-40B4-BE49-F238E27FC236}">
                <a16:creationId xmlns:a16="http://schemas.microsoft.com/office/drawing/2014/main" id="{91E8D060-087A-5FFB-2244-246EA3C82CBE}"/>
              </a:ext>
            </a:extLst>
          </p:cNvPr>
          <p:cNvCxnSpPr/>
          <p:nvPr>
            <p:custDataLst>
              <p:tags r:id="rId38"/>
            </p:custDataLst>
          </p:nvPr>
        </p:nvCxnSpPr>
        <p:spPr bwMode="auto">
          <a:xfrm>
            <a:off x="9515475" y="391160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2" name="Straight Connector 1411">
            <a:extLst>
              <a:ext uri="{FF2B5EF4-FFF2-40B4-BE49-F238E27FC236}">
                <a16:creationId xmlns:a16="http://schemas.microsoft.com/office/drawing/2014/main" id="{A8156EC0-6A73-3B53-64DB-5472095180E5}"/>
              </a:ext>
            </a:extLst>
          </p:cNvPr>
          <p:cNvCxnSpPr/>
          <p:nvPr>
            <p:custDataLst>
              <p:tags r:id="rId39"/>
            </p:custDataLst>
          </p:nvPr>
        </p:nvCxnSpPr>
        <p:spPr bwMode="auto">
          <a:xfrm>
            <a:off x="9364663" y="2236788"/>
            <a:ext cx="0" cy="324802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1" name="Straight Connector 1410">
            <a:extLst>
              <a:ext uri="{FF2B5EF4-FFF2-40B4-BE49-F238E27FC236}">
                <a16:creationId xmlns:a16="http://schemas.microsoft.com/office/drawing/2014/main" id="{BBB47BCE-4D03-4D4A-4D65-346F9F1AC21D}"/>
              </a:ext>
            </a:extLst>
          </p:cNvPr>
          <p:cNvCxnSpPr/>
          <p:nvPr>
            <p:custDataLst>
              <p:tags r:id="rId40"/>
            </p:custDataLst>
          </p:nvPr>
        </p:nvCxnSpPr>
        <p:spPr bwMode="auto">
          <a:xfrm>
            <a:off x="9175750" y="2236788"/>
            <a:ext cx="0" cy="324802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0" name="Straight Connector 1409">
            <a:extLst>
              <a:ext uri="{FF2B5EF4-FFF2-40B4-BE49-F238E27FC236}">
                <a16:creationId xmlns:a16="http://schemas.microsoft.com/office/drawing/2014/main" id="{316410B6-2BFA-BB61-9F34-A6C44D5044B4}"/>
              </a:ext>
            </a:extLst>
          </p:cNvPr>
          <p:cNvCxnSpPr/>
          <p:nvPr>
            <p:custDataLst>
              <p:tags r:id="rId41"/>
            </p:custDataLst>
          </p:nvPr>
        </p:nvCxnSpPr>
        <p:spPr bwMode="auto">
          <a:xfrm>
            <a:off x="9175751" y="2236788"/>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9C5B910D-7BE0-ED49-0038-81B39AAF6BE9}"/>
              </a:ext>
            </a:extLst>
          </p:cNvPr>
          <p:cNvCxnSpPr/>
          <p:nvPr>
            <p:custDataLst>
              <p:tags r:id="rId42"/>
            </p:custDataLst>
          </p:nvPr>
        </p:nvCxnSpPr>
        <p:spPr bwMode="auto">
          <a:xfrm>
            <a:off x="9026525" y="5100638"/>
            <a:ext cx="0" cy="2952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0ED862EC-3F6D-69EC-201C-45D99058EAF5}"/>
              </a:ext>
            </a:extLst>
          </p:cNvPr>
          <p:cNvCxnSpPr/>
          <p:nvPr>
            <p:custDataLst>
              <p:tags r:id="rId43"/>
            </p:custDataLst>
          </p:nvPr>
        </p:nvCxnSpPr>
        <p:spPr bwMode="auto">
          <a:xfrm>
            <a:off x="8837613" y="5100638"/>
            <a:ext cx="0" cy="2952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78632F17-F443-3772-C8AB-F5D4099C9622}"/>
              </a:ext>
            </a:extLst>
          </p:cNvPr>
          <p:cNvCxnSpPr/>
          <p:nvPr>
            <p:custDataLst>
              <p:tags r:id="rId44"/>
            </p:custDataLst>
          </p:nvPr>
        </p:nvCxnSpPr>
        <p:spPr bwMode="auto">
          <a:xfrm>
            <a:off x="8837614" y="5100638"/>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7" name="Straight Connector 1406">
            <a:extLst>
              <a:ext uri="{FF2B5EF4-FFF2-40B4-BE49-F238E27FC236}">
                <a16:creationId xmlns:a16="http://schemas.microsoft.com/office/drawing/2014/main" id="{1D97FC37-5D66-5B4E-4937-3B6A3650889D}"/>
              </a:ext>
            </a:extLst>
          </p:cNvPr>
          <p:cNvCxnSpPr/>
          <p:nvPr>
            <p:custDataLst>
              <p:tags r:id="rId45"/>
            </p:custDataLst>
          </p:nvPr>
        </p:nvCxnSpPr>
        <p:spPr bwMode="auto">
          <a:xfrm>
            <a:off x="8499475" y="5343525"/>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9" name="Straight Connector 1408">
            <a:extLst>
              <a:ext uri="{FF2B5EF4-FFF2-40B4-BE49-F238E27FC236}">
                <a16:creationId xmlns:a16="http://schemas.microsoft.com/office/drawing/2014/main" id="{46A10220-13C9-7BA2-655D-C80CD07AFC01}"/>
              </a:ext>
            </a:extLst>
          </p:cNvPr>
          <p:cNvCxnSpPr/>
          <p:nvPr>
            <p:custDataLst>
              <p:tags r:id="rId46"/>
            </p:custDataLst>
          </p:nvPr>
        </p:nvCxnSpPr>
        <p:spPr bwMode="auto">
          <a:xfrm>
            <a:off x="8688388" y="5343525"/>
            <a:ext cx="0" cy="492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8" name="Straight Connector 1407">
            <a:extLst>
              <a:ext uri="{FF2B5EF4-FFF2-40B4-BE49-F238E27FC236}">
                <a16:creationId xmlns:a16="http://schemas.microsoft.com/office/drawing/2014/main" id="{08760EC1-E51E-1146-F0B4-0D0037BE29B1}"/>
              </a:ext>
            </a:extLst>
          </p:cNvPr>
          <p:cNvCxnSpPr/>
          <p:nvPr>
            <p:custDataLst>
              <p:tags r:id="rId47"/>
            </p:custDataLst>
          </p:nvPr>
        </p:nvCxnSpPr>
        <p:spPr bwMode="auto">
          <a:xfrm>
            <a:off x="8499475" y="5343525"/>
            <a:ext cx="0" cy="492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4" name="Straight Connector 1403">
            <a:extLst>
              <a:ext uri="{FF2B5EF4-FFF2-40B4-BE49-F238E27FC236}">
                <a16:creationId xmlns:a16="http://schemas.microsoft.com/office/drawing/2014/main" id="{C222AC19-B25A-BD9A-92C8-16F6BCBBE8A2}"/>
              </a:ext>
            </a:extLst>
          </p:cNvPr>
          <p:cNvCxnSpPr/>
          <p:nvPr>
            <p:custDataLst>
              <p:tags r:id="rId48"/>
            </p:custDataLst>
          </p:nvPr>
        </p:nvCxnSpPr>
        <p:spPr bwMode="auto">
          <a:xfrm>
            <a:off x="8159750" y="3992563"/>
            <a:ext cx="0" cy="139858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5" name="Straight Connector 1404">
            <a:extLst>
              <a:ext uri="{FF2B5EF4-FFF2-40B4-BE49-F238E27FC236}">
                <a16:creationId xmlns:a16="http://schemas.microsoft.com/office/drawing/2014/main" id="{C950DDF2-3B55-DC3F-4325-C043612D838B}"/>
              </a:ext>
            </a:extLst>
          </p:cNvPr>
          <p:cNvCxnSpPr/>
          <p:nvPr>
            <p:custDataLst>
              <p:tags r:id="rId49"/>
            </p:custDataLst>
          </p:nvPr>
        </p:nvCxnSpPr>
        <p:spPr bwMode="auto">
          <a:xfrm>
            <a:off x="8348663" y="3992563"/>
            <a:ext cx="0" cy="139858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3" name="Straight Connector 1402">
            <a:extLst>
              <a:ext uri="{FF2B5EF4-FFF2-40B4-BE49-F238E27FC236}">
                <a16:creationId xmlns:a16="http://schemas.microsoft.com/office/drawing/2014/main" id="{00594A61-8DCB-5469-2DA1-9EBCA90A1274}"/>
              </a:ext>
            </a:extLst>
          </p:cNvPr>
          <p:cNvCxnSpPr/>
          <p:nvPr>
            <p:custDataLst>
              <p:tags r:id="rId50"/>
            </p:custDataLst>
          </p:nvPr>
        </p:nvCxnSpPr>
        <p:spPr bwMode="auto">
          <a:xfrm>
            <a:off x="8159751" y="3992563"/>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9" name="Straight Connector 1398">
            <a:extLst>
              <a:ext uri="{FF2B5EF4-FFF2-40B4-BE49-F238E27FC236}">
                <a16:creationId xmlns:a16="http://schemas.microsoft.com/office/drawing/2014/main" id="{E8C65875-F816-5A5B-1E94-2DA39A82F24A}"/>
              </a:ext>
            </a:extLst>
          </p:cNvPr>
          <p:cNvCxnSpPr/>
          <p:nvPr>
            <p:custDataLst>
              <p:tags r:id="rId51"/>
            </p:custDataLst>
          </p:nvPr>
        </p:nvCxnSpPr>
        <p:spPr bwMode="auto">
          <a:xfrm>
            <a:off x="7821614" y="383540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0" name="Straight Connector 1399">
            <a:extLst>
              <a:ext uri="{FF2B5EF4-FFF2-40B4-BE49-F238E27FC236}">
                <a16:creationId xmlns:a16="http://schemas.microsoft.com/office/drawing/2014/main" id="{51A78718-AC60-E936-5DBC-466D95E323B7}"/>
              </a:ext>
            </a:extLst>
          </p:cNvPr>
          <p:cNvCxnSpPr/>
          <p:nvPr>
            <p:custDataLst>
              <p:tags r:id="rId52"/>
            </p:custDataLst>
          </p:nvPr>
        </p:nvCxnSpPr>
        <p:spPr bwMode="auto">
          <a:xfrm>
            <a:off x="7821613" y="3835400"/>
            <a:ext cx="0" cy="155575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1" name="Straight Connector 1400">
            <a:extLst>
              <a:ext uri="{FF2B5EF4-FFF2-40B4-BE49-F238E27FC236}">
                <a16:creationId xmlns:a16="http://schemas.microsoft.com/office/drawing/2014/main" id="{0064E3C9-0DF7-37F5-2516-D2700E146396}"/>
              </a:ext>
            </a:extLst>
          </p:cNvPr>
          <p:cNvCxnSpPr/>
          <p:nvPr>
            <p:custDataLst>
              <p:tags r:id="rId53"/>
            </p:custDataLst>
          </p:nvPr>
        </p:nvCxnSpPr>
        <p:spPr bwMode="auto">
          <a:xfrm>
            <a:off x="8010525" y="3835400"/>
            <a:ext cx="0" cy="155575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7" name="Straight Connector 1386">
            <a:extLst>
              <a:ext uri="{FF2B5EF4-FFF2-40B4-BE49-F238E27FC236}">
                <a16:creationId xmlns:a16="http://schemas.microsoft.com/office/drawing/2014/main" id="{842F58E7-1C06-4858-49A3-4C76A055CD2D}"/>
              </a:ext>
            </a:extLst>
          </p:cNvPr>
          <p:cNvCxnSpPr/>
          <p:nvPr>
            <p:custDataLst>
              <p:tags r:id="rId54"/>
            </p:custDataLst>
          </p:nvPr>
        </p:nvCxnSpPr>
        <p:spPr bwMode="auto">
          <a:xfrm>
            <a:off x="7143750" y="501650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9" name="Straight Connector 1388">
            <a:extLst>
              <a:ext uri="{FF2B5EF4-FFF2-40B4-BE49-F238E27FC236}">
                <a16:creationId xmlns:a16="http://schemas.microsoft.com/office/drawing/2014/main" id="{54870943-9099-17AE-873C-FC43DEFF4D2E}"/>
              </a:ext>
            </a:extLst>
          </p:cNvPr>
          <p:cNvCxnSpPr/>
          <p:nvPr>
            <p:custDataLst>
              <p:tags r:id="rId55"/>
            </p:custDataLst>
          </p:nvPr>
        </p:nvCxnSpPr>
        <p:spPr bwMode="auto">
          <a:xfrm>
            <a:off x="7332663" y="5016500"/>
            <a:ext cx="0" cy="3540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8" name="Straight Connector 1387">
            <a:extLst>
              <a:ext uri="{FF2B5EF4-FFF2-40B4-BE49-F238E27FC236}">
                <a16:creationId xmlns:a16="http://schemas.microsoft.com/office/drawing/2014/main" id="{FAD889AE-71B4-D035-82D7-062C5B8402C9}"/>
              </a:ext>
            </a:extLst>
          </p:cNvPr>
          <p:cNvCxnSpPr/>
          <p:nvPr>
            <p:custDataLst>
              <p:tags r:id="rId56"/>
            </p:custDataLst>
          </p:nvPr>
        </p:nvCxnSpPr>
        <p:spPr bwMode="auto">
          <a:xfrm>
            <a:off x="7143750" y="5016500"/>
            <a:ext cx="0" cy="3540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7DCB736C-419A-E43E-DE2D-73E8B7367603}"/>
              </a:ext>
            </a:extLst>
          </p:cNvPr>
          <p:cNvCxnSpPr/>
          <p:nvPr>
            <p:custDataLst>
              <p:tags r:id="rId57"/>
            </p:custDataLst>
          </p:nvPr>
        </p:nvCxnSpPr>
        <p:spPr bwMode="auto">
          <a:xfrm>
            <a:off x="6805613" y="5167313"/>
            <a:ext cx="0" cy="19526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259E8E04-5DC0-926A-9CA0-15BF62B88AF3}"/>
              </a:ext>
            </a:extLst>
          </p:cNvPr>
          <p:cNvCxnSpPr/>
          <p:nvPr>
            <p:custDataLst>
              <p:tags r:id="rId58"/>
            </p:custDataLst>
          </p:nvPr>
        </p:nvCxnSpPr>
        <p:spPr bwMode="auto">
          <a:xfrm>
            <a:off x="6994525" y="5167313"/>
            <a:ext cx="0" cy="19526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FBA2486E-62DD-5A0D-24C9-9801999A5195}"/>
              </a:ext>
            </a:extLst>
          </p:cNvPr>
          <p:cNvCxnSpPr/>
          <p:nvPr>
            <p:custDataLst>
              <p:tags r:id="rId59"/>
            </p:custDataLst>
          </p:nvPr>
        </p:nvCxnSpPr>
        <p:spPr bwMode="auto">
          <a:xfrm>
            <a:off x="6805613" y="5167313"/>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9ABFB62C-C153-A479-4188-F17FC5CCB270}"/>
              </a:ext>
            </a:extLst>
          </p:cNvPr>
          <p:cNvCxnSpPr/>
          <p:nvPr>
            <p:custDataLst>
              <p:tags r:id="rId60"/>
            </p:custDataLst>
          </p:nvPr>
        </p:nvCxnSpPr>
        <p:spPr bwMode="auto">
          <a:xfrm>
            <a:off x="6654800" y="4641850"/>
            <a:ext cx="0" cy="7096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A66445BA-7506-50F2-853E-E0292A51EEAD}"/>
              </a:ext>
            </a:extLst>
          </p:cNvPr>
          <p:cNvCxnSpPr/>
          <p:nvPr>
            <p:custDataLst>
              <p:tags r:id="rId61"/>
            </p:custDataLst>
          </p:nvPr>
        </p:nvCxnSpPr>
        <p:spPr bwMode="auto">
          <a:xfrm>
            <a:off x="6465888" y="464185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9112C8C3-E4ED-810E-3880-AFCF44959299}"/>
              </a:ext>
            </a:extLst>
          </p:cNvPr>
          <p:cNvCxnSpPr/>
          <p:nvPr>
            <p:custDataLst>
              <p:tags r:id="rId62"/>
            </p:custDataLst>
          </p:nvPr>
        </p:nvCxnSpPr>
        <p:spPr bwMode="auto">
          <a:xfrm>
            <a:off x="6465888" y="4641850"/>
            <a:ext cx="0" cy="7096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5" name="Straight Connector 1384">
            <a:extLst>
              <a:ext uri="{FF2B5EF4-FFF2-40B4-BE49-F238E27FC236}">
                <a16:creationId xmlns:a16="http://schemas.microsoft.com/office/drawing/2014/main" id="{53EDD59E-0CB2-3723-7E48-D5F054E381CC}"/>
              </a:ext>
            </a:extLst>
          </p:cNvPr>
          <p:cNvCxnSpPr/>
          <p:nvPr>
            <p:custDataLst>
              <p:tags r:id="rId63"/>
            </p:custDataLst>
          </p:nvPr>
        </p:nvCxnSpPr>
        <p:spPr bwMode="auto">
          <a:xfrm>
            <a:off x="6316663" y="4454525"/>
            <a:ext cx="0" cy="8874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4" name="Straight Connector 1383">
            <a:extLst>
              <a:ext uri="{FF2B5EF4-FFF2-40B4-BE49-F238E27FC236}">
                <a16:creationId xmlns:a16="http://schemas.microsoft.com/office/drawing/2014/main" id="{9B6C5FCE-3E9B-0F50-CFBD-96059E9645F8}"/>
              </a:ext>
            </a:extLst>
          </p:cNvPr>
          <p:cNvCxnSpPr/>
          <p:nvPr>
            <p:custDataLst>
              <p:tags r:id="rId64"/>
            </p:custDataLst>
          </p:nvPr>
        </p:nvCxnSpPr>
        <p:spPr bwMode="auto">
          <a:xfrm>
            <a:off x="6127750" y="4454525"/>
            <a:ext cx="0" cy="8874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3" name="Straight Connector 1382">
            <a:extLst>
              <a:ext uri="{FF2B5EF4-FFF2-40B4-BE49-F238E27FC236}">
                <a16:creationId xmlns:a16="http://schemas.microsoft.com/office/drawing/2014/main" id="{F09C945B-EF09-8784-B1FA-C3A2F0347F10}"/>
              </a:ext>
            </a:extLst>
          </p:cNvPr>
          <p:cNvCxnSpPr/>
          <p:nvPr>
            <p:custDataLst>
              <p:tags r:id="rId65"/>
            </p:custDataLst>
          </p:nvPr>
        </p:nvCxnSpPr>
        <p:spPr bwMode="auto">
          <a:xfrm>
            <a:off x="6127750" y="4454525"/>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0" name="Straight Connector 1379">
            <a:extLst>
              <a:ext uri="{FF2B5EF4-FFF2-40B4-BE49-F238E27FC236}">
                <a16:creationId xmlns:a16="http://schemas.microsoft.com/office/drawing/2014/main" id="{28D0C85F-E159-55B2-B4C8-8DCC5895C661}"/>
              </a:ext>
            </a:extLst>
          </p:cNvPr>
          <p:cNvCxnSpPr/>
          <p:nvPr>
            <p:custDataLst>
              <p:tags r:id="rId66"/>
            </p:custDataLst>
          </p:nvPr>
        </p:nvCxnSpPr>
        <p:spPr bwMode="auto">
          <a:xfrm>
            <a:off x="5789613" y="4356100"/>
            <a:ext cx="0" cy="98583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1" name="Straight Connector 1380">
            <a:extLst>
              <a:ext uri="{FF2B5EF4-FFF2-40B4-BE49-F238E27FC236}">
                <a16:creationId xmlns:a16="http://schemas.microsoft.com/office/drawing/2014/main" id="{449F4F7B-F216-0046-97B2-5E0D850A1262}"/>
              </a:ext>
            </a:extLst>
          </p:cNvPr>
          <p:cNvCxnSpPr/>
          <p:nvPr>
            <p:custDataLst>
              <p:tags r:id="rId67"/>
            </p:custDataLst>
          </p:nvPr>
        </p:nvCxnSpPr>
        <p:spPr bwMode="auto">
          <a:xfrm>
            <a:off x="5978525" y="4356100"/>
            <a:ext cx="0" cy="98583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9" name="Straight Connector 1378">
            <a:extLst>
              <a:ext uri="{FF2B5EF4-FFF2-40B4-BE49-F238E27FC236}">
                <a16:creationId xmlns:a16="http://schemas.microsoft.com/office/drawing/2014/main" id="{0F395D36-BFB0-C8BC-2CF6-0DF4003D3568}"/>
              </a:ext>
            </a:extLst>
          </p:cNvPr>
          <p:cNvCxnSpPr/>
          <p:nvPr>
            <p:custDataLst>
              <p:tags r:id="rId68"/>
            </p:custDataLst>
          </p:nvPr>
        </p:nvCxnSpPr>
        <p:spPr bwMode="auto">
          <a:xfrm>
            <a:off x="5789613" y="435610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26CBB790-F024-E1B2-7CCB-9B3E16EB6D60}"/>
              </a:ext>
            </a:extLst>
          </p:cNvPr>
          <p:cNvCxnSpPr/>
          <p:nvPr>
            <p:custDataLst>
              <p:tags r:id="rId69"/>
            </p:custDataLst>
          </p:nvPr>
        </p:nvCxnSpPr>
        <p:spPr bwMode="auto">
          <a:xfrm>
            <a:off x="5449888" y="4860925"/>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4E72DAC2-226E-4FFE-D35E-6FA862778063}"/>
              </a:ext>
            </a:extLst>
          </p:cNvPr>
          <p:cNvCxnSpPr/>
          <p:nvPr>
            <p:custDataLst>
              <p:tags r:id="rId70"/>
            </p:custDataLst>
          </p:nvPr>
        </p:nvCxnSpPr>
        <p:spPr bwMode="auto">
          <a:xfrm>
            <a:off x="5449888" y="4860925"/>
            <a:ext cx="0" cy="4730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5BFC27CC-1469-B85B-2E97-3CA6C0139C23}"/>
              </a:ext>
            </a:extLst>
          </p:cNvPr>
          <p:cNvCxnSpPr/>
          <p:nvPr>
            <p:custDataLst>
              <p:tags r:id="rId71"/>
            </p:custDataLst>
          </p:nvPr>
        </p:nvCxnSpPr>
        <p:spPr bwMode="auto">
          <a:xfrm>
            <a:off x="5638800" y="4860925"/>
            <a:ext cx="0" cy="4730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1" name="Straight Connector 1370">
            <a:extLst>
              <a:ext uri="{FF2B5EF4-FFF2-40B4-BE49-F238E27FC236}">
                <a16:creationId xmlns:a16="http://schemas.microsoft.com/office/drawing/2014/main" id="{404F9CBA-8074-AA08-D056-02E53B8063DE}"/>
              </a:ext>
            </a:extLst>
          </p:cNvPr>
          <p:cNvCxnSpPr/>
          <p:nvPr>
            <p:custDataLst>
              <p:tags r:id="rId72"/>
            </p:custDataLst>
          </p:nvPr>
        </p:nvCxnSpPr>
        <p:spPr bwMode="auto">
          <a:xfrm>
            <a:off x="5111750" y="5032375"/>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2" name="Straight Connector 1371">
            <a:extLst>
              <a:ext uri="{FF2B5EF4-FFF2-40B4-BE49-F238E27FC236}">
                <a16:creationId xmlns:a16="http://schemas.microsoft.com/office/drawing/2014/main" id="{7B4AAE21-3C8F-AF51-8841-DE0F65B3E6BA}"/>
              </a:ext>
            </a:extLst>
          </p:cNvPr>
          <p:cNvCxnSpPr/>
          <p:nvPr>
            <p:custDataLst>
              <p:tags r:id="rId73"/>
            </p:custDataLst>
          </p:nvPr>
        </p:nvCxnSpPr>
        <p:spPr bwMode="auto">
          <a:xfrm>
            <a:off x="5111750" y="5032375"/>
            <a:ext cx="0" cy="26193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3" name="Straight Connector 1372">
            <a:extLst>
              <a:ext uri="{FF2B5EF4-FFF2-40B4-BE49-F238E27FC236}">
                <a16:creationId xmlns:a16="http://schemas.microsoft.com/office/drawing/2014/main" id="{F5208724-5059-078A-C617-D23068E6173C}"/>
              </a:ext>
            </a:extLst>
          </p:cNvPr>
          <p:cNvCxnSpPr/>
          <p:nvPr>
            <p:custDataLst>
              <p:tags r:id="rId74"/>
            </p:custDataLst>
          </p:nvPr>
        </p:nvCxnSpPr>
        <p:spPr bwMode="auto">
          <a:xfrm>
            <a:off x="5300663" y="5032375"/>
            <a:ext cx="0" cy="26193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9" name="Straight Connector 1368">
            <a:extLst>
              <a:ext uri="{FF2B5EF4-FFF2-40B4-BE49-F238E27FC236}">
                <a16:creationId xmlns:a16="http://schemas.microsoft.com/office/drawing/2014/main" id="{9DB65200-1294-5870-1EB3-CCE33CD99214}"/>
              </a:ext>
            </a:extLst>
          </p:cNvPr>
          <p:cNvCxnSpPr/>
          <p:nvPr>
            <p:custDataLst>
              <p:tags r:id="rId75"/>
            </p:custDataLst>
          </p:nvPr>
        </p:nvCxnSpPr>
        <p:spPr bwMode="auto">
          <a:xfrm>
            <a:off x="4962525" y="5230813"/>
            <a:ext cx="0" cy="619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7" name="Straight Connector 1366">
            <a:extLst>
              <a:ext uri="{FF2B5EF4-FFF2-40B4-BE49-F238E27FC236}">
                <a16:creationId xmlns:a16="http://schemas.microsoft.com/office/drawing/2014/main" id="{CC046A6A-49F9-5D2B-9288-BF28CB75014C}"/>
              </a:ext>
            </a:extLst>
          </p:cNvPr>
          <p:cNvCxnSpPr/>
          <p:nvPr>
            <p:custDataLst>
              <p:tags r:id="rId76"/>
            </p:custDataLst>
          </p:nvPr>
        </p:nvCxnSpPr>
        <p:spPr bwMode="auto">
          <a:xfrm>
            <a:off x="4773613" y="5230813"/>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8" name="Straight Connector 1367">
            <a:extLst>
              <a:ext uri="{FF2B5EF4-FFF2-40B4-BE49-F238E27FC236}">
                <a16:creationId xmlns:a16="http://schemas.microsoft.com/office/drawing/2014/main" id="{7914A746-46AE-878E-9156-48904914FF16}"/>
              </a:ext>
            </a:extLst>
          </p:cNvPr>
          <p:cNvCxnSpPr/>
          <p:nvPr>
            <p:custDataLst>
              <p:tags r:id="rId77"/>
            </p:custDataLst>
          </p:nvPr>
        </p:nvCxnSpPr>
        <p:spPr bwMode="auto">
          <a:xfrm>
            <a:off x="4773613" y="5230813"/>
            <a:ext cx="0" cy="6191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5" name="Straight Connector 1364">
            <a:extLst>
              <a:ext uri="{FF2B5EF4-FFF2-40B4-BE49-F238E27FC236}">
                <a16:creationId xmlns:a16="http://schemas.microsoft.com/office/drawing/2014/main" id="{3AD504B3-F6DA-2213-4049-25D1E66CCE1A}"/>
              </a:ext>
            </a:extLst>
          </p:cNvPr>
          <p:cNvCxnSpPr/>
          <p:nvPr>
            <p:custDataLst>
              <p:tags r:id="rId78"/>
            </p:custDataLst>
          </p:nvPr>
        </p:nvCxnSpPr>
        <p:spPr bwMode="auto">
          <a:xfrm>
            <a:off x="4622800" y="3832225"/>
            <a:ext cx="0" cy="144780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4" name="Straight Connector 1363">
            <a:extLst>
              <a:ext uri="{FF2B5EF4-FFF2-40B4-BE49-F238E27FC236}">
                <a16:creationId xmlns:a16="http://schemas.microsoft.com/office/drawing/2014/main" id="{DDB909AE-770B-31BA-A08F-0D5E48871A0C}"/>
              </a:ext>
            </a:extLst>
          </p:cNvPr>
          <p:cNvCxnSpPr/>
          <p:nvPr>
            <p:custDataLst>
              <p:tags r:id="rId79"/>
            </p:custDataLst>
          </p:nvPr>
        </p:nvCxnSpPr>
        <p:spPr bwMode="auto">
          <a:xfrm>
            <a:off x="4433888" y="3832225"/>
            <a:ext cx="0" cy="144780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3" name="Straight Connector 1362">
            <a:extLst>
              <a:ext uri="{FF2B5EF4-FFF2-40B4-BE49-F238E27FC236}">
                <a16:creationId xmlns:a16="http://schemas.microsoft.com/office/drawing/2014/main" id="{6D0E8ADA-5BC9-9DE7-6122-C5554EB850C7}"/>
              </a:ext>
            </a:extLst>
          </p:cNvPr>
          <p:cNvCxnSpPr/>
          <p:nvPr>
            <p:custDataLst>
              <p:tags r:id="rId80"/>
            </p:custDataLst>
          </p:nvPr>
        </p:nvCxnSpPr>
        <p:spPr bwMode="auto">
          <a:xfrm>
            <a:off x="4433888" y="3832225"/>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114888DC-686D-12DB-462E-EEAA51E3C9BE}"/>
              </a:ext>
            </a:extLst>
          </p:cNvPr>
          <p:cNvCxnSpPr/>
          <p:nvPr>
            <p:custDataLst>
              <p:tags r:id="rId81"/>
            </p:custDataLst>
          </p:nvPr>
        </p:nvCxnSpPr>
        <p:spPr bwMode="auto">
          <a:xfrm>
            <a:off x="4095750" y="3025775"/>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EA5FDFA9-C617-E6A7-5BB8-6D67CAD6E544}"/>
              </a:ext>
            </a:extLst>
          </p:cNvPr>
          <p:cNvCxnSpPr/>
          <p:nvPr>
            <p:custDataLst>
              <p:tags r:id="rId82"/>
            </p:custDataLst>
          </p:nvPr>
        </p:nvCxnSpPr>
        <p:spPr bwMode="auto">
          <a:xfrm>
            <a:off x="4095750" y="3025775"/>
            <a:ext cx="0" cy="216852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51DF671B-EFCD-F12A-B154-8E35C09728E1}"/>
              </a:ext>
            </a:extLst>
          </p:cNvPr>
          <p:cNvCxnSpPr/>
          <p:nvPr>
            <p:custDataLst>
              <p:tags r:id="rId83"/>
            </p:custDataLst>
          </p:nvPr>
        </p:nvCxnSpPr>
        <p:spPr bwMode="auto">
          <a:xfrm>
            <a:off x="4284663" y="3025775"/>
            <a:ext cx="0" cy="216852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7" name="Straight Connector 1356">
            <a:extLst>
              <a:ext uri="{FF2B5EF4-FFF2-40B4-BE49-F238E27FC236}">
                <a16:creationId xmlns:a16="http://schemas.microsoft.com/office/drawing/2014/main" id="{367BAE0A-7A1F-F673-0048-402BF512D324}"/>
              </a:ext>
            </a:extLst>
          </p:cNvPr>
          <p:cNvCxnSpPr/>
          <p:nvPr>
            <p:custDataLst>
              <p:tags r:id="rId84"/>
            </p:custDataLst>
          </p:nvPr>
        </p:nvCxnSpPr>
        <p:spPr bwMode="auto">
          <a:xfrm>
            <a:off x="3606800" y="5010151"/>
            <a:ext cx="0" cy="14446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6" name="Straight Connector 1355">
            <a:extLst>
              <a:ext uri="{FF2B5EF4-FFF2-40B4-BE49-F238E27FC236}">
                <a16:creationId xmlns:a16="http://schemas.microsoft.com/office/drawing/2014/main" id="{F68B9669-98DB-7455-E4EB-BCD2838E47CB}"/>
              </a:ext>
            </a:extLst>
          </p:cNvPr>
          <p:cNvCxnSpPr/>
          <p:nvPr>
            <p:custDataLst>
              <p:tags r:id="rId85"/>
            </p:custDataLst>
          </p:nvPr>
        </p:nvCxnSpPr>
        <p:spPr bwMode="auto">
          <a:xfrm>
            <a:off x="3417888" y="5010151"/>
            <a:ext cx="0" cy="144463"/>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5" name="Straight Connector 1354">
            <a:extLst>
              <a:ext uri="{FF2B5EF4-FFF2-40B4-BE49-F238E27FC236}">
                <a16:creationId xmlns:a16="http://schemas.microsoft.com/office/drawing/2014/main" id="{7BC9855C-880C-36B0-F902-8344E35AD8B4}"/>
              </a:ext>
            </a:extLst>
          </p:cNvPr>
          <p:cNvCxnSpPr/>
          <p:nvPr>
            <p:custDataLst>
              <p:tags r:id="rId86"/>
            </p:custDataLst>
          </p:nvPr>
        </p:nvCxnSpPr>
        <p:spPr bwMode="auto">
          <a:xfrm>
            <a:off x="3417889" y="501015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1" name="Straight Connector 1460">
            <a:extLst>
              <a:ext uri="{FF2B5EF4-FFF2-40B4-BE49-F238E27FC236}">
                <a16:creationId xmlns:a16="http://schemas.microsoft.com/office/drawing/2014/main" id="{93455909-A285-A7BD-AA5F-13FDF307DF35}"/>
              </a:ext>
            </a:extLst>
          </p:cNvPr>
          <p:cNvCxnSpPr/>
          <p:nvPr>
            <p:custDataLst>
              <p:tags r:id="rId87"/>
            </p:custDataLst>
          </p:nvPr>
        </p:nvCxnSpPr>
        <p:spPr bwMode="auto">
          <a:xfrm>
            <a:off x="3079751" y="486410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3" name="Straight Connector 1462">
            <a:extLst>
              <a:ext uri="{FF2B5EF4-FFF2-40B4-BE49-F238E27FC236}">
                <a16:creationId xmlns:a16="http://schemas.microsoft.com/office/drawing/2014/main" id="{26A6332D-DBBC-C713-1C7C-86B4E3C48B32}"/>
              </a:ext>
            </a:extLst>
          </p:cNvPr>
          <p:cNvCxnSpPr/>
          <p:nvPr>
            <p:custDataLst>
              <p:tags r:id="rId88"/>
            </p:custDataLst>
          </p:nvPr>
        </p:nvCxnSpPr>
        <p:spPr bwMode="auto">
          <a:xfrm>
            <a:off x="3268663" y="4864100"/>
            <a:ext cx="0" cy="26193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2" name="Straight Connector 1461">
            <a:extLst>
              <a:ext uri="{FF2B5EF4-FFF2-40B4-BE49-F238E27FC236}">
                <a16:creationId xmlns:a16="http://schemas.microsoft.com/office/drawing/2014/main" id="{76ADD2E9-FD8C-EB4F-900C-5B92204B517E}"/>
              </a:ext>
            </a:extLst>
          </p:cNvPr>
          <p:cNvCxnSpPr/>
          <p:nvPr>
            <p:custDataLst>
              <p:tags r:id="rId89"/>
            </p:custDataLst>
          </p:nvPr>
        </p:nvCxnSpPr>
        <p:spPr bwMode="auto">
          <a:xfrm>
            <a:off x="3079750" y="4864100"/>
            <a:ext cx="0" cy="26193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3" name="Straight Connector 1352">
            <a:extLst>
              <a:ext uri="{FF2B5EF4-FFF2-40B4-BE49-F238E27FC236}">
                <a16:creationId xmlns:a16="http://schemas.microsoft.com/office/drawing/2014/main" id="{6B2F721E-8829-7C38-A7D6-5C46553CA939}"/>
              </a:ext>
            </a:extLst>
          </p:cNvPr>
          <p:cNvCxnSpPr/>
          <p:nvPr>
            <p:custDataLst>
              <p:tags r:id="rId90"/>
            </p:custDataLst>
          </p:nvPr>
        </p:nvCxnSpPr>
        <p:spPr bwMode="auto">
          <a:xfrm>
            <a:off x="2930525" y="4702175"/>
            <a:ext cx="0" cy="42068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2" name="Straight Connector 1351">
            <a:extLst>
              <a:ext uri="{FF2B5EF4-FFF2-40B4-BE49-F238E27FC236}">
                <a16:creationId xmlns:a16="http://schemas.microsoft.com/office/drawing/2014/main" id="{47E003D1-A927-9035-4BFF-87494A8F7092}"/>
              </a:ext>
            </a:extLst>
          </p:cNvPr>
          <p:cNvCxnSpPr/>
          <p:nvPr>
            <p:custDataLst>
              <p:tags r:id="rId91"/>
            </p:custDataLst>
          </p:nvPr>
        </p:nvCxnSpPr>
        <p:spPr bwMode="auto">
          <a:xfrm>
            <a:off x="2741613" y="4702175"/>
            <a:ext cx="0" cy="420688"/>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1" name="Straight Connector 1350">
            <a:extLst>
              <a:ext uri="{FF2B5EF4-FFF2-40B4-BE49-F238E27FC236}">
                <a16:creationId xmlns:a16="http://schemas.microsoft.com/office/drawing/2014/main" id="{56D8D1DD-769A-B68E-0BCD-62BEB761EB90}"/>
              </a:ext>
            </a:extLst>
          </p:cNvPr>
          <p:cNvCxnSpPr/>
          <p:nvPr>
            <p:custDataLst>
              <p:tags r:id="rId92"/>
            </p:custDataLst>
          </p:nvPr>
        </p:nvCxnSpPr>
        <p:spPr bwMode="auto">
          <a:xfrm>
            <a:off x="2741614" y="4702175"/>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7" name="Straight Connector 1346">
            <a:extLst>
              <a:ext uri="{FF2B5EF4-FFF2-40B4-BE49-F238E27FC236}">
                <a16:creationId xmlns:a16="http://schemas.microsoft.com/office/drawing/2014/main" id="{23D8B163-613F-9CD9-F592-B863F49DBB5A}"/>
              </a:ext>
            </a:extLst>
          </p:cNvPr>
          <p:cNvCxnSpPr/>
          <p:nvPr>
            <p:custDataLst>
              <p:tags r:id="rId93"/>
            </p:custDataLst>
          </p:nvPr>
        </p:nvCxnSpPr>
        <p:spPr bwMode="auto">
          <a:xfrm>
            <a:off x="2401889" y="3683000"/>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9" name="Straight Connector 1348">
            <a:extLst>
              <a:ext uri="{FF2B5EF4-FFF2-40B4-BE49-F238E27FC236}">
                <a16:creationId xmlns:a16="http://schemas.microsoft.com/office/drawing/2014/main" id="{D3BE8179-796B-4118-398D-9A371332749C}"/>
              </a:ext>
            </a:extLst>
          </p:cNvPr>
          <p:cNvCxnSpPr/>
          <p:nvPr>
            <p:custDataLst>
              <p:tags r:id="rId94"/>
            </p:custDataLst>
          </p:nvPr>
        </p:nvCxnSpPr>
        <p:spPr bwMode="auto">
          <a:xfrm>
            <a:off x="2590800" y="3683000"/>
            <a:ext cx="0" cy="112712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8" name="Straight Connector 1347">
            <a:extLst>
              <a:ext uri="{FF2B5EF4-FFF2-40B4-BE49-F238E27FC236}">
                <a16:creationId xmlns:a16="http://schemas.microsoft.com/office/drawing/2014/main" id="{789B2387-BAE2-EDF8-780B-27676B073D65}"/>
              </a:ext>
            </a:extLst>
          </p:cNvPr>
          <p:cNvCxnSpPr/>
          <p:nvPr>
            <p:custDataLst>
              <p:tags r:id="rId95"/>
            </p:custDataLst>
          </p:nvPr>
        </p:nvCxnSpPr>
        <p:spPr bwMode="auto">
          <a:xfrm>
            <a:off x="2401888" y="3683000"/>
            <a:ext cx="0" cy="112712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4" name="Straight Connector 1343">
            <a:extLst>
              <a:ext uri="{FF2B5EF4-FFF2-40B4-BE49-F238E27FC236}">
                <a16:creationId xmlns:a16="http://schemas.microsoft.com/office/drawing/2014/main" id="{C1574246-ECB6-5E48-793F-29B72B4CD3DC}"/>
              </a:ext>
            </a:extLst>
          </p:cNvPr>
          <p:cNvCxnSpPr/>
          <p:nvPr>
            <p:custDataLst>
              <p:tags r:id="rId96"/>
            </p:custDataLst>
          </p:nvPr>
        </p:nvCxnSpPr>
        <p:spPr bwMode="auto">
          <a:xfrm>
            <a:off x="2063750" y="2049464"/>
            <a:ext cx="0" cy="3714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5" name="Straight Connector 1344">
            <a:extLst>
              <a:ext uri="{FF2B5EF4-FFF2-40B4-BE49-F238E27FC236}">
                <a16:creationId xmlns:a16="http://schemas.microsoft.com/office/drawing/2014/main" id="{AC30A9ED-EAA4-6FBB-BE9C-AE605B926BCA}"/>
              </a:ext>
            </a:extLst>
          </p:cNvPr>
          <p:cNvCxnSpPr/>
          <p:nvPr>
            <p:custDataLst>
              <p:tags r:id="rId97"/>
            </p:custDataLst>
          </p:nvPr>
        </p:nvCxnSpPr>
        <p:spPr bwMode="auto">
          <a:xfrm>
            <a:off x="2252663" y="2049464"/>
            <a:ext cx="0" cy="3714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3" name="Straight Connector 1342">
            <a:extLst>
              <a:ext uri="{FF2B5EF4-FFF2-40B4-BE49-F238E27FC236}">
                <a16:creationId xmlns:a16="http://schemas.microsoft.com/office/drawing/2014/main" id="{C2D4986E-924E-59EA-1E86-43E0E5F8BE97}"/>
              </a:ext>
            </a:extLst>
          </p:cNvPr>
          <p:cNvCxnSpPr/>
          <p:nvPr>
            <p:custDataLst>
              <p:tags r:id="rId98"/>
            </p:custDataLst>
          </p:nvPr>
        </p:nvCxnSpPr>
        <p:spPr bwMode="auto">
          <a:xfrm>
            <a:off x="2063751" y="2049463"/>
            <a:ext cx="188913"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6" name="Freeform: Shape 5">
            <a:extLst>
              <a:ext uri="{FF2B5EF4-FFF2-40B4-BE49-F238E27FC236}">
                <a16:creationId xmlns:a16="http://schemas.microsoft.com/office/drawing/2014/main" id="{9904393D-36C0-7D9D-2CCF-38630CEC029C}"/>
              </a:ext>
            </a:extLst>
          </p:cNvPr>
          <p:cNvSpPr/>
          <p:nvPr>
            <p:custDataLst>
              <p:tags r:id="rId99"/>
            </p:custDataLst>
          </p:nvPr>
        </p:nvSpPr>
        <p:spPr bwMode="auto">
          <a:xfrm>
            <a:off x="1916113" y="2095500"/>
            <a:ext cx="146051" cy="96839"/>
          </a:xfrm>
          <a:custGeom>
            <a:avLst/>
            <a:gdLst/>
            <a:ahLst/>
            <a:cxnLst/>
            <a:rect l="0" t="0" r="0" b="0"/>
            <a:pathLst>
              <a:path w="146051" h="96839">
                <a:moveTo>
                  <a:pt x="0" y="39688"/>
                </a:moveTo>
                <a:lnTo>
                  <a:pt x="146050" y="0"/>
                </a:lnTo>
                <a:lnTo>
                  <a:pt x="146050" y="57150"/>
                </a:lnTo>
                <a:lnTo>
                  <a:pt x="0" y="96838"/>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useBgFill="1">
        <p:nvSpPr>
          <p:cNvPr id="11" name="Freeform: Shape 10">
            <a:extLst>
              <a:ext uri="{FF2B5EF4-FFF2-40B4-BE49-F238E27FC236}">
                <a16:creationId xmlns:a16="http://schemas.microsoft.com/office/drawing/2014/main" id="{03C3D8A7-1D0D-6921-BAA6-53CEEE644898}"/>
              </a:ext>
            </a:extLst>
          </p:cNvPr>
          <p:cNvSpPr/>
          <p:nvPr>
            <p:custDataLst>
              <p:tags r:id="rId100"/>
            </p:custDataLst>
          </p:nvPr>
        </p:nvSpPr>
        <p:spPr bwMode="auto">
          <a:xfrm>
            <a:off x="2009775" y="2074863"/>
            <a:ext cx="296864" cy="136526"/>
          </a:xfrm>
          <a:custGeom>
            <a:avLst/>
            <a:gdLst/>
            <a:ahLst/>
            <a:cxnLst/>
            <a:rect l="0" t="0" r="0" b="0"/>
            <a:pathLst>
              <a:path w="296864" h="136526">
                <a:moveTo>
                  <a:pt x="0" y="79375"/>
                </a:moveTo>
                <a:lnTo>
                  <a:pt x="296863" y="0"/>
                </a:lnTo>
                <a:lnTo>
                  <a:pt x="296863" y="57150"/>
                </a:lnTo>
                <a:lnTo>
                  <a:pt x="0" y="136525"/>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 name="Freeform: Shape 3">
            <a:extLst>
              <a:ext uri="{FF2B5EF4-FFF2-40B4-BE49-F238E27FC236}">
                <a16:creationId xmlns:a16="http://schemas.microsoft.com/office/drawing/2014/main" id="{9D6E3EF8-C2FB-64FB-E030-A3331EDE206F}"/>
              </a:ext>
            </a:extLst>
          </p:cNvPr>
          <p:cNvSpPr/>
          <p:nvPr>
            <p:custDataLst>
              <p:tags r:id="rId101"/>
            </p:custDataLst>
          </p:nvPr>
        </p:nvSpPr>
        <p:spPr bwMode="auto">
          <a:xfrm>
            <a:off x="1916113" y="2095500"/>
            <a:ext cx="146051" cy="39689"/>
          </a:xfrm>
          <a:custGeom>
            <a:avLst/>
            <a:gdLst/>
            <a:ahLst/>
            <a:cxnLst/>
            <a:rect l="0" t="0" r="0" b="0"/>
            <a:pathLst>
              <a:path w="146051" h="39689">
                <a:moveTo>
                  <a:pt x="0" y="39688"/>
                </a:moveTo>
                <a:lnTo>
                  <a:pt x="146050" y="0"/>
                </a:lnTo>
              </a:path>
            </a:pathLst>
          </a:custGeom>
          <a:ln w="952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Freeform: Shape 4">
            <a:extLst>
              <a:ext uri="{FF2B5EF4-FFF2-40B4-BE49-F238E27FC236}">
                <a16:creationId xmlns:a16="http://schemas.microsoft.com/office/drawing/2014/main" id="{FDD06318-8CB2-6107-DBFF-B2153C912A00}"/>
              </a:ext>
            </a:extLst>
          </p:cNvPr>
          <p:cNvSpPr/>
          <p:nvPr>
            <p:custDataLst>
              <p:tags r:id="rId102"/>
            </p:custDataLst>
          </p:nvPr>
        </p:nvSpPr>
        <p:spPr bwMode="auto">
          <a:xfrm>
            <a:off x="1916113" y="2152650"/>
            <a:ext cx="146051" cy="39689"/>
          </a:xfrm>
          <a:custGeom>
            <a:avLst/>
            <a:gdLst/>
            <a:ahLst/>
            <a:cxnLst/>
            <a:rect l="0" t="0" r="0" b="0"/>
            <a:pathLst>
              <a:path w="146051" h="39689">
                <a:moveTo>
                  <a:pt x="0" y="39688"/>
                </a:moveTo>
                <a:lnTo>
                  <a:pt x="146050" y="0"/>
                </a:lnTo>
              </a:path>
            </a:pathLst>
          </a:custGeom>
          <a:ln w="9525" cap="flat" cmpd="sng" algn="ctr">
            <a:solidFill>
              <a:schemeClr val="bg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Freeform: Shape 9">
            <a:extLst>
              <a:ext uri="{FF2B5EF4-FFF2-40B4-BE49-F238E27FC236}">
                <a16:creationId xmlns:a16="http://schemas.microsoft.com/office/drawing/2014/main" id="{94547D67-A052-A80F-81B3-F278348DA720}"/>
              </a:ext>
            </a:extLst>
          </p:cNvPr>
          <p:cNvSpPr/>
          <p:nvPr>
            <p:custDataLst>
              <p:tags r:id="rId103"/>
            </p:custDataLst>
          </p:nvPr>
        </p:nvSpPr>
        <p:spPr bwMode="auto">
          <a:xfrm>
            <a:off x="2009775" y="2132013"/>
            <a:ext cx="296864" cy="79376"/>
          </a:xfrm>
          <a:custGeom>
            <a:avLst/>
            <a:gdLst/>
            <a:ahLst/>
            <a:cxnLst/>
            <a:rect l="0" t="0" r="0" b="0"/>
            <a:pathLst>
              <a:path w="296864" h="79376">
                <a:moveTo>
                  <a:pt x="0" y="79375"/>
                </a:moveTo>
                <a:lnTo>
                  <a:pt x="29686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Freeform: Shape 7">
            <a:extLst>
              <a:ext uri="{FF2B5EF4-FFF2-40B4-BE49-F238E27FC236}">
                <a16:creationId xmlns:a16="http://schemas.microsoft.com/office/drawing/2014/main" id="{73269B4A-D90B-C487-6998-600352461378}"/>
              </a:ext>
            </a:extLst>
          </p:cNvPr>
          <p:cNvSpPr/>
          <p:nvPr>
            <p:custDataLst>
              <p:tags r:id="rId104"/>
            </p:custDataLst>
          </p:nvPr>
        </p:nvSpPr>
        <p:spPr bwMode="auto">
          <a:xfrm>
            <a:off x="2009775" y="2074863"/>
            <a:ext cx="296864" cy="79376"/>
          </a:xfrm>
          <a:custGeom>
            <a:avLst/>
            <a:gdLst/>
            <a:ahLst/>
            <a:cxnLst/>
            <a:rect l="0" t="0" r="0" b="0"/>
            <a:pathLst>
              <a:path w="296864" h="79376">
                <a:moveTo>
                  <a:pt x="0" y="79375"/>
                </a:moveTo>
                <a:lnTo>
                  <a:pt x="29686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Text Placeholder 19">
            <a:extLst>
              <a:ext uri="{FF2B5EF4-FFF2-40B4-BE49-F238E27FC236}">
                <a16:creationId xmlns:a16="http://schemas.microsoft.com/office/drawing/2014/main" id="{BA5CDD42-DCE5-DA2E-2065-03B730C899B9}"/>
              </a:ext>
            </a:extLst>
          </p:cNvPr>
          <p:cNvSpPr>
            <a:spLocks noGrp="1"/>
          </p:cNvSpPr>
          <p:nvPr>
            <p:custDataLst>
              <p:tags r:id="rId105"/>
            </p:custDataLst>
          </p:nvPr>
        </p:nvSpPr>
        <p:spPr bwMode="auto">
          <a:xfrm>
            <a:off x="2343150" y="5532438"/>
            <a:ext cx="30480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E0A3EC65-7EB6-4FB1-AA9E-1EA6D72C3DD6}" type="datetime'''Dev''e''''''lo''pe''r''''&#10;''or'' ''''''''''''''Inve''sto''r'">
              <a:rPr lang="en-GB" altLang="en-US" sz="1000" smtClean="0">
                <a:ea typeface="+mn-ea"/>
                <a:cs typeface="+mn-cs"/>
              </a:rPr>
              <a:pPr lvl="0" algn="r">
                <a:spcBef>
                  <a:spcPct val="0"/>
                </a:spcBef>
                <a:spcAft>
                  <a:spcPct val="0"/>
                </a:spcAft>
              </a:pPr>
              <a:t>Developer
or Investor</a:t>
            </a:fld>
            <a:endParaRPr lang="en-GB" sz="1000">
              <a:ea typeface="+mn-ea"/>
              <a:cs typeface="+mn-cs"/>
            </a:endParaRPr>
          </a:p>
        </p:txBody>
      </p:sp>
      <p:sp>
        <p:nvSpPr>
          <p:cNvPr id="195" name="Text Placeholder 19">
            <a:extLst>
              <a:ext uri="{FF2B5EF4-FFF2-40B4-BE49-F238E27FC236}">
                <a16:creationId xmlns:a16="http://schemas.microsoft.com/office/drawing/2014/main" id="{8AA63190-CE7B-37D5-C803-8B25DAA0D2E7}"/>
              </a:ext>
            </a:extLst>
          </p:cNvPr>
          <p:cNvSpPr>
            <a:spLocks noGrp="1"/>
          </p:cNvSpPr>
          <p:nvPr>
            <p:custDataLst>
              <p:tags r:id="rId106"/>
            </p:custDataLst>
          </p:nvPr>
        </p:nvSpPr>
        <p:spPr bwMode="auto">
          <a:xfrm>
            <a:off x="8855075"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D94ABC8E-DFB0-4BF9-B943-F27D0EF765EF}"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196" name="Text Placeholder 19">
            <a:extLst>
              <a:ext uri="{FF2B5EF4-FFF2-40B4-BE49-F238E27FC236}">
                <a16:creationId xmlns:a16="http://schemas.microsoft.com/office/drawing/2014/main" id="{F3E02636-A302-6E59-4D9E-9FB4F54D9EE9}"/>
              </a:ext>
            </a:extLst>
          </p:cNvPr>
          <p:cNvSpPr>
            <a:spLocks noGrp="1"/>
          </p:cNvSpPr>
          <p:nvPr>
            <p:custDataLst>
              <p:tags r:id="rId107"/>
            </p:custDataLst>
          </p:nvPr>
        </p:nvSpPr>
        <p:spPr bwMode="auto">
          <a:xfrm>
            <a:off x="2759075"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AF8EF2E-BFBB-4E59-B194-D1B61A00200B}"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197" name="Text Placeholder 19">
            <a:extLst>
              <a:ext uri="{FF2B5EF4-FFF2-40B4-BE49-F238E27FC236}">
                <a16:creationId xmlns:a16="http://schemas.microsoft.com/office/drawing/2014/main" id="{A43BA784-D7D9-9556-94F6-E3CB2DA02862}"/>
              </a:ext>
            </a:extLst>
          </p:cNvPr>
          <p:cNvSpPr>
            <a:spLocks noGrp="1"/>
          </p:cNvSpPr>
          <p:nvPr>
            <p:custDataLst>
              <p:tags r:id="rId108"/>
            </p:custDataLst>
          </p:nvPr>
        </p:nvSpPr>
        <p:spPr bwMode="auto">
          <a:xfrm>
            <a:off x="3435350"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88ED7E9-A6E1-479B-8BDC-E77B88E06708}"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199" name="Text Placeholder 19">
            <a:extLst>
              <a:ext uri="{FF2B5EF4-FFF2-40B4-BE49-F238E27FC236}">
                <a16:creationId xmlns:a16="http://schemas.microsoft.com/office/drawing/2014/main" id="{CDD86E3D-1010-9E7C-1457-A5AA9D736C2E}"/>
              </a:ext>
            </a:extLst>
          </p:cNvPr>
          <p:cNvSpPr>
            <a:spLocks noGrp="1"/>
          </p:cNvSpPr>
          <p:nvPr>
            <p:custDataLst>
              <p:tags r:id="rId109"/>
            </p:custDataLst>
          </p:nvPr>
        </p:nvSpPr>
        <p:spPr bwMode="auto">
          <a:xfrm>
            <a:off x="8516938"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3D8E8BC-6B8B-4259-A776-AE28523B9BDB}"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04" name="Text Placeholder 19">
            <a:extLst>
              <a:ext uri="{FF2B5EF4-FFF2-40B4-BE49-F238E27FC236}">
                <a16:creationId xmlns:a16="http://schemas.microsoft.com/office/drawing/2014/main" id="{410E5C18-8CAD-CF0D-3C5B-0EAF85B89880}"/>
              </a:ext>
            </a:extLst>
          </p:cNvPr>
          <p:cNvSpPr>
            <a:spLocks noGrp="1"/>
          </p:cNvSpPr>
          <p:nvPr>
            <p:custDataLst>
              <p:tags r:id="rId110"/>
            </p:custDataLst>
          </p:nvPr>
        </p:nvSpPr>
        <p:spPr bwMode="auto">
          <a:xfrm>
            <a:off x="5129213"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42B23FD-9DBA-43AB-9909-F615F580A1D2}"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05" name="Text Placeholder 19">
            <a:extLst>
              <a:ext uri="{FF2B5EF4-FFF2-40B4-BE49-F238E27FC236}">
                <a16:creationId xmlns:a16="http://schemas.microsoft.com/office/drawing/2014/main" id="{47F77B33-FBED-3AFF-5D24-A41716480445}"/>
              </a:ext>
            </a:extLst>
          </p:cNvPr>
          <p:cNvSpPr>
            <a:spLocks noGrp="1"/>
          </p:cNvSpPr>
          <p:nvPr>
            <p:custDataLst>
              <p:tags r:id="rId111"/>
            </p:custDataLst>
          </p:nvPr>
        </p:nvSpPr>
        <p:spPr bwMode="auto">
          <a:xfrm>
            <a:off x="11564938" y="5532438"/>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A5B34C78-3044-43F9-A21F-BA6010566DA5}"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06" name="Text Placeholder 19">
            <a:extLst>
              <a:ext uri="{FF2B5EF4-FFF2-40B4-BE49-F238E27FC236}">
                <a16:creationId xmlns:a16="http://schemas.microsoft.com/office/drawing/2014/main" id="{6DEC8564-F4D6-1D07-2DD2-07880065933E}"/>
              </a:ext>
            </a:extLst>
          </p:cNvPr>
          <p:cNvSpPr>
            <a:spLocks noGrp="1"/>
          </p:cNvSpPr>
          <p:nvPr>
            <p:custDataLst>
              <p:tags r:id="rId112"/>
            </p:custDataLst>
          </p:nvPr>
        </p:nvSpPr>
        <p:spPr bwMode="auto">
          <a:xfrm>
            <a:off x="7500938" y="5532438"/>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1642E3D-6187-4EA3-A079-DAD725D260F2}"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07" name="Text Placeholder 19">
            <a:extLst>
              <a:ext uri="{FF2B5EF4-FFF2-40B4-BE49-F238E27FC236}">
                <a16:creationId xmlns:a16="http://schemas.microsoft.com/office/drawing/2014/main" id="{F3E1621F-0407-D035-853B-7478DFCF9A6E}"/>
              </a:ext>
            </a:extLst>
          </p:cNvPr>
          <p:cNvSpPr>
            <a:spLocks noGrp="1"/>
          </p:cNvSpPr>
          <p:nvPr>
            <p:custDataLst>
              <p:tags r:id="rId113"/>
            </p:custDataLst>
          </p:nvPr>
        </p:nvSpPr>
        <p:spPr bwMode="auto">
          <a:xfrm>
            <a:off x="9193213" y="5532438"/>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541ABE14-5645-4192-BB5A-7D0D7522DCE6}"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08" name="Text Placeholder 19">
            <a:extLst>
              <a:ext uri="{FF2B5EF4-FFF2-40B4-BE49-F238E27FC236}">
                <a16:creationId xmlns:a16="http://schemas.microsoft.com/office/drawing/2014/main" id="{033817DF-4B1A-B93A-D66C-3A1989746F6E}"/>
              </a:ext>
            </a:extLst>
          </p:cNvPr>
          <p:cNvSpPr>
            <a:spLocks noGrp="1"/>
          </p:cNvSpPr>
          <p:nvPr>
            <p:custDataLst>
              <p:tags r:id="rId114"/>
            </p:custDataLst>
          </p:nvPr>
        </p:nvSpPr>
        <p:spPr bwMode="auto">
          <a:xfrm>
            <a:off x="3097213"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71BEFD7A-96AF-4175-8D59-73360BF69505}"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09" name="Text Placeholder 19">
            <a:extLst>
              <a:ext uri="{FF2B5EF4-FFF2-40B4-BE49-F238E27FC236}">
                <a16:creationId xmlns:a16="http://schemas.microsoft.com/office/drawing/2014/main" id="{A38FC050-B54C-CE0F-4C40-E177FBFED8D7}"/>
              </a:ext>
            </a:extLst>
          </p:cNvPr>
          <p:cNvSpPr>
            <a:spLocks noGrp="1"/>
          </p:cNvSpPr>
          <p:nvPr>
            <p:custDataLst>
              <p:tags r:id="rId115"/>
            </p:custDataLst>
          </p:nvPr>
        </p:nvSpPr>
        <p:spPr bwMode="auto">
          <a:xfrm>
            <a:off x="7161213"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03FDED6-748E-4284-A89C-1E0A599345EF}"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0" name="Text Placeholder 19">
            <a:extLst>
              <a:ext uri="{FF2B5EF4-FFF2-40B4-BE49-F238E27FC236}">
                <a16:creationId xmlns:a16="http://schemas.microsoft.com/office/drawing/2014/main" id="{34DFC552-4D1B-4193-5454-39C6F116BD9B}"/>
              </a:ext>
            </a:extLst>
          </p:cNvPr>
          <p:cNvSpPr>
            <a:spLocks noGrp="1"/>
          </p:cNvSpPr>
          <p:nvPr>
            <p:custDataLst>
              <p:tags r:id="rId116"/>
            </p:custDataLst>
          </p:nvPr>
        </p:nvSpPr>
        <p:spPr bwMode="auto">
          <a:xfrm>
            <a:off x="5807075"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39B0AC4-8DFC-46AA-9AF8-22F7B592E625}"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18" name="Text Placeholder 19">
            <a:extLst>
              <a:ext uri="{FF2B5EF4-FFF2-40B4-BE49-F238E27FC236}">
                <a16:creationId xmlns:a16="http://schemas.microsoft.com/office/drawing/2014/main" id="{9F9869AF-B0F6-4E89-B216-4EC18C7334C2}"/>
              </a:ext>
            </a:extLst>
          </p:cNvPr>
          <p:cNvSpPr>
            <a:spLocks noGrp="1"/>
          </p:cNvSpPr>
          <p:nvPr>
            <p:custDataLst>
              <p:tags r:id="rId117"/>
            </p:custDataLst>
          </p:nvPr>
        </p:nvSpPr>
        <p:spPr bwMode="auto">
          <a:xfrm>
            <a:off x="2081213" y="5532439"/>
            <a:ext cx="152400" cy="392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FE81711-ECB9-4637-816C-10690EC51C98}" type="datetime'O''''''''th''''''''''ers'">
              <a:rPr lang="en-GB" altLang="en-US" sz="1000" smtClean="0">
                <a:effectLst/>
                <a:ea typeface="+mn-ea"/>
                <a:cs typeface="+mn-cs"/>
              </a:rPr>
              <a:pPr lvl="0" algn="r">
                <a:spcBef>
                  <a:spcPct val="0"/>
                </a:spcBef>
                <a:spcAft>
                  <a:spcPct val="0"/>
                </a:spcAft>
              </a:pPr>
              <a:t>Others</a:t>
            </a:fld>
            <a:endParaRPr lang="en-GB" sz="1000">
              <a:ea typeface="+mn-ea"/>
              <a:cs typeface="+mn-cs"/>
            </a:endParaRPr>
          </a:p>
        </p:txBody>
      </p:sp>
      <p:sp>
        <p:nvSpPr>
          <p:cNvPr id="212" name="Text Placeholder 19">
            <a:extLst>
              <a:ext uri="{FF2B5EF4-FFF2-40B4-BE49-F238E27FC236}">
                <a16:creationId xmlns:a16="http://schemas.microsoft.com/office/drawing/2014/main" id="{3BC39F22-3D7A-4DE4-1F11-79DD20C8B8B0}"/>
              </a:ext>
            </a:extLst>
          </p:cNvPr>
          <p:cNvSpPr>
            <a:spLocks noGrp="1"/>
          </p:cNvSpPr>
          <p:nvPr>
            <p:custDataLst>
              <p:tags r:id="rId118"/>
            </p:custDataLst>
          </p:nvPr>
        </p:nvSpPr>
        <p:spPr bwMode="auto">
          <a:xfrm>
            <a:off x="10548938"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F580AA4-B4D0-480B-8FA7-C53D4A0A8E3E}"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3" name="Text Placeholder 19">
            <a:extLst>
              <a:ext uri="{FF2B5EF4-FFF2-40B4-BE49-F238E27FC236}">
                <a16:creationId xmlns:a16="http://schemas.microsoft.com/office/drawing/2014/main" id="{B6872E45-63B3-7DAC-4F5D-7608441D7D5B}"/>
              </a:ext>
            </a:extLst>
          </p:cNvPr>
          <p:cNvSpPr>
            <a:spLocks noGrp="1"/>
          </p:cNvSpPr>
          <p:nvPr>
            <p:custDataLst>
              <p:tags r:id="rId119"/>
            </p:custDataLst>
          </p:nvPr>
        </p:nvSpPr>
        <p:spPr bwMode="auto">
          <a:xfrm>
            <a:off x="4113213"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6251BB0-47C0-4088-81AD-935817364347}"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4" name="Text Placeholder 19">
            <a:extLst>
              <a:ext uri="{FF2B5EF4-FFF2-40B4-BE49-F238E27FC236}">
                <a16:creationId xmlns:a16="http://schemas.microsoft.com/office/drawing/2014/main" id="{FA03C4A7-146A-43F8-7CB9-6364753C5D82}"/>
              </a:ext>
            </a:extLst>
          </p:cNvPr>
          <p:cNvSpPr>
            <a:spLocks noGrp="1"/>
          </p:cNvSpPr>
          <p:nvPr>
            <p:custDataLst>
              <p:tags r:id="rId120"/>
            </p:custDataLst>
          </p:nvPr>
        </p:nvSpPr>
        <p:spPr bwMode="auto">
          <a:xfrm>
            <a:off x="4451350"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FA37ECBE-3ACB-44A8-A7F5-133BE4CE9841}"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5" name="Text Placeholder 19">
            <a:extLst>
              <a:ext uri="{FF2B5EF4-FFF2-40B4-BE49-F238E27FC236}">
                <a16:creationId xmlns:a16="http://schemas.microsoft.com/office/drawing/2014/main" id="{261BB132-CEEA-620B-6A31-C14328B9A3C5}"/>
              </a:ext>
            </a:extLst>
          </p:cNvPr>
          <p:cNvSpPr>
            <a:spLocks noGrp="1"/>
          </p:cNvSpPr>
          <p:nvPr>
            <p:custDataLst>
              <p:tags r:id="rId121"/>
            </p:custDataLst>
          </p:nvPr>
        </p:nvSpPr>
        <p:spPr bwMode="auto">
          <a:xfrm>
            <a:off x="10887075"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69B7907-FE23-4151-892E-59ADADEB6B46}"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6" name="Text Placeholder 19">
            <a:extLst>
              <a:ext uri="{FF2B5EF4-FFF2-40B4-BE49-F238E27FC236}">
                <a16:creationId xmlns:a16="http://schemas.microsoft.com/office/drawing/2014/main" id="{71855EFB-CC63-4361-048F-679E6C5D4E5A}"/>
              </a:ext>
            </a:extLst>
          </p:cNvPr>
          <p:cNvSpPr>
            <a:spLocks noGrp="1"/>
          </p:cNvSpPr>
          <p:nvPr>
            <p:custDataLst>
              <p:tags r:id="rId122"/>
            </p:custDataLst>
          </p:nvPr>
        </p:nvSpPr>
        <p:spPr bwMode="auto">
          <a:xfrm>
            <a:off x="4791075"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C92F5DF-76F0-48ED-8BB8-A4FB7F1EA602}"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7" name="Text Placeholder 19">
            <a:extLst>
              <a:ext uri="{FF2B5EF4-FFF2-40B4-BE49-F238E27FC236}">
                <a16:creationId xmlns:a16="http://schemas.microsoft.com/office/drawing/2014/main" id="{F48BE66B-FE8E-C0E4-C915-078643D16FB8}"/>
              </a:ext>
            </a:extLst>
          </p:cNvPr>
          <p:cNvSpPr>
            <a:spLocks noGrp="1"/>
          </p:cNvSpPr>
          <p:nvPr>
            <p:custDataLst>
              <p:tags r:id="rId123"/>
            </p:custDataLst>
          </p:nvPr>
        </p:nvSpPr>
        <p:spPr bwMode="auto">
          <a:xfrm>
            <a:off x="6483350" y="5532438"/>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8BBF6209-A6B8-42D0-9213-2A29EC1BC672}"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8" name="Text Placeholder 19">
            <a:extLst>
              <a:ext uri="{FF2B5EF4-FFF2-40B4-BE49-F238E27FC236}">
                <a16:creationId xmlns:a16="http://schemas.microsoft.com/office/drawing/2014/main" id="{5AC30AB1-D708-7BD4-CECD-0AAFFD0C6DBD}"/>
              </a:ext>
            </a:extLst>
          </p:cNvPr>
          <p:cNvSpPr>
            <a:spLocks noGrp="1"/>
          </p:cNvSpPr>
          <p:nvPr>
            <p:custDataLst>
              <p:tags r:id="rId124"/>
            </p:custDataLst>
          </p:nvPr>
        </p:nvSpPr>
        <p:spPr bwMode="auto">
          <a:xfrm>
            <a:off x="5467350"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9426908-33A3-403C-953C-D5FC31724150}"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9" name="Text Placeholder 19">
            <a:extLst>
              <a:ext uri="{FF2B5EF4-FFF2-40B4-BE49-F238E27FC236}">
                <a16:creationId xmlns:a16="http://schemas.microsoft.com/office/drawing/2014/main" id="{D9CFA37B-224C-88D4-EE12-A16D2592A175}"/>
              </a:ext>
            </a:extLst>
          </p:cNvPr>
          <p:cNvSpPr>
            <a:spLocks noGrp="1"/>
          </p:cNvSpPr>
          <p:nvPr>
            <p:custDataLst>
              <p:tags r:id="rId125"/>
            </p:custDataLst>
          </p:nvPr>
        </p:nvSpPr>
        <p:spPr bwMode="auto">
          <a:xfrm>
            <a:off x="6823075"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442DBBB-FDD3-4BE3-BA6F-05EDFDEB469C}"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20" name="Text Placeholder 19">
            <a:extLst>
              <a:ext uri="{FF2B5EF4-FFF2-40B4-BE49-F238E27FC236}">
                <a16:creationId xmlns:a16="http://schemas.microsoft.com/office/drawing/2014/main" id="{156F3180-22BE-BF87-04A8-39B0FC58B875}"/>
              </a:ext>
            </a:extLst>
          </p:cNvPr>
          <p:cNvSpPr>
            <a:spLocks noGrp="1"/>
          </p:cNvSpPr>
          <p:nvPr>
            <p:custDataLst>
              <p:tags r:id="rId126"/>
            </p:custDataLst>
          </p:nvPr>
        </p:nvSpPr>
        <p:spPr bwMode="auto">
          <a:xfrm>
            <a:off x="6145213"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D115FD91-D666-498C-ABA8-293D6DDEA44A}"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21" name="Text Placeholder 19">
            <a:extLst>
              <a:ext uri="{FF2B5EF4-FFF2-40B4-BE49-F238E27FC236}">
                <a16:creationId xmlns:a16="http://schemas.microsoft.com/office/drawing/2014/main" id="{C5716CB3-D48A-E725-3F38-EDCDF049DD82}"/>
              </a:ext>
            </a:extLst>
          </p:cNvPr>
          <p:cNvSpPr>
            <a:spLocks noGrp="1"/>
          </p:cNvSpPr>
          <p:nvPr>
            <p:custDataLst>
              <p:tags r:id="rId127"/>
            </p:custDataLst>
          </p:nvPr>
        </p:nvSpPr>
        <p:spPr bwMode="auto">
          <a:xfrm>
            <a:off x="9871075" y="5532438"/>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C1BA276-DC5F-4C9C-964F-A34DA12B5752}"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22" name="Text Placeholder 19">
            <a:extLst>
              <a:ext uri="{FF2B5EF4-FFF2-40B4-BE49-F238E27FC236}">
                <a16:creationId xmlns:a16="http://schemas.microsoft.com/office/drawing/2014/main" id="{C82F6319-47FB-3773-8079-D61CD665D489}"/>
              </a:ext>
            </a:extLst>
          </p:cNvPr>
          <p:cNvSpPr>
            <a:spLocks noGrp="1"/>
          </p:cNvSpPr>
          <p:nvPr>
            <p:custDataLst>
              <p:tags r:id="rId128"/>
            </p:custDataLst>
          </p:nvPr>
        </p:nvSpPr>
        <p:spPr bwMode="auto">
          <a:xfrm>
            <a:off x="7839075" y="5532438"/>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51B55D8-A98C-4E1B-94C1-22F0C21BA1DC}"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23" name="Text Placeholder 19">
            <a:extLst>
              <a:ext uri="{FF2B5EF4-FFF2-40B4-BE49-F238E27FC236}">
                <a16:creationId xmlns:a16="http://schemas.microsoft.com/office/drawing/2014/main" id="{6B48CE90-6D13-FE87-18D5-4F4EDE0272B7}"/>
              </a:ext>
            </a:extLst>
          </p:cNvPr>
          <p:cNvSpPr>
            <a:spLocks noGrp="1"/>
          </p:cNvSpPr>
          <p:nvPr>
            <p:custDataLst>
              <p:tags r:id="rId129"/>
            </p:custDataLst>
          </p:nvPr>
        </p:nvSpPr>
        <p:spPr bwMode="auto">
          <a:xfrm>
            <a:off x="11225213" y="5532438"/>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37C72C7-6564-4F44-A279-5479F724DFE8}"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24" name="Text Placeholder 19">
            <a:extLst>
              <a:ext uri="{FF2B5EF4-FFF2-40B4-BE49-F238E27FC236}">
                <a16:creationId xmlns:a16="http://schemas.microsoft.com/office/drawing/2014/main" id="{702BD520-F7F9-39D1-B638-AC92E1506052}"/>
              </a:ext>
            </a:extLst>
          </p:cNvPr>
          <p:cNvSpPr>
            <a:spLocks noGrp="1"/>
          </p:cNvSpPr>
          <p:nvPr>
            <p:custDataLst>
              <p:tags r:id="rId130"/>
            </p:custDataLst>
          </p:nvPr>
        </p:nvSpPr>
        <p:spPr bwMode="auto">
          <a:xfrm>
            <a:off x="8177213" y="5532438"/>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E3AE436-C5A4-4455-AE63-9B18113E09C6}"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25" name="Text Placeholder 19">
            <a:extLst>
              <a:ext uri="{FF2B5EF4-FFF2-40B4-BE49-F238E27FC236}">
                <a16:creationId xmlns:a16="http://schemas.microsoft.com/office/drawing/2014/main" id="{ACCC1167-7B0B-FE5D-D99D-5DDE95734E9C}"/>
              </a:ext>
            </a:extLst>
          </p:cNvPr>
          <p:cNvSpPr>
            <a:spLocks noGrp="1"/>
          </p:cNvSpPr>
          <p:nvPr>
            <p:custDataLst>
              <p:tags r:id="rId131"/>
            </p:custDataLst>
          </p:nvPr>
        </p:nvSpPr>
        <p:spPr bwMode="auto">
          <a:xfrm>
            <a:off x="9532938"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4388EC7-30DF-447B-BC80-2CF4B01DCE5C}"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26" name="Text Placeholder 19">
            <a:extLst>
              <a:ext uri="{FF2B5EF4-FFF2-40B4-BE49-F238E27FC236}">
                <a16:creationId xmlns:a16="http://schemas.microsoft.com/office/drawing/2014/main" id="{A6B93AA7-7E03-BD45-9B9F-F7131D3F8941}"/>
              </a:ext>
            </a:extLst>
          </p:cNvPr>
          <p:cNvSpPr>
            <a:spLocks noGrp="1"/>
          </p:cNvSpPr>
          <p:nvPr>
            <p:custDataLst>
              <p:tags r:id="rId132"/>
            </p:custDataLst>
          </p:nvPr>
        </p:nvSpPr>
        <p:spPr bwMode="auto">
          <a:xfrm>
            <a:off x="10209213"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587FF1FA-B077-4FE4-BF17-DE937502555F}"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211" name="Text Placeholder 19">
            <a:extLst>
              <a:ext uri="{FF2B5EF4-FFF2-40B4-BE49-F238E27FC236}">
                <a16:creationId xmlns:a16="http://schemas.microsoft.com/office/drawing/2014/main" id="{8A397C06-8B04-F09E-214E-4A33031976A4}"/>
              </a:ext>
            </a:extLst>
          </p:cNvPr>
          <p:cNvSpPr>
            <a:spLocks noGrp="1"/>
          </p:cNvSpPr>
          <p:nvPr>
            <p:custDataLst>
              <p:tags r:id="rId133"/>
            </p:custDataLst>
          </p:nvPr>
        </p:nvSpPr>
        <p:spPr bwMode="auto">
          <a:xfrm>
            <a:off x="3775075" y="5532439"/>
            <a:ext cx="1524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4410889-505D-4CEA-9D9A-B132F1C60A31}" type="datetime'''…'''''''''''''''''''''''">
              <a:rPr lang="en-GB" altLang="en-US" sz="1000" smtClean="0">
                <a:ea typeface="+mn-ea"/>
                <a:cs typeface="+mn-cs"/>
              </a:rPr>
              <a:pPr lvl="0" algn="r">
                <a:spcBef>
                  <a:spcPct val="0"/>
                </a:spcBef>
                <a:spcAft>
                  <a:spcPct val="0"/>
                </a:spcAft>
              </a:pPr>
              <a:t>…</a:t>
            </a:fld>
            <a:endParaRPr lang="en-GB" sz="1000">
              <a:ea typeface="+mn-ea"/>
              <a:cs typeface="+mn-cs"/>
            </a:endParaRPr>
          </a:p>
        </p:txBody>
      </p:sp>
      <p:sp>
        <p:nvSpPr>
          <p:cNvPr id="1039" name="Rectangle 1038">
            <a:extLst>
              <a:ext uri="{FF2B5EF4-FFF2-40B4-BE49-F238E27FC236}">
                <a16:creationId xmlns:a16="http://schemas.microsoft.com/office/drawing/2014/main" id="{E954162F-5199-C91D-4D0B-9F3D80B36F30}"/>
              </a:ext>
            </a:extLst>
          </p:cNvPr>
          <p:cNvSpPr/>
          <p:nvPr>
            <p:custDataLst>
              <p:tags r:id="rId134"/>
            </p:custDataLst>
          </p:nvPr>
        </p:nvSpPr>
        <p:spPr bwMode="auto">
          <a:xfrm>
            <a:off x="420688" y="6256338"/>
            <a:ext cx="179388" cy="133350"/>
          </a:xfrm>
          <a:prstGeom prst="rect">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040" name="Rectangle 1039">
            <a:extLst>
              <a:ext uri="{FF2B5EF4-FFF2-40B4-BE49-F238E27FC236}">
                <a16:creationId xmlns:a16="http://schemas.microsoft.com/office/drawing/2014/main" id="{045119F0-AFFC-2AD4-BBE6-AC8E5E53AF70}"/>
              </a:ext>
            </a:extLst>
          </p:cNvPr>
          <p:cNvSpPr/>
          <p:nvPr>
            <p:custDataLst>
              <p:tags r:id="rId135"/>
            </p:custDataLst>
          </p:nvPr>
        </p:nvSpPr>
        <p:spPr bwMode="auto">
          <a:xfrm>
            <a:off x="1422400" y="6256338"/>
            <a:ext cx="179388" cy="133350"/>
          </a:xfrm>
          <a:prstGeom prst="rect">
            <a:avLst/>
          </a:prstGeom>
          <a:noFill/>
          <a:ln w="1587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035" name="Text Placeholder 19">
            <a:extLst>
              <a:ext uri="{FF2B5EF4-FFF2-40B4-BE49-F238E27FC236}">
                <a16:creationId xmlns:a16="http://schemas.microsoft.com/office/drawing/2014/main" id="{9F9869AF-B0F6-4E89-B216-4EC18C7334C2}"/>
              </a:ext>
            </a:extLst>
          </p:cNvPr>
          <p:cNvSpPr>
            <a:spLocks noGrp="1"/>
          </p:cNvSpPr>
          <p:nvPr>
            <p:custDataLst>
              <p:tags r:id="rId136"/>
            </p:custDataLst>
          </p:nvPr>
        </p:nvSpPr>
        <p:spPr bwMode="auto">
          <a:xfrm>
            <a:off x="650876" y="6251575"/>
            <a:ext cx="669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0EE580DD-8981-427C-88DB-84BFC48714BB}" type="datetime'O''''p''''''''''e''''''r''''''''''''''ationa''''l'''''">
              <a:rPr lang="en-GB" altLang="en-US" sz="1000" smtClean="0">
                <a:effectLst/>
              </a:rPr>
              <a:pPr lvl="0">
                <a:spcBef>
                  <a:spcPct val="0"/>
                </a:spcBef>
                <a:spcAft>
                  <a:spcPct val="0"/>
                </a:spcAft>
              </a:pPr>
              <a:t>Operational</a:t>
            </a:fld>
            <a:endParaRPr lang="en-GB" sz="1000"/>
          </a:p>
        </p:txBody>
      </p:sp>
      <p:sp>
        <p:nvSpPr>
          <p:cNvPr id="1037" name="Text Placeholder 19">
            <a:extLst>
              <a:ext uri="{FF2B5EF4-FFF2-40B4-BE49-F238E27FC236}">
                <a16:creationId xmlns:a16="http://schemas.microsoft.com/office/drawing/2014/main" id="{9F9869AF-B0F6-4E89-B216-4EC18C7334C2}"/>
              </a:ext>
            </a:extLst>
          </p:cNvPr>
          <p:cNvSpPr>
            <a:spLocks noGrp="1"/>
          </p:cNvSpPr>
          <p:nvPr>
            <p:custDataLst>
              <p:tags r:id="rId137"/>
            </p:custDataLst>
          </p:nvPr>
        </p:nvSpPr>
        <p:spPr bwMode="auto">
          <a:xfrm>
            <a:off x="1652588" y="6251575"/>
            <a:ext cx="446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442D2165-13AE-4A12-8237-996CC0B666AE}" type="datetime'P''''''''''i''''''''p''''e''''''''''li''''''''n''''''e'">
              <a:rPr lang="en-GB" altLang="en-US" sz="1000" smtClean="0">
                <a:effectLst/>
              </a:rPr>
              <a:pPr lvl="0">
                <a:spcBef>
                  <a:spcPct val="0"/>
                </a:spcBef>
                <a:spcAft>
                  <a:spcPct val="0"/>
                </a:spcAft>
              </a:pPr>
              <a:t>Pipeline</a:t>
            </a:fld>
            <a:endParaRPr lang="en-GB" sz="1000"/>
          </a:p>
        </p:txBody>
      </p:sp>
      <p:sp>
        <p:nvSpPr>
          <p:cNvPr id="2" name="Oval 1">
            <a:extLst>
              <a:ext uri="{FF2B5EF4-FFF2-40B4-BE49-F238E27FC236}">
                <a16:creationId xmlns:a16="http://schemas.microsoft.com/office/drawing/2014/main" id="{8666AE6B-C8EE-2056-819D-6A2938C8DF1F}"/>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graphicFrame>
        <p:nvGraphicFramePr>
          <p:cNvPr id="193" name="Chart 192">
            <a:extLst>
              <a:ext uri="{FF2B5EF4-FFF2-40B4-BE49-F238E27FC236}">
                <a16:creationId xmlns:a16="http://schemas.microsoft.com/office/drawing/2014/main" id="{29F5BAFE-0764-B891-0BFB-EB803395917D}"/>
              </a:ext>
            </a:extLst>
          </p:cNvPr>
          <p:cNvGraphicFramePr/>
          <p:nvPr>
            <p:custDataLst>
              <p:tags r:id="rId138"/>
            </p:custDataLst>
            <p:extLst>
              <p:ext uri="{D42A27DB-BD31-4B8C-83A1-F6EECF244321}">
                <p14:modId xmlns:p14="http://schemas.microsoft.com/office/powerpoint/2010/main" val="2248317987"/>
              </p:ext>
            </p:extLst>
          </p:nvPr>
        </p:nvGraphicFramePr>
        <p:xfrm>
          <a:off x="820738" y="1727200"/>
          <a:ext cx="563562" cy="3844925"/>
        </p:xfrm>
        <a:graphic>
          <a:graphicData uri="http://schemas.openxmlformats.org/drawingml/2006/chart">
            <c:chart xmlns:c="http://schemas.openxmlformats.org/drawingml/2006/chart" xmlns:r="http://schemas.openxmlformats.org/officeDocument/2006/relationships" r:id="rId149"/>
          </a:graphicData>
        </a:graphic>
      </p:graphicFrame>
      <p:cxnSp>
        <p:nvCxnSpPr>
          <p:cNvPr id="828" name="Straight Connector 827">
            <a:extLst>
              <a:ext uri="{FF2B5EF4-FFF2-40B4-BE49-F238E27FC236}">
                <a16:creationId xmlns:a16="http://schemas.microsoft.com/office/drawing/2014/main" id="{E0F19BCC-EA39-A60C-68CA-5F3A6E3F6734}"/>
              </a:ext>
            </a:extLst>
          </p:cNvPr>
          <p:cNvCxnSpPr/>
          <p:nvPr>
            <p:custDataLst>
              <p:tags r:id="rId139"/>
            </p:custDataLst>
          </p:nvPr>
        </p:nvCxnSpPr>
        <p:spPr bwMode="auto">
          <a:xfrm>
            <a:off x="990600" y="2165350"/>
            <a:ext cx="222250" cy="0"/>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9" name="Straight Connector 828">
            <a:extLst>
              <a:ext uri="{FF2B5EF4-FFF2-40B4-BE49-F238E27FC236}">
                <a16:creationId xmlns:a16="http://schemas.microsoft.com/office/drawing/2014/main" id="{EDB27C10-DC8F-B493-3281-6A2FD60933D8}"/>
              </a:ext>
            </a:extLst>
          </p:cNvPr>
          <p:cNvCxnSpPr/>
          <p:nvPr>
            <p:custDataLst>
              <p:tags r:id="rId140"/>
            </p:custDataLst>
          </p:nvPr>
        </p:nvCxnSpPr>
        <p:spPr bwMode="auto">
          <a:xfrm>
            <a:off x="990600" y="2165350"/>
            <a:ext cx="0" cy="27082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7" name="Straight Connector 826">
            <a:extLst>
              <a:ext uri="{FF2B5EF4-FFF2-40B4-BE49-F238E27FC236}">
                <a16:creationId xmlns:a16="http://schemas.microsoft.com/office/drawing/2014/main" id="{66F536EB-93EB-77CC-BD75-A6C710A01209}"/>
              </a:ext>
            </a:extLst>
          </p:cNvPr>
          <p:cNvCxnSpPr/>
          <p:nvPr>
            <p:custDataLst>
              <p:tags r:id="rId141"/>
            </p:custDataLst>
          </p:nvPr>
        </p:nvCxnSpPr>
        <p:spPr bwMode="auto">
          <a:xfrm>
            <a:off x="1212850" y="2165350"/>
            <a:ext cx="0" cy="2708275"/>
          </a:xfrm>
          <a:prstGeom prst="line">
            <a:avLst/>
          </a:prstGeom>
          <a:ln w="158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4" name="Text Placeholder 19">
            <a:extLst>
              <a:ext uri="{FF2B5EF4-FFF2-40B4-BE49-F238E27FC236}">
                <a16:creationId xmlns:a16="http://schemas.microsoft.com/office/drawing/2014/main" id="{0A482FAB-3948-532A-4095-96CFB9FD1981}"/>
              </a:ext>
            </a:extLst>
          </p:cNvPr>
          <p:cNvSpPr>
            <a:spLocks noGrp="1"/>
          </p:cNvSpPr>
          <p:nvPr>
            <p:custDataLst>
              <p:tags r:id="rId142"/>
            </p:custDataLst>
          </p:nvPr>
        </p:nvSpPr>
        <p:spPr bwMode="auto">
          <a:xfrm>
            <a:off x="1025525" y="5532439"/>
            <a:ext cx="152400" cy="28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1310667-F256-4451-8799-EE438C60A518}" type="datetime'T''''''''''o''t''''a''''''''l'''''''''''">
              <a:rPr lang="en-GB" altLang="en-US" sz="1000" smtClean="0"/>
              <a:pPr lvl="0" algn="r">
                <a:spcBef>
                  <a:spcPct val="0"/>
                </a:spcBef>
                <a:spcAft>
                  <a:spcPct val="0"/>
                </a:spcAft>
              </a:pPr>
              <a:t>Total</a:t>
            </a:fld>
            <a:endParaRPr lang="en-GB" sz="1000"/>
          </a:p>
        </p:txBody>
      </p:sp>
    </p:spTree>
    <p:extLst>
      <p:ext uri="{BB962C8B-B14F-4D97-AF65-F5344CB8AC3E}">
        <p14:creationId xmlns:p14="http://schemas.microsoft.com/office/powerpoint/2010/main" val="122032338"/>
      </p:ext>
    </p:extLst>
  </p:cSld>
  <p:clrMapOvr>
    <a:masterClrMapping/>
  </p:clrMapOvr>
  <p:extLst>
    <p:ext uri="{6950BFC3-D8DA-4A85-94F7-54DA5524770B}">
      <p188:commentRel xmlns:p188="http://schemas.microsoft.com/office/powerpoint/2018/8/main" r:id="rId145"/>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0F733B-245E-4E5E-BEBD-088828324F12}"/>
              </a:ext>
            </a:extLst>
          </p:cNvPr>
          <p:cNvGraphicFramePr>
            <a:graphicFrameLocks noChangeAspect="1"/>
          </p:cNvGraphicFramePr>
          <p:nvPr>
            <p:custDataLst>
              <p:tags r:id="rId1"/>
            </p:custDataLst>
            <p:extLst>
              <p:ext uri="{D42A27DB-BD31-4B8C-83A1-F6EECF244321}">
                <p14:modId xmlns:p14="http://schemas.microsoft.com/office/powerpoint/2010/main" val="1871647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395" imgH="396" progId="TCLayout.ActiveDocument.1">
                  <p:embed/>
                </p:oleObj>
              </mc:Choice>
              <mc:Fallback>
                <p:oleObj name="think-cell Slide" r:id="rId61" imgW="395" imgH="396" progId="TCLayout.ActiveDocument.1">
                  <p:embed/>
                  <p:pic>
                    <p:nvPicPr>
                      <p:cNvPr id="10" name="Object 9" hidden="1">
                        <a:extLst>
                          <a:ext uri="{FF2B5EF4-FFF2-40B4-BE49-F238E27FC236}">
                            <a16:creationId xmlns:a16="http://schemas.microsoft.com/office/drawing/2014/main" id="{300F733B-245E-4E5E-BEBD-088828324F12}"/>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1D530ABE-4B3C-065A-7E95-96FE974855B8}"/>
              </a:ext>
            </a:extLst>
          </p:cNvPr>
          <p:cNvSpPr/>
          <p:nvPr/>
        </p:nvSpPr>
        <p:spPr>
          <a:xfrm>
            <a:off x="1041401" y="2020316"/>
            <a:ext cx="10053597" cy="3322264"/>
          </a:xfrm>
          <a:prstGeom prst="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585" name="Straight Connector 584">
            <a:extLst>
              <a:ext uri="{FF2B5EF4-FFF2-40B4-BE49-F238E27FC236}">
                <a16:creationId xmlns:a16="http://schemas.microsoft.com/office/drawing/2014/main" id="{516F165B-DE92-6C64-466F-F3006994FE71}"/>
              </a:ext>
            </a:extLst>
          </p:cNvPr>
          <p:cNvCxnSpPr/>
          <p:nvPr>
            <p:custDataLst>
              <p:tags r:id="rId2"/>
            </p:custDataLst>
          </p:nvPr>
        </p:nvCxnSpPr>
        <p:spPr bwMode="auto">
          <a:xfrm>
            <a:off x="904875" y="460216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9534F4FB-EB51-5048-D9DC-8CB0178DE9C0}"/>
              </a:ext>
            </a:extLst>
          </p:cNvPr>
          <p:cNvCxnSpPr/>
          <p:nvPr>
            <p:custDataLst>
              <p:tags r:id="rId3"/>
            </p:custDataLst>
          </p:nvPr>
        </p:nvCxnSpPr>
        <p:spPr bwMode="auto">
          <a:xfrm>
            <a:off x="10317163" y="3171825"/>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DEA1630C-3E17-4DBD-7A6B-0F0A95FA3CB6}"/>
              </a:ext>
            </a:extLst>
          </p:cNvPr>
          <p:cNvCxnSpPr/>
          <p:nvPr>
            <p:custDataLst>
              <p:tags r:id="rId4"/>
            </p:custDataLst>
          </p:nvPr>
        </p:nvCxnSpPr>
        <p:spPr bwMode="auto">
          <a:xfrm>
            <a:off x="5610225" y="429736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93A00CE-1923-40D5-3F24-E2C6C7FDEC08}"/>
              </a:ext>
            </a:extLst>
          </p:cNvPr>
          <p:cNvCxnSpPr/>
          <p:nvPr>
            <p:custDataLst>
              <p:tags r:id="rId5"/>
            </p:custDataLst>
          </p:nvPr>
        </p:nvCxnSpPr>
        <p:spPr bwMode="auto">
          <a:xfrm>
            <a:off x="1576388" y="4581525"/>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464E4A4F-1663-0A72-80AB-99A5C3150F10}"/>
              </a:ext>
            </a:extLst>
          </p:cNvPr>
          <p:cNvCxnSpPr/>
          <p:nvPr>
            <p:custDataLst>
              <p:tags r:id="rId6"/>
            </p:custDataLst>
          </p:nvPr>
        </p:nvCxnSpPr>
        <p:spPr bwMode="auto">
          <a:xfrm>
            <a:off x="2249488" y="455453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45CAD895-BE1E-BD55-7224-94877A33A15D}"/>
              </a:ext>
            </a:extLst>
          </p:cNvPr>
          <p:cNvCxnSpPr/>
          <p:nvPr>
            <p:custDataLst>
              <p:tags r:id="rId7"/>
            </p:custDataLst>
          </p:nvPr>
        </p:nvCxnSpPr>
        <p:spPr bwMode="auto">
          <a:xfrm>
            <a:off x="2920999" y="4527550"/>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88FF3467-484B-EC4C-9D63-07CB1E2E9955}"/>
              </a:ext>
            </a:extLst>
          </p:cNvPr>
          <p:cNvCxnSpPr/>
          <p:nvPr>
            <p:custDataLst>
              <p:tags r:id="rId8"/>
            </p:custDataLst>
          </p:nvPr>
        </p:nvCxnSpPr>
        <p:spPr bwMode="auto">
          <a:xfrm>
            <a:off x="3594100" y="448468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DBFFFCD-EA88-0C4D-C751-38ACE77C422D}"/>
              </a:ext>
            </a:extLst>
          </p:cNvPr>
          <p:cNvCxnSpPr/>
          <p:nvPr>
            <p:custDataLst>
              <p:tags r:id="rId9"/>
            </p:custDataLst>
          </p:nvPr>
        </p:nvCxnSpPr>
        <p:spPr bwMode="auto">
          <a:xfrm>
            <a:off x="4265613" y="4435475"/>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728588BF-CBCD-2671-D104-DEE9E8AE59B2}"/>
              </a:ext>
            </a:extLst>
          </p:cNvPr>
          <p:cNvCxnSpPr/>
          <p:nvPr>
            <p:custDataLst>
              <p:tags r:id="rId10"/>
            </p:custDataLst>
          </p:nvPr>
        </p:nvCxnSpPr>
        <p:spPr bwMode="auto">
          <a:xfrm>
            <a:off x="4938713" y="438308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61ADDEA-DA71-7C92-504D-6DD8875081D7}"/>
              </a:ext>
            </a:extLst>
          </p:cNvPr>
          <p:cNvCxnSpPr/>
          <p:nvPr>
            <p:custDataLst>
              <p:tags r:id="rId11"/>
            </p:custDataLst>
          </p:nvPr>
        </p:nvCxnSpPr>
        <p:spPr bwMode="auto">
          <a:xfrm>
            <a:off x="10988675" y="2220913"/>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2" name="Straight Connector 621">
            <a:extLst>
              <a:ext uri="{FF2B5EF4-FFF2-40B4-BE49-F238E27FC236}">
                <a16:creationId xmlns:a16="http://schemas.microsoft.com/office/drawing/2014/main" id="{FFA4A9DB-DA97-7810-B7F1-BB788AD0BFE7}"/>
              </a:ext>
            </a:extLst>
          </p:cNvPr>
          <p:cNvCxnSpPr/>
          <p:nvPr>
            <p:custDataLst>
              <p:tags r:id="rId12"/>
            </p:custDataLst>
          </p:nvPr>
        </p:nvCxnSpPr>
        <p:spPr bwMode="auto">
          <a:xfrm>
            <a:off x="6283325" y="421163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3" name="Straight Connector 632">
            <a:extLst>
              <a:ext uri="{FF2B5EF4-FFF2-40B4-BE49-F238E27FC236}">
                <a16:creationId xmlns:a16="http://schemas.microsoft.com/office/drawing/2014/main" id="{E43D6D26-144D-07F7-C523-0232AD44FE16}"/>
              </a:ext>
            </a:extLst>
          </p:cNvPr>
          <p:cNvCxnSpPr/>
          <p:nvPr>
            <p:custDataLst>
              <p:tags r:id="rId13"/>
            </p:custDataLst>
          </p:nvPr>
        </p:nvCxnSpPr>
        <p:spPr bwMode="auto">
          <a:xfrm>
            <a:off x="6954838" y="4102100"/>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6E866A37-ACA4-972B-3ACF-9AE539ACE478}"/>
              </a:ext>
            </a:extLst>
          </p:cNvPr>
          <p:cNvCxnSpPr/>
          <p:nvPr>
            <p:custDataLst>
              <p:tags r:id="rId14"/>
            </p:custDataLst>
          </p:nvPr>
        </p:nvCxnSpPr>
        <p:spPr bwMode="auto">
          <a:xfrm>
            <a:off x="7627938" y="3975100"/>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DB67F1A7-BF81-D524-F705-7986B2D4766F}"/>
              </a:ext>
            </a:extLst>
          </p:cNvPr>
          <p:cNvCxnSpPr/>
          <p:nvPr>
            <p:custDataLst>
              <p:tags r:id="rId15"/>
            </p:custDataLst>
          </p:nvPr>
        </p:nvCxnSpPr>
        <p:spPr bwMode="auto">
          <a:xfrm>
            <a:off x="8299449" y="379888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AD16AD31-1AB1-DAE1-99C7-CF4036ABEBB8}"/>
              </a:ext>
            </a:extLst>
          </p:cNvPr>
          <p:cNvCxnSpPr/>
          <p:nvPr>
            <p:custDataLst>
              <p:tags r:id="rId16"/>
            </p:custDataLst>
          </p:nvPr>
        </p:nvCxnSpPr>
        <p:spPr bwMode="auto">
          <a:xfrm>
            <a:off x="8972550" y="3608388"/>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1" name="Straight Connector 450">
            <a:extLst>
              <a:ext uri="{FF2B5EF4-FFF2-40B4-BE49-F238E27FC236}">
                <a16:creationId xmlns:a16="http://schemas.microsoft.com/office/drawing/2014/main" id="{3AA09681-4FE1-9EC4-B37A-7D3F571B89A1}"/>
              </a:ext>
            </a:extLst>
          </p:cNvPr>
          <p:cNvCxnSpPr/>
          <p:nvPr>
            <p:custDataLst>
              <p:tags r:id="rId17"/>
            </p:custDataLst>
          </p:nvPr>
        </p:nvCxnSpPr>
        <p:spPr bwMode="auto">
          <a:xfrm>
            <a:off x="9644063" y="3406775"/>
            <a:ext cx="2984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7" name="Chart 76">
            <a:extLst>
              <a:ext uri="{FF2B5EF4-FFF2-40B4-BE49-F238E27FC236}">
                <a16:creationId xmlns:a16="http://schemas.microsoft.com/office/drawing/2014/main" id="{BE7EEA0D-EEDE-7790-1B0A-75DEC47A6085}"/>
              </a:ext>
            </a:extLst>
          </p:cNvPr>
          <p:cNvGraphicFramePr/>
          <p:nvPr>
            <p:custDataLst>
              <p:tags r:id="rId18"/>
            </p:custDataLst>
            <p:extLst>
              <p:ext uri="{D42A27DB-BD31-4B8C-83A1-F6EECF244321}">
                <p14:modId xmlns:p14="http://schemas.microsoft.com/office/powerpoint/2010/main" val="2454158409"/>
              </p:ext>
            </p:extLst>
          </p:nvPr>
        </p:nvGraphicFramePr>
        <p:xfrm>
          <a:off x="298450" y="2138363"/>
          <a:ext cx="11595100" cy="3333750"/>
        </p:xfrm>
        <a:graphic>
          <a:graphicData uri="http://schemas.openxmlformats.org/drawingml/2006/chart">
            <c:chart xmlns:c="http://schemas.openxmlformats.org/drawingml/2006/chart" xmlns:r="http://schemas.openxmlformats.org/officeDocument/2006/relationships" r:id="rId63"/>
          </a:graphicData>
        </a:graphic>
      </p:graphicFrame>
      <p:sp>
        <p:nvSpPr>
          <p:cNvPr id="37" name="Rectangle 36">
            <a:extLst>
              <a:ext uri="{FF2B5EF4-FFF2-40B4-BE49-F238E27FC236}">
                <a16:creationId xmlns:a16="http://schemas.microsoft.com/office/drawing/2014/main" id="{8889F475-3790-9BB2-C9F9-A5412017B0F8}"/>
              </a:ext>
            </a:extLst>
          </p:cNvPr>
          <p:cNvSpPr/>
          <p:nvPr>
            <p:custDataLst>
              <p:tags r:id="rId19"/>
            </p:custDataLst>
          </p:nvPr>
        </p:nvSpPr>
        <p:spPr bwMode="auto">
          <a:xfrm>
            <a:off x="11287125" y="5367338"/>
            <a:ext cx="374650" cy="22225"/>
          </a:xfrm>
          <a:prstGeom prst="rect">
            <a:avLst/>
          </a:prstGeom>
          <a:solidFill>
            <a:schemeClr val="accent6"/>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369" name="Straight Connector 368">
            <a:extLst>
              <a:ext uri="{FF2B5EF4-FFF2-40B4-BE49-F238E27FC236}">
                <a16:creationId xmlns:a16="http://schemas.microsoft.com/office/drawing/2014/main" id="{03C1209C-95C3-1AE3-7127-D21948D7DF3D}"/>
              </a:ext>
            </a:extLst>
          </p:cNvPr>
          <p:cNvCxnSpPr/>
          <p:nvPr>
            <p:custDataLst>
              <p:tags r:id="rId20"/>
            </p:custDataLst>
          </p:nvPr>
        </p:nvCxnSpPr>
        <p:spPr bwMode="gray">
          <a:xfrm flipV="1">
            <a:off x="717550" y="1822450"/>
            <a:ext cx="0" cy="25336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DEAA3376-E49D-7BBB-8686-CCF86C455AB2}"/>
              </a:ext>
            </a:extLst>
          </p:cNvPr>
          <p:cNvCxnSpPr/>
          <p:nvPr>
            <p:custDataLst>
              <p:tags r:id="rId21"/>
            </p:custDataLst>
          </p:nvPr>
        </p:nvCxnSpPr>
        <p:spPr bwMode="gray">
          <a:xfrm>
            <a:off x="717549" y="1822450"/>
            <a:ext cx="107569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6D792BE1-1356-F63A-0186-C7401C38AD28}"/>
              </a:ext>
            </a:extLst>
          </p:cNvPr>
          <p:cNvCxnSpPr/>
          <p:nvPr>
            <p:custDataLst>
              <p:tags r:id="rId22"/>
            </p:custDataLst>
          </p:nvPr>
        </p:nvCxnSpPr>
        <p:spPr bwMode="gray">
          <a:xfrm>
            <a:off x="11474450" y="1822450"/>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10" name="Text Placeholder 19">
            <a:extLst>
              <a:ext uri="{FF2B5EF4-FFF2-40B4-BE49-F238E27FC236}">
                <a16:creationId xmlns:a16="http://schemas.microsoft.com/office/drawing/2014/main" id="{B33FDD62-2504-7D63-A302-9A0A8A9968AE}"/>
              </a:ext>
            </a:extLst>
          </p:cNvPr>
          <p:cNvSpPr>
            <a:spLocks noGrp="1"/>
          </p:cNvSpPr>
          <p:nvPr>
            <p:custDataLst>
              <p:tags r:id="rId23"/>
            </p:custDataLst>
          </p:nvPr>
        </p:nvSpPr>
        <p:spPr bwMode="auto">
          <a:xfrm>
            <a:off x="11161713" y="5440363"/>
            <a:ext cx="625475"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17737A3-E9CA-4E4D-BCA3-79771EBC7878}" type="datetime'Potent''ial ins''''t''''all''''''e''d ''''capacity'' 20''''26'">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Potential installed capacity 2026</a:t>
            </a:fld>
            <a:endParaRPr kumimoji="0" lang="en-GB" sz="1200" b="0" i="0" u="none" strike="noStrike" kern="1200" cap="none" spc="0" normalizeH="0" baseline="30000" noProof="0">
              <a:ln>
                <a:noFill/>
              </a:ln>
              <a:solidFill>
                <a:srgbClr val="3C3C3B"/>
              </a:solidFill>
              <a:effectLst/>
              <a:uLnTx/>
              <a:uFillTx/>
              <a:latin typeface="Lato"/>
              <a:sym typeface="Lato" panose="020F0502020204030203" pitchFamily="34" charset="0"/>
            </a:endParaRPr>
          </a:p>
        </p:txBody>
      </p:sp>
      <p:sp>
        <p:nvSpPr>
          <p:cNvPr id="63" name="Text Placeholder 19">
            <a:extLst>
              <a:ext uri="{FF2B5EF4-FFF2-40B4-BE49-F238E27FC236}">
                <a16:creationId xmlns:a16="http://schemas.microsoft.com/office/drawing/2014/main" id="{9F9869AF-B0F6-4E89-B216-4EC18C7334C2}"/>
              </a:ext>
            </a:extLst>
          </p:cNvPr>
          <p:cNvSpPr>
            <a:spLocks noGrp="1"/>
          </p:cNvSpPr>
          <p:nvPr>
            <p:custDataLst>
              <p:tags r:id="rId24"/>
            </p:custDataLst>
          </p:nvPr>
        </p:nvSpPr>
        <p:spPr bwMode="auto">
          <a:xfrm>
            <a:off x="423863" y="5440363"/>
            <a:ext cx="588963"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F06C4155-A7BD-4242-902B-C79AD9779214}" type="datetime'''Inst''''''a''lle''d ''c''apa''''''ci''ty ''''202''3'''''''''">
              <a:rPr lang="en-GB" altLang="en-US" smtClean="0">
                <a:solidFill>
                  <a:srgbClr val="3C3C3B"/>
                </a:solidFill>
              </a:rPr>
              <a:pPr lvl="0" algn="ctr">
                <a:spcBef>
                  <a:spcPct val="0"/>
                </a:spcBef>
                <a:spcAft>
                  <a:spcPct val="0"/>
                </a:spcAft>
                <a:defRPr/>
              </a:pPr>
              <a:t>Installed capacity 2023</a:t>
            </a:fld>
            <a:endParaRPr kumimoji="0" lang="en-GB" sz="1200" b="0" i="0" u="none" strike="noStrike" kern="1200" cap="none" spc="0" normalizeH="0" baseline="30000" noProof="0">
              <a:ln>
                <a:noFill/>
              </a:ln>
              <a:solidFill>
                <a:srgbClr val="3C3C3B"/>
              </a:solidFill>
              <a:effectLst/>
              <a:uLnTx/>
              <a:uFillTx/>
              <a:latin typeface="Lato"/>
              <a:sym typeface="Lato" panose="020F0502020204030203" pitchFamily="34" charset="0"/>
            </a:endParaRPr>
          </a:p>
        </p:txBody>
      </p:sp>
      <p:sp>
        <p:nvSpPr>
          <p:cNvPr id="94" name="Text Placeholder 19">
            <a:extLst>
              <a:ext uri="{FF2B5EF4-FFF2-40B4-BE49-F238E27FC236}">
                <a16:creationId xmlns:a16="http://schemas.microsoft.com/office/drawing/2014/main" id="{9F9869AF-B0F6-4E89-B216-4EC18C7334C2}"/>
              </a:ext>
            </a:extLst>
          </p:cNvPr>
          <p:cNvSpPr>
            <a:spLocks noGrp="1"/>
          </p:cNvSpPr>
          <p:nvPr>
            <p:custDataLst>
              <p:tags r:id="rId25"/>
            </p:custDataLst>
          </p:nvPr>
        </p:nvSpPr>
        <p:spPr bwMode="gray">
          <a:xfrm>
            <a:off x="596900" y="4394200"/>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r>
              <a:rPr lang="en-GB" altLang="en-US">
                <a:solidFill>
                  <a:srgbClr val="3C3C3B"/>
                </a:solidFill>
              </a:rPr>
              <a:t>XX</a:t>
            </a:r>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311" name="Text Placeholder 19">
            <a:extLst>
              <a:ext uri="{FF2B5EF4-FFF2-40B4-BE49-F238E27FC236}">
                <a16:creationId xmlns:a16="http://schemas.microsoft.com/office/drawing/2014/main" id="{F180ECA1-E6F1-9B67-5F61-0DFD26F31CE4}"/>
              </a:ext>
            </a:extLst>
          </p:cNvPr>
          <p:cNvSpPr>
            <a:spLocks noGrp="1"/>
          </p:cNvSpPr>
          <p:nvPr>
            <p:custDataLst>
              <p:tags r:id="rId26"/>
            </p:custDataLst>
          </p:nvPr>
        </p:nvSpPr>
        <p:spPr bwMode="gray">
          <a:xfrm>
            <a:off x="11353800" y="2012950"/>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r>
              <a:rPr lang="en-GB" altLang="en-US">
                <a:solidFill>
                  <a:srgbClr val="3C3C3B"/>
                </a:solidFill>
              </a:rPr>
              <a:t>XX</a:t>
            </a:r>
            <a:endParaRPr kumimoji="0" lang="en-GB" sz="1200" b="0" i="0" strike="noStrike" kern="1200" cap="none" spc="0" normalizeH="0" baseline="0" noProof="0">
              <a:ln>
                <a:noFill/>
              </a:ln>
              <a:solidFill>
                <a:srgbClr val="3C3C3B"/>
              </a:solidFill>
              <a:effectLst/>
              <a:uLnTx/>
              <a:uFillTx/>
              <a:sym typeface="Lato" panose="020F0502020204030203" pitchFamily="34" charset="0"/>
            </a:endParaRPr>
          </a:p>
        </p:txBody>
      </p:sp>
      <p:sp>
        <p:nvSpPr>
          <p:cNvPr id="56" name="Text Placeholder 19">
            <a:extLst>
              <a:ext uri="{FF2B5EF4-FFF2-40B4-BE49-F238E27FC236}">
                <a16:creationId xmlns:a16="http://schemas.microsoft.com/office/drawing/2014/main" id="{13C62ECD-FF94-E476-D1E5-0A7063EF46B7}"/>
              </a:ext>
            </a:extLst>
          </p:cNvPr>
          <p:cNvSpPr>
            <a:spLocks noGrp="1"/>
          </p:cNvSpPr>
          <p:nvPr>
            <p:custDataLst>
              <p:tags r:id="rId27"/>
            </p:custDataLst>
          </p:nvPr>
        </p:nvSpPr>
        <p:spPr bwMode="auto">
          <a:xfrm>
            <a:off x="8723313"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6009BF59-B01A-4CA0-BD3E-459D5F360100}"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57" name="Text Placeholder 19">
            <a:extLst>
              <a:ext uri="{FF2B5EF4-FFF2-40B4-BE49-F238E27FC236}">
                <a16:creationId xmlns:a16="http://schemas.microsoft.com/office/drawing/2014/main" id="{4A38F2EA-5059-80F8-D680-4295EC3A85D5}"/>
              </a:ext>
            </a:extLst>
          </p:cNvPr>
          <p:cNvSpPr>
            <a:spLocks noGrp="1"/>
          </p:cNvSpPr>
          <p:nvPr>
            <p:custDataLst>
              <p:tags r:id="rId28"/>
            </p:custDataLst>
          </p:nvPr>
        </p:nvSpPr>
        <p:spPr bwMode="auto">
          <a:xfrm>
            <a:off x="9394825"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6FB7E544-88E4-4606-8814-189D90481274}"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61" name="Text Placeholder 19">
            <a:extLst>
              <a:ext uri="{FF2B5EF4-FFF2-40B4-BE49-F238E27FC236}">
                <a16:creationId xmlns:a16="http://schemas.microsoft.com/office/drawing/2014/main" id="{A2A815FC-E382-620B-17CE-3CE972A64581}"/>
              </a:ext>
            </a:extLst>
          </p:cNvPr>
          <p:cNvSpPr>
            <a:spLocks noGrp="1"/>
          </p:cNvSpPr>
          <p:nvPr>
            <p:custDataLst>
              <p:tags r:id="rId29"/>
            </p:custDataLst>
          </p:nvPr>
        </p:nvSpPr>
        <p:spPr bwMode="auto">
          <a:xfrm>
            <a:off x="3344863"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209EEA7D-1CBE-4E2E-9BC0-84C58BE2F032}"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62" name="Text Placeholder 19">
            <a:extLst>
              <a:ext uri="{FF2B5EF4-FFF2-40B4-BE49-F238E27FC236}">
                <a16:creationId xmlns:a16="http://schemas.microsoft.com/office/drawing/2014/main" id="{17B1464B-8286-933E-FEC9-EDA29765859E}"/>
              </a:ext>
            </a:extLst>
          </p:cNvPr>
          <p:cNvSpPr>
            <a:spLocks noGrp="1"/>
          </p:cNvSpPr>
          <p:nvPr>
            <p:custDataLst>
              <p:tags r:id="rId30"/>
            </p:custDataLst>
          </p:nvPr>
        </p:nvSpPr>
        <p:spPr bwMode="auto">
          <a:xfrm>
            <a:off x="5360988"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F5C7BAC1-A8E7-43B8-85E9-EC44FA41FCCC}"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49" name="Text Placeholder 19">
            <a:extLst>
              <a:ext uri="{FF2B5EF4-FFF2-40B4-BE49-F238E27FC236}">
                <a16:creationId xmlns:a16="http://schemas.microsoft.com/office/drawing/2014/main" id="{E952CDEA-95ED-8EED-E27B-B4C4F9D0CB46}"/>
              </a:ext>
            </a:extLst>
          </p:cNvPr>
          <p:cNvSpPr>
            <a:spLocks noGrp="1"/>
          </p:cNvSpPr>
          <p:nvPr>
            <p:custDataLst>
              <p:tags r:id="rId31"/>
            </p:custDataLst>
          </p:nvPr>
        </p:nvSpPr>
        <p:spPr bwMode="auto">
          <a:xfrm>
            <a:off x="2671763"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364FDAD6-49BC-416E-AAAC-E9BCCE216688}"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53" name="Text Placeholder 19">
            <a:extLst>
              <a:ext uri="{FF2B5EF4-FFF2-40B4-BE49-F238E27FC236}">
                <a16:creationId xmlns:a16="http://schemas.microsoft.com/office/drawing/2014/main" id="{1160F0E7-9693-9CB8-623F-179D78660E1B}"/>
              </a:ext>
            </a:extLst>
          </p:cNvPr>
          <p:cNvSpPr>
            <a:spLocks noGrp="1"/>
          </p:cNvSpPr>
          <p:nvPr>
            <p:custDataLst>
              <p:tags r:id="rId32"/>
            </p:custDataLst>
          </p:nvPr>
        </p:nvSpPr>
        <p:spPr bwMode="auto">
          <a:xfrm>
            <a:off x="1106488" y="5440363"/>
            <a:ext cx="5667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r>
              <a:rPr lang="en-GB" altLang="en-US">
                <a:solidFill>
                  <a:srgbClr val="3C3C3B"/>
                </a:solidFill>
                <a:ea typeface="+mn-ea"/>
                <a:cs typeface="+mn-cs"/>
              </a:rPr>
              <a:t>Country XX</a:t>
            </a:r>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54" name="Text Placeholder 19">
            <a:extLst>
              <a:ext uri="{FF2B5EF4-FFF2-40B4-BE49-F238E27FC236}">
                <a16:creationId xmlns:a16="http://schemas.microsoft.com/office/drawing/2014/main" id="{313FB611-DC05-E49E-DC23-8B34A17BABF4}"/>
              </a:ext>
            </a:extLst>
          </p:cNvPr>
          <p:cNvSpPr>
            <a:spLocks noGrp="1"/>
          </p:cNvSpPr>
          <p:nvPr>
            <p:custDataLst>
              <p:tags r:id="rId33"/>
            </p:custDataLst>
          </p:nvPr>
        </p:nvSpPr>
        <p:spPr bwMode="auto">
          <a:xfrm>
            <a:off x="4689475"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3FDCE45B-9CE3-4B42-ABCB-BB0B70993C3A}"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55" name="Text Placeholder 19">
            <a:extLst>
              <a:ext uri="{FF2B5EF4-FFF2-40B4-BE49-F238E27FC236}">
                <a16:creationId xmlns:a16="http://schemas.microsoft.com/office/drawing/2014/main" id="{AB5CA23A-B9E8-240C-9DB5-7C1CE43D6D51}"/>
              </a:ext>
            </a:extLst>
          </p:cNvPr>
          <p:cNvSpPr>
            <a:spLocks noGrp="1"/>
          </p:cNvSpPr>
          <p:nvPr>
            <p:custDataLst>
              <p:tags r:id="rId34"/>
            </p:custDataLst>
          </p:nvPr>
        </p:nvSpPr>
        <p:spPr bwMode="auto">
          <a:xfrm>
            <a:off x="4016375"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E8FC9A85-F7BD-4C33-AF64-2B69C8D6D32C}"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56" name="Text Placeholder 19">
            <a:extLst>
              <a:ext uri="{FF2B5EF4-FFF2-40B4-BE49-F238E27FC236}">
                <a16:creationId xmlns:a16="http://schemas.microsoft.com/office/drawing/2014/main" id="{238945F5-E48B-DB05-CBAF-1799557A9FA8}"/>
              </a:ext>
            </a:extLst>
          </p:cNvPr>
          <p:cNvSpPr>
            <a:spLocks noGrp="1"/>
          </p:cNvSpPr>
          <p:nvPr>
            <p:custDataLst>
              <p:tags r:id="rId35"/>
            </p:custDataLst>
          </p:nvPr>
        </p:nvSpPr>
        <p:spPr bwMode="auto">
          <a:xfrm>
            <a:off x="6034088"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27BA9655-A160-40D6-924D-3E1524F80B53}"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57" name="Text Placeholder 19">
            <a:extLst>
              <a:ext uri="{FF2B5EF4-FFF2-40B4-BE49-F238E27FC236}">
                <a16:creationId xmlns:a16="http://schemas.microsoft.com/office/drawing/2014/main" id="{96C82AD6-3508-1DB5-5B2C-9D204502443B}"/>
              </a:ext>
            </a:extLst>
          </p:cNvPr>
          <p:cNvSpPr>
            <a:spLocks noGrp="1"/>
          </p:cNvSpPr>
          <p:nvPr>
            <p:custDataLst>
              <p:tags r:id="rId36"/>
            </p:custDataLst>
          </p:nvPr>
        </p:nvSpPr>
        <p:spPr bwMode="auto">
          <a:xfrm>
            <a:off x="6705600"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DA952FD5-945D-4A8E-90BC-F976596A609B}"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58" name="Text Placeholder 19">
            <a:extLst>
              <a:ext uri="{FF2B5EF4-FFF2-40B4-BE49-F238E27FC236}">
                <a16:creationId xmlns:a16="http://schemas.microsoft.com/office/drawing/2014/main" id="{B4783480-8FC9-F1D8-B21A-7EEF78A14102}"/>
              </a:ext>
            </a:extLst>
          </p:cNvPr>
          <p:cNvSpPr>
            <a:spLocks noGrp="1"/>
          </p:cNvSpPr>
          <p:nvPr>
            <p:custDataLst>
              <p:tags r:id="rId37"/>
            </p:custDataLst>
          </p:nvPr>
        </p:nvSpPr>
        <p:spPr bwMode="auto">
          <a:xfrm>
            <a:off x="1779588" y="5440363"/>
            <a:ext cx="5667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r>
              <a:rPr lang="en-GB" altLang="en-US">
                <a:solidFill>
                  <a:srgbClr val="3C3C3B"/>
                </a:solidFill>
                <a:ea typeface="+mn-ea"/>
                <a:cs typeface="+mn-cs"/>
              </a:rPr>
              <a:t>Country XX</a:t>
            </a:r>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59" name="Text Placeholder 19">
            <a:extLst>
              <a:ext uri="{FF2B5EF4-FFF2-40B4-BE49-F238E27FC236}">
                <a16:creationId xmlns:a16="http://schemas.microsoft.com/office/drawing/2014/main" id="{E10885D4-6F05-1EF1-0326-266DC9F3B222}"/>
              </a:ext>
            </a:extLst>
          </p:cNvPr>
          <p:cNvSpPr>
            <a:spLocks noGrp="1"/>
          </p:cNvSpPr>
          <p:nvPr>
            <p:custDataLst>
              <p:tags r:id="rId38"/>
            </p:custDataLst>
          </p:nvPr>
        </p:nvSpPr>
        <p:spPr bwMode="auto">
          <a:xfrm>
            <a:off x="7378700"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B8CE2ADE-A89C-4560-B645-2AFA77F20931}"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60" name="Text Placeholder 19">
            <a:extLst>
              <a:ext uri="{FF2B5EF4-FFF2-40B4-BE49-F238E27FC236}">
                <a16:creationId xmlns:a16="http://schemas.microsoft.com/office/drawing/2014/main" id="{E14DC6E2-6166-B295-1E3D-78449917F4E8}"/>
              </a:ext>
            </a:extLst>
          </p:cNvPr>
          <p:cNvSpPr>
            <a:spLocks noGrp="1"/>
          </p:cNvSpPr>
          <p:nvPr>
            <p:custDataLst>
              <p:tags r:id="rId39"/>
            </p:custDataLst>
          </p:nvPr>
        </p:nvSpPr>
        <p:spPr bwMode="auto">
          <a:xfrm>
            <a:off x="8050213"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A17191D7-3151-476C-A4F2-99C1337E0E62}"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61" name="Text Placeholder 19">
            <a:extLst>
              <a:ext uri="{FF2B5EF4-FFF2-40B4-BE49-F238E27FC236}">
                <a16:creationId xmlns:a16="http://schemas.microsoft.com/office/drawing/2014/main" id="{2ECC0CBC-E8DF-B7EE-BB2F-846A87ED3ECE}"/>
              </a:ext>
            </a:extLst>
          </p:cNvPr>
          <p:cNvSpPr>
            <a:spLocks noGrp="1"/>
          </p:cNvSpPr>
          <p:nvPr>
            <p:custDataLst>
              <p:tags r:id="rId40"/>
            </p:custDataLst>
          </p:nvPr>
        </p:nvSpPr>
        <p:spPr bwMode="auto">
          <a:xfrm>
            <a:off x="10067925"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AE5FC77F-F208-4610-80CF-16465E13BD7F}"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62" name="Text Placeholder 19">
            <a:extLst>
              <a:ext uri="{FF2B5EF4-FFF2-40B4-BE49-F238E27FC236}">
                <a16:creationId xmlns:a16="http://schemas.microsoft.com/office/drawing/2014/main" id="{781D7746-1963-FFAD-9A03-3EC040E87EE4}"/>
              </a:ext>
            </a:extLst>
          </p:cNvPr>
          <p:cNvSpPr>
            <a:spLocks noGrp="1"/>
          </p:cNvSpPr>
          <p:nvPr>
            <p:custDataLst>
              <p:tags r:id="rId41"/>
            </p:custDataLst>
          </p:nvPr>
        </p:nvSpPr>
        <p:spPr bwMode="auto">
          <a:xfrm>
            <a:off x="10739438" y="5440363"/>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9AC2F566-1751-4682-BD42-1718E88A69C1}" type="datetime'''''''''''''''''''''''''''''…'''''''''''''">
              <a:rPr lang="en-GB" altLang="en-US" smtClean="0">
                <a:solidFill>
                  <a:srgbClr val="3C3C3B"/>
                </a:solidFill>
                <a:ea typeface="+mn-ea"/>
                <a:cs typeface="+mn-cs"/>
              </a:rPr>
              <a:pPr lvl="0" algn="ctr">
                <a:spcBef>
                  <a:spcPct val="0"/>
                </a:spcBef>
                <a:spcAft>
                  <a:spcPct val="0"/>
                </a:spcAft>
                <a:defRPr/>
              </a:pPr>
              <a:t>…</a:t>
            </a:fld>
            <a:endParaRPr kumimoji="0" lang="en-GB" b="0" i="0" strike="noStrike" kern="1200" cap="none" spc="0" normalizeH="0" noProof="0">
              <a:ln>
                <a:noFill/>
              </a:ln>
              <a:solidFill>
                <a:srgbClr val="3C3C3B"/>
              </a:solidFill>
              <a:effectLst/>
              <a:uLnTx/>
              <a:uFillTx/>
              <a:ea typeface="+mn-ea"/>
              <a:cs typeface="+mn-cs"/>
              <a:sym typeface="Lato" panose="020F0502020204030203" pitchFamily="34" charset="0"/>
            </a:endParaRPr>
          </a:p>
        </p:txBody>
      </p:sp>
      <p:sp>
        <p:nvSpPr>
          <p:cNvPr id="476" name="Text Placeholder 19">
            <a:extLst>
              <a:ext uri="{FF2B5EF4-FFF2-40B4-BE49-F238E27FC236}">
                <a16:creationId xmlns:a16="http://schemas.microsoft.com/office/drawing/2014/main" id="{9F9869AF-B0F6-4E89-B216-4EC18C7334C2}"/>
              </a:ext>
            </a:extLst>
          </p:cNvPr>
          <p:cNvSpPr>
            <a:spLocks noGrp="1"/>
          </p:cNvSpPr>
          <p:nvPr>
            <p:custDataLst>
              <p:tags r:id="rId42"/>
            </p:custDataLst>
          </p:nvPr>
        </p:nvSpPr>
        <p:spPr bwMode="gray">
          <a:xfrm>
            <a:off x="1268413" y="4500564"/>
            <a:ext cx="241300" cy="182563"/>
          </a:xfrm>
          <a:prstGeom prst="rect">
            <a:avLst/>
          </a:prstGeom>
          <a:solidFill>
            <a:schemeClr val="accent6"/>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XX</a:t>
            </a:r>
            <a:endParaRPr lang="en-GB"/>
          </a:p>
        </p:txBody>
      </p:sp>
      <p:sp>
        <p:nvSpPr>
          <p:cNvPr id="478" name="Text Placeholder 19">
            <a:extLst>
              <a:ext uri="{FF2B5EF4-FFF2-40B4-BE49-F238E27FC236}">
                <a16:creationId xmlns:a16="http://schemas.microsoft.com/office/drawing/2014/main" id="{9F9869AF-B0F6-4E89-B216-4EC18C7334C2}"/>
              </a:ext>
            </a:extLst>
          </p:cNvPr>
          <p:cNvSpPr>
            <a:spLocks noGrp="1"/>
          </p:cNvSpPr>
          <p:nvPr>
            <p:custDataLst>
              <p:tags r:id="rId43"/>
            </p:custDataLst>
          </p:nvPr>
        </p:nvSpPr>
        <p:spPr bwMode="gray">
          <a:xfrm>
            <a:off x="2613025" y="4449764"/>
            <a:ext cx="241300" cy="182563"/>
          </a:xfrm>
          <a:prstGeom prst="rect">
            <a:avLst/>
          </a:prstGeom>
          <a:solidFill>
            <a:schemeClr val="tx2"/>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79" name="Text Placeholder 19">
            <a:extLst>
              <a:ext uri="{FF2B5EF4-FFF2-40B4-BE49-F238E27FC236}">
                <a16:creationId xmlns:a16="http://schemas.microsoft.com/office/drawing/2014/main" id="{9F9869AF-B0F6-4E89-B216-4EC18C7334C2}"/>
              </a:ext>
            </a:extLst>
          </p:cNvPr>
          <p:cNvSpPr>
            <a:spLocks noGrp="1"/>
          </p:cNvSpPr>
          <p:nvPr>
            <p:custDataLst>
              <p:tags r:id="rId44"/>
            </p:custDataLst>
          </p:nvPr>
        </p:nvSpPr>
        <p:spPr bwMode="gray">
          <a:xfrm>
            <a:off x="3286125" y="4414839"/>
            <a:ext cx="241300" cy="182563"/>
          </a:xfrm>
          <a:prstGeom prst="rect">
            <a:avLst/>
          </a:prstGeom>
          <a:solidFill>
            <a:srgbClr val="9DB1CF"/>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XX</a:t>
            </a:r>
            <a:endParaRPr lang="en-GB"/>
          </a:p>
        </p:txBody>
      </p:sp>
      <p:sp>
        <p:nvSpPr>
          <p:cNvPr id="480" name="Text Placeholder 19">
            <a:extLst>
              <a:ext uri="{FF2B5EF4-FFF2-40B4-BE49-F238E27FC236}">
                <a16:creationId xmlns:a16="http://schemas.microsoft.com/office/drawing/2014/main" id="{9F9869AF-B0F6-4E89-B216-4EC18C7334C2}"/>
              </a:ext>
            </a:extLst>
          </p:cNvPr>
          <p:cNvSpPr>
            <a:spLocks noGrp="1"/>
          </p:cNvSpPr>
          <p:nvPr>
            <p:custDataLst>
              <p:tags r:id="rId45"/>
            </p:custDataLst>
          </p:nvPr>
        </p:nvSpPr>
        <p:spPr bwMode="gray">
          <a:xfrm>
            <a:off x="3957638" y="4368801"/>
            <a:ext cx="241300" cy="182563"/>
          </a:xfrm>
          <a:prstGeom prst="rect">
            <a:avLst/>
          </a:prstGeom>
          <a:solidFill>
            <a:srgbClr val="6F8DB9"/>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81" name="Text Placeholder 19">
            <a:extLst>
              <a:ext uri="{FF2B5EF4-FFF2-40B4-BE49-F238E27FC236}">
                <a16:creationId xmlns:a16="http://schemas.microsoft.com/office/drawing/2014/main" id="{9F9869AF-B0F6-4E89-B216-4EC18C7334C2}"/>
              </a:ext>
            </a:extLst>
          </p:cNvPr>
          <p:cNvSpPr>
            <a:spLocks noGrp="1"/>
          </p:cNvSpPr>
          <p:nvPr>
            <p:custDataLst>
              <p:tags r:id="rId46"/>
            </p:custDataLst>
          </p:nvPr>
        </p:nvSpPr>
        <p:spPr bwMode="gray">
          <a:xfrm>
            <a:off x="4630738" y="4318001"/>
            <a:ext cx="241300" cy="182563"/>
          </a:xfrm>
          <a:prstGeom prst="rect">
            <a:avLst/>
          </a:prstGeom>
          <a:solidFill>
            <a:srgbClr val="4C6C9C"/>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82" name="Text Placeholder 19">
            <a:extLst>
              <a:ext uri="{FF2B5EF4-FFF2-40B4-BE49-F238E27FC236}">
                <a16:creationId xmlns:a16="http://schemas.microsoft.com/office/drawing/2014/main" id="{9F9869AF-B0F6-4E89-B216-4EC18C7334C2}"/>
              </a:ext>
            </a:extLst>
          </p:cNvPr>
          <p:cNvSpPr>
            <a:spLocks noGrp="1"/>
          </p:cNvSpPr>
          <p:nvPr>
            <p:custDataLst>
              <p:tags r:id="rId47"/>
            </p:custDataLst>
          </p:nvPr>
        </p:nvSpPr>
        <p:spPr bwMode="gray">
          <a:xfrm>
            <a:off x="5302250" y="4249739"/>
            <a:ext cx="241300" cy="182563"/>
          </a:xfrm>
          <a:prstGeom prst="rect">
            <a:avLst/>
          </a:prstGeom>
          <a:solidFill>
            <a:schemeClr val="accent3"/>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XX</a:t>
            </a:r>
            <a:endParaRPr lang="en-GB"/>
          </a:p>
        </p:txBody>
      </p:sp>
      <p:sp>
        <p:nvSpPr>
          <p:cNvPr id="483" name="Text Placeholder 19">
            <a:extLst>
              <a:ext uri="{FF2B5EF4-FFF2-40B4-BE49-F238E27FC236}">
                <a16:creationId xmlns:a16="http://schemas.microsoft.com/office/drawing/2014/main" id="{9F9869AF-B0F6-4E89-B216-4EC18C7334C2}"/>
              </a:ext>
            </a:extLst>
          </p:cNvPr>
          <p:cNvSpPr>
            <a:spLocks noGrp="1"/>
          </p:cNvSpPr>
          <p:nvPr>
            <p:custDataLst>
              <p:tags r:id="rId48"/>
            </p:custDataLst>
          </p:nvPr>
        </p:nvSpPr>
        <p:spPr bwMode="gray">
          <a:xfrm>
            <a:off x="5975350" y="4164014"/>
            <a:ext cx="241300" cy="182563"/>
          </a:xfrm>
          <a:prstGeom prst="rect">
            <a:avLst/>
          </a:prstGeom>
          <a:solidFill>
            <a:schemeClr val="accent2"/>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XX</a:t>
            </a:r>
            <a:endParaRPr lang="en-GB"/>
          </a:p>
        </p:txBody>
      </p:sp>
      <p:sp>
        <p:nvSpPr>
          <p:cNvPr id="477" name="Text Placeholder 19">
            <a:extLst>
              <a:ext uri="{FF2B5EF4-FFF2-40B4-BE49-F238E27FC236}">
                <a16:creationId xmlns:a16="http://schemas.microsoft.com/office/drawing/2014/main" id="{9F9869AF-B0F6-4E89-B216-4EC18C7334C2}"/>
              </a:ext>
            </a:extLst>
          </p:cNvPr>
          <p:cNvSpPr>
            <a:spLocks noGrp="1"/>
          </p:cNvSpPr>
          <p:nvPr>
            <p:custDataLst>
              <p:tags r:id="rId49"/>
            </p:custDataLst>
          </p:nvPr>
        </p:nvSpPr>
        <p:spPr bwMode="gray">
          <a:xfrm>
            <a:off x="1941513" y="4476751"/>
            <a:ext cx="241300" cy="182563"/>
          </a:xfrm>
          <a:prstGeom prst="rect">
            <a:avLst/>
          </a:prstGeom>
          <a:solidFill>
            <a:schemeClr val="accent5"/>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86" name="Text Placeholder 19">
            <a:extLst>
              <a:ext uri="{FF2B5EF4-FFF2-40B4-BE49-F238E27FC236}">
                <a16:creationId xmlns:a16="http://schemas.microsoft.com/office/drawing/2014/main" id="{9F9869AF-B0F6-4E89-B216-4EC18C7334C2}"/>
              </a:ext>
            </a:extLst>
          </p:cNvPr>
          <p:cNvSpPr>
            <a:spLocks noGrp="1"/>
          </p:cNvSpPr>
          <p:nvPr>
            <p:custDataLst>
              <p:tags r:id="rId50"/>
            </p:custDataLst>
          </p:nvPr>
        </p:nvSpPr>
        <p:spPr bwMode="gray">
          <a:xfrm>
            <a:off x="7319963" y="3948113"/>
            <a:ext cx="241300" cy="182563"/>
          </a:xfrm>
          <a:prstGeom prst="rect">
            <a:avLst/>
          </a:prstGeom>
          <a:solidFill>
            <a:srgbClr val="B97800"/>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87" name="Text Placeholder 19">
            <a:extLst>
              <a:ext uri="{FF2B5EF4-FFF2-40B4-BE49-F238E27FC236}">
                <a16:creationId xmlns:a16="http://schemas.microsoft.com/office/drawing/2014/main" id="{9F9869AF-B0F6-4E89-B216-4EC18C7334C2}"/>
              </a:ext>
            </a:extLst>
          </p:cNvPr>
          <p:cNvSpPr>
            <a:spLocks noGrp="1"/>
          </p:cNvSpPr>
          <p:nvPr>
            <p:custDataLst>
              <p:tags r:id="rId51"/>
            </p:custDataLst>
          </p:nvPr>
        </p:nvSpPr>
        <p:spPr bwMode="gray">
          <a:xfrm>
            <a:off x="7991475" y="379571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88" name="Text Placeholder 19">
            <a:extLst>
              <a:ext uri="{FF2B5EF4-FFF2-40B4-BE49-F238E27FC236}">
                <a16:creationId xmlns:a16="http://schemas.microsoft.com/office/drawing/2014/main" id="{9F9869AF-B0F6-4E89-B216-4EC18C7334C2}"/>
              </a:ext>
            </a:extLst>
          </p:cNvPr>
          <p:cNvSpPr>
            <a:spLocks noGrp="1"/>
          </p:cNvSpPr>
          <p:nvPr>
            <p:custDataLst>
              <p:tags r:id="rId52"/>
            </p:custDataLst>
          </p:nvPr>
        </p:nvSpPr>
        <p:spPr bwMode="gray">
          <a:xfrm>
            <a:off x="8664575" y="361315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89" name="Text Placeholder 19">
            <a:extLst>
              <a:ext uri="{FF2B5EF4-FFF2-40B4-BE49-F238E27FC236}">
                <a16:creationId xmlns:a16="http://schemas.microsoft.com/office/drawing/2014/main" id="{9F9869AF-B0F6-4E89-B216-4EC18C7334C2}"/>
              </a:ext>
            </a:extLst>
          </p:cNvPr>
          <p:cNvSpPr>
            <a:spLocks noGrp="1"/>
          </p:cNvSpPr>
          <p:nvPr>
            <p:custDataLst>
              <p:tags r:id="rId53"/>
            </p:custDataLst>
          </p:nvPr>
        </p:nvSpPr>
        <p:spPr bwMode="gray">
          <a:xfrm>
            <a:off x="9336088" y="341630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XX</a:t>
            </a:r>
            <a:endParaRPr lang="en-GB"/>
          </a:p>
        </p:txBody>
      </p:sp>
      <p:sp>
        <p:nvSpPr>
          <p:cNvPr id="490" name="Text Placeholder 19">
            <a:extLst>
              <a:ext uri="{FF2B5EF4-FFF2-40B4-BE49-F238E27FC236}">
                <a16:creationId xmlns:a16="http://schemas.microsoft.com/office/drawing/2014/main" id="{9F9869AF-B0F6-4E89-B216-4EC18C7334C2}"/>
              </a:ext>
            </a:extLst>
          </p:cNvPr>
          <p:cNvSpPr>
            <a:spLocks noGrp="1"/>
          </p:cNvSpPr>
          <p:nvPr>
            <p:custDataLst>
              <p:tags r:id="rId54"/>
            </p:custDataLst>
          </p:nvPr>
        </p:nvSpPr>
        <p:spPr bwMode="gray">
          <a:xfrm>
            <a:off x="10009188" y="319881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91" name="Text Placeholder 19">
            <a:extLst>
              <a:ext uri="{FF2B5EF4-FFF2-40B4-BE49-F238E27FC236}">
                <a16:creationId xmlns:a16="http://schemas.microsoft.com/office/drawing/2014/main" id="{9F9869AF-B0F6-4E89-B216-4EC18C7334C2}"/>
              </a:ext>
            </a:extLst>
          </p:cNvPr>
          <p:cNvSpPr>
            <a:spLocks noGrp="1"/>
          </p:cNvSpPr>
          <p:nvPr>
            <p:custDataLst>
              <p:tags r:id="rId55"/>
            </p:custDataLst>
          </p:nvPr>
        </p:nvSpPr>
        <p:spPr bwMode="gray">
          <a:xfrm>
            <a:off x="10680700" y="260508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485" name="Text Placeholder 19">
            <a:extLst>
              <a:ext uri="{FF2B5EF4-FFF2-40B4-BE49-F238E27FC236}">
                <a16:creationId xmlns:a16="http://schemas.microsoft.com/office/drawing/2014/main" id="{9F9869AF-B0F6-4E89-B216-4EC18C7334C2}"/>
              </a:ext>
            </a:extLst>
          </p:cNvPr>
          <p:cNvSpPr>
            <a:spLocks noGrp="1"/>
          </p:cNvSpPr>
          <p:nvPr>
            <p:custDataLst>
              <p:tags r:id="rId56"/>
            </p:custDataLst>
          </p:nvPr>
        </p:nvSpPr>
        <p:spPr bwMode="gray">
          <a:xfrm>
            <a:off x="6646863" y="4065589"/>
            <a:ext cx="241300" cy="182563"/>
          </a:xfrm>
          <a:prstGeom prst="rect">
            <a:avLst/>
          </a:prstGeom>
          <a:solidFill>
            <a:schemeClr val="accent1"/>
          </a:solid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chemeClr val="bg1"/>
                </a:solidFill>
                <a:effectLst/>
              </a:rPr>
              <a:t>XX</a:t>
            </a:r>
            <a:endParaRPr lang="en-GB">
              <a:solidFill>
                <a:schemeClr val="bg1"/>
              </a:solidFill>
            </a:endParaRPr>
          </a:p>
        </p:txBody>
      </p:sp>
      <p:sp>
        <p:nvSpPr>
          <p:cNvPr id="368" name="Text Placeholder 19">
            <a:extLst>
              <a:ext uri="{FF2B5EF4-FFF2-40B4-BE49-F238E27FC236}">
                <a16:creationId xmlns:a16="http://schemas.microsoft.com/office/drawing/2014/main" id="{9F9869AF-B0F6-4E89-B216-4EC18C7334C2}"/>
              </a:ext>
            </a:extLst>
          </p:cNvPr>
          <p:cNvSpPr>
            <a:spLocks noGrp="1"/>
          </p:cNvSpPr>
          <p:nvPr>
            <p:custDataLst>
              <p:tags r:id="rId57"/>
            </p:custDataLst>
          </p:nvPr>
        </p:nvSpPr>
        <p:spPr bwMode="auto">
          <a:xfrm>
            <a:off x="5949950" y="1693863"/>
            <a:ext cx="292100" cy="258763"/>
          </a:xfrm>
          <a:prstGeom prst="ellipse">
            <a:avLst/>
          </a:prstGeom>
          <a:solidFill>
            <a:schemeClr val="tx2"/>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b="1">
                <a:solidFill>
                  <a:schemeClr val="bg1"/>
                </a:solidFill>
                <a:effectLst/>
              </a:rPr>
              <a:t>XX</a:t>
            </a:r>
            <a:endParaRPr kumimoji="0" lang="en-GB" b="1" i="0" strike="noStrike" kern="1200" cap="none" spc="0" normalizeH="0" baseline="0" noProof="0">
              <a:ln>
                <a:noFill/>
              </a:ln>
              <a:solidFill>
                <a:schemeClr val="bg1"/>
              </a:solidFill>
              <a:effectLst/>
              <a:uLnTx/>
              <a:uFillTx/>
              <a:sym typeface="Lato" panose="020F0502020204030203" pitchFamily="34" charset="0"/>
            </a:endParaRPr>
          </a:p>
        </p:txBody>
      </p:sp>
      <p:sp>
        <p:nvSpPr>
          <p:cNvPr id="2" name="Text Placeholder 1">
            <a:extLst>
              <a:ext uri="{FF2B5EF4-FFF2-40B4-BE49-F238E27FC236}">
                <a16:creationId xmlns:a16="http://schemas.microsoft.com/office/drawing/2014/main" id="{0D326790-F4D0-4D4C-9838-536A4F463977}"/>
              </a:ext>
            </a:extLst>
          </p:cNvPr>
          <p:cNvSpPr>
            <a:spLocks noGrp="1"/>
          </p:cNvSpPr>
          <p:nvPr>
            <p:ph type="body" sz="quarter" idx="22"/>
          </p:nvPr>
        </p:nvSpPr>
        <p:spPr>
          <a:xfrm>
            <a:off x="391212" y="6965663"/>
            <a:ext cx="1931619" cy="110800"/>
          </a:xfrm>
        </p:spPr>
        <p:txBody>
          <a:bodyPr/>
          <a:lstStyle/>
          <a:p>
            <a:r>
              <a:rPr lang="en-GB"/>
              <a:t>Sources: Aurora Energy Research, Eurostat</a:t>
            </a:r>
          </a:p>
        </p:txBody>
      </p:sp>
      <p:sp>
        <p:nvSpPr>
          <p:cNvPr id="3" name="Title 2">
            <a:extLst>
              <a:ext uri="{FF2B5EF4-FFF2-40B4-BE49-F238E27FC236}">
                <a16:creationId xmlns:a16="http://schemas.microsoft.com/office/drawing/2014/main" id="{730ABDDA-85A4-4992-908F-C9093A4C6D5E}"/>
              </a:ext>
            </a:extLst>
          </p:cNvPr>
          <p:cNvSpPr>
            <a:spLocks noGrp="1"/>
          </p:cNvSpPr>
          <p:nvPr>
            <p:ph type="title"/>
          </p:nvPr>
        </p:nvSpPr>
        <p:spPr/>
        <p:txBody>
          <a:bodyPr vert="horz"/>
          <a:lstStyle/>
          <a:p>
            <a:r>
              <a:rPr lang="en-GB"/>
              <a:t>Full delivery of the current pipeline would see battery capacity in Europe grow fourfold </a:t>
            </a:r>
            <a:r>
              <a:rPr lang="en-GB">
                <a:solidFill>
                  <a:schemeClr val="tx1"/>
                </a:solidFill>
              </a:rPr>
              <a:t>to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a:solidFill>
                  <a:schemeClr val="tx1"/>
                </a:solidFill>
              </a:rPr>
              <a:t>GW </a:t>
            </a:r>
            <a:r>
              <a:rPr lang="en-GB"/>
              <a:t>by 2026, a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a:t>GW increase</a:t>
            </a:r>
          </a:p>
        </p:txBody>
      </p:sp>
      <p:sp>
        <p:nvSpPr>
          <p:cNvPr id="628" name="Text Placeholder 627">
            <a:extLst>
              <a:ext uri="{FF2B5EF4-FFF2-40B4-BE49-F238E27FC236}">
                <a16:creationId xmlns:a16="http://schemas.microsoft.com/office/drawing/2014/main" id="{C313EDBE-CB28-BF80-1DDF-D2065F0AE289}"/>
              </a:ext>
            </a:extLst>
          </p:cNvPr>
          <p:cNvSpPr>
            <a:spLocks noGrp="1"/>
          </p:cNvSpPr>
          <p:nvPr>
            <p:ph type="body" sz="quarter" idx="32"/>
          </p:nvPr>
        </p:nvSpPr>
        <p:spPr>
          <a:xfrm>
            <a:off x="375285" y="6680525"/>
            <a:ext cx="11428800" cy="110800"/>
          </a:xfrm>
        </p:spPr>
        <p:txBody>
          <a:bodyPr/>
          <a:lstStyle/>
          <a:p>
            <a:r>
              <a:rPr lang="en-GB"/>
              <a:t>Sources: Aurora Energy Research</a:t>
            </a:r>
          </a:p>
        </p:txBody>
      </p:sp>
      <p:sp>
        <p:nvSpPr>
          <p:cNvPr id="605" name="Text Placeholder 6">
            <a:extLst>
              <a:ext uri="{FF2B5EF4-FFF2-40B4-BE49-F238E27FC236}">
                <a16:creationId xmlns:a16="http://schemas.microsoft.com/office/drawing/2014/main" id="{169AAFD2-AAD4-3555-5779-529F51F9D46D}"/>
              </a:ext>
            </a:extLst>
          </p:cNvPr>
          <p:cNvSpPr txBox="1">
            <a:spLocks/>
          </p:cNvSpPr>
          <p:nvPr/>
        </p:nvSpPr>
        <p:spPr>
          <a:xfrm>
            <a:off x="381000" y="1263129"/>
            <a:ext cx="5376000" cy="369332"/>
          </a:xfrm>
          <a:prstGeom prst="rect">
            <a:avLst/>
          </a:prstGeom>
        </p:spPr>
        <p:txBody>
          <a:bodyPr lIns="0" tIns="0" rIns="0"/>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Near-term project pipeline of grid-scale batteries</a:t>
            </a:r>
            <a:r>
              <a:rPr kumimoji="0" lang="en-GB" sz="1200" b="1" i="0" u="none" strike="noStrike" kern="1200" cap="none" spc="0" normalizeH="0" baseline="30000" noProof="0">
                <a:ln>
                  <a:noFill/>
                </a:ln>
                <a:solidFill>
                  <a:srgbClr val="3C3C3B"/>
                </a:solidFill>
                <a:effectLst/>
                <a:uLnTx/>
                <a:uFillTx/>
                <a:latin typeface="Lato"/>
                <a:sym typeface="Lato" panose="020F0502020204030203" pitchFamily="34" charset="0"/>
              </a:rPr>
              <a:t>1</a:t>
            </a:r>
            <a:b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br>
            <a: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t>GW, nameplate</a:t>
            </a:r>
          </a:p>
        </p:txBody>
      </p:sp>
      <p:sp>
        <p:nvSpPr>
          <p:cNvPr id="7" name="Text Placeholder 6">
            <a:extLst>
              <a:ext uri="{FF2B5EF4-FFF2-40B4-BE49-F238E27FC236}">
                <a16:creationId xmlns:a16="http://schemas.microsoft.com/office/drawing/2014/main" id="{C8958C88-EF75-2D3A-D040-82C253F948FE}"/>
              </a:ext>
            </a:extLst>
          </p:cNvPr>
          <p:cNvSpPr>
            <a:spLocks noGrp="1"/>
          </p:cNvSpPr>
          <p:nvPr>
            <p:ph type="body" sz="quarter" idx="31"/>
          </p:nvPr>
        </p:nvSpPr>
        <p:spPr>
          <a:xfrm>
            <a:off x="381599" y="79401"/>
            <a:ext cx="3944991" cy="184666"/>
          </a:xfrm>
        </p:spPr>
        <p:txBody>
          <a:bodyPr/>
          <a:lstStyle/>
          <a:p>
            <a:pPr marL="444500" indent="-444500"/>
            <a:r>
              <a:rPr lang="en-GB"/>
              <a:t>	Market size and outlook – Competitive environment</a:t>
            </a:r>
          </a:p>
        </p:txBody>
      </p:sp>
      <p:sp>
        <p:nvSpPr>
          <p:cNvPr id="8" name="Oval 7">
            <a:extLst>
              <a:ext uri="{FF2B5EF4-FFF2-40B4-BE49-F238E27FC236}">
                <a16:creationId xmlns:a16="http://schemas.microsoft.com/office/drawing/2014/main" id="{AFAF9B62-1625-6AE9-3789-E97A21E1312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9" name="Oval 8">
            <a:extLst>
              <a:ext uri="{FF2B5EF4-FFF2-40B4-BE49-F238E27FC236}">
                <a16:creationId xmlns:a16="http://schemas.microsoft.com/office/drawing/2014/main" id="{68219709-C896-547C-55A8-1CA9BF619400}"/>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Tree>
    <p:extLst>
      <p:ext uri="{BB962C8B-B14F-4D97-AF65-F5344CB8AC3E}">
        <p14:creationId xmlns:p14="http://schemas.microsoft.com/office/powerpoint/2010/main" val="2950253748"/>
      </p:ext>
    </p:extLst>
  </p:cSld>
  <p:clrMapOvr>
    <a:masterClrMapping/>
  </p:clrMapOvr>
  <p:extLst>
    <p:ext uri="{6950BFC3-D8DA-4A85-94F7-54DA5524770B}">
      <p188:commentRel xmlns:p188="http://schemas.microsoft.com/office/powerpoint/2018/8/main" r:id="rId60"/>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CE86309-6E15-E7B6-29FC-C0E797E9F063}"/>
              </a:ext>
            </a:extLst>
          </p:cNvPr>
          <p:cNvGraphicFramePr>
            <a:graphicFrameLocks noChangeAspect="1"/>
          </p:cNvGraphicFramePr>
          <p:nvPr>
            <p:custDataLst>
              <p:tags r:id="rId1"/>
            </p:custDataLst>
            <p:extLst>
              <p:ext uri="{D42A27DB-BD31-4B8C-83A1-F6EECF244321}">
                <p14:modId xmlns:p14="http://schemas.microsoft.com/office/powerpoint/2010/main" val="354774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0" name="Object 9" hidden="1">
                        <a:extLst>
                          <a:ext uri="{FF2B5EF4-FFF2-40B4-BE49-F238E27FC236}">
                            <a16:creationId xmlns:a16="http://schemas.microsoft.com/office/drawing/2014/main" id="{5CE86309-6E15-E7B6-29FC-C0E797E9F0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89" name="Table 8">
            <a:extLst>
              <a:ext uri="{FF2B5EF4-FFF2-40B4-BE49-F238E27FC236}">
                <a16:creationId xmlns:a16="http://schemas.microsoft.com/office/drawing/2014/main" id="{63C3B826-7DFC-F419-6749-ACED165E89F9}"/>
              </a:ext>
            </a:extLst>
          </p:cNvPr>
          <p:cNvGraphicFramePr>
            <a:graphicFrameLocks noGrp="1"/>
          </p:cNvGraphicFramePr>
          <p:nvPr>
            <p:extLst>
              <p:ext uri="{D42A27DB-BD31-4B8C-83A1-F6EECF244321}">
                <p14:modId xmlns:p14="http://schemas.microsoft.com/office/powerpoint/2010/main" val="414783343"/>
              </p:ext>
            </p:extLst>
          </p:nvPr>
        </p:nvGraphicFramePr>
        <p:xfrm>
          <a:off x="2436814" y="4310128"/>
          <a:ext cx="3318600" cy="1719516"/>
        </p:xfrm>
        <a:graphic>
          <a:graphicData uri="http://schemas.openxmlformats.org/drawingml/2006/table">
            <a:tbl>
              <a:tblPr firstRow="1" bandRow="1">
                <a:tableStyleId>{5C22544A-7EE6-4342-B048-85BDC9FD1C3A}</a:tableStyleId>
              </a:tblPr>
              <a:tblGrid>
                <a:gridCol w="1195028">
                  <a:extLst>
                    <a:ext uri="{9D8B030D-6E8A-4147-A177-3AD203B41FA5}">
                      <a16:colId xmlns:a16="http://schemas.microsoft.com/office/drawing/2014/main" val="1383720204"/>
                    </a:ext>
                  </a:extLst>
                </a:gridCol>
                <a:gridCol w="1236774">
                  <a:extLst>
                    <a:ext uri="{9D8B030D-6E8A-4147-A177-3AD203B41FA5}">
                      <a16:colId xmlns:a16="http://schemas.microsoft.com/office/drawing/2014/main" val="520717186"/>
                    </a:ext>
                  </a:extLst>
                </a:gridCol>
                <a:gridCol w="886798">
                  <a:extLst>
                    <a:ext uri="{9D8B030D-6E8A-4147-A177-3AD203B41FA5}">
                      <a16:colId xmlns:a16="http://schemas.microsoft.com/office/drawing/2014/main" val="1072819038"/>
                    </a:ext>
                  </a:extLst>
                </a:gridCol>
              </a:tblGrid>
              <a:tr h="217172">
                <a:tc>
                  <a:txBody>
                    <a:bodyPr/>
                    <a:lstStyle/>
                    <a:p>
                      <a:pPr algn="ctr" fontAlgn="b"/>
                      <a:r>
                        <a:rPr lang="nn-NO" sz="1200" b="1" i="0" u="none" strike="noStrike">
                          <a:solidFill>
                            <a:srgbClr val="000000"/>
                          </a:solidFill>
                          <a:effectLst/>
                          <a:latin typeface="+mn-lt"/>
                        </a:rPr>
                        <a:t>Top 3 integrators</a:t>
                      </a: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nn-NO" sz="1200" b="1" i="0" u="none" strike="noStrike">
                          <a:solidFill>
                            <a:schemeClr val="tx1"/>
                          </a:solidFill>
                          <a:effectLst/>
                          <a:latin typeface="+mn-lt"/>
                        </a:rPr>
                        <a:t>Others</a:t>
                      </a:r>
                      <a:r>
                        <a:rPr lang="nn-NO" sz="1200" b="1" i="0" u="none" strike="noStrike" baseline="30000">
                          <a:solidFill>
                            <a:schemeClr val="tx1"/>
                          </a:solidFill>
                          <a:effectLst/>
                          <a:latin typeface="+mn-lt"/>
                        </a:rPr>
                        <a:t>1</a:t>
                      </a:r>
                      <a:endParaRPr lang="nn-NO" sz="1200" b="1" i="0" u="none" strike="noStrike">
                        <a:solidFill>
                          <a:schemeClr val="tx1"/>
                        </a:solidFill>
                        <a:effectLst/>
                        <a:latin typeface="+mn-lt"/>
                      </a:endParaRP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11532518"/>
                  </a:ext>
                </a:extLst>
              </a:tr>
              <a:tr h="436187">
                <a:tc>
                  <a:txBody>
                    <a:bodyPr/>
                    <a:lstStyle/>
                    <a:p>
                      <a:pPr algn="ctr" fontAlgn="b"/>
                      <a:endParaRPr lang="nn-NO" sz="1200" b="0" i="0" u="none" strike="noStrike">
                        <a:solidFill>
                          <a:srgbClr val="000000"/>
                        </a:solidFill>
                        <a:effectLst/>
                        <a:latin typeface="+mn-lt"/>
                      </a:endParaRP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algn="ctr" fontAlgn="b"/>
                      <a:endParaRPr lang="nn-NO" sz="1200" b="0" i="1" u="none" strike="noStrike">
                        <a:solidFill>
                          <a:schemeClr val="tx1"/>
                        </a:solidFill>
                        <a:effectLst/>
                        <a:latin typeface="+mn-lt"/>
                      </a:endParaRP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nn-NO" sz="1200" b="0" i="1" u="none" strike="noStrike">
                        <a:solidFill>
                          <a:schemeClr val="tx1"/>
                        </a:solidFill>
                        <a:effectLst/>
                        <a:latin typeface="+mn-lt"/>
                      </a:endParaRP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0090524"/>
                  </a:ext>
                </a:extLst>
              </a:tr>
              <a:tr h="582992">
                <a:tc>
                  <a:txBody>
                    <a:bodyPr/>
                    <a:lstStyle/>
                    <a:p>
                      <a:pPr algn="ctr" fontAlgn="b"/>
                      <a:endParaRPr lang="en-GB" sz="1200" b="0" i="0" u="none" strike="noStrike">
                        <a:solidFill>
                          <a:srgbClr val="000000"/>
                        </a:solidFill>
                        <a:effectLst/>
                        <a:latin typeface="+mn-lt"/>
                      </a:endParaRP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b"/>
                      <a:endParaRPr lang="en-GB" sz="1200" b="0" i="0" u="none" strike="noStrike">
                        <a:solidFill>
                          <a:schemeClr val="tx1"/>
                        </a:solidFill>
                        <a:effectLst/>
                        <a:latin typeface="+mn-lt"/>
                      </a:endParaRP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extLst>
                  <a:ext uri="{0D108BD9-81ED-4DB2-BD59-A6C34878D82A}">
                    <a16:rowId xmlns:a16="http://schemas.microsoft.com/office/drawing/2014/main" val="3861654269"/>
                  </a:ext>
                </a:extLst>
              </a:tr>
              <a:tr h="483165">
                <a:tc>
                  <a:txBody>
                    <a:bodyPr/>
                    <a:lstStyle/>
                    <a:p>
                      <a:pPr algn="ctr" fontAlgn="b"/>
                      <a:endParaRPr lang="en-GB" sz="1200" b="0" i="0" u="none" strike="noStrike">
                        <a:solidFill>
                          <a:srgbClr val="000000"/>
                        </a:solidFill>
                        <a:effectLst/>
                        <a:latin typeface="+mn-lt"/>
                      </a:endParaRP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b"/>
                      <a:endParaRPr lang="en-GB" sz="1200" b="0" i="0" u="none" strike="noStrike">
                        <a:solidFill>
                          <a:schemeClr val="tx1"/>
                        </a:solidFill>
                        <a:effectLst/>
                        <a:latin typeface="+mn-lt"/>
                      </a:endParaRPr>
                    </a:p>
                  </a:txBody>
                  <a:tcPr marL="6350" marR="6350" marT="635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extLst>
                  <a:ext uri="{0D108BD9-81ED-4DB2-BD59-A6C34878D82A}">
                    <a16:rowId xmlns:a16="http://schemas.microsoft.com/office/drawing/2014/main" val="3685667916"/>
                  </a:ext>
                </a:extLst>
              </a:tr>
            </a:tbl>
          </a:graphicData>
        </a:graphic>
      </p:graphicFrame>
      <p:sp>
        <p:nvSpPr>
          <p:cNvPr id="5" name="Text Placeholder 4">
            <a:extLst>
              <a:ext uri="{FF2B5EF4-FFF2-40B4-BE49-F238E27FC236}">
                <a16:creationId xmlns:a16="http://schemas.microsoft.com/office/drawing/2014/main" id="{C05EBABC-1932-BE06-394E-B622A243B0AA}"/>
              </a:ext>
            </a:extLst>
          </p:cNvPr>
          <p:cNvSpPr>
            <a:spLocks noGrp="1"/>
          </p:cNvSpPr>
          <p:nvPr>
            <p:ph type="body" sz="quarter" idx="22"/>
          </p:nvPr>
        </p:nvSpPr>
        <p:spPr>
          <a:xfrm>
            <a:off x="381001" y="6715169"/>
            <a:ext cx="1522853" cy="110800"/>
          </a:xfrm>
        </p:spPr>
        <p:txBody>
          <a:bodyPr/>
          <a:lstStyle/>
          <a:p>
            <a:r>
              <a:rPr lang="en-GB"/>
              <a:t>Sources: Aurora Energy Research</a:t>
            </a:r>
          </a:p>
        </p:txBody>
      </p:sp>
      <p:sp>
        <p:nvSpPr>
          <p:cNvPr id="6" name="Title 5">
            <a:extLst>
              <a:ext uri="{FF2B5EF4-FFF2-40B4-BE49-F238E27FC236}">
                <a16:creationId xmlns:a16="http://schemas.microsoft.com/office/drawing/2014/main" id="{902867D5-7378-2226-AB80-16CD04B3086C}"/>
              </a:ext>
            </a:extLst>
          </p:cNvPr>
          <p:cNvSpPr>
            <a:spLocks noGrp="1"/>
          </p:cNvSpPr>
          <p:nvPr>
            <p:ph type="title"/>
          </p:nvPr>
        </p:nvSpPr>
        <p:spPr/>
        <p:txBody>
          <a:bodyPr vert="horz"/>
          <a:lstStyle/>
          <a:p>
            <a:r>
              <a:rPr lang="en-GB"/>
              <a:t>A growing number of battery suppliers, integrators and route-to-market providers are active in Europe as the BESS industry grows</a:t>
            </a:r>
          </a:p>
        </p:txBody>
      </p:sp>
      <p:sp>
        <p:nvSpPr>
          <p:cNvPr id="8" name="Text Placeholder 7">
            <a:extLst>
              <a:ext uri="{FF2B5EF4-FFF2-40B4-BE49-F238E27FC236}">
                <a16:creationId xmlns:a16="http://schemas.microsoft.com/office/drawing/2014/main" id="{BA16A085-03D9-0C14-C589-15B3913226D0}"/>
              </a:ext>
            </a:extLst>
          </p:cNvPr>
          <p:cNvSpPr>
            <a:spLocks noGrp="1"/>
          </p:cNvSpPr>
          <p:nvPr>
            <p:ph type="body" sz="quarter" idx="32"/>
          </p:nvPr>
        </p:nvSpPr>
        <p:spPr>
          <a:xfrm>
            <a:off x="381600" y="6499545"/>
            <a:ext cx="11428800" cy="110800"/>
          </a:xfrm>
        </p:spPr>
        <p:txBody>
          <a:bodyPr/>
          <a:lstStyle/>
          <a:p>
            <a:r>
              <a:rPr lang="en-GB"/>
              <a:t>1) Non-exhaustive list of integrators for known operational European batteries. 2) Non-exhaustive list. 3) Other European countries including </a:t>
            </a:r>
            <a:r>
              <a:rPr lang="en-GB" sz="800" b="0" kern="1200">
                <a:solidFill>
                  <a:schemeClr val="dk1"/>
                </a:solidFill>
                <a:latin typeface="+mn-lt"/>
                <a:ea typeface="+mn-ea"/>
                <a:cs typeface="+mn-cs"/>
              </a:rPr>
              <a:t>Poland, Greece, Hungary, Slovenia, Serbia, Romania, Croatia, Bulgaria, Lithuania, Latvia, Estonia.</a:t>
            </a:r>
            <a:endParaRPr lang="en-GB"/>
          </a:p>
        </p:txBody>
      </p:sp>
      <p:sp>
        <p:nvSpPr>
          <p:cNvPr id="33" name="Text Placeholder 3">
            <a:extLst>
              <a:ext uri="{FF2B5EF4-FFF2-40B4-BE49-F238E27FC236}">
                <a16:creationId xmlns:a16="http://schemas.microsoft.com/office/drawing/2014/main" id="{CD6FDF29-3317-52BF-81FA-EED3C70DA02C}"/>
              </a:ext>
            </a:extLst>
          </p:cNvPr>
          <p:cNvSpPr txBox="1">
            <a:spLocks/>
          </p:cNvSpPr>
          <p:nvPr/>
        </p:nvSpPr>
        <p:spPr>
          <a:xfrm>
            <a:off x="373636" y="3978327"/>
            <a:ext cx="5383363"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2022 top 3 integrators in Europe by market share</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a:t>
            </a:r>
          </a:p>
        </p:txBody>
      </p:sp>
      <p:sp>
        <p:nvSpPr>
          <p:cNvPr id="2" name="Text Placeholder 9">
            <a:extLst>
              <a:ext uri="{FF2B5EF4-FFF2-40B4-BE49-F238E27FC236}">
                <a16:creationId xmlns:a16="http://schemas.microsoft.com/office/drawing/2014/main" id="{D53DDC35-FBEB-6C8C-ABB3-2285D04E9E45}"/>
              </a:ext>
            </a:extLst>
          </p:cNvPr>
          <p:cNvSpPr txBox="1">
            <a:spLocks/>
          </p:cNvSpPr>
          <p:nvPr/>
        </p:nvSpPr>
        <p:spPr>
          <a:xfrm>
            <a:off x="381599" y="79401"/>
            <a:ext cx="3944991"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500" indent="-444500"/>
            <a:r>
              <a:rPr lang="en-GB"/>
              <a:t>	Market size and outlook – Competitive environment</a:t>
            </a:r>
          </a:p>
        </p:txBody>
      </p:sp>
      <p:graphicFrame>
        <p:nvGraphicFramePr>
          <p:cNvPr id="13" name="Chart 12">
            <a:extLst>
              <a:ext uri="{FF2B5EF4-FFF2-40B4-BE49-F238E27FC236}">
                <a16:creationId xmlns:a16="http://schemas.microsoft.com/office/drawing/2014/main" id="{308C0DB7-12B6-5400-9DB7-921502780662}"/>
              </a:ext>
            </a:extLst>
          </p:cNvPr>
          <p:cNvGraphicFramePr/>
          <p:nvPr>
            <p:custDataLst>
              <p:tags r:id="rId2"/>
            </p:custDataLst>
            <p:extLst>
              <p:ext uri="{D42A27DB-BD31-4B8C-83A1-F6EECF244321}">
                <p14:modId xmlns:p14="http://schemas.microsoft.com/office/powerpoint/2010/main" val="2809715531"/>
              </p:ext>
            </p:extLst>
          </p:nvPr>
        </p:nvGraphicFramePr>
        <p:xfrm>
          <a:off x="2419350" y="1919288"/>
          <a:ext cx="3162300" cy="1966912"/>
        </p:xfrm>
        <a:graphic>
          <a:graphicData uri="http://schemas.openxmlformats.org/drawingml/2006/chart">
            <c:chart xmlns:c="http://schemas.openxmlformats.org/drawingml/2006/chart" xmlns:r="http://schemas.openxmlformats.org/officeDocument/2006/relationships" r:id="rId8"/>
          </a:graphicData>
        </a:graphic>
      </p:graphicFrame>
      <p:sp>
        <p:nvSpPr>
          <p:cNvPr id="69" name="Text Placeholder 3">
            <a:extLst>
              <a:ext uri="{FF2B5EF4-FFF2-40B4-BE49-F238E27FC236}">
                <a16:creationId xmlns:a16="http://schemas.microsoft.com/office/drawing/2014/main" id="{146C4DDF-F4A1-AB4C-DF8B-4F7EF9C6C095}"/>
              </a:ext>
            </a:extLst>
          </p:cNvPr>
          <p:cNvSpPr txBox="1">
            <a:spLocks/>
          </p:cNvSpPr>
          <p:nvPr/>
        </p:nvSpPr>
        <p:spPr>
          <a:xfrm>
            <a:off x="380999" y="1648004"/>
            <a:ext cx="5376000" cy="369332"/>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2023 top 5 global market share of battery suppliers </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a:t>
            </a:r>
          </a:p>
        </p:txBody>
      </p:sp>
      <p:graphicFrame>
        <p:nvGraphicFramePr>
          <p:cNvPr id="22" name="Chart 21">
            <a:extLst>
              <a:ext uri="{FF2B5EF4-FFF2-40B4-BE49-F238E27FC236}">
                <a16:creationId xmlns:a16="http://schemas.microsoft.com/office/drawing/2014/main" id="{E5CE7C90-763E-0FCA-CDF7-9C0288415D70}"/>
              </a:ext>
            </a:extLst>
          </p:cNvPr>
          <p:cNvGraphicFramePr/>
          <p:nvPr>
            <p:custDataLst>
              <p:tags r:id="rId3"/>
            </p:custDataLst>
            <p:extLst>
              <p:ext uri="{D42A27DB-BD31-4B8C-83A1-F6EECF244321}">
                <p14:modId xmlns:p14="http://schemas.microsoft.com/office/powerpoint/2010/main" val="2754045147"/>
              </p:ext>
            </p:extLst>
          </p:nvPr>
        </p:nvGraphicFramePr>
        <p:xfrm>
          <a:off x="755650" y="4411663"/>
          <a:ext cx="1541463" cy="1755775"/>
        </p:xfrm>
        <a:graphic>
          <a:graphicData uri="http://schemas.openxmlformats.org/drawingml/2006/chart">
            <c:chart xmlns:c="http://schemas.openxmlformats.org/drawingml/2006/chart" xmlns:r="http://schemas.openxmlformats.org/officeDocument/2006/relationships" r:id="rId9"/>
          </a:graphicData>
        </a:graphic>
      </p:graphicFrame>
      <p:sp>
        <p:nvSpPr>
          <p:cNvPr id="4" name="TextBox 3">
            <a:extLst>
              <a:ext uri="{FF2B5EF4-FFF2-40B4-BE49-F238E27FC236}">
                <a16:creationId xmlns:a16="http://schemas.microsoft.com/office/drawing/2014/main" id="{82B00508-E01F-9F72-B888-29B2836BEC54}"/>
              </a:ext>
            </a:extLst>
          </p:cNvPr>
          <p:cNvSpPr txBox="1"/>
          <p:nvPr/>
        </p:nvSpPr>
        <p:spPr>
          <a:xfrm>
            <a:off x="6463495" y="1643619"/>
            <a:ext cx="5375999" cy="18466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Examples of route-to-market providers across Europe</a:t>
            </a:r>
            <a:r>
              <a:rPr lang="en-GB" sz="1200" b="1" baseline="30000">
                <a:solidFill>
                  <a:srgbClr val="3C3C3B"/>
                </a:solidFill>
                <a:latin typeface="Lato"/>
              </a:rPr>
              <a:t>2</a:t>
            </a:r>
            <a:endParaRPr kumimoji="0" lang="en-GB"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endParaRPr>
          </a:p>
        </p:txBody>
      </p:sp>
      <p:graphicFrame>
        <p:nvGraphicFramePr>
          <p:cNvPr id="114" name="Table 8">
            <a:extLst>
              <a:ext uri="{FF2B5EF4-FFF2-40B4-BE49-F238E27FC236}">
                <a16:creationId xmlns:a16="http://schemas.microsoft.com/office/drawing/2014/main" id="{E443F379-8907-E2A5-5522-F09B197FF2DD}"/>
              </a:ext>
            </a:extLst>
          </p:cNvPr>
          <p:cNvGraphicFramePr>
            <a:graphicFrameLocks noGrp="1"/>
          </p:cNvGraphicFramePr>
          <p:nvPr>
            <p:extLst>
              <p:ext uri="{D42A27DB-BD31-4B8C-83A1-F6EECF244321}">
                <p14:modId xmlns:p14="http://schemas.microsoft.com/office/powerpoint/2010/main" val="2754106592"/>
              </p:ext>
            </p:extLst>
          </p:nvPr>
        </p:nvGraphicFramePr>
        <p:xfrm>
          <a:off x="6415813" y="1938516"/>
          <a:ext cx="5430589" cy="4275095"/>
        </p:xfrm>
        <a:graphic>
          <a:graphicData uri="http://schemas.openxmlformats.org/drawingml/2006/table">
            <a:tbl>
              <a:tblPr firstRow="1" bandRow="1">
                <a:tableStyleId>{5C22544A-7EE6-4342-B048-85BDC9FD1C3A}</a:tableStyleId>
              </a:tblPr>
              <a:tblGrid>
                <a:gridCol w="1363844">
                  <a:extLst>
                    <a:ext uri="{9D8B030D-6E8A-4147-A177-3AD203B41FA5}">
                      <a16:colId xmlns:a16="http://schemas.microsoft.com/office/drawing/2014/main" val="2000524583"/>
                    </a:ext>
                  </a:extLst>
                </a:gridCol>
                <a:gridCol w="208280">
                  <a:extLst>
                    <a:ext uri="{9D8B030D-6E8A-4147-A177-3AD203B41FA5}">
                      <a16:colId xmlns:a16="http://schemas.microsoft.com/office/drawing/2014/main" val="1833034295"/>
                    </a:ext>
                  </a:extLst>
                </a:gridCol>
                <a:gridCol w="1494730">
                  <a:extLst>
                    <a:ext uri="{9D8B030D-6E8A-4147-A177-3AD203B41FA5}">
                      <a16:colId xmlns:a16="http://schemas.microsoft.com/office/drawing/2014/main" val="1383720204"/>
                    </a:ext>
                  </a:extLst>
                </a:gridCol>
                <a:gridCol w="1049866">
                  <a:extLst>
                    <a:ext uri="{9D8B030D-6E8A-4147-A177-3AD203B41FA5}">
                      <a16:colId xmlns:a16="http://schemas.microsoft.com/office/drawing/2014/main" val="2200919182"/>
                    </a:ext>
                  </a:extLst>
                </a:gridCol>
                <a:gridCol w="1313869">
                  <a:extLst>
                    <a:ext uri="{9D8B030D-6E8A-4147-A177-3AD203B41FA5}">
                      <a16:colId xmlns:a16="http://schemas.microsoft.com/office/drawing/2014/main" val="3448873187"/>
                    </a:ext>
                  </a:extLst>
                </a:gridCol>
              </a:tblGrid>
              <a:tr h="1733598">
                <a:tc>
                  <a:txBody>
                    <a:bodyPr/>
                    <a:lstStyle/>
                    <a:p>
                      <a:pPr algn="ctr" fontAlgn="b"/>
                      <a:r>
                        <a:rPr lang="en-GB" sz="1200" b="1" i="0" kern="1200">
                          <a:solidFill>
                            <a:schemeClr val="dk1"/>
                          </a:solidFill>
                          <a:latin typeface="+mn-lt"/>
                          <a:ea typeface="+mn-ea"/>
                          <a:cs typeface="+mn-cs"/>
                        </a:rPr>
                        <a:t>Active players in the UK</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endParaRPr lang="en-GB" sz="1200"/>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nn-NO" sz="1200" b="0" i="1" u="none" strike="noStrike">
                        <a:solidFill>
                          <a:srgbClr val="000000"/>
                        </a:solidFill>
                        <a:effectLst/>
                        <a:latin typeface="+mn-lt"/>
                      </a:endParaRPr>
                    </a:p>
                  </a:txBody>
                  <a:tcPr marL="36000" marR="36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nn-NO" sz="1200" b="0" i="1" u="none" strike="noStrike">
                        <a:solidFill>
                          <a:srgbClr val="000000"/>
                        </a:solidFill>
                        <a:effectLst/>
                        <a:latin typeface="+mn-lt"/>
                      </a:endParaRPr>
                    </a:p>
                  </a:txBody>
                  <a:tcPr marL="36000" marR="36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nn-NO" sz="1200" b="0" i="1" u="none" strike="noStrike">
                        <a:solidFill>
                          <a:srgbClr val="000000"/>
                        </a:solidFill>
                        <a:effectLst/>
                        <a:latin typeface="+mn-lt"/>
                      </a:endParaRPr>
                    </a:p>
                  </a:txBody>
                  <a:tcPr marL="36000" marR="36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5413705"/>
                  </a:ext>
                </a:extLst>
              </a:tr>
              <a:tr h="1611086">
                <a:tc>
                  <a:txBody>
                    <a:bodyPr/>
                    <a:lstStyle/>
                    <a:p>
                      <a:pPr algn="ctr" fontAlgn="b"/>
                      <a:r>
                        <a:rPr lang="en-GB" sz="1200" b="1" kern="1200">
                          <a:solidFill>
                            <a:schemeClr val="dk1"/>
                          </a:solidFill>
                          <a:latin typeface="+mn-lt"/>
                          <a:ea typeface="+mn-ea"/>
                          <a:cs typeface="+mn-cs"/>
                        </a:rPr>
                        <a:t>Players in other moderately established markets</a:t>
                      </a:r>
                      <a:endParaRPr lang="en-GB" sz="1200" b="0" i="1" kern="1200">
                        <a:solidFill>
                          <a:schemeClr val="dk1"/>
                        </a:solidFill>
                        <a:latin typeface="+mn-lt"/>
                        <a:ea typeface="+mn-ea"/>
                        <a:cs typeface="+mn-cs"/>
                      </a:endParaRPr>
                    </a:p>
                    <a:p>
                      <a:pPr algn="ctr" fontAlgn="b"/>
                      <a:r>
                        <a:rPr lang="en-GB" sz="1200" b="0" i="1" kern="1200">
                          <a:solidFill>
                            <a:schemeClr val="dk1"/>
                          </a:solidFill>
                          <a:latin typeface="+mn-lt"/>
                          <a:ea typeface="+mn-ea"/>
                          <a:cs typeface="+mn-cs"/>
                        </a:rPr>
                        <a:t>Germany, France, Belgium, Spain, Portugal, Italy, Ireland, Nordics</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endParaRPr lang="en-GB" sz="1200"/>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it-IT" sz="1200" b="0" i="1" u="none" strike="noStrike">
                        <a:solidFill>
                          <a:srgbClr val="000000"/>
                        </a:solidFill>
                        <a:effectLst/>
                        <a:latin typeface="+mn-lt"/>
                      </a:endParaRPr>
                    </a:p>
                  </a:txBody>
                  <a:tcPr marL="36000" marR="36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nn-NO" sz="1200" b="0" i="1" u="none" strike="noStrike">
                        <a:solidFill>
                          <a:srgbClr val="000000"/>
                        </a:solidFill>
                        <a:effectLst/>
                        <a:latin typeface="+mn-lt"/>
                      </a:endParaRPr>
                    </a:p>
                  </a:txBody>
                  <a:tcPr marL="36000" marR="36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nn-NO" sz="1200" b="0" i="1" u="none" strike="noStrike">
                        <a:solidFill>
                          <a:srgbClr val="000000"/>
                        </a:solidFill>
                        <a:effectLst/>
                        <a:latin typeface="+mn-lt"/>
                      </a:endParaRPr>
                    </a:p>
                  </a:txBody>
                  <a:tcPr marL="36000" marR="36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0090524"/>
                  </a:ext>
                </a:extLst>
              </a:tr>
              <a:tr h="930411">
                <a:tc>
                  <a:txBody>
                    <a:bodyPr/>
                    <a:lstStyle/>
                    <a:p>
                      <a:pPr algn="ctr" fontAlgn="b"/>
                      <a:r>
                        <a:rPr lang="en-GB" sz="1200" b="1" kern="1200">
                          <a:solidFill>
                            <a:schemeClr val="dk1"/>
                          </a:solidFill>
                          <a:latin typeface="+mn-lt"/>
                          <a:ea typeface="+mn-ea"/>
                          <a:cs typeface="+mn-cs"/>
                        </a:rPr>
                        <a:t>Nascent markets</a:t>
                      </a:r>
                      <a:r>
                        <a:rPr lang="en-GB" sz="1200" b="1" kern="1200" baseline="30000">
                          <a:solidFill>
                            <a:schemeClr val="dk1"/>
                          </a:solidFill>
                          <a:latin typeface="+mn-lt"/>
                          <a:ea typeface="+mn-ea"/>
                          <a:cs typeface="+mn-cs"/>
                        </a:rPr>
                        <a:t>3</a:t>
                      </a:r>
                      <a:endParaRPr lang="en-GB" sz="1200" b="1" kern="1200">
                        <a:solidFill>
                          <a:schemeClr val="dk1"/>
                        </a:solidFill>
                        <a:latin typeface="+mn-lt"/>
                        <a:ea typeface="+mn-ea"/>
                        <a:cs typeface="+mn-cs"/>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rtl="0"/>
                      <a:endParaRPr lang="en-GB" sz="1200"/>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lgn="l" fontAlgn="b">
                        <a:buFont typeface="Arial" panose="020B0604020202020204" pitchFamily="34" charset="0"/>
                        <a:buChar char="•"/>
                      </a:pPr>
                      <a:endParaRPr lang="en-GB" sz="1200" i="1" kern="1200">
                        <a:solidFill>
                          <a:schemeClr val="dk1"/>
                        </a:solidFill>
                        <a:latin typeface="+mn-lt"/>
                        <a:ea typeface="+mn-ea"/>
                        <a:cs typeface="+mn-cs"/>
                      </a:endParaRPr>
                    </a:p>
                  </a:txBody>
                  <a:tcPr marL="36000" marR="36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61654269"/>
                  </a:ext>
                </a:extLst>
              </a:tr>
            </a:tbl>
          </a:graphicData>
        </a:graphic>
      </p:graphicFrame>
      <p:sp>
        <p:nvSpPr>
          <p:cNvPr id="2130" name="Rectangle: Rounded Corners 2129">
            <a:extLst>
              <a:ext uri="{FF2B5EF4-FFF2-40B4-BE49-F238E27FC236}">
                <a16:creationId xmlns:a16="http://schemas.microsoft.com/office/drawing/2014/main" id="{678A7859-DAB4-DAF3-9D0F-BAFF011FDDF8}"/>
              </a:ext>
            </a:extLst>
          </p:cNvPr>
          <p:cNvSpPr/>
          <p:nvPr/>
        </p:nvSpPr>
        <p:spPr>
          <a:xfrm>
            <a:off x="381000" y="1256129"/>
            <a:ext cx="5376000" cy="256938"/>
          </a:xfrm>
          <a:prstGeom prst="round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Battery suppliers and integrators</a:t>
            </a:r>
          </a:p>
        </p:txBody>
      </p:sp>
      <p:sp>
        <p:nvSpPr>
          <p:cNvPr id="2131" name="Rectangle: Rounded Corners 2130">
            <a:extLst>
              <a:ext uri="{FF2B5EF4-FFF2-40B4-BE49-F238E27FC236}">
                <a16:creationId xmlns:a16="http://schemas.microsoft.com/office/drawing/2014/main" id="{5F6A7399-2BE3-AFAE-1563-9F0D4391664D}"/>
              </a:ext>
            </a:extLst>
          </p:cNvPr>
          <p:cNvSpPr/>
          <p:nvPr/>
        </p:nvSpPr>
        <p:spPr>
          <a:xfrm>
            <a:off x="6448782" y="1256129"/>
            <a:ext cx="5376000" cy="256938"/>
          </a:xfrm>
          <a:prstGeom prst="round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Route-to-market providers</a:t>
            </a:r>
          </a:p>
        </p:txBody>
      </p:sp>
      <p:sp>
        <p:nvSpPr>
          <p:cNvPr id="15" name="Oval 14">
            <a:extLst>
              <a:ext uri="{FF2B5EF4-FFF2-40B4-BE49-F238E27FC236}">
                <a16:creationId xmlns:a16="http://schemas.microsoft.com/office/drawing/2014/main" id="{4E20A347-8178-B50E-F12A-E612F4004D5A}"/>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17" name="Oval 16">
            <a:extLst>
              <a:ext uri="{FF2B5EF4-FFF2-40B4-BE49-F238E27FC236}">
                <a16:creationId xmlns:a16="http://schemas.microsoft.com/office/drawing/2014/main" id="{3002C4A3-8967-D190-0519-B02A9DFFDD71}"/>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3" name="Rectangle 2">
            <a:extLst>
              <a:ext uri="{FF2B5EF4-FFF2-40B4-BE49-F238E27FC236}">
                <a16:creationId xmlns:a16="http://schemas.microsoft.com/office/drawing/2014/main" id="{6863C824-EBA8-E403-04C0-86794A6BE22C}"/>
              </a:ext>
            </a:extLst>
          </p:cNvPr>
          <p:cNvSpPr/>
          <p:nvPr/>
        </p:nvSpPr>
        <p:spPr>
          <a:xfrm>
            <a:off x="59635" y="1609358"/>
            <a:ext cx="11977101" cy="4772323"/>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7" name="Group 6">
            <a:extLst>
              <a:ext uri="{FF2B5EF4-FFF2-40B4-BE49-F238E27FC236}">
                <a16:creationId xmlns:a16="http://schemas.microsoft.com/office/drawing/2014/main" id="{6351EEB7-C95D-B29F-BA4C-ECC07804C386}"/>
              </a:ext>
            </a:extLst>
          </p:cNvPr>
          <p:cNvGrpSpPr/>
          <p:nvPr/>
        </p:nvGrpSpPr>
        <p:grpSpPr>
          <a:xfrm>
            <a:off x="4772297" y="2928257"/>
            <a:ext cx="2647407" cy="1001486"/>
            <a:chOff x="8251369" y="2255520"/>
            <a:chExt cx="2647407" cy="1001486"/>
          </a:xfrm>
        </p:grpSpPr>
        <p:sp>
          <p:nvSpPr>
            <p:cNvPr id="9" name="Rectangle: Rounded Corners 8">
              <a:extLst>
                <a:ext uri="{FF2B5EF4-FFF2-40B4-BE49-F238E27FC236}">
                  <a16:creationId xmlns:a16="http://schemas.microsoft.com/office/drawing/2014/main" id="{7EB6B06C-4817-A9CC-8440-DAB2ADB515E9}"/>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1" name="TextBox 10">
              <a:extLst>
                <a:ext uri="{FF2B5EF4-FFF2-40B4-BE49-F238E27FC236}">
                  <a16:creationId xmlns:a16="http://schemas.microsoft.com/office/drawing/2014/main" id="{E1FDC70E-F9FB-5996-6EB1-FFA89AAC228D}"/>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28458506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CA26FD3-9F2D-300C-49F4-4B61D293E7E6}"/>
              </a:ext>
            </a:extLst>
          </p:cNvPr>
          <p:cNvGraphicFramePr>
            <a:graphicFrameLocks noChangeAspect="1"/>
          </p:cNvGraphicFramePr>
          <p:nvPr>
            <p:custDataLst>
              <p:tags r:id="rId1"/>
            </p:custDataLst>
            <p:extLst>
              <p:ext uri="{D42A27DB-BD31-4B8C-83A1-F6EECF244321}">
                <p14:modId xmlns:p14="http://schemas.microsoft.com/office/powerpoint/2010/main" val="345280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1CA26FD3-9F2D-300C-49F4-4B61D293E7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722679DF-73FB-FD27-2F66-9C3B57534B42}"/>
              </a:ext>
            </a:extLst>
          </p:cNvPr>
          <p:cNvCxnSpPr>
            <a:cxnSpLocks/>
          </p:cNvCxnSpPr>
          <p:nvPr/>
        </p:nvCxnSpPr>
        <p:spPr>
          <a:xfrm flipH="1">
            <a:off x="4497651" y="4877037"/>
            <a:ext cx="816244" cy="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graphicFrame>
        <p:nvGraphicFramePr>
          <p:cNvPr id="185" name="Table 8">
            <a:extLst>
              <a:ext uri="{FF2B5EF4-FFF2-40B4-BE49-F238E27FC236}">
                <a16:creationId xmlns:a16="http://schemas.microsoft.com/office/drawing/2014/main" id="{06055644-E1F3-2D0F-D862-CBF049A71D06}"/>
              </a:ext>
            </a:extLst>
          </p:cNvPr>
          <p:cNvGraphicFramePr>
            <a:graphicFrameLocks noGrp="1"/>
          </p:cNvGraphicFramePr>
          <p:nvPr>
            <p:extLst>
              <p:ext uri="{D42A27DB-BD31-4B8C-83A1-F6EECF244321}">
                <p14:modId xmlns:p14="http://schemas.microsoft.com/office/powerpoint/2010/main" val="3756756279"/>
              </p:ext>
            </p:extLst>
          </p:nvPr>
        </p:nvGraphicFramePr>
        <p:xfrm>
          <a:off x="471248" y="2051729"/>
          <a:ext cx="8510821" cy="1309857"/>
        </p:xfrm>
        <a:graphic>
          <a:graphicData uri="http://schemas.openxmlformats.org/drawingml/2006/table">
            <a:tbl>
              <a:tblPr firstRow="1" bandRow="1">
                <a:tableStyleId>{5C22544A-7EE6-4342-B048-85BDC9FD1C3A}</a:tableStyleId>
              </a:tblPr>
              <a:tblGrid>
                <a:gridCol w="1364669">
                  <a:extLst>
                    <a:ext uri="{9D8B030D-6E8A-4147-A177-3AD203B41FA5}">
                      <a16:colId xmlns:a16="http://schemas.microsoft.com/office/drawing/2014/main" val="2000524583"/>
                    </a:ext>
                  </a:extLst>
                </a:gridCol>
                <a:gridCol w="151779">
                  <a:extLst>
                    <a:ext uri="{9D8B030D-6E8A-4147-A177-3AD203B41FA5}">
                      <a16:colId xmlns:a16="http://schemas.microsoft.com/office/drawing/2014/main" val="1833034295"/>
                    </a:ext>
                  </a:extLst>
                </a:gridCol>
                <a:gridCol w="3600304">
                  <a:extLst>
                    <a:ext uri="{9D8B030D-6E8A-4147-A177-3AD203B41FA5}">
                      <a16:colId xmlns:a16="http://schemas.microsoft.com/office/drawing/2014/main" val="1383720204"/>
                    </a:ext>
                  </a:extLst>
                </a:gridCol>
                <a:gridCol w="139700">
                  <a:extLst>
                    <a:ext uri="{9D8B030D-6E8A-4147-A177-3AD203B41FA5}">
                      <a16:colId xmlns:a16="http://schemas.microsoft.com/office/drawing/2014/main" val="2870236960"/>
                    </a:ext>
                  </a:extLst>
                </a:gridCol>
                <a:gridCol w="3254369">
                  <a:extLst>
                    <a:ext uri="{9D8B030D-6E8A-4147-A177-3AD203B41FA5}">
                      <a16:colId xmlns:a16="http://schemas.microsoft.com/office/drawing/2014/main" val="2241541848"/>
                    </a:ext>
                  </a:extLst>
                </a:gridCol>
              </a:tblGrid>
              <a:tr h="259671">
                <a:tc>
                  <a:txBody>
                    <a:bodyPr/>
                    <a:lstStyle/>
                    <a:p>
                      <a:pPr marL="0" algn="ctr" defTabSz="685783" rtl="0" eaLnBrk="1" latinLnBrk="0" hangingPunct="1"/>
                      <a:r>
                        <a:rPr lang="en-GB" sz="1200" kern="1200">
                          <a:solidFill>
                            <a:schemeClr val="dk1"/>
                          </a:solidFill>
                          <a:latin typeface="+mn-lt"/>
                          <a:ea typeface="+mn-ea"/>
                          <a:cs typeface="+mn-cs"/>
                        </a:rPr>
                        <a:t>Commercial Clause</a:t>
                      </a: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83" rtl="0" eaLnBrk="1" latinLnBrk="0" hangingPunct="1"/>
                      <a:endParaRPr lang="en-GB" sz="1200" kern="1200">
                        <a:solidFill>
                          <a:schemeClr val="dk1"/>
                        </a:solidFill>
                        <a:latin typeface="+mn-lt"/>
                        <a:ea typeface="+mn-ea"/>
                        <a:cs typeface="+mn-cs"/>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83" rtl="0" eaLnBrk="1" latinLnBrk="0" hangingPunct="1"/>
                      <a:r>
                        <a:rPr lang="en-GB" sz="1200" kern="1200">
                          <a:solidFill>
                            <a:schemeClr val="dk1"/>
                          </a:solidFill>
                          <a:latin typeface="+mn-lt"/>
                          <a:ea typeface="+mn-ea"/>
                          <a:cs typeface="+mn-cs"/>
                        </a:rPr>
                        <a:t>Description</a:t>
                      </a: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83" rtl="0" eaLnBrk="1" latinLnBrk="0" hangingPunct="1"/>
                      <a:endParaRPr lang="en-GB" sz="1200" kern="1200">
                        <a:solidFill>
                          <a:schemeClr val="dk1"/>
                        </a:solidFill>
                        <a:latin typeface="+mn-lt"/>
                        <a:ea typeface="+mn-ea"/>
                        <a:cs typeface="+mn-cs"/>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83" rtl="0" eaLnBrk="1" latinLnBrk="0" hangingPunct="1"/>
                      <a:endParaRPr lang="en-GB" sz="1200" kern="1200">
                        <a:solidFill>
                          <a:schemeClr val="dk1"/>
                        </a:solidFill>
                        <a:latin typeface="+mn-lt"/>
                        <a:ea typeface="+mn-ea"/>
                        <a:cs typeface="+mn-cs"/>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436890"/>
                  </a:ext>
                </a:extLst>
              </a:tr>
              <a:tr h="336774">
                <a:tc>
                  <a:txBody>
                    <a:bodyPr/>
                    <a:lstStyle/>
                    <a:p>
                      <a:pPr algn="l" fontAlgn="b"/>
                      <a:endParaRPr lang="en-GB" sz="1200" b="0" kern="1200">
                        <a:solidFill>
                          <a:schemeClr val="dk1"/>
                        </a:solidFill>
                        <a:latin typeface="+mn-lt"/>
                        <a:ea typeface="+mn-ea"/>
                        <a:cs typeface="+mn-cs"/>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rtl="0"/>
                      <a:endParaRPr lang="en-GB" sz="1200"/>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mn-lt"/>
                        <a:ea typeface="+mn-ea"/>
                        <a:cs typeface="+mn-cs"/>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nn-NO" sz="1200" b="0" i="0" u="none" strike="noStrike">
                        <a:solidFill>
                          <a:srgbClr val="000000"/>
                        </a:solidFill>
                        <a:effectLst/>
                        <a:latin typeface="+mn-lt"/>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nn-NO" sz="1200" b="0" i="0" u="none" strike="noStrike">
                        <a:solidFill>
                          <a:srgbClr val="000000"/>
                        </a:solidFill>
                        <a:effectLst/>
                        <a:latin typeface="+mn-lt"/>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090524"/>
                  </a:ext>
                </a:extLst>
              </a:tr>
              <a:tr h="356706">
                <a:tc>
                  <a:txBody>
                    <a:bodyPr/>
                    <a:lstStyle/>
                    <a:p>
                      <a:pPr algn="l" fontAlgn="b"/>
                      <a:endParaRPr lang="en-GB" sz="1200" b="0" kern="1200">
                        <a:solidFill>
                          <a:schemeClr val="dk1"/>
                        </a:solidFill>
                        <a:latin typeface="+mn-lt"/>
                        <a:ea typeface="+mn-ea"/>
                        <a:cs typeface="+mn-cs"/>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rtl="0"/>
                      <a:endParaRPr lang="en-GB" sz="1200"/>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200" b="0" i="0" u="none" strike="noStrike">
                        <a:solidFill>
                          <a:schemeClr val="tx1"/>
                        </a:solidFill>
                        <a:effectLst/>
                        <a:latin typeface="+mn-lt"/>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200" b="0" i="0" u="none" strike="noStrike">
                        <a:solidFill>
                          <a:srgbClr val="000000"/>
                        </a:solidFill>
                        <a:effectLst/>
                        <a:latin typeface="+mn-lt"/>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200" b="0" i="0" u="none" strike="noStrike">
                        <a:solidFill>
                          <a:srgbClr val="000000"/>
                        </a:solidFill>
                        <a:effectLst/>
                        <a:latin typeface="+mn-lt"/>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1654269"/>
                  </a:ext>
                </a:extLst>
              </a:tr>
              <a:tr h="356706">
                <a:tc>
                  <a:txBody>
                    <a:bodyPr/>
                    <a:lstStyle/>
                    <a:p>
                      <a:pPr algn="l" fontAlgn="b"/>
                      <a:endParaRPr lang="en-GB" sz="1200" b="0" kern="1200">
                        <a:solidFill>
                          <a:schemeClr val="dk1"/>
                        </a:solidFill>
                        <a:latin typeface="+mn-lt"/>
                        <a:ea typeface="+mn-ea"/>
                        <a:cs typeface="+mn-cs"/>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GB" sz="1200"/>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ysDot"/>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b"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mn-lt"/>
                        <a:ea typeface="+mn-ea"/>
                        <a:cs typeface="+mn-cs"/>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200" b="0" i="0" u="none" strike="noStrike">
                        <a:solidFill>
                          <a:srgbClr val="000000"/>
                        </a:solidFill>
                        <a:effectLst/>
                        <a:latin typeface="+mn-lt"/>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200" b="0" i="0" u="none" strike="noStrike">
                        <a:solidFill>
                          <a:srgbClr val="000000"/>
                        </a:solidFill>
                        <a:effectLst/>
                        <a:latin typeface="+mn-lt"/>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303479"/>
                  </a:ext>
                </a:extLst>
              </a:tr>
            </a:tbl>
          </a:graphicData>
        </a:graphic>
      </p:graphicFrame>
      <p:sp>
        <p:nvSpPr>
          <p:cNvPr id="68" name="Text Placeholder 67">
            <a:extLst>
              <a:ext uri="{FF2B5EF4-FFF2-40B4-BE49-F238E27FC236}">
                <a16:creationId xmlns:a16="http://schemas.microsoft.com/office/drawing/2014/main" id="{FB63738F-0C36-0584-3B66-F4287D79D146}"/>
              </a:ext>
            </a:extLst>
          </p:cNvPr>
          <p:cNvSpPr>
            <a:spLocks noGrp="1"/>
          </p:cNvSpPr>
          <p:nvPr>
            <p:ph type="body" sz="quarter" idx="30"/>
          </p:nvPr>
        </p:nvSpPr>
        <p:spPr/>
        <p:txBody>
          <a:bodyPr/>
          <a:lstStyle/>
          <a:p>
            <a:endParaRPr lang="en-GB"/>
          </a:p>
        </p:txBody>
      </p:sp>
      <p:sp>
        <p:nvSpPr>
          <p:cNvPr id="69" name="Text Placeholder 68">
            <a:extLst>
              <a:ext uri="{FF2B5EF4-FFF2-40B4-BE49-F238E27FC236}">
                <a16:creationId xmlns:a16="http://schemas.microsoft.com/office/drawing/2014/main" id="{359299E6-9093-75AA-0DF5-59BD7953B766}"/>
              </a:ext>
            </a:extLst>
          </p:cNvPr>
          <p:cNvSpPr>
            <a:spLocks noGrp="1"/>
          </p:cNvSpPr>
          <p:nvPr>
            <p:ph type="body" sz="quarter" idx="31"/>
          </p:nvPr>
        </p:nvSpPr>
        <p:spPr>
          <a:xfrm>
            <a:off x="426121" y="4501676"/>
            <a:ext cx="4134993" cy="186024"/>
          </a:xfrm>
        </p:spPr>
        <p:txBody>
          <a:bodyPr/>
          <a:lstStyle/>
          <a:p>
            <a:r>
              <a:rPr lang="en-GB" b="1"/>
              <a:t>Distinguishing features of </a:t>
            </a:r>
            <a:r>
              <a:rPr lang="en-GB" b="1" err="1"/>
              <a:t>RtM</a:t>
            </a:r>
            <a:r>
              <a:rPr lang="en-GB" b="1"/>
              <a:t> providers</a:t>
            </a:r>
          </a:p>
        </p:txBody>
      </p:sp>
      <p:sp>
        <p:nvSpPr>
          <p:cNvPr id="5" name="Text Placeholder 4">
            <a:extLst>
              <a:ext uri="{FF2B5EF4-FFF2-40B4-BE49-F238E27FC236}">
                <a16:creationId xmlns:a16="http://schemas.microsoft.com/office/drawing/2014/main" id="{DBDE7F92-61CC-6035-0C49-F3736BF1DDCC}"/>
              </a:ext>
            </a:extLst>
          </p:cNvPr>
          <p:cNvSpPr>
            <a:spLocks noGrp="1"/>
          </p:cNvSpPr>
          <p:nvPr>
            <p:ph type="body" sz="quarter" idx="22"/>
          </p:nvPr>
        </p:nvSpPr>
        <p:spPr/>
        <p:txBody>
          <a:bodyPr/>
          <a:lstStyle/>
          <a:p>
            <a:r>
              <a:rPr lang="en-GB"/>
              <a:t>Sources: Aurora Energy Research</a:t>
            </a:r>
          </a:p>
        </p:txBody>
      </p:sp>
      <p:sp>
        <p:nvSpPr>
          <p:cNvPr id="6" name="Title 5">
            <a:extLst>
              <a:ext uri="{FF2B5EF4-FFF2-40B4-BE49-F238E27FC236}">
                <a16:creationId xmlns:a16="http://schemas.microsoft.com/office/drawing/2014/main" id="{12C0276C-55A3-4594-14E2-68CD5E2F24D7}"/>
              </a:ext>
            </a:extLst>
          </p:cNvPr>
          <p:cNvSpPr>
            <a:spLocks noGrp="1"/>
          </p:cNvSpPr>
          <p:nvPr>
            <p:ph type="title"/>
          </p:nvPr>
        </p:nvSpPr>
        <p:spPr/>
        <p:txBody>
          <a:bodyPr vert="horz"/>
          <a:lstStyle/>
          <a:p>
            <a:r>
              <a:rPr lang="en-GB"/>
              <a:t>Asset owners have different route-to-market options to manage a desired risk profile</a:t>
            </a:r>
          </a:p>
        </p:txBody>
      </p:sp>
      <p:sp>
        <p:nvSpPr>
          <p:cNvPr id="70" name="Text Placeholder 69">
            <a:extLst>
              <a:ext uri="{FF2B5EF4-FFF2-40B4-BE49-F238E27FC236}">
                <a16:creationId xmlns:a16="http://schemas.microsoft.com/office/drawing/2014/main" id="{00D81A5D-DAD6-BCC8-23E9-A45945474A1F}"/>
              </a:ext>
            </a:extLst>
          </p:cNvPr>
          <p:cNvSpPr>
            <a:spLocks noGrp="1"/>
          </p:cNvSpPr>
          <p:nvPr>
            <p:ph type="body" sz="quarter" idx="32"/>
          </p:nvPr>
        </p:nvSpPr>
        <p:spPr>
          <a:xfrm>
            <a:off x="381600" y="6462141"/>
            <a:ext cx="8601074" cy="110800"/>
          </a:xfrm>
        </p:spPr>
        <p:txBody>
          <a:bodyPr/>
          <a:lstStyle/>
          <a:p>
            <a:r>
              <a:rPr lang="en-GB"/>
              <a:t>1) Balancing Service Provider/Balancing Responsible Party. </a:t>
            </a:r>
          </a:p>
        </p:txBody>
      </p:sp>
      <p:grpSp>
        <p:nvGrpSpPr>
          <p:cNvPr id="187" name="Group 186">
            <a:extLst>
              <a:ext uri="{FF2B5EF4-FFF2-40B4-BE49-F238E27FC236}">
                <a16:creationId xmlns:a16="http://schemas.microsoft.com/office/drawing/2014/main" id="{58D66793-B2BB-6620-9F08-68F71BA991EB}"/>
              </a:ext>
            </a:extLst>
          </p:cNvPr>
          <p:cNvGrpSpPr/>
          <p:nvPr/>
        </p:nvGrpSpPr>
        <p:grpSpPr>
          <a:xfrm>
            <a:off x="5714998" y="2006054"/>
            <a:ext cx="3572036" cy="283507"/>
            <a:chOff x="5714998" y="2006054"/>
            <a:chExt cx="3572036" cy="283507"/>
          </a:xfrm>
        </p:grpSpPr>
        <p:sp>
          <p:nvSpPr>
            <p:cNvPr id="168" name="Right Triangle 167">
              <a:extLst>
                <a:ext uri="{FF2B5EF4-FFF2-40B4-BE49-F238E27FC236}">
                  <a16:creationId xmlns:a16="http://schemas.microsoft.com/office/drawing/2014/main" id="{A6A5A3AC-CB1C-BD45-19D4-E935D66D7725}"/>
                </a:ext>
              </a:extLst>
            </p:cNvPr>
            <p:cNvSpPr/>
            <p:nvPr/>
          </p:nvSpPr>
          <p:spPr bwMode="gray">
            <a:xfrm flipH="1">
              <a:off x="5714999" y="2089391"/>
              <a:ext cx="3267069" cy="200170"/>
            </a:xfrm>
            <a:prstGeom prst="rtTriangl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Lato"/>
                <a:ea typeface="+mn-ea"/>
                <a:cs typeface="+mn-cs"/>
              </a:endParaRPr>
            </a:p>
          </p:txBody>
        </p:sp>
        <p:sp>
          <p:nvSpPr>
            <p:cNvPr id="169" name="TextBox 168">
              <a:extLst>
                <a:ext uri="{FF2B5EF4-FFF2-40B4-BE49-F238E27FC236}">
                  <a16:creationId xmlns:a16="http://schemas.microsoft.com/office/drawing/2014/main" id="{72539849-141F-550B-EB7F-4110A235D37B}"/>
                </a:ext>
              </a:extLst>
            </p:cNvPr>
            <p:cNvSpPr txBox="1"/>
            <p:nvPr/>
          </p:nvSpPr>
          <p:spPr bwMode="gray">
            <a:xfrm>
              <a:off x="8189276" y="2078752"/>
              <a:ext cx="1097758" cy="165830"/>
            </a:xfrm>
            <a:prstGeom prst="rect">
              <a:avLst/>
            </a:prstGeom>
            <a:noFill/>
          </p:spPr>
          <p:txBody>
            <a:bodyPr wrap="square" lIns="45720" tIns="45720" rIns="45720" bIns="4572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Lato"/>
                  <a:ea typeface="+mn-ea"/>
                  <a:cs typeface="+mn-cs"/>
                </a:rPr>
                <a:t>Trader</a:t>
              </a:r>
            </a:p>
          </p:txBody>
        </p:sp>
        <p:sp>
          <p:nvSpPr>
            <p:cNvPr id="170" name="TextBox 169">
              <a:extLst>
                <a:ext uri="{FF2B5EF4-FFF2-40B4-BE49-F238E27FC236}">
                  <a16:creationId xmlns:a16="http://schemas.microsoft.com/office/drawing/2014/main" id="{314B968E-067C-3639-CCFB-71D98FC9387D}"/>
                </a:ext>
              </a:extLst>
            </p:cNvPr>
            <p:cNvSpPr txBox="1"/>
            <p:nvPr/>
          </p:nvSpPr>
          <p:spPr bwMode="gray">
            <a:xfrm>
              <a:off x="5714998" y="2006054"/>
              <a:ext cx="1183132" cy="167805"/>
            </a:xfrm>
            <a:prstGeom prst="rect">
              <a:avLst/>
            </a:prstGeom>
            <a:noFill/>
          </p:spPr>
          <p:txBody>
            <a:bodyPr wrap="square" lIns="45720" tIns="45720" rIns="45720" bIns="4572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Lato"/>
                  <a:ea typeface="+mn-ea"/>
                  <a:cs typeface="+mn-cs"/>
                </a:rPr>
                <a:t>Battery owner</a:t>
              </a:r>
            </a:p>
          </p:txBody>
        </p:sp>
      </p:grpSp>
      <p:sp>
        <p:nvSpPr>
          <p:cNvPr id="176" name="TextBox 175">
            <a:extLst>
              <a:ext uri="{FF2B5EF4-FFF2-40B4-BE49-F238E27FC236}">
                <a16:creationId xmlns:a16="http://schemas.microsoft.com/office/drawing/2014/main" id="{1421D1C9-F0F7-D242-972F-A12593D01674}"/>
              </a:ext>
            </a:extLst>
          </p:cNvPr>
          <p:cNvSpPr txBox="1"/>
          <p:nvPr/>
        </p:nvSpPr>
        <p:spPr bwMode="gray">
          <a:xfrm>
            <a:off x="471247" y="1776815"/>
            <a:ext cx="5116753" cy="219728"/>
          </a:xfrm>
          <a:prstGeom prst="rect">
            <a:avLst/>
          </a:prstGeom>
          <a:solidFill>
            <a:schemeClr val="accent4">
              <a:lumMod val="90000"/>
            </a:schemeClr>
          </a:solidFill>
          <a:ln>
            <a:noFill/>
          </a:ln>
        </p:spPr>
        <p:txBody>
          <a:bodyPr wrap="square" lIns="45720" tIns="45720" rIns="45720" bIns="4572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Price clauses</a:t>
            </a:r>
          </a:p>
        </p:txBody>
      </p:sp>
      <p:sp>
        <p:nvSpPr>
          <p:cNvPr id="181" name="Text Placeholder 13">
            <a:extLst>
              <a:ext uri="{FF2B5EF4-FFF2-40B4-BE49-F238E27FC236}">
                <a16:creationId xmlns:a16="http://schemas.microsoft.com/office/drawing/2014/main" id="{2D08315A-1986-3B61-3C98-52B587ED97E2}"/>
              </a:ext>
            </a:extLst>
          </p:cNvPr>
          <p:cNvSpPr txBox="1">
            <a:spLocks/>
          </p:cNvSpPr>
          <p:nvPr/>
        </p:nvSpPr>
        <p:spPr>
          <a:xfrm>
            <a:off x="407600" y="1311600"/>
            <a:ext cx="8543778" cy="369332"/>
          </a:xfrm>
          <a:prstGeom prst="rect">
            <a:avLst/>
          </a:prstGeom>
          <a:solidFill>
            <a:schemeClr val="accent6">
              <a:lumMod val="20000"/>
              <a:lumOff val="80000"/>
            </a:schemeClr>
          </a:solidFill>
        </p:spPr>
        <p:txBody>
          <a:bodyPr vert="horz" wrap="square" lIns="18000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b="1"/>
              <a:t>Route-to-market (</a:t>
            </a:r>
            <a:r>
              <a:rPr lang="en-GB" b="1" err="1"/>
              <a:t>RtM</a:t>
            </a:r>
            <a:r>
              <a:rPr lang="en-GB" b="1"/>
              <a:t>) providers offer third-party optimisation and risk management services to asset owners, with different commercial clauses impacting the owner’s merchant risk exposure</a:t>
            </a:r>
          </a:p>
        </p:txBody>
      </p:sp>
      <p:sp>
        <p:nvSpPr>
          <p:cNvPr id="184" name="TextBox 183">
            <a:extLst>
              <a:ext uri="{FF2B5EF4-FFF2-40B4-BE49-F238E27FC236}">
                <a16:creationId xmlns:a16="http://schemas.microsoft.com/office/drawing/2014/main" id="{4FCCB7C5-047D-13DD-AA80-353650753636}"/>
              </a:ext>
            </a:extLst>
          </p:cNvPr>
          <p:cNvSpPr txBox="1"/>
          <p:nvPr/>
        </p:nvSpPr>
        <p:spPr bwMode="gray">
          <a:xfrm>
            <a:off x="5714997" y="1771869"/>
            <a:ext cx="3267073" cy="224674"/>
          </a:xfrm>
          <a:prstGeom prst="rect">
            <a:avLst/>
          </a:prstGeom>
          <a:solidFill>
            <a:schemeClr val="accent4">
              <a:lumMod val="90000"/>
            </a:schemeClr>
          </a:solidFill>
          <a:ln>
            <a:noFill/>
          </a:ln>
        </p:spPr>
        <p:txBody>
          <a:bodyPr wrap="square" lIns="45720" tIns="45720" rIns="45720" bIns="4572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Merchant risk exposure</a:t>
            </a:r>
          </a:p>
        </p:txBody>
      </p:sp>
      <p:sp>
        <p:nvSpPr>
          <p:cNvPr id="3" name="Oval 2">
            <a:extLst>
              <a:ext uri="{FF2B5EF4-FFF2-40B4-BE49-F238E27FC236}">
                <a16:creationId xmlns:a16="http://schemas.microsoft.com/office/drawing/2014/main" id="{294FEF8B-70CC-EA37-07B9-247EEA73E1B6}"/>
              </a:ext>
            </a:extLst>
          </p:cNvPr>
          <p:cNvSpPr/>
          <p:nvPr/>
        </p:nvSpPr>
        <p:spPr>
          <a:xfrm>
            <a:off x="271139" y="1370294"/>
            <a:ext cx="240300" cy="240300"/>
          </a:xfrm>
          <a:prstGeom prst="ellipse">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1</a:t>
            </a:r>
          </a:p>
        </p:txBody>
      </p:sp>
      <p:sp>
        <p:nvSpPr>
          <p:cNvPr id="11" name="Text Placeholder 13">
            <a:extLst>
              <a:ext uri="{FF2B5EF4-FFF2-40B4-BE49-F238E27FC236}">
                <a16:creationId xmlns:a16="http://schemas.microsoft.com/office/drawing/2014/main" id="{E9B6DB9A-1517-386D-ADCD-D5D41C32B970}"/>
              </a:ext>
            </a:extLst>
          </p:cNvPr>
          <p:cNvSpPr txBox="1">
            <a:spLocks/>
          </p:cNvSpPr>
          <p:nvPr/>
        </p:nvSpPr>
        <p:spPr>
          <a:xfrm>
            <a:off x="407600" y="4030359"/>
            <a:ext cx="8543778" cy="369332"/>
          </a:xfrm>
          <a:prstGeom prst="rect">
            <a:avLst/>
          </a:prstGeom>
          <a:solidFill>
            <a:schemeClr val="accent6">
              <a:lumMod val="20000"/>
              <a:lumOff val="80000"/>
            </a:schemeClr>
          </a:solidFill>
        </p:spPr>
        <p:txBody>
          <a:bodyPr vert="horz" wrap="square" lIns="18000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b="1"/>
              <a:t>Providing service at lowest cost typically drives competition between </a:t>
            </a:r>
            <a:r>
              <a:rPr lang="en-GB" b="1" err="1"/>
              <a:t>RtM</a:t>
            </a:r>
            <a:r>
              <a:rPr lang="en-GB" b="1"/>
              <a:t> providers, but growing focus on optimisation capability is expected as the complexity of markets expand, and business models shift more to energy trading</a:t>
            </a:r>
          </a:p>
        </p:txBody>
      </p:sp>
      <p:sp>
        <p:nvSpPr>
          <p:cNvPr id="9" name="Oval 8">
            <a:extLst>
              <a:ext uri="{FF2B5EF4-FFF2-40B4-BE49-F238E27FC236}">
                <a16:creationId xmlns:a16="http://schemas.microsoft.com/office/drawing/2014/main" id="{7908DCB6-C555-8B2F-7803-EE378033150B}"/>
              </a:ext>
            </a:extLst>
          </p:cNvPr>
          <p:cNvSpPr/>
          <p:nvPr/>
        </p:nvSpPr>
        <p:spPr>
          <a:xfrm>
            <a:off x="271139" y="4107520"/>
            <a:ext cx="240300" cy="240300"/>
          </a:xfrm>
          <a:prstGeom prst="ellipse">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2</a:t>
            </a:r>
          </a:p>
        </p:txBody>
      </p:sp>
      <p:sp>
        <p:nvSpPr>
          <p:cNvPr id="8" name="Text Placeholder 68">
            <a:extLst>
              <a:ext uri="{FF2B5EF4-FFF2-40B4-BE49-F238E27FC236}">
                <a16:creationId xmlns:a16="http://schemas.microsoft.com/office/drawing/2014/main" id="{1043E0A5-4C73-20B3-C620-8D6301338DB5}"/>
              </a:ext>
            </a:extLst>
          </p:cNvPr>
          <p:cNvSpPr txBox="1">
            <a:spLocks/>
          </p:cNvSpPr>
          <p:nvPr/>
        </p:nvSpPr>
        <p:spPr>
          <a:xfrm>
            <a:off x="5151694" y="4561968"/>
            <a:ext cx="3637913" cy="1488475"/>
          </a:xfrm>
          <a:prstGeom prst="rect">
            <a:avLst/>
          </a:prstGeom>
          <a:solidFill>
            <a:schemeClr val="accent3">
              <a:lumMod val="20000"/>
              <a:lumOff val="80000"/>
            </a:schemeClr>
          </a:solidFill>
          <a:ln>
            <a:noFill/>
          </a:ln>
        </p:spPr>
        <p:txBody>
          <a:bodyPr vert="horz" wrap="square" lIns="72000" tIns="36000" rIns="36000" bIns="3600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b="1"/>
              <a:t>Larger portfolios of assets</a:t>
            </a:r>
            <a:r>
              <a:rPr lang="en-GB"/>
              <a:t> under management may enable </a:t>
            </a:r>
            <a:r>
              <a:rPr lang="en-GB" err="1"/>
              <a:t>RtM</a:t>
            </a:r>
            <a:r>
              <a:rPr lang="en-GB"/>
              <a:t> providers to </a:t>
            </a:r>
            <a:r>
              <a:rPr lang="en-GB" b="1"/>
              <a:t>lower the service fees </a:t>
            </a:r>
            <a:r>
              <a:rPr lang="en-GB"/>
              <a:t>they can offer, due to </a:t>
            </a:r>
            <a:r>
              <a:rPr lang="en-GB" b="1">
                <a:solidFill>
                  <a:srgbClr val="808080"/>
                </a:solidFill>
                <a:highlight>
                  <a:srgbClr val="808080"/>
                </a:highlight>
              </a:rPr>
              <a:t>XXXX</a:t>
            </a:r>
          </a:p>
          <a:p>
            <a:endParaRPr lang="en-GB" b="1">
              <a:solidFill>
                <a:schemeClr val="accent5"/>
              </a:solidFill>
              <a:highlight>
                <a:srgbClr val="808080"/>
              </a:highlight>
            </a:endParaRPr>
          </a:p>
          <a:p>
            <a:endParaRPr lang="en-GB" b="1">
              <a:solidFill>
                <a:schemeClr val="accent5"/>
              </a:solidFill>
              <a:highlight>
                <a:srgbClr val="808080"/>
              </a:highlight>
            </a:endParaRPr>
          </a:p>
          <a:p>
            <a:endParaRPr lang="en-GB" b="1">
              <a:solidFill>
                <a:schemeClr val="accent5"/>
              </a:solidFill>
              <a:highlight>
                <a:srgbClr val="808080"/>
              </a:highlight>
            </a:endParaRPr>
          </a:p>
        </p:txBody>
      </p:sp>
      <p:sp>
        <p:nvSpPr>
          <p:cNvPr id="32" name="Text Placeholder 9">
            <a:extLst>
              <a:ext uri="{FF2B5EF4-FFF2-40B4-BE49-F238E27FC236}">
                <a16:creationId xmlns:a16="http://schemas.microsoft.com/office/drawing/2014/main" id="{025D779F-D958-925A-D825-1B83A0258E18}"/>
              </a:ext>
            </a:extLst>
          </p:cNvPr>
          <p:cNvSpPr txBox="1">
            <a:spLocks/>
          </p:cNvSpPr>
          <p:nvPr/>
        </p:nvSpPr>
        <p:spPr>
          <a:xfrm>
            <a:off x="381599" y="79401"/>
            <a:ext cx="3944991"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500" indent="-444500"/>
            <a:r>
              <a:rPr lang="en-GB"/>
              <a:t>	Market size and outlook – Competitive environment</a:t>
            </a:r>
          </a:p>
        </p:txBody>
      </p:sp>
      <p:sp>
        <p:nvSpPr>
          <p:cNvPr id="2" name="Oval 1">
            <a:extLst>
              <a:ext uri="{FF2B5EF4-FFF2-40B4-BE49-F238E27FC236}">
                <a16:creationId xmlns:a16="http://schemas.microsoft.com/office/drawing/2014/main" id="{2DFEB9EC-B20F-51C7-0894-6DA8799DB7EF}"/>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4" name="Oval 3">
            <a:extLst>
              <a:ext uri="{FF2B5EF4-FFF2-40B4-BE49-F238E27FC236}">
                <a16:creationId xmlns:a16="http://schemas.microsoft.com/office/drawing/2014/main" id="{0ADF5481-7107-A773-8D3B-67BF8CC87474}"/>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7" name="Text Placeholder 16">
            <a:extLst>
              <a:ext uri="{FF2B5EF4-FFF2-40B4-BE49-F238E27FC236}">
                <a16:creationId xmlns:a16="http://schemas.microsoft.com/office/drawing/2014/main" id="{5CE6A9B4-93CB-B198-51C6-BFAB50AB5BE6}"/>
              </a:ext>
            </a:extLst>
          </p:cNvPr>
          <p:cNvSpPr txBox="1">
            <a:spLocks noGrp="1"/>
          </p:cNvSpPr>
          <p:nvPr>
            <p:ph type="body" sz="quarter" idx="28"/>
          </p:nvPr>
        </p:nvSpPr>
        <p:spPr>
          <a:xfrm>
            <a:off x="9501188" y="6107385"/>
            <a:ext cx="2335212"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12" name="Rectangle 11">
            <a:extLst>
              <a:ext uri="{FF2B5EF4-FFF2-40B4-BE49-F238E27FC236}">
                <a16:creationId xmlns:a16="http://schemas.microsoft.com/office/drawing/2014/main" id="{E11BB69F-9776-CF7C-E58C-CB42D821CBE0}"/>
              </a:ext>
            </a:extLst>
          </p:cNvPr>
          <p:cNvSpPr/>
          <p:nvPr/>
        </p:nvSpPr>
        <p:spPr>
          <a:xfrm>
            <a:off x="3516550" y="4523286"/>
            <a:ext cx="5273058" cy="155778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12694912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2179586"/>
            <a:ext cx="6095996" cy="252000"/>
          </a:xfrm>
        </p:spPr>
        <p:txBody>
          <a:bodyPr/>
          <a:lstStyle/>
          <a:p>
            <a:endParaRPr lang="en-GB"/>
          </a:p>
        </p:txBody>
      </p:sp>
      <p:sp>
        <p:nvSpPr>
          <p:cNvPr id="2" name="Text Placeholder 7">
            <a:hlinkClick r:id="rId6" action="ppaction://hlinksldjump"/>
            <a:extLst>
              <a:ext uri="{FF2B5EF4-FFF2-40B4-BE49-F238E27FC236}">
                <a16:creationId xmlns:a16="http://schemas.microsoft.com/office/drawing/2014/main" id="{0870F6CD-AC2F-BD92-C310-275A12D1D256}"/>
              </a:ext>
            </a:extLst>
          </p:cNvPr>
          <p:cNvSpPr txBox="1">
            <a:spLocks/>
          </p:cNvSpPr>
          <p:nvPr/>
        </p:nvSpPr>
        <p:spPr>
          <a:xfrm>
            <a:off x="0" y="2746438"/>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514846"/>
          </a:xfrm>
        </p:spPr>
        <p:txBody>
          <a:bodyPr/>
          <a:lstStyle/>
          <a:p>
            <a:r>
              <a:rPr lang="en-GB" sz="1400" dirty="0">
                <a:hlinkClick r:id="rId7" action="ppaction://hlinksldjump"/>
              </a:rPr>
              <a:t>Executive summary</a:t>
            </a:r>
            <a:endParaRPr lang="en-GB" sz="1400" dirty="0"/>
          </a:p>
          <a:p>
            <a:r>
              <a:rPr lang="en-GB" sz="1400" dirty="0">
                <a:hlinkClick r:id="" action="ppaction://noaction"/>
              </a:rPr>
              <a:t>Introduction to battery storage</a:t>
            </a:r>
            <a:r>
              <a:rPr lang="en-GB" sz="1400" dirty="0"/>
              <a:t>	</a:t>
            </a:r>
          </a:p>
          <a:p>
            <a:r>
              <a:rPr lang="en-GB" sz="1400" dirty="0">
                <a:hlinkClick r:id="rId8" action="ppaction://hlinksldjump"/>
              </a:rPr>
              <a:t>Market size and outlook </a:t>
            </a:r>
            <a:endParaRPr lang="en-GB" sz="1400" dirty="0"/>
          </a:p>
          <a:p>
            <a:pPr lvl="1"/>
            <a:r>
              <a:rPr lang="en-GB" sz="1400" dirty="0"/>
              <a:t>Competitive environment</a:t>
            </a:r>
          </a:p>
          <a:p>
            <a:pPr lvl="1"/>
            <a:r>
              <a:rPr lang="en-GB" sz="1400" dirty="0"/>
              <a:t>Long-term market outlook</a:t>
            </a:r>
          </a:p>
          <a:p>
            <a:r>
              <a:rPr lang="en-GB" sz="1400" dirty="0">
                <a:hlinkClick r:id="" action="ppaction://noaction"/>
              </a:rPr>
              <a:t>Policy and regulatory environment</a:t>
            </a:r>
            <a:endParaRPr lang="en-GB" sz="1400" dirty="0"/>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3" name="Group 2">
            <a:extLst>
              <a:ext uri="{FF2B5EF4-FFF2-40B4-BE49-F238E27FC236}">
                <a16:creationId xmlns:a16="http://schemas.microsoft.com/office/drawing/2014/main" id="{038E439A-97EB-F769-7D9D-19FA14B2FEEC}"/>
              </a:ext>
            </a:extLst>
          </p:cNvPr>
          <p:cNvGrpSpPr/>
          <p:nvPr/>
        </p:nvGrpSpPr>
        <p:grpSpPr>
          <a:xfrm>
            <a:off x="0" y="5631542"/>
            <a:ext cx="12192000" cy="841829"/>
            <a:chOff x="0" y="5631542"/>
            <a:chExt cx="12192000" cy="841829"/>
          </a:xfrm>
        </p:grpSpPr>
        <p:sp>
          <p:nvSpPr>
            <p:cNvPr id="6" name="Rectangle 5">
              <a:extLst>
                <a:ext uri="{FF2B5EF4-FFF2-40B4-BE49-F238E27FC236}">
                  <a16:creationId xmlns:a16="http://schemas.microsoft.com/office/drawing/2014/main" id="{C0C823A6-F6F3-6724-4FF2-6DD72E53D6F3}"/>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7" name="TextBox 6">
              <a:extLst>
                <a:ext uri="{FF2B5EF4-FFF2-40B4-BE49-F238E27FC236}">
                  <a16:creationId xmlns:a16="http://schemas.microsoft.com/office/drawing/2014/main" id="{9459E639-79D9-8ECC-7D57-2F2A97D39D9F}"/>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5074527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0F733B-245E-4E5E-BEBD-088828324F12}"/>
              </a:ext>
            </a:extLst>
          </p:cNvPr>
          <p:cNvGraphicFramePr>
            <a:graphicFrameLocks noChangeAspect="1"/>
          </p:cNvGraphicFramePr>
          <p:nvPr>
            <p:custDataLst>
              <p:tags r:id="rId1"/>
            </p:custDataLst>
            <p:extLst>
              <p:ext uri="{D42A27DB-BD31-4B8C-83A1-F6EECF244321}">
                <p14:modId xmlns:p14="http://schemas.microsoft.com/office/powerpoint/2010/main" val="3672745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6" progId="TCLayout.ActiveDocument.1">
                  <p:embed/>
                </p:oleObj>
              </mc:Choice>
              <mc:Fallback>
                <p:oleObj name="think-cell Slide" r:id="rId35" imgW="395" imgH="396" progId="TCLayout.ActiveDocument.1">
                  <p:embed/>
                  <p:pic>
                    <p:nvPicPr>
                      <p:cNvPr id="10" name="Object 9" hidden="1">
                        <a:extLst>
                          <a:ext uri="{FF2B5EF4-FFF2-40B4-BE49-F238E27FC236}">
                            <a16:creationId xmlns:a16="http://schemas.microsoft.com/office/drawing/2014/main" id="{300F733B-245E-4E5E-BEBD-088828324F12}"/>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5D14094D-C039-14E7-EEA5-FFFD2B9DDB9F}"/>
              </a:ext>
            </a:extLst>
          </p:cNvPr>
          <p:cNvSpPr>
            <a:spLocks noGrp="1"/>
          </p:cNvSpPr>
          <p:nvPr>
            <p:ph type="body" sz="quarter" idx="31"/>
          </p:nvPr>
        </p:nvSpPr>
        <p:spPr>
          <a:xfrm>
            <a:off x="381599" y="79401"/>
            <a:ext cx="3983463" cy="184666"/>
          </a:xfrm>
        </p:spPr>
        <p:txBody>
          <a:bodyPr/>
          <a:lstStyle/>
          <a:p>
            <a:pPr marL="444500"/>
            <a:r>
              <a:rPr lang="en-GB"/>
              <a:t>	Market size and outlook – Long-term market outlook</a:t>
            </a:r>
          </a:p>
        </p:txBody>
      </p:sp>
      <p:sp>
        <p:nvSpPr>
          <p:cNvPr id="13" name="Text Placeholder 12">
            <a:extLst>
              <a:ext uri="{FF2B5EF4-FFF2-40B4-BE49-F238E27FC236}">
                <a16:creationId xmlns:a16="http://schemas.microsoft.com/office/drawing/2014/main" id="{CEC252F3-718A-5054-E152-1A48345A36E0}"/>
              </a:ext>
            </a:extLst>
          </p:cNvPr>
          <p:cNvSpPr>
            <a:spLocks noGrp="1"/>
          </p:cNvSpPr>
          <p:nvPr>
            <p:ph type="body" sz="quarter" idx="29"/>
          </p:nvPr>
        </p:nvSpPr>
        <p:spPr/>
        <p:txBody>
          <a:bodyPr/>
          <a:lstStyle/>
          <a:p>
            <a:r>
              <a:rPr lang="en-GB" sz="1200" b="1">
                <a:latin typeface="Lato"/>
              </a:rPr>
              <a:t>Installed grid-scale battery capacity in Europe (Aurora Central scenario)</a:t>
            </a:r>
            <a:br>
              <a:rPr lang="en-GB" sz="1200">
                <a:solidFill>
                  <a:schemeClr val="accent5"/>
                </a:solidFill>
                <a:latin typeface="Lato"/>
              </a:rPr>
            </a:br>
            <a:r>
              <a:rPr lang="en-GB" sz="1200" b="0">
                <a:solidFill>
                  <a:schemeClr val="accent5"/>
                </a:solidFill>
                <a:latin typeface="Lato"/>
              </a:rPr>
              <a:t>GW</a:t>
            </a:r>
            <a:endParaRPr lang="en-GB"/>
          </a:p>
        </p:txBody>
      </p:sp>
      <p:sp>
        <p:nvSpPr>
          <p:cNvPr id="2" name="Text Placeholder 1">
            <a:extLst>
              <a:ext uri="{FF2B5EF4-FFF2-40B4-BE49-F238E27FC236}">
                <a16:creationId xmlns:a16="http://schemas.microsoft.com/office/drawing/2014/main" id="{0D326790-F4D0-4D4C-9838-536A4F463977}"/>
              </a:ext>
            </a:extLst>
          </p:cNvPr>
          <p:cNvSpPr>
            <a:spLocks noGrp="1"/>
          </p:cNvSpPr>
          <p:nvPr>
            <p:ph type="body" sz="quarter" idx="22"/>
          </p:nvPr>
        </p:nvSpPr>
        <p:spPr>
          <a:xfrm>
            <a:off x="381001" y="6715169"/>
            <a:ext cx="1931619" cy="110800"/>
          </a:xfrm>
        </p:spPr>
        <p:txBody>
          <a:bodyPr/>
          <a:lstStyle/>
          <a:p>
            <a:r>
              <a:rPr lang="en-GB"/>
              <a:t>Sources: Aurora Energy Research, Eurostat</a:t>
            </a:r>
          </a:p>
        </p:txBody>
      </p:sp>
      <p:sp>
        <p:nvSpPr>
          <p:cNvPr id="3" name="Title 2">
            <a:extLst>
              <a:ext uri="{FF2B5EF4-FFF2-40B4-BE49-F238E27FC236}">
                <a16:creationId xmlns:a16="http://schemas.microsoft.com/office/drawing/2014/main" id="{730ABDDA-85A4-4992-908F-C9093A4C6D5E}"/>
              </a:ext>
            </a:extLst>
          </p:cNvPr>
          <p:cNvSpPr>
            <a:spLocks noGrp="1"/>
          </p:cNvSpPr>
          <p:nvPr>
            <p:ph type="title"/>
          </p:nvPr>
        </p:nvSpPr>
        <p:spPr/>
        <p:txBody>
          <a:bodyPr vert="horz"/>
          <a:lstStyle/>
          <a:p>
            <a:r>
              <a:rPr lang="en-GB">
                <a:solidFill>
                  <a:schemeClr val="tx1"/>
                </a:solidFill>
              </a:rPr>
              <a:t>Based on Aurora‘s Central scenario, grid scale battery storage could grow to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a:solidFill>
                  <a:schemeClr val="tx1"/>
                </a:solidFill>
              </a:rPr>
              <a:t>GW by 2030, </a:t>
            </a:r>
            <a:r>
              <a:rPr lang="en-GB" sz="2200" b="1" i="0" u="none" strike="noStrike" kern="1200" baseline="0">
                <a:solidFill>
                  <a:srgbClr val="808080"/>
                </a:solidFill>
                <a:highlight>
                  <a:srgbClr val="808080"/>
                </a:highlight>
                <a:latin typeface="Lato" panose="020F0502020204030203" pitchFamily="34" charset="0"/>
              </a:rPr>
              <a:t>XX</a:t>
            </a:r>
            <a:r>
              <a:rPr lang="en-GB">
                <a:solidFill>
                  <a:schemeClr val="tx1"/>
                </a:solidFill>
              </a:rPr>
              <a:t>GW more than the current pipeline</a:t>
            </a:r>
          </a:p>
        </p:txBody>
      </p:sp>
      <p:sp>
        <p:nvSpPr>
          <p:cNvPr id="16" name="Text Placeholder 15">
            <a:extLst>
              <a:ext uri="{FF2B5EF4-FFF2-40B4-BE49-F238E27FC236}">
                <a16:creationId xmlns:a16="http://schemas.microsoft.com/office/drawing/2014/main" id="{3E34FBEE-90A9-2508-DDD2-FF8424ED4BEE}"/>
              </a:ext>
            </a:extLst>
          </p:cNvPr>
          <p:cNvSpPr>
            <a:spLocks noGrp="1"/>
          </p:cNvSpPr>
          <p:nvPr>
            <p:ph type="body" sz="quarter" idx="32"/>
          </p:nvPr>
        </p:nvSpPr>
        <p:spPr>
          <a:xfrm>
            <a:off x="381600" y="6474841"/>
            <a:ext cx="8601074" cy="110800"/>
          </a:xfrm>
        </p:spPr>
        <p:txBody>
          <a:bodyPr/>
          <a:lstStyle/>
          <a:p>
            <a:endParaRPr lang="en-GB"/>
          </a:p>
        </p:txBody>
      </p:sp>
      <p:graphicFrame>
        <p:nvGraphicFramePr>
          <p:cNvPr id="11" name="Chart 10">
            <a:extLst>
              <a:ext uri="{FF2B5EF4-FFF2-40B4-BE49-F238E27FC236}">
                <a16:creationId xmlns:a16="http://schemas.microsoft.com/office/drawing/2014/main" id="{6B14B0DE-04EC-854E-6608-2C2D646C66EB}"/>
              </a:ext>
            </a:extLst>
          </p:cNvPr>
          <p:cNvGraphicFramePr/>
          <p:nvPr>
            <p:custDataLst>
              <p:tags r:id="rId2"/>
            </p:custDataLst>
            <p:extLst>
              <p:ext uri="{D42A27DB-BD31-4B8C-83A1-F6EECF244321}">
                <p14:modId xmlns:p14="http://schemas.microsoft.com/office/powerpoint/2010/main" val="84804033"/>
              </p:ext>
            </p:extLst>
          </p:nvPr>
        </p:nvGraphicFramePr>
        <p:xfrm>
          <a:off x="822325" y="1939925"/>
          <a:ext cx="8204200" cy="3813175"/>
        </p:xfrm>
        <a:graphic>
          <a:graphicData uri="http://schemas.openxmlformats.org/drawingml/2006/chart">
            <c:chart xmlns:c="http://schemas.openxmlformats.org/drawingml/2006/chart" xmlns:r="http://schemas.openxmlformats.org/officeDocument/2006/relationships" r:id="rId37"/>
          </a:graphicData>
        </a:graphic>
      </p:graphicFrame>
      <p:cxnSp>
        <p:nvCxnSpPr>
          <p:cNvPr id="469" name="Straight Connector 468">
            <a:extLst>
              <a:ext uri="{FF2B5EF4-FFF2-40B4-BE49-F238E27FC236}">
                <a16:creationId xmlns:a16="http://schemas.microsoft.com/office/drawing/2014/main" id="{6E23AB22-3586-8FF1-4015-4E65F53A6F44}"/>
              </a:ext>
            </a:extLst>
          </p:cNvPr>
          <p:cNvCxnSpPr>
            <a:cxnSpLocks/>
          </p:cNvCxnSpPr>
          <p:nvPr>
            <p:custDataLst>
              <p:tags r:id="rId3"/>
            </p:custDataLst>
          </p:nvPr>
        </p:nvCxnSpPr>
        <p:spPr bwMode="auto">
          <a:xfrm flipH="1">
            <a:off x="4081464" y="4619625"/>
            <a:ext cx="8429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A1E9AE34-D0DC-E8CA-B6A4-C40157617E4E}"/>
              </a:ext>
            </a:extLst>
          </p:cNvPr>
          <p:cNvCxnSpPr>
            <a:cxnSpLocks/>
          </p:cNvCxnSpPr>
          <p:nvPr>
            <p:custDataLst>
              <p:tags r:id="rId4"/>
            </p:custDataLst>
          </p:nvPr>
        </p:nvCxnSpPr>
        <p:spPr bwMode="auto">
          <a:xfrm flipH="1">
            <a:off x="4081463" y="3803650"/>
            <a:ext cx="3063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DC45D599-6207-2AF3-AF7A-1560EB18CB5B}"/>
              </a:ext>
            </a:extLst>
          </p:cNvPr>
          <p:cNvCxnSpPr/>
          <p:nvPr>
            <p:custDataLst>
              <p:tags r:id="rId5"/>
            </p:custDataLst>
          </p:nvPr>
        </p:nvCxnSpPr>
        <p:spPr bwMode="gray">
          <a:xfrm flipV="1">
            <a:off x="4119563" y="3800476"/>
            <a:ext cx="0" cy="8223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9D4CD0F-DCF3-BEC5-1B7E-5CEB63407DBB}"/>
              </a:ext>
            </a:extLst>
          </p:cNvPr>
          <p:cNvCxnSpPr>
            <a:cxnSpLocks/>
          </p:cNvCxnSpPr>
          <p:nvPr>
            <p:custDataLst>
              <p:tags r:id="rId6"/>
            </p:custDataLst>
          </p:nvPr>
        </p:nvCxnSpPr>
        <p:spPr bwMode="gray">
          <a:xfrm flipV="1">
            <a:off x="1708150" y="3613150"/>
            <a:ext cx="0" cy="176053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C8F9AB1D-C81F-AD07-0CEA-646EC127B33A}"/>
              </a:ext>
            </a:extLst>
          </p:cNvPr>
          <p:cNvCxnSpPr/>
          <p:nvPr>
            <p:custDataLst>
              <p:tags r:id="rId7"/>
            </p:custDataLst>
          </p:nvPr>
        </p:nvCxnSpPr>
        <p:spPr bwMode="gray">
          <a:xfrm>
            <a:off x="1708150" y="3613150"/>
            <a:ext cx="3176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44A32D92-3331-601E-2528-83E6740A8143}"/>
              </a:ext>
            </a:extLst>
          </p:cNvPr>
          <p:cNvCxnSpPr/>
          <p:nvPr>
            <p:custDataLst>
              <p:tags r:id="rId8"/>
            </p:custDataLst>
          </p:nvPr>
        </p:nvCxnSpPr>
        <p:spPr bwMode="gray">
          <a:xfrm>
            <a:off x="4884738" y="3613150"/>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A9924807-6890-9E07-2C28-7F836A598AD3}"/>
              </a:ext>
            </a:extLst>
          </p:cNvPr>
          <p:cNvCxnSpPr/>
          <p:nvPr>
            <p:custDataLst>
              <p:tags r:id="rId9"/>
            </p:custDataLst>
          </p:nvPr>
        </p:nvCxnSpPr>
        <p:spPr bwMode="gray">
          <a:xfrm flipV="1">
            <a:off x="4960938" y="2708275"/>
            <a:ext cx="0" cy="1057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7525728E-723D-3550-5EC2-6AC5108EA7B1}"/>
              </a:ext>
            </a:extLst>
          </p:cNvPr>
          <p:cNvCxnSpPr/>
          <p:nvPr>
            <p:custDataLst>
              <p:tags r:id="rId10"/>
            </p:custDataLst>
          </p:nvPr>
        </p:nvCxnSpPr>
        <p:spPr bwMode="gray">
          <a:xfrm>
            <a:off x="4960938" y="2708275"/>
            <a:ext cx="15319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EF4A19B6-8F4D-E175-4A61-BA13E9A02681}"/>
              </a:ext>
            </a:extLst>
          </p:cNvPr>
          <p:cNvCxnSpPr/>
          <p:nvPr>
            <p:custDataLst>
              <p:tags r:id="rId11"/>
            </p:custDataLst>
          </p:nvPr>
        </p:nvCxnSpPr>
        <p:spPr bwMode="gray">
          <a:xfrm>
            <a:off x="6492875" y="2708275"/>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FC956F03-184B-5B31-798B-EE29DAE8E906}"/>
              </a:ext>
            </a:extLst>
          </p:cNvPr>
          <p:cNvCxnSpPr/>
          <p:nvPr>
            <p:custDataLst>
              <p:tags r:id="rId12"/>
            </p:custDataLst>
          </p:nvPr>
        </p:nvCxnSpPr>
        <p:spPr bwMode="gray">
          <a:xfrm flipV="1">
            <a:off x="6569075" y="1905000"/>
            <a:ext cx="0" cy="9556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CFEDDF57-8DC5-216E-B5AB-15F565C07C90}"/>
              </a:ext>
            </a:extLst>
          </p:cNvPr>
          <p:cNvCxnSpPr/>
          <p:nvPr>
            <p:custDataLst>
              <p:tags r:id="rId13"/>
            </p:custDataLst>
          </p:nvPr>
        </p:nvCxnSpPr>
        <p:spPr bwMode="gray">
          <a:xfrm>
            <a:off x="6569075" y="1905000"/>
            <a:ext cx="15700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51B04EF7-15AE-50AE-88BA-BEB2D6571EE5}"/>
              </a:ext>
            </a:extLst>
          </p:cNvPr>
          <p:cNvCxnSpPr/>
          <p:nvPr>
            <p:custDataLst>
              <p:tags r:id="rId14"/>
            </p:custDataLst>
          </p:nvPr>
        </p:nvCxnSpPr>
        <p:spPr bwMode="gray">
          <a:xfrm>
            <a:off x="8139113" y="1905000"/>
            <a:ext cx="0" cy="152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6" name="Text Placeholder 1">
            <a:extLst>
              <a:ext uri="{FF2B5EF4-FFF2-40B4-BE49-F238E27FC236}">
                <a16:creationId xmlns:a16="http://schemas.microsoft.com/office/drawing/2014/main" id="{814F8256-0AA8-45E1-89A4-5F191CB76AB1}"/>
              </a:ext>
            </a:extLst>
          </p:cNvPr>
          <p:cNvSpPr>
            <a:spLocks noGrp="1"/>
          </p:cNvSpPr>
          <p:nvPr>
            <p:custDataLst>
              <p:tags r:id="rId15"/>
            </p:custDataLst>
          </p:nvPr>
        </p:nvSpPr>
        <p:spPr bwMode="auto">
          <a:xfrm>
            <a:off x="1524000" y="5721350"/>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D5A4E7C9-8A3A-44B1-9D35-7307056740E6}" type="datetime'''''''''''''''''''''''''''''''''2''''02''''3'''''''''''''">
              <a:rPr lang="en-GB" altLang="en-US" sz="1200" smtClean="0"/>
              <a:pPr marL="0" indent="0" algn="ctr">
                <a:spcBef>
                  <a:spcPct val="0"/>
                </a:spcBef>
                <a:spcAft>
                  <a:spcPct val="0"/>
                </a:spcAft>
                <a:buNone/>
              </a:pPr>
              <a:t>2023</a:t>
            </a:fld>
            <a:endParaRPr lang="en-GB" sz="1200">
              <a:sym typeface="+mn-lt"/>
            </a:endParaRPr>
          </a:p>
        </p:txBody>
      </p:sp>
      <p:sp>
        <p:nvSpPr>
          <p:cNvPr id="160" name="Text Placeholder 1">
            <a:extLst>
              <a:ext uri="{FF2B5EF4-FFF2-40B4-BE49-F238E27FC236}">
                <a16:creationId xmlns:a16="http://schemas.microsoft.com/office/drawing/2014/main" id="{6952FC85-7699-2921-1293-BF050D6EB2C1}"/>
              </a:ext>
            </a:extLst>
          </p:cNvPr>
          <p:cNvSpPr>
            <a:spLocks noGrp="1"/>
          </p:cNvSpPr>
          <p:nvPr>
            <p:custDataLst>
              <p:tags r:id="rId16"/>
            </p:custDataLst>
          </p:nvPr>
        </p:nvSpPr>
        <p:spPr bwMode="auto">
          <a:xfrm>
            <a:off x="3132138" y="5721350"/>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4F60FE41-3893-4EAD-BCB5-5DA24740DF9C}" type="datetime'''2''''''''0''''2''''''''5'''''''''''''''''''''''''''">
              <a:rPr lang="en-GB" altLang="en-US" sz="1200" smtClean="0"/>
              <a:pPr marL="0" indent="0" algn="ctr">
                <a:spcBef>
                  <a:spcPct val="0"/>
                </a:spcBef>
                <a:spcAft>
                  <a:spcPct val="0"/>
                </a:spcAft>
                <a:buNone/>
              </a:pPr>
              <a:t>2025</a:t>
            </a:fld>
            <a:endParaRPr lang="en-GB" sz="1200">
              <a:sym typeface="+mn-lt"/>
            </a:endParaRPr>
          </a:p>
        </p:txBody>
      </p:sp>
      <p:sp>
        <p:nvSpPr>
          <p:cNvPr id="197" name="Text Placeholder 1">
            <a:extLst>
              <a:ext uri="{FF2B5EF4-FFF2-40B4-BE49-F238E27FC236}">
                <a16:creationId xmlns:a16="http://schemas.microsoft.com/office/drawing/2014/main" id="{FBE43C00-9693-45E8-9705-7B3D6FA9C668}"/>
              </a:ext>
            </a:extLst>
          </p:cNvPr>
          <p:cNvSpPr>
            <a:spLocks noGrp="1"/>
          </p:cNvSpPr>
          <p:nvPr>
            <p:custDataLst>
              <p:tags r:id="rId17"/>
            </p:custDataLst>
          </p:nvPr>
        </p:nvSpPr>
        <p:spPr bwMode="auto">
          <a:xfrm>
            <a:off x="4738688" y="5721350"/>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91136D0B-4310-4672-B0F5-7120883D3048}" type="datetime'2''''0''''''''''''''''''''''''''''''''''''3''''''0'''''''">
              <a:rPr lang="en-GB" altLang="en-US" sz="1200" smtClean="0"/>
              <a:pPr marL="0" indent="0" algn="ctr">
                <a:spcBef>
                  <a:spcPct val="0"/>
                </a:spcBef>
                <a:spcAft>
                  <a:spcPct val="0"/>
                </a:spcAft>
                <a:buNone/>
              </a:pPr>
              <a:t>2030</a:t>
            </a:fld>
            <a:endParaRPr lang="en-GB" sz="1200">
              <a:sym typeface="+mn-lt"/>
            </a:endParaRPr>
          </a:p>
        </p:txBody>
      </p:sp>
      <p:sp>
        <p:nvSpPr>
          <p:cNvPr id="198" name="Text Placeholder 1">
            <a:extLst>
              <a:ext uri="{FF2B5EF4-FFF2-40B4-BE49-F238E27FC236}">
                <a16:creationId xmlns:a16="http://schemas.microsoft.com/office/drawing/2014/main" id="{2B6A33F7-DB31-4074-B7DE-9DD125F99A5C}"/>
              </a:ext>
            </a:extLst>
          </p:cNvPr>
          <p:cNvSpPr>
            <a:spLocks noGrp="1"/>
          </p:cNvSpPr>
          <p:nvPr>
            <p:custDataLst>
              <p:tags r:id="rId18"/>
            </p:custDataLst>
          </p:nvPr>
        </p:nvSpPr>
        <p:spPr bwMode="auto">
          <a:xfrm>
            <a:off x="6346825" y="5721350"/>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FA673180-DBEB-4EDF-8440-F643EF030ADC}" type="datetime'''''''''2''''''0''''''''''''''''''''4''''''0'''''''''''''''">
              <a:rPr lang="en-GB" altLang="en-US" sz="1200" smtClean="0"/>
              <a:pPr marL="0" indent="0" algn="ctr">
                <a:spcBef>
                  <a:spcPct val="0"/>
                </a:spcBef>
                <a:spcAft>
                  <a:spcPct val="0"/>
                </a:spcAft>
                <a:buNone/>
              </a:pPr>
              <a:t>2040</a:t>
            </a:fld>
            <a:endParaRPr lang="en-GB" sz="1200">
              <a:sym typeface="+mn-lt"/>
            </a:endParaRPr>
          </a:p>
        </p:txBody>
      </p:sp>
      <p:sp>
        <p:nvSpPr>
          <p:cNvPr id="232" name="Text Placeholder 1">
            <a:extLst>
              <a:ext uri="{FF2B5EF4-FFF2-40B4-BE49-F238E27FC236}">
                <a16:creationId xmlns:a16="http://schemas.microsoft.com/office/drawing/2014/main" id="{F4F607D7-DCFD-4268-8905-98903DC0168A}"/>
              </a:ext>
            </a:extLst>
          </p:cNvPr>
          <p:cNvSpPr>
            <a:spLocks noGrp="1"/>
          </p:cNvSpPr>
          <p:nvPr>
            <p:custDataLst>
              <p:tags r:id="rId19"/>
            </p:custDataLst>
          </p:nvPr>
        </p:nvSpPr>
        <p:spPr bwMode="auto">
          <a:xfrm>
            <a:off x="7954963" y="5721350"/>
            <a:ext cx="3683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AEFCA3A2-F244-44B6-BA12-AE9220F28FF2}" type="datetime'''''''''''''''''''''''''''''''''''2''0''''''''''''50'''''">
              <a:rPr lang="en-GB" altLang="en-US" sz="1200" smtClean="0"/>
              <a:pPr marL="0" indent="0" algn="ctr">
                <a:spcBef>
                  <a:spcPct val="0"/>
                </a:spcBef>
                <a:spcAft>
                  <a:spcPct val="0"/>
                </a:spcAft>
                <a:buNone/>
              </a:pPr>
              <a:t>2050</a:t>
            </a:fld>
            <a:endParaRPr lang="en-GB" sz="1200">
              <a:sym typeface="+mn-lt"/>
            </a:endParaRPr>
          </a:p>
        </p:txBody>
      </p:sp>
      <p:sp>
        <p:nvSpPr>
          <p:cNvPr id="468" name="Text Placeholder 19">
            <a:extLst>
              <a:ext uri="{FF2B5EF4-FFF2-40B4-BE49-F238E27FC236}">
                <a16:creationId xmlns:a16="http://schemas.microsoft.com/office/drawing/2014/main" id="{9F9869AF-B0F6-4E89-B216-4EC18C7334C2}"/>
              </a:ext>
            </a:extLst>
          </p:cNvPr>
          <p:cNvSpPr>
            <a:spLocks noGrp="1"/>
          </p:cNvSpPr>
          <p:nvPr>
            <p:custDataLst>
              <p:tags r:id="rId20"/>
            </p:custDataLst>
          </p:nvPr>
        </p:nvSpPr>
        <p:spPr bwMode="auto">
          <a:xfrm>
            <a:off x="3973513" y="4121150"/>
            <a:ext cx="292100"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b="1">
                <a:ea typeface="+mn-ea"/>
                <a:cs typeface="+mn-cs"/>
                <a:sym typeface="+mn-lt"/>
              </a:rPr>
              <a:t>XX</a:t>
            </a:r>
          </a:p>
        </p:txBody>
      </p:sp>
      <p:sp>
        <p:nvSpPr>
          <p:cNvPr id="179"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auto">
          <a:xfrm>
            <a:off x="3149600" y="3484563"/>
            <a:ext cx="292100"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sym typeface="+mn-lt"/>
            </a:endParaRPr>
          </a:p>
        </p:txBody>
      </p:sp>
      <p:sp>
        <p:nvSpPr>
          <p:cNvPr id="121"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auto">
          <a:xfrm>
            <a:off x="5580063" y="2579688"/>
            <a:ext cx="292100"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sym typeface="+mn-lt"/>
            </a:endParaRPr>
          </a:p>
        </p:txBody>
      </p:sp>
      <p:sp>
        <p:nvSpPr>
          <p:cNvPr id="129"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auto">
          <a:xfrm>
            <a:off x="7207250" y="1776413"/>
            <a:ext cx="292100"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sym typeface="+mn-lt"/>
            </a:endParaRPr>
          </a:p>
        </p:txBody>
      </p:sp>
      <p:sp>
        <p:nvSpPr>
          <p:cNvPr id="27" name="Rectangle 26">
            <a:extLst>
              <a:ext uri="{FF2B5EF4-FFF2-40B4-BE49-F238E27FC236}">
                <a16:creationId xmlns:a16="http://schemas.microsoft.com/office/drawing/2014/main" id="{14A3930D-9665-6F0B-1191-9113A36476D1}"/>
              </a:ext>
            </a:extLst>
          </p:cNvPr>
          <p:cNvSpPr/>
          <p:nvPr>
            <p:custDataLst>
              <p:tags r:id="rId24"/>
            </p:custDataLst>
          </p:nvPr>
        </p:nvSpPr>
        <p:spPr bwMode="auto">
          <a:xfrm>
            <a:off x="496888" y="6276975"/>
            <a:ext cx="179388" cy="133350"/>
          </a:xfrm>
          <a:prstGeom prst="rect">
            <a:avLst/>
          </a:prstGeom>
          <a:solidFill>
            <a:schemeClr val="accent1"/>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14" name="Rectangle 113">
            <a:extLst>
              <a:ext uri="{FF2B5EF4-FFF2-40B4-BE49-F238E27FC236}">
                <a16:creationId xmlns:a16="http://schemas.microsoft.com/office/drawing/2014/main" id="{4E6A8F62-EFDF-0175-1BD4-17F64C932CFF}"/>
              </a:ext>
            </a:extLst>
          </p:cNvPr>
          <p:cNvSpPr/>
          <p:nvPr>
            <p:custDataLst>
              <p:tags r:id="rId25"/>
            </p:custDataLst>
          </p:nvPr>
        </p:nvSpPr>
        <p:spPr bwMode="auto">
          <a:xfrm>
            <a:off x="1109663" y="6276975"/>
            <a:ext cx="179388" cy="133350"/>
          </a:xfrm>
          <a:prstGeom prst="rect">
            <a:avLst/>
          </a:prstGeom>
          <a:solidFill>
            <a:srgbClr val="9DB1CF"/>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16" name="Rectangle 115">
            <a:extLst>
              <a:ext uri="{FF2B5EF4-FFF2-40B4-BE49-F238E27FC236}">
                <a16:creationId xmlns:a16="http://schemas.microsoft.com/office/drawing/2014/main" id="{1F24A0D1-057E-4143-E1D7-E40D73B78AAB}"/>
              </a:ext>
            </a:extLst>
          </p:cNvPr>
          <p:cNvSpPr/>
          <p:nvPr>
            <p:custDataLst>
              <p:tags r:id="rId26"/>
            </p:custDataLst>
          </p:nvPr>
        </p:nvSpPr>
        <p:spPr bwMode="auto">
          <a:xfrm>
            <a:off x="1649413" y="6276975"/>
            <a:ext cx="179388" cy="133350"/>
          </a:xfrm>
          <a:prstGeom prst="rect">
            <a:avLst/>
          </a:prstGeom>
          <a:solidFill>
            <a:srgbClr val="6F8DB9"/>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cxnSp>
        <p:nvCxnSpPr>
          <p:cNvPr id="38" name="Straight Connector 37">
            <a:extLst>
              <a:ext uri="{FF2B5EF4-FFF2-40B4-BE49-F238E27FC236}">
                <a16:creationId xmlns:a16="http://schemas.microsoft.com/office/drawing/2014/main" id="{5CB1D5C8-7D4F-006D-C4B5-82FED01B32AC}"/>
              </a:ext>
            </a:extLst>
          </p:cNvPr>
          <p:cNvCxnSpPr/>
          <p:nvPr>
            <p:custDataLst>
              <p:tags r:id="rId27"/>
            </p:custDataLst>
          </p:nvPr>
        </p:nvCxnSpPr>
        <p:spPr bwMode="gray">
          <a:xfrm>
            <a:off x="2208213" y="6343650"/>
            <a:ext cx="222250" cy="0"/>
          </a:xfrm>
          <a:prstGeom prst="line">
            <a:avLst/>
          </a:prstGeom>
          <a:ln w="22225" cap="rnd"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19">
            <a:extLst>
              <a:ext uri="{FF2B5EF4-FFF2-40B4-BE49-F238E27FC236}">
                <a16:creationId xmlns:a16="http://schemas.microsoft.com/office/drawing/2014/main" id="{CF2E13E9-1AC3-DC11-176B-A324A7EB40D9}"/>
              </a:ext>
            </a:extLst>
          </p:cNvPr>
          <p:cNvSpPr>
            <a:spLocks noGrp="1"/>
          </p:cNvSpPr>
          <p:nvPr>
            <p:custDataLst>
              <p:tags r:id="rId28"/>
            </p:custDataLst>
          </p:nvPr>
        </p:nvSpPr>
        <p:spPr bwMode="auto">
          <a:xfrm>
            <a:off x="727075" y="6272213"/>
            <a:ext cx="215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2E9D515E-8750-46AE-869F-E36434CEF31F}" type="datetime'''''''''''&lt;''''''''''''''1''''''''h'''''''''''''''''''''''''''">
              <a:rPr lang="en-GB" altLang="en-US" sz="1000" smtClean="0">
                <a:ea typeface="+mn-ea"/>
                <a:cs typeface="+mn-cs"/>
              </a:rPr>
              <a:pPr>
                <a:spcBef>
                  <a:spcPct val="0"/>
                </a:spcBef>
                <a:spcAft>
                  <a:spcPct val="0"/>
                </a:spcAft>
              </a:pPr>
              <a:t>&lt;1h</a:t>
            </a:fld>
            <a:endParaRPr lang="en-GB" sz="1000">
              <a:ea typeface="+mn-ea"/>
              <a:cs typeface="+mn-cs"/>
              <a:sym typeface="+mn-lt"/>
            </a:endParaRPr>
          </a:p>
        </p:txBody>
      </p:sp>
      <p:sp>
        <p:nvSpPr>
          <p:cNvPr id="109" name="Text Placeholder 19">
            <a:extLst>
              <a:ext uri="{FF2B5EF4-FFF2-40B4-BE49-F238E27FC236}">
                <a16:creationId xmlns:a16="http://schemas.microsoft.com/office/drawing/2014/main" id="{9F9869AF-B0F6-4E89-B216-4EC18C7334C2}"/>
              </a:ext>
            </a:extLst>
          </p:cNvPr>
          <p:cNvSpPr>
            <a:spLocks noGrp="1"/>
          </p:cNvSpPr>
          <p:nvPr>
            <p:custDataLst>
              <p:tags r:id="rId29"/>
            </p:custDataLst>
          </p:nvPr>
        </p:nvSpPr>
        <p:spPr bwMode="auto">
          <a:xfrm>
            <a:off x="1339850" y="6272213"/>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DE5BE616-DB98-4101-A0FF-147A7AABD96D}" type="datetime'''''''''''''''''''2''''''''''''''''h'''''''''''''">
              <a:rPr lang="en-GB" altLang="en-US" sz="1000" smtClean="0">
                <a:ea typeface="+mn-ea"/>
                <a:cs typeface="+mn-cs"/>
              </a:rPr>
              <a:pPr>
                <a:spcBef>
                  <a:spcPct val="0"/>
                </a:spcBef>
                <a:spcAft>
                  <a:spcPct val="0"/>
                </a:spcAft>
              </a:pPr>
              <a:t>2h</a:t>
            </a:fld>
            <a:endParaRPr lang="en-GB" sz="1000">
              <a:ea typeface="+mn-ea"/>
              <a:cs typeface="+mn-cs"/>
              <a:sym typeface="+mn-lt"/>
            </a:endParaRPr>
          </a:p>
        </p:txBody>
      </p:sp>
      <p:sp>
        <p:nvSpPr>
          <p:cNvPr id="108" name="Text Placeholder 19">
            <a:extLst>
              <a:ext uri="{FF2B5EF4-FFF2-40B4-BE49-F238E27FC236}">
                <a16:creationId xmlns:a16="http://schemas.microsoft.com/office/drawing/2014/main" id="{9F9869AF-B0F6-4E89-B216-4EC18C7334C2}"/>
              </a:ext>
            </a:extLst>
          </p:cNvPr>
          <p:cNvSpPr>
            <a:spLocks noGrp="1"/>
          </p:cNvSpPr>
          <p:nvPr>
            <p:custDataLst>
              <p:tags r:id="rId30"/>
            </p:custDataLst>
          </p:nvPr>
        </p:nvSpPr>
        <p:spPr bwMode="auto">
          <a:xfrm>
            <a:off x="1879600" y="6272213"/>
            <a:ext cx="215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6930D353-92F1-4359-BDEA-13DC778EE366}" type="datetime'''''''''4''''''''''''''''''''''''''''h''''''''''''''''''+'''">
              <a:rPr lang="en-GB" altLang="en-US" sz="1000" smtClean="0">
                <a:ea typeface="+mn-ea"/>
                <a:cs typeface="+mn-cs"/>
              </a:rPr>
              <a:pPr>
                <a:spcBef>
                  <a:spcPct val="0"/>
                </a:spcBef>
                <a:spcAft>
                  <a:spcPct val="0"/>
                </a:spcAft>
              </a:pPr>
              <a:t>4h+</a:t>
            </a:fld>
            <a:endParaRPr lang="en-GB" sz="1000">
              <a:ea typeface="+mn-ea"/>
              <a:cs typeface="+mn-cs"/>
              <a:sym typeface="+mn-lt"/>
            </a:endParaRPr>
          </a:p>
        </p:txBody>
      </p:sp>
      <p:sp>
        <p:nvSpPr>
          <p:cNvPr id="8" name="Text Placeholder 19">
            <a:extLst>
              <a:ext uri="{FF2B5EF4-FFF2-40B4-BE49-F238E27FC236}">
                <a16:creationId xmlns:a16="http://schemas.microsoft.com/office/drawing/2014/main" id="{DF10094A-2C3F-043D-C75C-ED0141B1BA82}"/>
              </a:ext>
            </a:extLst>
          </p:cNvPr>
          <p:cNvSpPr>
            <a:spLocks noGrp="1"/>
          </p:cNvSpPr>
          <p:nvPr>
            <p:custDataLst>
              <p:tags r:id="rId31"/>
            </p:custDataLst>
          </p:nvPr>
        </p:nvSpPr>
        <p:spPr bwMode="auto">
          <a:xfrm>
            <a:off x="2492375" y="6272213"/>
            <a:ext cx="2444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0A06655E-3295-4FD7-B040-3A97966232B1}" type="datetime'''Projected'' capa''c''ity based ''''on current ''pipel''ine'">
              <a:rPr lang="en-US" altLang="en-US" sz="1000" smtClean="0">
                <a:ea typeface="+mn-ea"/>
                <a:cs typeface="+mn-cs"/>
              </a:rPr>
              <a:pPr>
                <a:spcBef>
                  <a:spcPct val="0"/>
                </a:spcBef>
                <a:spcAft>
                  <a:spcPct val="0"/>
                </a:spcAft>
              </a:pPr>
              <a:t>Projected capacity based on current pipeline</a:t>
            </a:fld>
            <a:endParaRPr lang="en-GB" sz="1000">
              <a:ea typeface="+mn-ea"/>
              <a:cs typeface="+mn-cs"/>
              <a:sym typeface="+mn-lt"/>
            </a:endParaRPr>
          </a:p>
        </p:txBody>
      </p:sp>
      <p:sp>
        <p:nvSpPr>
          <p:cNvPr id="7" name="Oval 6">
            <a:extLst>
              <a:ext uri="{FF2B5EF4-FFF2-40B4-BE49-F238E27FC236}">
                <a16:creationId xmlns:a16="http://schemas.microsoft.com/office/drawing/2014/main" id="{21ED959D-5D35-3BD0-9579-C3929C470895}"/>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9" name="Oval 8">
            <a:extLst>
              <a:ext uri="{FF2B5EF4-FFF2-40B4-BE49-F238E27FC236}">
                <a16:creationId xmlns:a16="http://schemas.microsoft.com/office/drawing/2014/main" id="{A65B1311-ABD0-9F9F-CAE3-2FA294A38EF5}"/>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39" name="Text Placeholder 16">
            <a:extLst>
              <a:ext uri="{FF2B5EF4-FFF2-40B4-BE49-F238E27FC236}">
                <a16:creationId xmlns:a16="http://schemas.microsoft.com/office/drawing/2014/main" id="{35B1EE91-A148-FF45-75CD-9D89C7D5ABBB}"/>
              </a:ext>
            </a:extLst>
          </p:cNvPr>
          <p:cNvSpPr txBox="1">
            <a:spLocks/>
          </p:cNvSpPr>
          <p:nvPr/>
        </p:nvSpPr>
        <p:spPr>
          <a:xfrm>
            <a:off x="9501188" y="6107385"/>
            <a:ext cx="2335212"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4" name="Rectangle 3">
            <a:extLst>
              <a:ext uri="{FF2B5EF4-FFF2-40B4-BE49-F238E27FC236}">
                <a16:creationId xmlns:a16="http://schemas.microsoft.com/office/drawing/2014/main" id="{D5D7B2A0-F03A-2FA3-50AF-B1CCE9C84233}"/>
              </a:ext>
            </a:extLst>
          </p:cNvPr>
          <p:cNvSpPr/>
          <p:nvPr/>
        </p:nvSpPr>
        <p:spPr>
          <a:xfrm>
            <a:off x="410407" y="1776413"/>
            <a:ext cx="8495468" cy="4375298"/>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1053357832"/>
      </p:ext>
    </p:extLst>
  </p:cSld>
  <p:clrMapOvr>
    <a:masterClrMapping/>
  </p:clrMapOvr>
  <p:extLst>
    <p:ext uri="{6950BFC3-D8DA-4A85-94F7-54DA5524770B}">
      <p188:commentRel xmlns:p188="http://schemas.microsoft.com/office/powerpoint/2018/8/main" r:id="rId34"/>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0F733B-245E-4E5E-BEBD-088828324F12}"/>
              </a:ext>
            </a:extLst>
          </p:cNvPr>
          <p:cNvGraphicFramePr>
            <a:graphicFrameLocks noChangeAspect="1"/>
          </p:cNvGraphicFramePr>
          <p:nvPr>
            <p:custDataLst>
              <p:tags r:id="rId1"/>
            </p:custDataLst>
            <p:extLst>
              <p:ext uri="{D42A27DB-BD31-4B8C-83A1-F6EECF244321}">
                <p14:modId xmlns:p14="http://schemas.microsoft.com/office/powerpoint/2010/main" val="3940795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6" progId="TCLayout.ActiveDocument.1">
                  <p:embed/>
                </p:oleObj>
              </mc:Choice>
              <mc:Fallback>
                <p:oleObj name="think-cell Slide" r:id="rId66" imgW="395" imgH="396" progId="TCLayout.ActiveDocument.1">
                  <p:embed/>
                  <p:pic>
                    <p:nvPicPr>
                      <p:cNvPr id="10" name="Object 9" hidden="1">
                        <a:extLst>
                          <a:ext uri="{FF2B5EF4-FFF2-40B4-BE49-F238E27FC236}">
                            <a16:creationId xmlns:a16="http://schemas.microsoft.com/office/drawing/2014/main" id="{300F733B-245E-4E5E-BEBD-088828324F12}"/>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graphicFrame>
        <p:nvGraphicFramePr>
          <p:cNvPr id="1986" name="Chart 1985">
            <a:extLst>
              <a:ext uri="{FF2B5EF4-FFF2-40B4-BE49-F238E27FC236}">
                <a16:creationId xmlns:a16="http://schemas.microsoft.com/office/drawing/2014/main" id="{2CA96588-180F-16A5-CE88-ABC79711CF3A}"/>
              </a:ext>
            </a:extLst>
          </p:cNvPr>
          <p:cNvGraphicFramePr/>
          <p:nvPr>
            <p:custDataLst>
              <p:tags r:id="rId2"/>
            </p:custDataLst>
            <p:extLst>
              <p:ext uri="{D42A27DB-BD31-4B8C-83A1-F6EECF244321}">
                <p14:modId xmlns:p14="http://schemas.microsoft.com/office/powerpoint/2010/main" val="541866576"/>
              </p:ext>
            </p:extLst>
          </p:nvPr>
        </p:nvGraphicFramePr>
        <p:xfrm>
          <a:off x="947738" y="1651000"/>
          <a:ext cx="7027862" cy="4457700"/>
        </p:xfrm>
        <a:graphic>
          <a:graphicData uri="http://schemas.openxmlformats.org/drawingml/2006/chart">
            <c:chart xmlns:c="http://schemas.openxmlformats.org/drawingml/2006/chart" xmlns:r="http://schemas.openxmlformats.org/officeDocument/2006/relationships" r:id="rId68"/>
          </a:graphicData>
        </a:graphic>
      </p:graphicFrame>
      <p:cxnSp>
        <p:nvCxnSpPr>
          <p:cNvPr id="19" name="Straight Connector 18">
            <a:extLst>
              <a:ext uri="{FF2B5EF4-FFF2-40B4-BE49-F238E27FC236}">
                <a16:creationId xmlns:a16="http://schemas.microsoft.com/office/drawing/2014/main" id="{B2016D36-3728-5DF4-8B82-6C9D3294D1CD}"/>
              </a:ext>
            </a:extLst>
          </p:cNvPr>
          <p:cNvCxnSpPr>
            <a:cxnSpLocks/>
          </p:cNvCxnSpPr>
          <p:nvPr>
            <p:custDataLst>
              <p:tags r:id="rId3"/>
            </p:custDataLst>
          </p:nvPr>
        </p:nvCxnSpPr>
        <p:spPr bwMode="gray">
          <a:xfrm>
            <a:off x="2697163" y="1785938"/>
            <a:ext cx="55006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6AB6255C-B7F4-83D5-B784-98859989C702}"/>
              </a:ext>
            </a:extLst>
          </p:cNvPr>
          <p:cNvCxnSpPr>
            <a:cxnSpLocks/>
          </p:cNvCxnSpPr>
          <p:nvPr>
            <p:custDataLst>
              <p:tags r:id="rId4"/>
            </p:custDataLst>
          </p:nvPr>
        </p:nvCxnSpPr>
        <p:spPr bwMode="gray">
          <a:xfrm>
            <a:off x="8197850" y="1785938"/>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DD14BBC7-E55D-BD4C-3B83-87DEE109638B}"/>
              </a:ext>
            </a:extLst>
          </p:cNvPr>
          <p:cNvCxnSpPr>
            <a:cxnSpLocks/>
          </p:cNvCxnSpPr>
          <p:nvPr>
            <p:custDataLst>
              <p:tags r:id="rId5"/>
            </p:custDataLst>
          </p:nvPr>
        </p:nvCxnSpPr>
        <p:spPr bwMode="gray">
          <a:xfrm flipH="1">
            <a:off x="7931150" y="1890713"/>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55E6EEDB-D526-3CBF-FD56-4E491DAB416F}"/>
              </a:ext>
            </a:extLst>
          </p:cNvPr>
          <p:cNvCxnSpPr>
            <a:cxnSpLocks/>
          </p:cNvCxnSpPr>
          <p:nvPr>
            <p:custDataLst>
              <p:tags r:id="rId6"/>
            </p:custDataLst>
          </p:nvPr>
        </p:nvCxnSpPr>
        <p:spPr bwMode="gray">
          <a:xfrm>
            <a:off x="6429375" y="2100263"/>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BAD2666-A9E5-04CB-7509-B7B49F62F185}"/>
              </a:ext>
            </a:extLst>
          </p:cNvPr>
          <p:cNvCxnSpPr>
            <a:cxnSpLocks/>
          </p:cNvCxnSpPr>
          <p:nvPr>
            <p:custDataLst>
              <p:tags r:id="rId7"/>
            </p:custDataLst>
          </p:nvPr>
        </p:nvCxnSpPr>
        <p:spPr bwMode="gray">
          <a:xfrm>
            <a:off x="1109664" y="2100263"/>
            <a:ext cx="53197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2141C5A0-F541-85A6-B7E4-037357C72DE7}"/>
              </a:ext>
            </a:extLst>
          </p:cNvPr>
          <p:cNvCxnSpPr>
            <a:cxnSpLocks/>
          </p:cNvCxnSpPr>
          <p:nvPr>
            <p:custDataLst>
              <p:tags r:id="rId8"/>
            </p:custDataLst>
          </p:nvPr>
        </p:nvCxnSpPr>
        <p:spPr bwMode="gray">
          <a:xfrm flipH="1">
            <a:off x="6162675" y="2205038"/>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9623076-C757-0C51-AAC7-8C3381DD9DE6}"/>
              </a:ext>
            </a:extLst>
          </p:cNvPr>
          <p:cNvCxnSpPr>
            <a:cxnSpLocks/>
          </p:cNvCxnSpPr>
          <p:nvPr>
            <p:custDataLst>
              <p:tags r:id="rId9"/>
            </p:custDataLst>
          </p:nvPr>
        </p:nvCxnSpPr>
        <p:spPr bwMode="gray">
          <a:xfrm>
            <a:off x="1646239" y="2414588"/>
            <a:ext cx="318452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EBF002EE-B68E-EBBE-6919-63B7AABFD250}"/>
              </a:ext>
            </a:extLst>
          </p:cNvPr>
          <p:cNvCxnSpPr/>
          <p:nvPr>
            <p:custDataLst>
              <p:tags r:id="rId10"/>
            </p:custDataLst>
          </p:nvPr>
        </p:nvCxnSpPr>
        <p:spPr bwMode="gray">
          <a:xfrm>
            <a:off x="4830763" y="2414588"/>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6C16507D-D1C2-AC39-A357-86F991A65280}"/>
              </a:ext>
            </a:extLst>
          </p:cNvPr>
          <p:cNvCxnSpPr>
            <a:cxnSpLocks/>
          </p:cNvCxnSpPr>
          <p:nvPr>
            <p:custDataLst>
              <p:tags r:id="rId11"/>
            </p:custDataLst>
          </p:nvPr>
        </p:nvCxnSpPr>
        <p:spPr bwMode="gray">
          <a:xfrm flipH="1">
            <a:off x="4564063" y="2519363"/>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8416298-0105-A522-4BB9-7128AE8F99E5}"/>
              </a:ext>
            </a:extLst>
          </p:cNvPr>
          <p:cNvCxnSpPr>
            <a:cxnSpLocks/>
          </p:cNvCxnSpPr>
          <p:nvPr>
            <p:custDataLst>
              <p:tags r:id="rId12"/>
            </p:custDataLst>
          </p:nvPr>
        </p:nvCxnSpPr>
        <p:spPr bwMode="gray">
          <a:xfrm>
            <a:off x="1168400" y="2728913"/>
            <a:ext cx="22748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258E3AF1-5C27-BDFC-EFC9-86F73B1E2BE0}"/>
              </a:ext>
            </a:extLst>
          </p:cNvPr>
          <p:cNvCxnSpPr/>
          <p:nvPr>
            <p:custDataLst>
              <p:tags r:id="rId13"/>
            </p:custDataLst>
          </p:nvPr>
        </p:nvCxnSpPr>
        <p:spPr bwMode="gray">
          <a:xfrm>
            <a:off x="3443288" y="2728913"/>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A9F898EA-CFA5-1E24-74ED-3F4947D248B5}"/>
              </a:ext>
            </a:extLst>
          </p:cNvPr>
          <p:cNvCxnSpPr>
            <a:cxnSpLocks/>
          </p:cNvCxnSpPr>
          <p:nvPr>
            <p:custDataLst>
              <p:tags r:id="rId14"/>
            </p:custDataLst>
          </p:nvPr>
        </p:nvCxnSpPr>
        <p:spPr bwMode="gray">
          <a:xfrm flipH="1">
            <a:off x="3176588" y="2833688"/>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B39A4455-0EE6-2208-40B2-C26FAC02EF4B}"/>
              </a:ext>
            </a:extLst>
          </p:cNvPr>
          <p:cNvCxnSpPr>
            <a:cxnSpLocks/>
          </p:cNvCxnSpPr>
          <p:nvPr>
            <p:custDataLst>
              <p:tags r:id="rId15"/>
            </p:custDataLst>
          </p:nvPr>
        </p:nvCxnSpPr>
        <p:spPr bwMode="gray">
          <a:xfrm flipH="1">
            <a:off x="2546350" y="3146425"/>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796D9B0A-4A90-FD7D-5647-650C32829522}"/>
              </a:ext>
            </a:extLst>
          </p:cNvPr>
          <p:cNvCxnSpPr>
            <a:cxnSpLocks/>
          </p:cNvCxnSpPr>
          <p:nvPr>
            <p:custDataLst>
              <p:tags r:id="rId16"/>
            </p:custDataLst>
          </p:nvPr>
        </p:nvCxnSpPr>
        <p:spPr bwMode="gray">
          <a:xfrm>
            <a:off x="1068389" y="3041650"/>
            <a:ext cx="174466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3D5B8AB-C600-36A3-C67F-5851C64F764B}"/>
              </a:ext>
            </a:extLst>
          </p:cNvPr>
          <p:cNvCxnSpPr/>
          <p:nvPr>
            <p:custDataLst>
              <p:tags r:id="rId17"/>
            </p:custDataLst>
          </p:nvPr>
        </p:nvCxnSpPr>
        <p:spPr bwMode="gray">
          <a:xfrm>
            <a:off x="2813050" y="3041650"/>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7A5D9B04-824E-FCE0-08D2-A6253AE6AFEE}"/>
              </a:ext>
            </a:extLst>
          </p:cNvPr>
          <p:cNvCxnSpPr>
            <a:cxnSpLocks/>
          </p:cNvCxnSpPr>
          <p:nvPr>
            <p:custDataLst>
              <p:tags r:id="rId18"/>
            </p:custDataLst>
          </p:nvPr>
        </p:nvCxnSpPr>
        <p:spPr bwMode="gray">
          <a:xfrm flipH="1">
            <a:off x="2054225" y="3460750"/>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9594624-21A6-9C00-9D20-EC3F898D95C1}"/>
              </a:ext>
            </a:extLst>
          </p:cNvPr>
          <p:cNvCxnSpPr/>
          <p:nvPr>
            <p:custDataLst>
              <p:tags r:id="rId19"/>
            </p:custDataLst>
          </p:nvPr>
        </p:nvCxnSpPr>
        <p:spPr bwMode="gray">
          <a:xfrm>
            <a:off x="2320925" y="3355975"/>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D051F2D1-5059-B36C-BEA6-C144490EFDA1}"/>
              </a:ext>
            </a:extLst>
          </p:cNvPr>
          <p:cNvCxnSpPr>
            <a:cxnSpLocks/>
          </p:cNvCxnSpPr>
          <p:nvPr>
            <p:custDataLst>
              <p:tags r:id="rId20"/>
            </p:custDataLst>
          </p:nvPr>
        </p:nvCxnSpPr>
        <p:spPr bwMode="gray">
          <a:xfrm>
            <a:off x="1068388" y="3355975"/>
            <a:ext cx="12525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498604A2-8360-8489-B568-6410BF3A11E8}"/>
              </a:ext>
            </a:extLst>
          </p:cNvPr>
          <p:cNvCxnSpPr>
            <a:cxnSpLocks/>
          </p:cNvCxnSpPr>
          <p:nvPr>
            <p:custDataLst>
              <p:tags r:id="rId21"/>
            </p:custDataLst>
          </p:nvPr>
        </p:nvCxnSpPr>
        <p:spPr bwMode="gray">
          <a:xfrm>
            <a:off x="1460500" y="3670300"/>
            <a:ext cx="8112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ECC92B76-2058-3537-515C-1D949D804E71}"/>
              </a:ext>
            </a:extLst>
          </p:cNvPr>
          <p:cNvCxnSpPr/>
          <p:nvPr>
            <p:custDataLst>
              <p:tags r:id="rId22"/>
            </p:custDataLst>
          </p:nvPr>
        </p:nvCxnSpPr>
        <p:spPr bwMode="gray">
          <a:xfrm>
            <a:off x="2271713" y="3670300"/>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56E84EB-6AD7-A8E2-73C4-FAF69652316A}"/>
              </a:ext>
            </a:extLst>
          </p:cNvPr>
          <p:cNvCxnSpPr>
            <a:cxnSpLocks/>
          </p:cNvCxnSpPr>
          <p:nvPr>
            <p:custDataLst>
              <p:tags r:id="rId23"/>
            </p:custDataLst>
          </p:nvPr>
        </p:nvCxnSpPr>
        <p:spPr bwMode="gray">
          <a:xfrm flipH="1">
            <a:off x="2005013" y="3775075"/>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D39DE220-C5A3-6A9C-1D56-C07793FF5A52}"/>
              </a:ext>
            </a:extLst>
          </p:cNvPr>
          <p:cNvCxnSpPr>
            <a:cxnSpLocks/>
          </p:cNvCxnSpPr>
          <p:nvPr>
            <p:custDataLst>
              <p:tags r:id="rId24"/>
            </p:custDataLst>
          </p:nvPr>
        </p:nvCxnSpPr>
        <p:spPr bwMode="gray">
          <a:xfrm flipH="1">
            <a:off x="1971675" y="4089400"/>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0E2BA106-CEA9-E774-60EF-4F2690D66767}"/>
              </a:ext>
            </a:extLst>
          </p:cNvPr>
          <p:cNvCxnSpPr>
            <a:cxnSpLocks/>
          </p:cNvCxnSpPr>
          <p:nvPr>
            <p:custDataLst>
              <p:tags r:id="rId25"/>
            </p:custDataLst>
          </p:nvPr>
        </p:nvCxnSpPr>
        <p:spPr bwMode="gray">
          <a:xfrm>
            <a:off x="1104901" y="3984625"/>
            <a:ext cx="11334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A36BC659-A82D-9BFF-3230-4F2B2541020E}"/>
              </a:ext>
            </a:extLst>
          </p:cNvPr>
          <p:cNvCxnSpPr/>
          <p:nvPr>
            <p:custDataLst>
              <p:tags r:id="rId26"/>
            </p:custDataLst>
          </p:nvPr>
        </p:nvCxnSpPr>
        <p:spPr bwMode="gray">
          <a:xfrm>
            <a:off x="2238375" y="3984625"/>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E2DF8FEC-B81E-C7CB-CEB9-951D7A094332}"/>
              </a:ext>
            </a:extLst>
          </p:cNvPr>
          <p:cNvCxnSpPr>
            <a:cxnSpLocks/>
          </p:cNvCxnSpPr>
          <p:nvPr>
            <p:custDataLst>
              <p:tags r:id="rId27"/>
            </p:custDataLst>
          </p:nvPr>
        </p:nvCxnSpPr>
        <p:spPr bwMode="gray">
          <a:xfrm>
            <a:off x="1404939" y="4298950"/>
            <a:ext cx="67627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46259E40-03AC-8241-F81C-4DD0680BFA4F}"/>
              </a:ext>
            </a:extLst>
          </p:cNvPr>
          <p:cNvCxnSpPr/>
          <p:nvPr>
            <p:custDataLst>
              <p:tags r:id="rId28"/>
            </p:custDataLst>
          </p:nvPr>
        </p:nvCxnSpPr>
        <p:spPr bwMode="gray">
          <a:xfrm>
            <a:off x="2081213" y="4298950"/>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0AEF7DFD-2FD6-6189-AE9A-6B3518B44A2C}"/>
              </a:ext>
            </a:extLst>
          </p:cNvPr>
          <p:cNvCxnSpPr>
            <a:cxnSpLocks/>
          </p:cNvCxnSpPr>
          <p:nvPr>
            <p:custDataLst>
              <p:tags r:id="rId29"/>
            </p:custDataLst>
          </p:nvPr>
        </p:nvCxnSpPr>
        <p:spPr bwMode="gray">
          <a:xfrm flipH="1">
            <a:off x="1814513" y="4403725"/>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3440490D-683E-832B-E61C-671E771498B9}"/>
              </a:ext>
            </a:extLst>
          </p:cNvPr>
          <p:cNvCxnSpPr>
            <a:cxnSpLocks/>
          </p:cNvCxnSpPr>
          <p:nvPr>
            <p:custDataLst>
              <p:tags r:id="rId30"/>
            </p:custDataLst>
          </p:nvPr>
        </p:nvCxnSpPr>
        <p:spPr bwMode="gray">
          <a:xfrm>
            <a:off x="1139825" y="4613275"/>
            <a:ext cx="7064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3" name="Straight Connector 1792">
            <a:extLst>
              <a:ext uri="{FF2B5EF4-FFF2-40B4-BE49-F238E27FC236}">
                <a16:creationId xmlns:a16="http://schemas.microsoft.com/office/drawing/2014/main" id="{6367524D-F713-AD8A-686B-38DAB2A79BDC}"/>
              </a:ext>
            </a:extLst>
          </p:cNvPr>
          <p:cNvCxnSpPr/>
          <p:nvPr>
            <p:custDataLst>
              <p:tags r:id="rId31"/>
            </p:custDataLst>
          </p:nvPr>
        </p:nvCxnSpPr>
        <p:spPr bwMode="gray">
          <a:xfrm>
            <a:off x="1846263" y="4613275"/>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2" name="Straight Connector 1791">
            <a:extLst>
              <a:ext uri="{FF2B5EF4-FFF2-40B4-BE49-F238E27FC236}">
                <a16:creationId xmlns:a16="http://schemas.microsoft.com/office/drawing/2014/main" id="{FBDC4482-33B7-88BC-C7A0-2EEA0BF33669}"/>
              </a:ext>
            </a:extLst>
          </p:cNvPr>
          <p:cNvCxnSpPr>
            <a:cxnSpLocks/>
          </p:cNvCxnSpPr>
          <p:nvPr>
            <p:custDataLst>
              <p:tags r:id="rId32"/>
            </p:custDataLst>
          </p:nvPr>
        </p:nvCxnSpPr>
        <p:spPr bwMode="gray">
          <a:xfrm flipH="1">
            <a:off x="1579563" y="4718050"/>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01" name="Straight Connector 1800">
            <a:extLst>
              <a:ext uri="{FF2B5EF4-FFF2-40B4-BE49-F238E27FC236}">
                <a16:creationId xmlns:a16="http://schemas.microsoft.com/office/drawing/2014/main" id="{F4DA36B1-B14F-A053-D648-B449E51C772A}"/>
              </a:ext>
            </a:extLst>
          </p:cNvPr>
          <p:cNvCxnSpPr>
            <a:cxnSpLocks/>
          </p:cNvCxnSpPr>
          <p:nvPr>
            <p:custDataLst>
              <p:tags r:id="rId33"/>
            </p:custDataLst>
          </p:nvPr>
        </p:nvCxnSpPr>
        <p:spPr bwMode="gray">
          <a:xfrm>
            <a:off x="1069976" y="4927600"/>
            <a:ext cx="75882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8" name="Straight Connector 1797">
            <a:extLst>
              <a:ext uri="{FF2B5EF4-FFF2-40B4-BE49-F238E27FC236}">
                <a16:creationId xmlns:a16="http://schemas.microsoft.com/office/drawing/2014/main" id="{81B4790C-0B00-A095-8C27-CDF7D6E8EC81}"/>
              </a:ext>
            </a:extLst>
          </p:cNvPr>
          <p:cNvCxnSpPr/>
          <p:nvPr>
            <p:custDataLst>
              <p:tags r:id="rId34"/>
            </p:custDataLst>
          </p:nvPr>
        </p:nvCxnSpPr>
        <p:spPr bwMode="gray">
          <a:xfrm>
            <a:off x="1828800" y="4927600"/>
            <a:ext cx="0" cy="10318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0" name="Straight Connector 1799">
            <a:extLst>
              <a:ext uri="{FF2B5EF4-FFF2-40B4-BE49-F238E27FC236}">
                <a16:creationId xmlns:a16="http://schemas.microsoft.com/office/drawing/2014/main" id="{F85037A4-85D4-42CD-139A-67F1500B57EC}"/>
              </a:ext>
            </a:extLst>
          </p:cNvPr>
          <p:cNvCxnSpPr>
            <a:cxnSpLocks/>
          </p:cNvCxnSpPr>
          <p:nvPr>
            <p:custDataLst>
              <p:tags r:id="rId35"/>
            </p:custDataLst>
          </p:nvPr>
        </p:nvCxnSpPr>
        <p:spPr bwMode="gray">
          <a:xfrm flipH="1">
            <a:off x="1562100" y="5030788"/>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03" name="Straight Connector 1802">
            <a:extLst>
              <a:ext uri="{FF2B5EF4-FFF2-40B4-BE49-F238E27FC236}">
                <a16:creationId xmlns:a16="http://schemas.microsoft.com/office/drawing/2014/main" id="{8ED7A556-DEB4-0DEE-6BEA-2FDF39E5ADB1}"/>
              </a:ext>
            </a:extLst>
          </p:cNvPr>
          <p:cNvCxnSpPr/>
          <p:nvPr>
            <p:custDataLst>
              <p:tags r:id="rId36"/>
            </p:custDataLst>
          </p:nvPr>
        </p:nvCxnSpPr>
        <p:spPr bwMode="gray">
          <a:xfrm>
            <a:off x="1655763" y="5240338"/>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2" name="Straight Connector 1801">
            <a:extLst>
              <a:ext uri="{FF2B5EF4-FFF2-40B4-BE49-F238E27FC236}">
                <a16:creationId xmlns:a16="http://schemas.microsoft.com/office/drawing/2014/main" id="{74FE4A80-C2C9-2502-B3D9-6D3C6F053BE5}"/>
              </a:ext>
            </a:extLst>
          </p:cNvPr>
          <p:cNvCxnSpPr>
            <a:cxnSpLocks/>
          </p:cNvCxnSpPr>
          <p:nvPr>
            <p:custDataLst>
              <p:tags r:id="rId37"/>
            </p:custDataLst>
          </p:nvPr>
        </p:nvCxnSpPr>
        <p:spPr bwMode="gray">
          <a:xfrm>
            <a:off x="1166813" y="5240338"/>
            <a:ext cx="4889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4" name="Straight Connector 1803">
            <a:extLst>
              <a:ext uri="{FF2B5EF4-FFF2-40B4-BE49-F238E27FC236}">
                <a16:creationId xmlns:a16="http://schemas.microsoft.com/office/drawing/2014/main" id="{13EACB09-BAF0-A6A2-3C46-FE81A58E44A5}"/>
              </a:ext>
            </a:extLst>
          </p:cNvPr>
          <p:cNvCxnSpPr>
            <a:cxnSpLocks/>
          </p:cNvCxnSpPr>
          <p:nvPr>
            <p:custDataLst>
              <p:tags r:id="rId38"/>
            </p:custDataLst>
          </p:nvPr>
        </p:nvCxnSpPr>
        <p:spPr bwMode="gray">
          <a:xfrm flipH="1">
            <a:off x="1389063" y="5345113"/>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05" name="Straight Connector 1804">
            <a:extLst>
              <a:ext uri="{FF2B5EF4-FFF2-40B4-BE49-F238E27FC236}">
                <a16:creationId xmlns:a16="http://schemas.microsoft.com/office/drawing/2014/main" id="{71AC4DA1-B718-3DA1-D0C1-58B664A2DD66}"/>
              </a:ext>
            </a:extLst>
          </p:cNvPr>
          <p:cNvCxnSpPr>
            <a:cxnSpLocks/>
          </p:cNvCxnSpPr>
          <p:nvPr>
            <p:custDataLst>
              <p:tags r:id="rId39"/>
            </p:custDataLst>
          </p:nvPr>
        </p:nvCxnSpPr>
        <p:spPr bwMode="gray">
          <a:xfrm>
            <a:off x="1098551" y="5554663"/>
            <a:ext cx="4683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C891B02B-5FCB-5FCF-B0E8-1E3B2088A69C}"/>
              </a:ext>
            </a:extLst>
          </p:cNvPr>
          <p:cNvCxnSpPr/>
          <p:nvPr>
            <p:custDataLst>
              <p:tags r:id="rId40"/>
            </p:custDataLst>
          </p:nvPr>
        </p:nvCxnSpPr>
        <p:spPr bwMode="gray">
          <a:xfrm>
            <a:off x="1566863" y="5554663"/>
            <a:ext cx="0" cy="1047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7" name="Straight Connector 1806">
            <a:extLst>
              <a:ext uri="{FF2B5EF4-FFF2-40B4-BE49-F238E27FC236}">
                <a16:creationId xmlns:a16="http://schemas.microsoft.com/office/drawing/2014/main" id="{B7FE1210-2620-0202-E7F2-05F3BF3D5492}"/>
              </a:ext>
            </a:extLst>
          </p:cNvPr>
          <p:cNvCxnSpPr>
            <a:cxnSpLocks/>
          </p:cNvCxnSpPr>
          <p:nvPr>
            <p:custDataLst>
              <p:tags r:id="rId41"/>
            </p:custDataLst>
          </p:nvPr>
        </p:nvCxnSpPr>
        <p:spPr bwMode="gray">
          <a:xfrm flipH="1">
            <a:off x="1300163" y="5659438"/>
            <a:ext cx="266700" cy="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853" name="Text Placeholder 19">
            <a:extLst>
              <a:ext uri="{FF2B5EF4-FFF2-40B4-BE49-F238E27FC236}">
                <a16:creationId xmlns:a16="http://schemas.microsoft.com/office/drawing/2014/main" id="{A1DE4953-0761-0B53-6388-0D3F684DAA55}"/>
              </a:ext>
            </a:extLst>
          </p:cNvPr>
          <p:cNvSpPr>
            <a:spLocks noGrp="1"/>
          </p:cNvSpPr>
          <p:nvPr>
            <p:custDataLst>
              <p:tags r:id="rId42"/>
            </p:custDataLst>
          </p:nvPr>
        </p:nvSpPr>
        <p:spPr bwMode="auto">
          <a:xfrm>
            <a:off x="8083550" y="1730375"/>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54" name="Text Placeholder 19">
            <a:extLst>
              <a:ext uri="{FF2B5EF4-FFF2-40B4-BE49-F238E27FC236}">
                <a16:creationId xmlns:a16="http://schemas.microsoft.com/office/drawing/2014/main" id="{DFC60771-F63A-91C6-D42A-6EFE383B525B}"/>
              </a:ext>
            </a:extLst>
          </p:cNvPr>
          <p:cNvSpPr>
            <a:spLocks noGrp="1"/>
          </p:cNvSpPr>
          <p:nvPr>
            <p:custDataLst>
              <p:tags r:id="rId43"/>
            </p:custDataLst>
          </p:nvPr>
        </p:nvSpPr>
        <p:spPr bwMode="auto">
          <a:xfrm>
            <a:off x="6315075" y="2044700"/>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55" name="Text Placeholder 19">
            <a:extLst>
              <a:ext uri="{FF2B5EF4-FFF2-40B4-BE49-F238E27FC236}">
                <a16:creationId xmlns:a16="http://schemas.microsoft.com/office/drawing/2014/main" id="{629CA1E2-DACA-C66E-D829-2D743138B0D0}"/>
              </a:ext>
            </a:extLst>
          </p:cNvPr>
          <p:cNvSpPr>
            <a:spLocks noGrp="1"/>
          </p:cNvSpPr>
          <p:nvPr>
            <p:custDataLst>
              <p:tags r:id="rId44"/>
            </p:custDataLst>
          </p:nvPr>
        </p:nvSpPr>
        <p:spPr bwMode="auto">
          <a:xfrm>
            <a:off x="4716463" y="2359025"/>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56" name="Text Placeholder 19">
            <a:extLst>
              <a:ext uri="{FF2B5EF4-FFF2-40B4-BE49-F238E27FC236}">
                <a16:creationId xmlns:a16="http://schemas.microsoft.com/office/drawing/2014/main" id="{B603EE41-F780-D478-ABB6-1CEAD651A5FB}"/>
              </a:ext>
            </a:extLst>
          </p:cNvPr>
          <p:cNvSpPr>
            <a:spLocks noGrp="1"/>
          </p:cNvSpPr>
          <p:nvPr>
            <p:custDataLst>
              <p:tags r:id="rId45"/>
            </p:custDataLst>
          </p:nvPr>
        </p:nvSpPr>
        <p:spPr bwMode="auto">
          <a:xfrm>
            <a:off x="3328988" y="2673350"/>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57" name="Text Placeholder 19">
            <a:extLst>
              <a:ext uri="{FF2B5EF4-FFF2-40B4-BE49-F238E27FC236}">
                <a16:creationId xmlns:a16="http://schemas.microsoft.com/office/drawing/2014/main" id="{1167D97B-0850-F4DF-D78C-0B50B0BDC57C}"/>
              </a:ext>
            </a:extLst>
          </p:cNvPr>
          <p:cNvSpPr>
            <a:spLocks noGrp="1"/>
          </p:cNvSpPr>
          <p:nvPr>
            <p:custDataLst>
              <p:tags r:id="rId46"/>
            </p:custDataLst>
          </p:nvPr>
        </p:nvSpPr>
        <p:spPr bwMode="auto">
          <a:xfrm>
            <a:off x="2698750" y="2986088"/>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58" name="Text Placeholder 19">
            <a:extLst>
              <a:ext uri="{FF2B5EF4-FFF2-40B4-BE49-F238E27FC236}">
                <a16:creationId xmlns:a16="http://schemas.microsoft.com/office/drawing/2014/main" id="{05055976-15BF-955F-DA2F-21F496DFDFC3}"/>
              </a:ext>
            </a:extLst>
          </p:cNvPr>
          <p:cNvSpPr>
            <a:spLocks noGrp="1"/>
          </p:cNvSpPr>
          <p:nvPr>
            <p:custDataLst>
              <p:tags r:id="rId47"/>
            </p:custDataLst>
          </p:nvPr>
        </p:nvSpPr>
        <p:spPr bwMode="auto">
          <a:xfrm>
            <a:off x="2206625" y="3300413"/>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59" name="Text Placeholder 19">
            <a:extLst>
              <a:ext uri="{FF2B5EF4-FFF2-40B4-BE49-F238E27FC236}">
                <a16:creationId xmlns:a16="http://schemas.microsoft.com/office/drawing/2014/main" id="{335A72A2-E160-8101-1E5E-4026DA37B056}"/>
              </a:ext>
            </a:extLst>
          </p:cNvPr>
          <p:cNvSpPr>
            <a:spLocks noGrp="1"/>
          </p:cNvSpPr>
          <p:nvPr>
            <p:custDataLst>
              <p:tags r:id="rId48"/>
            </p:custDataLst>
          </p:nvPr>
        </p:nvSpPr>
        <p:spPr bwMode="auto">
          <a:xfrm>
            <a:off x="2157413" y="3614738"/>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rPr>
              <a:t>XX</a:t>
            </a:r>
          </a:p>
        </p:txBody>
      </p:sp>
      <p:sp>
        <p:nvSpPr>
          <p:cNvPr id="1860" name="Text Placeholder 19">
            <a:extLst>
              <a:ext uri="{FF2B5EF4-FFF2-40B4-BE49-F238E27FC236}">
                <a16:creationId xmlns:a16="http://schemas.microsoft.com/office/drawing/2014/main" id="{A13CDAE1-B5C6-0F0C-336C-15711383BCA1}"/>
              </a:ext>
            </a:extLst>
          </p:cNvPr>
          <p:cNvSpPr>
            <a:spLocks noGrp="1"/>
          </p:cNvSpPr>
          <p:nvPr>
            <p:custDataLst>
              <p:tags r:id="rId49"/>
            </p:custDataLst>
          </p:nvPr>
        </p:nvSpPr>
        <p:spPr bwMode="auto">
          <a:xfrm>
            <a:off x="2124075" y="3929063"/>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61" name="Text Placeholder 19">
            <a:extLst>
              <a:ext uri="{FF2B5EF4-FFF2-40B4-BE49-F238E27FC236}">
                <a16:creationId xmlns:a16="http://schemas.microsoft.com/office/drawing/2014/main" id="{CDE7E01C-DA56-C13F-06CD-F324C08F7E69}"/>
              </a:ext>
            </a:extLst>
          </p:cNvPr>
          <p:cNvSpPr>
            <a:spLocks noGrp="1"/>
          </p:cNvSpPr>
          <p:nvPr>
            <p:custDataLst>
              <p:tags r:id="rId50"/>
            </p:custDataLst>
          </p:nvPr>
        </p:nvSpPr>
        <p:spPr bwMode="auto">
          <a:xfrm>
            <a:off x="1966913" y="4243388"/>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62" name="Text Placeholder 19">
            <a:extLst>
              <a:ext uri="{FF2B5EF4-FFF2-40B4-BE49-F238E27FC236}">
                <a16:creationId xmlns:a16="http://schemas.microsoft.com/office/drawing/2014/main" id="{462F20EB-5950-D912-C718-A84EFB890F4D}"/>
              </a:ext>
            </a:extLst>
          </p:cNvPr>
          <p:cNvSpPr>
            <a:spLocks noGrp="1"/>
          </p:cNvSpPr>
          <p:nvPr>
            <p:custDataLst>
              <p:tags r:id="rId51"/>
            </p:custDataLst>
          </p:nvPr>
        </p:nvSpPr>
        <p:spPr bwMode="auto">
          <a:xfrm>
            <a:off x="1731963" y="4557713"/>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63" name="Text Placeholder 19">
            <a:extLst>
              <a:ext uri="{FF2B5EF4-FFF2-40B4-BE49-F238E27FC236}">
                <a16:creationId xmlns:a16="http://schemas.microsoft.com/office/drawing/2014/main" id="{65BF1DF6-192E-3CDF-1F12-ACBF651245C1}"/>
              </a:ext>
            </a:extLst>
          </p:cNvPr>
          <p:cNvSpPr>
            <a:spLocks noGrp="1"/>
          </p:cNvSpPr>
          <p:nvPr>
            <p:custDataLst>
              <p:tags r:id="rId52"/>
            </p:custDataLst>
          </p:nvPr>
        </p:nvSpPr>
        <p:spPr bwMode="auto">
          <a:xfrm>
            <a:off x="1714500" y="4870450"/>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64" name="Text Placeholder 19">
            <a:extLst>
              <a:ext uri="{FF2B5EF4-FFF2-40B4-BE49-F238E27FC236}">
                <a16:creationId xmlns:a16="http://schemas.microsoft.com/office/drawing/2014/main" id="{430AE2ED-58D2-8343-31F9-663F64563895}"/>
              </a:ext>
            </a:extLst>
          </p:cNvPr>
          <p:cNvSpPr>
            <a:spLocks noGrp="1"/>
          </p:cNvSpPr>
          <p:nvPr>
            <p:custDataLst>
              <p:tags r:id="rId53"/>
            </p:custDataLst>
          </p:nvPr>
        </p:nvSpPr>
        <p:spPr bwMode="auto">
          <a:xfrm>
            <a:off x="1541463" y="5184775"/>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67" name="Text Placeholder 19">
            <a:extLst>
              <a:ext uri="{FF2B5EF4-FFF2-40B4-BE49-F238E27FC236}">
                <a16:creationId xmlns:a16="http://schemas.microsoft.com/office/drawing/2014/main" id="{F0C54708-F7EB-BBE4-C70E-6170390984BA}"/>
              </a:ext>
            </a:extLst>
          </p:cNvPr>
          <p:cNvSpPr>
            <a:spLocks noGrp="1"/>
          </p:cNvSpPr>
          <p:nvPr>
            <p:custDataLst>
              <p:tags r:id="rId54"/>
            </p:custDataLst>
          </p:nvPr>
        </p:nvSpPr>
        <p:spPr bwMode="auto">
          <a:xfrm>
            <a:off x="1452563" y="5499100"/>
            <a:ext cx="230188" cy="215900"/>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ltLang="en-US" sz="1000">
                <a:solidFill>
                  <a:srgbClr val="3C3C3B"/>
                </a:solidFill>
                <a:effectLst/>
                <a:ea typeface="+mn-ea"/>
                <a:cs typeface="+mn-cs"/>
              </a:rPr>
              <a:t>XX</a:t>
            </a:r>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34" name="Text Placeholder 33">
            <a:extLst>
              <a:ext uri="{FF2B5EF4-FFF2-40B4-BE49-F238E27FC236}">
                <a16:creationId xmlns:a16="http://schemas.microsoft.com/office/drawing/2014/main" id="{12EF0D3B-D032-92D0-7121-BC062EE55A1E}"/>
              </a:ext>
            </a:extLst>
          </p:cNvPr>
          <p:cNvSpPr>
            <a:spLocks noGrp="1"/>
          </p:cNvSpPr>
          <p:nvPr>
            <p:ph type="body" sz="quarter" idx="29"/>
          </p:nvPr>
        </p:nvSpPr>
        <p:spPr>
          <a:xfrm>
            <a:off x="381000" y="1268129"/>
            <a:ext cx="8601074" cy="369332"/>
          </a:xfrm>
        </p:spPr>
        <p:txBody>
          <a:bodyPr/>
          <a:lstStyle/>
          <a:p>
            <a:r>
              <a:rPr lang="en-GB" sz="1200" b="1">
                <a:latin typeface="Lato"/>
              </a:rPr>
              <a:t>Installed </a:t>
            </a:r>
            <a:r>
              <a:rPr lang="en-GB" b="1">
                <a:latin typeface="Lato"/>
              </a:rPr>
              <a:t>battery </a:t>
            </a:r>
            <a:r>
              <a:rPr lang="en-GB" sz="1200" b="1">
                <a:latin typeface="Lato"/>
              </a:rPr>
              <a:t>capacity in 2023 and 2030 (Aurora Central scenario)</a:t>
            </a:r>
            <a:br>
              <a:rPr lang="en-GB" sz="1200">
                <a:solidFill>
                  <a:schemeClr val="accent5"/>
                </a:solidFill>
                <a:latin typeface="Lato"/>
              </a:rPr>
            </a:br>
            <a:r>
              <a:rPr lang="en-GB" b="0">
                <a:solidFill>
                  <a:schemeClr val="accent5"/>
                </a:solidFill>
                <a:latin typeface="Lato"/>
              </a:rPr>
              <a:t>GW</a:t>
            </a:r>
            <a:endParaRPr lang="en-GB" sz="1200" b="0">
              <a:solidFill>
                <a:schemeClr val="accent5"/>
              </a:solidFill>
              <a:latin typeface="Lato"/>
            </a:endParaRPr>
          </a:p>
        </p:txBody>
      </p:sp>
      <p:sp>
        <p:nvSpPr>
          <p:cNvPr id="2" name="Text Placeholder 1">
            <a:extLst>
              <a:ext uri="{FF2B5EF4-FFF2-40B4-BE49-F238E27FC236}">
                <a16:creationId xmlns:a16="http://schemas.microsoft.com/office/drawing/2014/main" id="{0D326790-F4D0-4D4C-9838-536A4F463977}"/>
              </a:ext>
            </a:extLst>
          </p:cNvPr>
          <p:cNvSpPr>
            <a:spLocks noGrp="1"/>
          </p:cNvSpPr>
          <p:nvPr>
            <p:ph type="body" sz="quarter" idx="22"/>
          </p:nvPr>
        </p:nvSpPr>
        <p:spPr>
          <a:xfrm>
            <a:off x="381001" y="6715169"/>
            <a:ext cx="1931619" cy="110800"/>
          </a:xfrm>
        </p:spPr>
        <p:txBody>
          <a:bodyPr/>
          <a:lstStyle/>
          <a:p>
            <a:r>
              <a:rPr lang="en-GB"/>
              <a:t>Sources: Aurora Energy Research, Eurostat</a:t>
            </a:r>
          </a:p>
        </p:txBody>
      </p:sp>
      <p:sp>
        <p:nvSpPr>
          <p:cNvPr id="3" name="Title 2">
            <a:extLst>
              <a:ext uri="{FF2B5EF4-FFF2-40B4-BE49-F238E27FC236}">
                <a16:creationId xmlns:a16="http://schemas.microsoft.com/office/drawing/2014/main" id="{730ABDDA-85A4-4992-908F-C9093A4C6D5E}"/>
              </a:ext>
            </a:extLst>
          </p:cNvPr>
          <p:cNvSpPr>
            <a:spLocks noGrp="1"/>
          </p:cNvSpPr>
          <p:nvPr>
            <p:ph type="title"/>
          </p:nvPr>
        </p:nvSpPr>
        <p:spPr>
          <a:xfrm>
            <a:off x="381599" y="411856"/>
            <a:ext cx="8695726" cy="609398"/>
          </a:xfrm>
        </p:spPr>
        <p:txBody>
          <a:bodyPr vert="horz"/>
          <a:lstStyle/>
          <a:p>
            <a:r>
              <a:rPr lang="en-GB">
                <a:solidFill>
                  <a:schemeClr val="tx1"/>
                </a:solidFill>
              </a:rPr>
              <a:t>Aurora‘s 2030 forecasted capacity denotes over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a:solidFill>
                  <a:schemeClr val="tx1"/>
                </a:solidFill>
              </a:rPr>
              <a:t>GW of capacity additions from 2023, mainly deployed in </a:t>
            </a:r>
            <a:r>
              <a:rPr lang="en-GB" sz="2200" b="1" i="0" u="none" strike="noStrike" kern="1200" baseline="0">
                <a:solidFill>
                  <a:srgbClr val="3C3C3B"/>
                </a:solidFill>
                <a:latin typeface="Lato" panose="020F0502020204030203" pitchFamily="34" charset="0"/>
              </a:rPr>
              <a:t> </a:t>
            </a:r>
            <a:r>
              <a:rPr lang="en-GB" sz="2200" b="1" i="0" u="none" strike="noStrike" kern="1200" baseline="0">
                <a:solidFill>
                  <a:srgbClr val="808080"/>
                </a:solidFill>
                <a:highlight>
                  <a:srgbClr val="808080"/>
                </a:highlight>
                <a:latin typeface="Lato" panose="020F0502020204030203" pitchFamily="34" charset="0"/>
              </a:rPr>
              <a:t>XX</a:t>
            </a:r>
            <a:r>
              <a:rPr lang="en-GB">
                <a:solidFill>
                  <a:schemeClr val="tx1"/>
                </a:solidFill>
              </a:rPr>
              <a:t>, </a:t>
            </a:r>
            <a:r>
              <a:rPr lang="en-GB" sz="2200" b="1" i="0" u="none" strike="noStrike" kern="1200" baseline="0">
                <a:solidFill>
                  <a:srgbClr val="808080"/>
                </a:solidFill>
                <a:highlight>
                  <a:srgbClr val="808080"/>
                </a:highlight>
                <a:latin typeface="Lato" panose="020F0502020204030203" pitchFamily="34" charset="0"/>
              </a:rPr>
              <a:t>XX</a:t>
            </a:r>
            <a:r>
              <a:rPr lang="en-GB">
                <a:solidFill>
                  <a:schemeClr val="tx1"/>
                </a:solidFill>
              </a:rPr>
              <a:t>, and </a:t>
            </a:r>
            <a:r>
              <a:rPr lang="en-GB" sz="2200" b="1" i="0" u="none" strike="noStrike" kern="1200" baseline="0">
                <a:solidFill>
                  <a:srgbClr val="808080"/>
                </a:solidFill>
                <a:highlight>
                  <a:srgbClr val="808080"/>
                </a:highlight>
                <a:latin typeface="Lato" panose="020F0502020204030203" pitchFamily="34" charset="0"/>
              </a:rPr>
              <a:t>XX</a:t>
            </a:r>
            <a:endParaRPr lang="en-GB">
              <a:solidFill>
                <a:schemeClr val="tx1"/>
              </a:solidFill>
            </a:endParaRPr>
          </a:p>
        </p:txBody>
      </p:sp>
      <p:sp>
        <p:nvSpPr>
          <p:cNvPr id="50" name="Text Placeholder 49">
            <a:extLst>
              <a:ext uri="{FF2B5EF4-FFF2-40B4-BE49-F238E27FC236}">
                <a16:creationId xmlns:a16="http://schemas.microsoft.com/office/drawing/2014/main" id="{4D6CE235-FE98-A7EB-4A0A-8D4FAF01A76F}"/>
              </a:ext>
            </a:extLst>
          </p:cNvPr>
          <p:cNvSpPr>
            <a:spLocks noGrp="1"/>
          </p:cNvSpPr>
          <p:nvPr>
            <p:ph type="body" sz="quarter" idx="32"/>
          </p:nvPr>
        </p:nvSpPr>
        <p:spPr>
          <a:xfrm>
            <a:off x="381600" y="6474841"/>
            <a:ext cx="8601074" cy="110800"/>
          </a:xfrm>
        </p:spPr>
        <p:txBody>
          <a:bodyPr/>
          <a:lstStyle/>
          <a:p>
            <a:endParaRPr lang="en-GB" sz="800" b="0"/>
          </a:p>
        </p:txBody>
      </p:sp>
      <p:sp>
        <p:nvSpPr>
          <p:cNvPr id="38" name="Text Placeholder 37">
            <a:extLst>
              <a:ext uri="{FF2B5EF4-FFF2-40B4-BE49-F238E27FC236}">
                <a16:creationId xmlns:a16="http://schemas.microsoft.com/office/drawing/2014/main" id="{FBFAB6BB-4AE4-C2E2-1281-6892C50560AD}"/>
              </a:ext>
            </a:extLst>
          </p:cNvPr>
          <p:cNvSpPr>
            <a:spLocks noGrp="1"/>
          </p:cNvSpPr>
          <p:nvPr>
            <p:ph type="body" sz="quarter" idx="31"/>
          </p:nvPr>
        </p:nvSpPr>
        <p:spPr>
          <a:xfrm>
            <a:off x="381599" y="79401"/>
            <a:ext cx="3983463" cy="184666"/>
          </a:xfrm>
        </p:spPr>
        <p:txBody>
          <a:bodyPr/>
          <a:lstStyle/>
          <a:p>
            <a:pPr marL="444500"/>
            <a:r>
              <a:rPr lang="en-GB"/>
              <a:t>	Market size and outlook – Long-term market outlook</a:t>
            </a:r>
          </a:p>
        </p:txBody>
      </p:sp>
      <p:graphicFrame>
        <p:nvGraphicFramePr>
          <p:cNvPr id="6" name="Chart 5">
            <a:extLst>
              <a:ext uri="{FF2B5EF4-FFF2-40B4-BE49-F238E27FC236}">
                <a16:creationId xmlns:a16="http://schemas.microsoft.com/office/drawing/2014/main" id="{7DE30B89-3A54-FA00-B84D-C2C6DBD3D6EE}"/>
              </a:ext>
            </a:extLst>
          </p:cNvPr>
          <p:cNvGraphicFramePr/>
          <p:nvPr>
            <p:custDataLst>
              <p:tags r:id="rId55"/>
            </p:custDataLst>
            <p:extLst>
              <p:ext uri="{D42A27DB-BD31-4B8C-83A1-F6EECF244321}">
                <p14:modId xmlns:p14="http://schemas.microsoft.com/office/powerpoint/2010/main" val="856195232"/>
              </p:ext>
            </p:extLst>
          </p:nvPr>
        </p:nvGraphicFramePr>
        <p:xfrm>
          <a:off x="3663950" y="5991225"/>
          <a:ext cx="942975" cy="519113"/>
        </p:xfrm>
        <a:graphic>
          <a:graphicData uri="http://schemas.openxmlformats.org/drawingml/2006/chart">
            <c:chart xmlns:c="http://schemas.openxmlformats.org/drawingml/2006/chart" xmlns:r="http://schemas.openxmlformats.org/officeDocument/2006/relationships" r:id="rId69"/>
          </a:graphicData>
        </a:graphic>
      </p:graphicFrame>
      <p:sp>
        <p:nvSpPr>
          <p:cNvPr id="1773" name="Text Placeholder 19">
            <a:extLst>
              <a:ext uri="{FF2B5EF4-FFF2-40B4-BE49-F238E27FC236}">
                <a16:creationId xmlns:a16="http://schemas.microsoft.com/office/drawing/2014/main" id="{DBC048E2-28E7-A910-29FD-F67E4152B5F3}"/>
              </a:ext>
            </a:extLst>
          </p:cNvPr>
          <p:cNvSpPr>
            <a:spLocks noGrp="1"/>
          </p:cNvSpPr>
          <p:nvPr>
            <p:custDataLst>
              <p:tags r:id="rId56"/>
            </p:custDataLst>
          </p:nvPr>
        </p:nvSpPr>
        <p:spPr bwMode="auto">
          <a:xfrm>
            <a:off x="3368675" y="60864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7329822-A307-4135-AD13-81E395CF1563}" type="datetime'''''''''''''''''20''''''2''''''3'">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3</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774" name="Text Placeholder 19">
            <a:extLst>
              <a:ext uri="{FF2B5EF4-FFF2-40B4-BE49-F238E27FC236}">
                <a16:creationId xmlns:a16="http://schemas.microsoft.com/office/drawing/2014/main" id="{2C6072AD-38B7-F065-5995-56F8C3DDC579}"/>
              </a:ext>
            </a:extLst>
          </p:cNvPr>
          <p:cNvSpPr>
            <a:spLocks noGrp="1"/>
          </p:cNvSpPr>
          <p:nvPr>
            <p:custDataLst>
              <p:tags r:id="rId57"/>
            </p:custDataLst>
          </p:nvPr>
        </p:nvSpPr>
        <p:spPr bwMode="auto">
          <a:xfrm>
            <a:off x="3368675" y="62626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B5B8498E-57C7-41FC-8EEE-13CC20771583}" type="datetime'''''''''''''''''''''''''20''''''''''''''''''''30'''''">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868" name="Rectangle 1867">
            <a:extLst>
              <a:ext uri="{FF2B5EF4-FFF2-40B4-BE49-F238E27FC236}">
                <a16:creationId xmlns:a16="http://schemas.microsoft.com/office/drawing/2014/main" id="{A2C85672-15EB-F3A6-9E2D-7EF504BB7ACB}"/>
              </a:ext>
            </a:extLst>
          </p:cNvPr>
          <p:cNvSpPr/>
          <p:nvPr>
            <p:custDataLst>
              <p:tags r:id="rId58"/>
            </p:custDataLst>
          </p:nvPr>
        </p:nvSpPr>
        <p:spPr bwMode="auto">
          <a:xfrm>
            <a:off x="431800" y="6253163"/>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870" name="Rectangle 1869">
            <a:extLst>
              <a:ext uri="{FF2B5EF4-FFF2-40B4-BE49-F238E27FC236}">
                <a16:creationId xmlns:a16="http://schemas.microsoft.com/office/drawing/2014/main" id="{4B4125B3-E873-42BD-AFF4-D10A129362EB}"/>
              </a:ext>
            </a:extLst>
          </p:cNvPr>
          <p:cNvSpPr/>
          <p:nvPr>
            <p:custDataLst>
              <p:tags r:id="rId59"/>
            </p:custDataLst>
          </p:nvPr>
        </p:nvSpPr>
        <p:spPr bwMode="auto">
          <a:xfrm>
            <a:off x="1030288" y="6253163"/>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869" name="Rectangle 1868">
            <a:extLst>
              <a:ext uri="{FF2B5EF4-FFF2-40B4-BE49-F238E27FC236}">
                <a16:creationId xmlns:a16="http://schemas.microsoft.com/office/drawing/2014/main" id="{677BD6C7-7B58-6E9E-A237-4302B01BD7AF}"/>
              </a:ext>
            </a:extLst>
          </p:cNvPr>
          <p:cNvSpPr/>
          <p:nvPr>
            <p:custDataLst>
              <p:tags r:id="rId60"/>
            </p:custDataLst>
          </p:nvPr>
        </p:nvSpPr>
        <p:spPr bwMode="auto">
          <a:xfrm>
            <a:off x="1555750" y="6253163"/>
            <a:ext cx="179388" cy="133350"/>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871" name="Text Placeholder 19">
            <a:extLst>
              <a:ext uri="{FF2B5EF4-FFF2-40B4-BE49-F238E27FC236}">
                <a16:creationId xmlns:a16="http://schemas.microsoft.com/office/drawing/2014/main" id="{4C2882B1-68A3-CB2E-B21A-ED18446E88D2}"/>
              </a:ext>
            </a:extLst>
          </p:cNvPr>
          <p:cNvSpPr>
            <a:spLocks noGrp="1"/>
          </p:cNvSpPr>
          <p:nvPr>
            <p:custDataLst>
              <p:tags r:id="rId61"/>
            </p:custDataLst>
          </p:nvPr>
        </p:nvSpPr>
        <p:spPr bwMode="auto">
          <a:xfrm>
            <a:off x="661988" y="6248400"/>
            <a:ext cx="266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3ADA3657-D3D5-4888-B4A8-9C945E810B91}" type="datetime'''''''''''''''''''''''''''''''''''''''&lt;''1''h''''''r'''''''">
              <a:rPr lang="en-GB" altLang="en-US" sz="1000" smtClean="0">
                <a:solidFill>
                  <a:srgbClr val="3C3C3B"/>
                </a:solidFill>
                <a:ea typeface="+mn-ea"/>
                <a:cs typeface="+mn-cs"/>
              </a:rPr>
              <a:pPr lvl="0">
                <a:spcBef>
                  <a:spcPct val="0"/>
                </a:spcBef>
                <a:spcAft>
                  <a:spcPct val="0"/>
                </a:spcAft>
                <a:defRPr/>
              </a:pPr>
              <a:t>&lt;1hr</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73" name="Text Placeholder 19">
            <a:extLst>
              <a:ext uri="{FF2B5EF4-FFF2-40B4-BE49-F238E27FC236}">
                <a16:creationId xmlns:a16="http://schemas.microsoft.com/office/drawing/2014/main" id="{715736EA-2E96-A9DF-25AC-8D670402AD2B}"/>
              </a:ext>
            </a:extLst>
          </p:cNvPr>
          <p:cNvSpPr>
            <a:spLocks noGrp="1"/>
          </p:cNvSpPr>
          <p:nvPr>
            <p:custDataLst>
              <p:tags r:id="rId62"/>
            </p:custDataLst>
          </p:nvPr>
        </p:nvSpPr>
        <p:spPr bwMode="auto">
          <a:xfrm>
            <a:off x="1260475" y="6248400"/>
            <a:ext cx="193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C9BB9723-4DB5-4CD4-AC99-827C76C00D61}" type="datetime'''''''''''''2''''''''h''''''''''''''''''r'''''">
              <a:rPr lang="en-GB" altLang="en-US" sz="1000" smtClean="0">
                <a:solidFill>
                  <a:srgbClr val="3C3C3B"/>
                </a:solidFill>
                <a:ea typeface="+mn-ea"/>
                <a:cs typeface="+mn-cs"/>
              </a:rPr>
              <a:pPr lvl="0">
                <a:spcBef>
                  <a:spcPct val="0"/>
                </a:spcBef>
                <a:spcAft>
                  <a:spcPct val="0"/>
                </a:spcAft>
                <a:defRPr/>
              </a:pPr>
              <a:t>2hr</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1872" name="Text Placeholder 19">
            <a:extLst>
              <a:ext uri="{FF2B5EF4-FFF2-40B4-BE49-F238E27FC236}">
                <a16:creationId xmlns:a16="http://schemas.microsoft.com/office/drawing/2014/main" id="{BA230682-EC25-1A08-6917-5A56EE5431C9}"/>
              </a:ext>
            </a:extLst>
          </p:cNvPr>
          <p:cNvSpPr>
            <a:spLocks noGrp="1"/>
          </p:cNvSpPr>
          <p:nvPr>
            <p:custDataLst>
              <p:tags r:id="rId63"/>
            </p:custDataLst>
          </p:nvPr>
        </p:nvSpPr>
        <p:spPr bwMode="auto">
          <a:xfrm>
            <a:off x="1785938" y="6248400"/>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DF803B10-CC0D-425B-86BC-CE12294D8D27}" type="datetime'''4'''''''''''''''''''' ''''''''''''''hr+'''''''''''''''''''">
              <a:rPr lang="en-GB" altLang="en-US" sz="1000" smtClean="0">
                <a:solidFill>
                  <a:srgbClr val="3C3C3B"/>
                </a:solidFill>
                <a:ea typeface="+mn-ea"/>
                <a:cs typeface="+mn-cs"/>
              </a:rPr>
              <a:pPr lvl="0">
                <a:spcBef>
                  <a:spcPct val="0"/>
                </a:spcBef>
                <a:spcAft>
                  <a:spcPct val="0"/>
                </a:spcAft>
                <a:defRPr/>
              </a:pPr>
              <a:t>4 hr+</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4" name="Oval 3">
            <a:extLst>
              <a:ext uri="{FF2B5EF4-FFF2-40B4-BE49-F238E27FC236}">
                <a16:creationId xmlns:a16="http://schemas.microsoft.com/office/drawing/2014/main" id="{5DDC478E-578B-3752-BA35-301B3C3DF6ED}"/>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5" name="Oval 4">
            <a:extLst>
              <a:ext uri="{FF2B5EF4-FFF2-40B4-BE49-F238E27FC236}">
                <a16:creationId xmlns:a16="http://schemas.microsoft.com/office/drawing/2014/main" id="{8CFCD3DF-8BF1-B18E-70A2-5E72DA9689C0}"/>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1987" name="Text Placeholder 16">
            <a:extLst>
              <a:ext uri="{FF2B5EF4-FFF2-40B4-BE49-F238E27FC236}">
                <a16:creationId xmlns:a16="http://schemas.microsoft.com/office/drawing/2014/main" id="{1B9A1D2D-397C-7379-EDAB-2A4042ED1748}"/>
              </a:ext>
            </a:extLst>
          </p:cNvPr>
          <p:cNvSpPr txBox="1">
            <a:spLocks/>
          </p:cNvSpPr>
          <p:nvPr/>
        </p:nvSpPr>
        <p:spPr>
          <a:xfrm>
            <a:off x="9501188" y="6107385"/>
            <a:ext cx="2335212"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25993654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DAD4F194-5D6A-4123-8605-60BC70CBE390}"/>
              </a:ext>
            </a:extLst>
          </p:cNvPr>
          <p:cNvGraphicFramePr>
            <a:graphicFrameLocks noChangeAspect="1"/>
          </p:cNvGraphicFramePr>
          <p:nvPr>
            <p:custDataLst>
              <p:tags r:id="rId1"/>
            </p:custDataLst>
            <p:extLst>
              <p:ext uri="{D42A27DB-BD31-4B8C-83A1-F6EECF244321}">
                <p14:modId xmlns:p14="http://schemas.microsoft.com/office/powerpoint/2010/main" val="2693174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6" progId="TCLayout.ActiveDocument.1">
                  <p:embed/>
                </p:oleObj>
              </mc:Choice>
              <mc:Fallback>
                <p:oleObj name="think-cell Slide" r:id="rId27" imgW="395" imgH="396" progId="TCLayout.ActiveDocument.1">
                  <p:embed/>
                  <p:pic>
                    <p:nvPicPr>
                      <p:cNvPr id="51" name="Object 50" hidden="1">
                        <a:extLst>
                          <a:ext uri="{FF2B5EF4-FFF2-40B4-BE49-F238E27FC236}">
                            <a16:creationId xmlns:a16="http://schemas.microsoft.com/office/drawing/2014/main" id="{DAD4F194-5D6A-4123-8605-60BC70CBE39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graphicFrame>
        <p:nvGraphicFramePr>
          <p:cNvPr id="52" name="Chart 51">
            <a:extLst>
              <a:ext uri="{FF2B5EF4-FFF2-40B4-BE49-F238E27FC236}">
                <a16:creationId xmlns:a16="http://schemas.microsoft.com/office/drawing/2014/main" id="{39C319E4-3D1E-8B5D-C671-91DC0FC01807}"/>
              </a:ext>
            </a:extLst>
          </p:cNvPr>
          <p:cNvGraphicFramePr/>
          <p:nvPr>
            <p:custDataLst>
              <p:tags r:id="rId2"/>
            </p:custDataLst>
            <p:extLst>
              <p:ext uri="{D42A27DB-BD31-4B8C-83A1-F6EECF244321}">
                <p14:modId xmlns:p14="http://schemas.microsoft.com/office/powerpoint/2010/main" val="3189687363"/>
              </p:ext>
            </p:extLst>
          </p:nvPr>
        </p:nvGraphicFramePr>
        <p:xfrm>
          <a:off x="942975" y="2055813"/>
          <a:ext cx="3068638" cy="2868612"/>
        </p:xfrm>
        <a:graphic>
          <a:graphicData uri="http://schemas.openxmlformats.org/drawingml/2006/chart">
            <c:chart xmlns:c="http://schemas.openxmlformats.org/drawingml/2006/chart" xmlns:r="http://schemas.openxmlformats.org/officeDocument/2006/relationships" r:id="rId29"/>
          </a:graphicData>
        </a:graphic>
      </p:graphicFrame>
      <p:sp>
        <p:nvSpPr>
          <p:cNvPr id="2" name="Text Placeholder 1">
            <a:extLst>
              <a:ext uri="{FF2B5EF4-FFF2-40B4-BE49-F238E27FC236}">
                <a16:creationId xmlns:a16="http://schemas.microsoft.com/office/drawing/2014/main" id="{7152DF1B-F167-4EFD-B72D-F0E260E16EF5}"/>
              </a:ext>
            </a:extLst>
          </p:cNvPr>
          <p:cNvSpPr>
            <a:spLocks noGrp="1"/>
          </p:cNvSpPr>
          <p:nvPr>
            <p:ph type="body" sz="quarter" idx="27"/>
          </p:nvPr>
        </p:nvSpPr>
        <p:spPr>
          <a:xfrm>
            <a:off x="381000" y="4988945"/>
            <a:ext cx="3689350" cy="1146468"/>
          </a:xfrm>
        </p:spPr>
        <p:txBody>
          <a:bodyPr/>
          <a:lstStyle/>
          <a:p>
            <a:pPr marL="171450" indent="-171450">
              <a:spcBef>
                <a:spcPts val="300"/>
              </a:spcBef>
              <a:buFont typeface="Wingdings" panose="05000000000000000000" pitchFamily="2" charset="2"/>
              <a:buChar char="§"/>
            </a:pPr>
            <a:r>
              <a:rPr lang="en-GB"/>
              <a:t>Strong battery buildout is expected across Europe in the 2020s as countries strive to achieve their legislated decarbonisation targets. </a:t>
            </a:r>
          </a:p>
          <a:p>
            <a:pPr marL="171450" indent="-171450">
              <a:spcBef>
                <a:spcPts val="300"/>
              </a:spcBef>
              <a:buFont typeface="Wingdings" panose="05000000000000000000" pitchFamily="2" charset="2"/>
              <a:buChar char="§"/>
            </a:pPr>
            <a:r>
              <a:rPr lang="en-GB"/>
              <a:t>There is significant investment in longer duration batteries (2, 4, and 8 hr) as high RES penetration increases the need for longer storage times.</a:t>
            </a:r>
          </a:p>
        </p:txBody>
      </p:sp>
      <p:sp>
        <p:nvSpPr>
          <p:cNvPr id="3" name="Text Placeholder 2">
            <a:extLst>
              <a:ext uri="{FF2B5EF4-FFF2-40B4-BE49-F238E27FC236}">
                <a16:creationId xmlns:a16="http://schemas.microsoft.com/office/drawing/2014/main" id="{CB3E0421-703B-4503-9088-7232CD2FBD9B}"/>
              </a:ext>
            </a:extLst>
          </p:cNvPr>
          <p:cNvSpPr>
            <a:spLocks noGrp="1"/>
          </p:cNvSpPr>
          <p:nvPr>
            <p:ph type="body" sz="quarter" idx="28"/>
          </p:nvPr>
        </p:nvSpPr>
        <p:spPr>
          <a:xfrm>
            <a:off x="4292743" y="4988945"/>
            <a:ext cx="3516313" cy="1331134"/>
          </a:xfrm>
        </p:spPr>
        <p:txBody>
          <a:bodyPr>
            <a:spAutoFit/>
          </a:bodyPr>
          <a:lstStyle/>
          <a:p>
            <a:pPr marL="171450" indent="-171450">
              <a:spcBef>
                <a:spcPts val="300"/>
              </a:spcBef>
              <a:buFont typeface="Wingdings" panose="05000000000000000000" pitchFamily="2" charset="2"/>
              <a:buChar char="§"/>
            </a:pPr>
            <a:r>
              <a:rPr lang="en-GB"/>
              <a:t>The investment pace is expected to slow down in the 2030s as there is sufficient capacity on the system deployed in the 2020s.</a:t>
            </a:r>
          </a:p>
          <a:p>
            <a:pPr marL="171450" indent="-171450">
              <a:spcBef>
                <a:spcPts val="300"/>
              </a:spcBef>
              <a:buFont typeface="Wingdings" panose="05000000000000000000" pitchFamily="2" charset="2"/>
              <a:buChar char="§"/>
            </a:pPr>
            <a:r>
              <a:rPr lang="en-GB"/>
              <a:t>The investment focus is mainly on longer duration batteries (4 hr) in the 2030s due to favourable economics and as shorter frequency product markets become increasingly saturated.</a:t>
            </a:r>
          </a:p>
        </p:txBody>
      </p:sp>
      <p:sp>
        <p:nvSpPr>
          <p:cNvPr id="5" name="Text Placeholder 4">
            <a:extLst>
              <a:ext uri="{FF2B5EF4-FFF2-40B4-BE49-F238E27FC236}">
                <a16:creationId xmlns:a16="http://schemas.microsoft.com/office/drawing/2014/main" id="{A9DC3FA6-4595-40C3-8A95-E99AD3136EC6}"/>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6" name="Title 5">
            <a:extLst>
              <a:ext uri="{FF2B5EF4-FFF2-40B4-BE49-F238E27FC236}">
                <a16:creationId xmlns:a16="http://schemas.microsoft.com/office/drawing/2014/main" id="{5B7BFA44-2E24-4779-A825-F4D3F423F667}"/>
              </a:ext>
            </a:extLst>
          </p:cNvPr>
          <p:cNvSpPr>
            <a:spLocks noGrp="1"/>
          </p:cNvSpPr>
          <p:nvPr>
            <p:ph type="title"/>
          </p:nvPr>
        </p:nvSpPr>
        <p:spPr/>
        <p:txBody>
          <a:bodyPr vert="horz"/>
          <a:lstStyle/>
          <a:p>
            <a:r>
              <a:rPr lang="en-GB"/>
              <a:t>The projected battery capacity additions represent a cumulative investment opportunity of over </a:t>
            </a:r>
            <a:r>
              <a:rPr lang="en-GB" sz="2200" b="1" i="0" u="none" strike="noStrike" kern="1200" baseline="0">
                <a:solidFill>
                  <a:srgbClr val="808080"/>
                </a:solidFill>
                <a:highlight>
                  <a:srgbClr val="808080"/>
                </a:highlight>
                <a:latin typeface="Lato" panose="020F0502020204030203" pitchFamily="34" charset="0"/>
              </a:rPr>
              <a:t>XX </a:t>
            </a:r>
            <a:r>
              <a:rPr lang="en-GB"/>
              <a:t>bn</a:t>
            </a:r>
            <a:r>
              <a:rPr lang="en-GB" sz="2400" kern="1200">
                <a:effectLst/>
                <a:latin typeface="Lato" panose="020F0502020204030203" pitchFamily="34" charset="0"/>
                <a:ea typeface="Lato" panose="020F0502020204030203" pitchFamily="34" charset="0"/>
                <a:cs typeface="Lato" panose="020F0502020204030203" pitchFamily="34" charset="0"/>
              </a:rPr>
              <a:t>€ </a:t>
            </a:r>
            <a:r>
              <a:rPr lang="en-GB"/>
              <a:t>between 2023-50</a:t>
            </a:r>
          </a:p>
        </p:txBody>
      </p:sp>
      <p:sp>
        <p:nvSpPr>
          <p:cNvPr id="8" name="Text Placeholder 7">
            <a:extLst>
              <a:ext uri="{FF2B5EF4-FFF2-40B4-BE49-F238E27FC236}">
                <a16:creationId xmlns:a16="http://schemas.microsoft.com/office/drawing/2014/main" id="{BF7BE651-7919-4501-A011-1398569DD574}"/>
              </a:ext>
            </a:extLst>
          </p:cNvPr>
          <p:cNvSpPr>
            <a:spLocks noGrp="1"/>
          </p:cNvSpPr>
          <p:nvPr>
            <p:ph type="body" sz="quarter" idx="32"/>
          </p:nvPr>
        </p:nvSpPr>
        <p:spPr>
          <a:xfrm>
            <a:off x="381600" y="6474841"/>
            <a:ext cx="11428800" cy="110800"/>
          </a:xfrm>
        </p:spPr>
        <p:txBody>
          <a:bodyPr/>
          <a:lstStyle/>
          <a:p>
            <a:r>
              <a:rPr lang="en-GB"/>
              <a:t>1) EU27 plus Great Britain and Norway, minus Cyprus and Malta.</a:t>
            </a:r>
          </a:p>
        </p:txBody>
      </p:sp>
      <p:sp>
        <p:nvSpPr>
          <p:cNvPr id="9" name="Text Placeholder 8">
            <a:extLst>
              <a:ext uri="{FF2B5EF4-FFF2-40B4-BE49-F238E27FC236}">
                <a16:creationId xmlns:a16="http://schemas.microsoft.com/office/drawing/2014/main" id="{13E9C7F2-3D93-4CD7-ACD4-E3E05597B3FE}"/>
              </a:ext>
            </a:extLst>
          </p:cNvPr>
          <p:cNvSpPr>
            <a:spLocks noGrp="1"/>
          </p:cNvSpPr>
          <p:nvPr>
            <p:ph type="body" sz="quarter" idx="33"/>
          </p:nvPr>
        </p:nvSpPr>
        <p:spPr>
          <a:xfrm>
            <a:off x="8105774" y="4988945"/>
            <a:ext cx="3717925" cy="1592744"/>
          </a:xfrm>
        </p:spPr>
        <p:txBody>
          <a:bodyPr wrap="square">
            <a:spAutoFit/>
          </a:bodyPr>
          <a:lstStyle/>
          <a:p>
            <a:pPr marL="171450" indent="-171450">
              <a:spcBef>
                <a:spcPts val="300"/>
              </a:spcBef>
              <a:buFont typeface="Wingdings" panose="05000000000000000000" pitchFamily="2" charset="2"/>
              <a:buChar char="§"/>
            </a:pPr>
            <a:r>
              <a:rPr lang="en-GB"/>
              <a:t>New-build CAPEX investment continues to slow in the 2040s owing to increased market saturation.</a:t>
            </a:r>
          </a:p>
          <a:p>
            <a:pPr marL="171450" indent="-171450">
              <a:spcBef>
                <a:spcPts val="300"/>
              </a:spcBef>
              <a:buFont typeface="Wingdings" panose="05000000000000000000" pitchFamily="2" charset="2"/>
              <a:buChar char="§"/>
            </a:pPr>
            <a:r>
              <a:rPr lang="en-GB"/>
              <a:t>Additional investments in </a:t>
            </a:r>
            <a:r>
              <a:rPr lang="en-GB" sz="1200" b="1" i="0" u="none" strike="noStrike" kern="1200" baseline="0">
                <a:solidFill>
                  <a:srgbClr val="808080"/>
                </a:solidFill>
                <a:highlight>
                  <a:srgbClr val="808080"/>
                </a:highlight>
                <a:latin typeface="Lato" panose="020F0502020204030203" pitchFamily="34" charset="0"/>
              </a:rPr>
              <a:t>XX </a:t>
            </a:r>
            <a:r>
              <a:rPr lang="en-GB" baseline="30000"/>
              <a:t>3</a:t>
            </a:r>
            <a:r>
              <a:rPr lang="en-GB"/>
              <a:t> could account for almost </a:t>
            </a:r>
            <a:r>
              <a:rPr lang="en-GB" sz="1200" b="1" i="0" u="none" strike="noStrike" kern="1200" baseline="0">
                <a:solidFill>
                  <a:srgbClr val="3C3C3B"/>
                </a:solidFill>
                <a:latin typeface="Lato" panose="020F0502020204030203" pitchFamily="34" charset="0"/>
              </a:rPr>
              <a:t> </a:t>
            </a:r>
            <a:r>
              <a:rPr lang="en-GB" sz="1200" b="1" i="0" u="none" strike="noStrike" kern="1200" baseline="0">
                <a:solidFill>
                  <a:srgbClr val="838383"/>
                </a:solidFill>
                <a:highlight>
                  <a:srgbClr val="808080"/>
                </a:highlight>
                <a:latin typeface="Lato" panose="020F0502020204030203" pitchFamily="34" charset="0"/>
              </a:rPr>
              <a:t>XX</a:t>
            </a:r>
            <a:r>
              <a:rPr lang="en-GB"/>
              <a:t>% of total spend in the 2040’s, as added capacities in the late 2020’s reach the end of their warranty periods.</a:t>
            </a:r>
          </a:p>
          <a:p>
            <a:pPr marL="171450" indent="-171450">
              <a:spcBef>
                <a:spcPts val="300"/>
              </a:spcBef>
              <a:buFont typeface="Wingdings" panose="05000000000000000000" pitchFamily="2" charset="2"/>
              <a:buChar char="§"/>
            </a:pPr>
            <a:endParaRPr lang="en-GB"/>
          </a:p>
          <a:p>
            <a:pPr marL="171450" indent="-171450">
              <a:spcBef>
                <a:spcPts val="300"/>
              </a:spcBef>
              <a:buFont typeface="Wingdings" panose="05000000000000000000" pitchFamily="2" charset="2"/>
              <a:buChar char="§"/>
            </a:pPr>
            <a:endParaRPr lang="en-GB"/>
          </a:p>
        </p:txBody>
      </p:sp>
      <p:sp>
        <p:nvSpPr>
          <p:cNvPr id="77" name="Flowchart: Terminator 76">
            <a:extLst>
              <a:ext uri="{FF2B5EF4-FFF2-40B4-BE49-F238E27FC236}">
                <a16:creationId xmlns:a16="http://schemas.microsoft.com/office/drawing/2014/main" id="{BF7A0DD2-3CC0-45F3-9A49-EECC1AFB5248}"/>
              </a:ext>
            </a:extLst>
          </p:cNvPr>
          <p:cNvSpPr/>
          <p:nvPr/>
        </p:nvSpPr>
        <p:spPr>
          <a:xfrm>
            <a:off x="3085792" y="1454170"/>
            <a:ext cx="828000" cy="216000"/>
          </a:xfrm>
          <a:prstGeom prst="flowChartTerminator">
            <a:avLst/>
          </a:prstGeom>
          <a:solidFill>
            <a:srgbClr val="DF5327"/>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bg1"/>
                </a:solidFill>
              </a:rPr>
              <a:t>2024-30</a:t>
            </a:r>
          </a:p>
        </p:txBody>
      </p:sp>
      <p:sp>
        <p:nvSpPr>
          <p:cNvPr id="78" name="Flowchart: Terminator 77">
            <a:extLst>
              <a:ext uri="{FF2B5EF4-FFF2-40B4-BE49-F238E27FC236}">
                <a16:creationId xmlns:a16="http://schemas.microsoft.com/office/drawing/2014/main" id="{0B69E6ED-C8D8-4F26-A211-0BBBA18572AE}"/>
              </a:ext>
            </a:extLst>
          </p:cNvPr>
          <p:cNvSpPr/>
          <p:nvPr/>
        </p:nvSpPr>
        <p:spPr>
          <a:xfrm>
            <a:off x="6938963" y="1454170"/>
            <a:ext cx="828675" cy="216000"/>
          </a:xfrm>
          <a:prstGeom prst="flowChartTerminator">
            <a:avLst/>
          </a:prstGeom>
          <a:solidFill>
            <a:srgbClr val="DF5327"/>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bg1"/>
                </a:solidFill>
              </a:rPr>
              <a:t>2031-40</a:t>
            </a:r>
          </a:p>
        </p:txBody>
      </p:sp>
      <p:sp>
        <p:nvSpPr>
          <p:cNvPr id="79" name="Flowchart: Terminator 78">
            <a:extLst>
              <a:ext uri="{FF2B5EF4-FFF2-40B4-BE49-F238E27FC236}">
                <a16:creationId xmlns:a16="http://schemas.microsoft.com/office/drawing/2014/main" id="{DE540F71-F598-4722-9C06-056248E2D0D4}"/>
              </a:ext>
            </a:extLst>
          </p:cNvPr>
          <p:cNvSpPr/>
          <p:nvPr/>
        </p:nvSpPr>
        <p:spPr>
          <a:xfrm>
            <a:off x="10982897" y="1454170"/>
            <a:ext cx="828000" cy="216000"/>
          </a:xfrm>
          <a:prstGeom prst="flowChartTerminator">
            <a:avLst/>
          </a:prstGeom>
          <a:solidFill>
            <a:srgbClr val="DF5327"/>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bg1"/>
                </a:solidFill>
              </a:rPr>
              <a:t>2041-50</a:t>
            </a:r>
          </a:p>
        </p:txBody>
      </p:sp>
      <p:sp>
        <p:nvSpPr>
          <p:cNvPr id="318" name="Text Placeholder 13">
            <a:extLst>
              <a:ext uri="{FF2B5EF4-FFF2-40B4-BE49-F238E27FC236}">
                <a16:creationId xmlns:a16="http://schemas.microsoft.com/office/drawing/2014/main" id="{9C310C9A-F122-4E1E-84F4-FC9EB9AD5744}"/>
              </a:ext>
            </a:extLst>
          </p:cNvPr>
          <p:cNvSpPr txBox="1">
            <a:spLocks/>
          </p:cNvSpPr>
          <p:nvPr/>
        </p:nvSpPr>
        <p:spPr>
          <a:xfrm>
            <a:off x="381599" y="79401"/>
            <a:ext cx="3983463"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500"/>
            <a:r>
              <a:rPr lang="en-GB"/>
              <a:t>	Market size and outlook – Long-term market outlook</a:t>
            </a:r>
          </a:p>
        </p:txBody>
      </p:sp>
      <p:sp>
        <p:nvSpPr>
          <p:cNvPr id="313" name="Text Placeholder 3">
            <a:extLst>
              <a:ext uri="{FF2B5EF4-FFF2-40B4-BE49-F238E27FC236}">
                <a16:creationId xmlns:a16="http://schemas.microsoft.com/office/drawing/2014/main" id="{9D954BDB-BB95-DF57-24D4-8023651F5905}"/>
              </a:ext>
            </a:extLst>
          </p:cNvPr>
          <p:cNvSpPr txBox="1">
            <a:spLocks/>
          </p:cNvSpPr>
          <p:nvPr/>
        </p:nvSpPr>
        <p:spPr>
          <a:xfrm>
            <a:off x="381000" y="1263129"/>
            <a:ext cx="3517128"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latin typeface="Lato"/>
              </a:rPr>
              <a:t>Total CAPEX spent on grid-scale batteries</a:t>
            </a:r>
            <a:br>
              <a:rPr lang="en-GB">
                <a:solidFill>
                  <a:schemeClr val="accent5"/>
                </a:solidFill>
                <a:latin typeface="Lato"/>
              </a:rPr>
            </a:br>
            <a:r>
              <a:rPr lang="en-GB" b="0">
                <a:solidFill>
                  <a:schemeClr val="accent5"/>
                </a:solidFill>
                <a:latin typeface="Lato"/>
              </a:rPr>
              <a:t>bn € (real 2022)</a:t>
            </a:r>
          </a:p>
        </p:txBody>
      </p:sp>
      <p:graphicFrame>
        <p:nvGraphicFramePr>
          <p:cNvPr id="53" name="Chart 52">
            <a:extLst>
              <a:ext uri="{FF2B5EF4-FFF2-40B4-BE49-F238E27FC236}">
                <a16:creationId xmlns:a16="http://schemas.microsoft.com/office/drawing/2014/main" id="{2B702E8A-5580-7021-E49D-C1426BFC775D}"/>
              </a:ext>
            </a:extLst>
          </p:cNvPr>
          <p:cNvGraphicFramePr/>
          <p:nvPr>
            <p:custDataLst>
              <p:tags r:id="rId3"/>
            </p:custDataLst>
            <p:extLst>
              <p:ext uri="{D42A27DB-BD31-4B8C-83A1-F6EECF244321}">
                <p14:modId xmlns:p14="http://schemas.microsoft.com/office/powerpoint/2010/main" val="4187195705"/>
              </p:ext>
            </p:extLst>
          </p:nvPr>
        </p:nvGraphicFramePr>
        <p:xfrm>
          <a:off x="4725988" y="2055813"/>
          <a:ext cx="3119437" cy="2868612"/>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54" name="Chart 53">
            <a:extLst>
              <a:ext uri="{FF2B5EF4-FFF2-40B4-BE49-F238E27FC236}">
                <a16:creationId xmlns:a16="http://schemas.microsoft.com/office/drawing/2014/main" id="{40B156CF-A434-7993-D528-FA6FB62618FD}"/>
              </a:ext>
            </a:extLst>
          </p:cNvPr>
          <p:cNvGraphicFramePr/>
          <p:nvPr>
            <p:custDataLst>
              <p:tags r:id="rId4"/>
            </p:custDataLst>
            <p:extLst>
              <p:ext uri="{D42A27DB-BD31-4B8C-83A1-F6EECF244321}">
                <p14:modId xmlns:p14="http://schemas.microsoft.com/office/powerpoint/2010/main" val="3311326492"/>
              </p:ext>
            </p:extLst>
          </p:nvPr>
        </p:nvGraphicFramePr>
        <p:xfrm>
          <a:off x="8583613" y="2055813"/>
          <a:ext cx="3109912" cy="2868612"/>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35" name="Chart 34">
            <a:extLst>
              <a:ext uri="{FF2B5EF4-FFF2-40B4-BE49-F238E27FC236}">
                <a16:creationId xmlns:a16="http://schemas.microsoft.com/office/drawing/2014/main" id="{E0563AE2-E820-BE66-91D3-0B760E1BB1BD}"/>
              </a:ext>
            </a:extLst>
          </p:cNvPr>
          <p:cNvGraphicFramePr/>
          <p:nvPr>
            <p:custDataLst>
              <p:tags r:id="rId5"/>
            </p:custDataLst>
            <p:extLst>
              <p:ext uri="{D42A27DB-BD31-4B8C-83A1-F6EECF244321}">
                <p14:modId xmlns:p14="http://schemas.microsoft.com/office/powerpoint/2010/main" val="1659653542"/>
              </p:ext>
            </p:extLst>
          </p:nvPr>
        </p:nvGraphicFramePr>
        <p:xfrm>
          <a:off x="962025" y="1646238"/>
          <a:ext cx="3055938" cy="465137"/>
        </p:xfrm>
        <a:graphic>
          <a:graphicData uri="http://schemas.openxmlformats.org/drawingml/2006/chart">
            <c:chart xmlns:c="http://schemas.openxmlformats.org/drawingml/2006/chart" xmlns:r="http://schemas.openxmlformats.org/officeDocument/2006/relationships" r:id="rId32"/>
          </a:graphicData>
        </a:graphic>
      </p:graphicFrame>
      <p:sp>
        <p:nvSpPr>
          <p:cNvPr id="671" name="Text Placeholder 19">
            <a:extLst>
              <a:ext uri="{FF2B5EF4-FFF2-40B4-BE49-F238E27FC236}">
                <a16:creationId xmlns:a16="http://schemas.microsoft.com/office/drawing/2014/main" id="{06382BC6-B17F-1EDD-7EFE-F11F94477664}"/>
              </a:ext>
            </a:extLst>
          </p:cNvPr>
          <p:cNvSpPr>
            <a:spLocks noGrp="1"/>
          </p:cNvSpPr>
          <p:nvPr>
            <p:custDataLst>
              <p:tags r:id="rId6"/>
            </p:custDataLst>
          </p:nvPr>
        </p:nvSpPr>
        <p:spPr bwMode="auto">
          <a:xfrm>
            <a:off x="401638" y="1787525"/>
            <a:ext cx="541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B9C4D98D-2494-4F0D-A66B-660D7B2AD0F4}" type="datetime'''''''''''''''''''''''E''''''ur''''''''op''''''''e'''''">
              <a:rPr lang="en-GB" altLang="en-US" smtClean="0"/>
              <a:pPr algn="r">
                <a:spcBef>
                  <a:spcPct val="0"/>
                </a:spcBef>
                <a:spcAft>
                  <a:spcPct val="0"/>
                </a:spcAft>
              </a:pPr>
              <a:t>Europe</a:t>
            </a:fld>
            <a:r>
              <a:rPr lang="en-GB" altLang="en-US" baseline="30000"/>
              <a:t>1</a:t>
            </a:r>
            <a:endParaRPr lang="en-GB"/>
          </a:p>
        </p:txBody>
      </p:sp>
      <p:graphicFrame>
        <p:nvGraphicFramePr>
          <p:cNvPr id="41" name="Chart 40">
            <a:extLst>
              <a:ext uri="{FF2B5EF4-FFF2-40B4-BE49-F238E27FC236}">
                <a16:creationId xmlns:a16="http://schemas.microsoft.com/office/drawing/2014/main" id="{8D06F162-62B3-6146-D559-03392E2CCB2B}"/>
              </a:ext>
            </a:extLst>
          </p:cNvPr>
          <p:cNvGraphicFramePr/>
          <p:nvPr>
            <p:custDataLst>
              <p:tags r:id="rId7"/>
            </p:custDataLst>
            <p:extLst>
              <p:ext uri="{D42A27DB-BD31-4B8C-83A1-F6EECF244321}">
                <p14:modId xmlns:p14="http://schemas.microsoft.com/office/powerpoint/2010/main" val="740081608"/>
              </p:ext>
            </p:extLst>
          </p:nvPr>
        </p:nvGraphicFramePr>
        <p:xfrm>
          <a:off x="4725988" y="1646238"/>
          <a:ext cx="3119437" cy="465137"/>
        </p:xfrm>
        <a:graphic>
          <a:graphicData uri="http://schemas.openxmlformats.org/drawingml/2006/chart">
            <c:chart xmlns:c="http://schemas.openxmlformats.org/drawingml/2006/chart" xmlns:r="http://schemas.openxmlformats.org/officeDocument/2006/relationships" r:id="rId33"/>
          </a:graphicData>
        </a:graphic>
      </p:graphicFrame>
      <p:cxnSp>
        <p:nvCxnSpPr>
          <p:cNvPr id="21" name="Straight Connector 20">
            <a:extLst>
              <a:ext uri="{FF2B5EF4-FFF2-40B4-BE49-F238E27FC236}">
                <a16:creationId xmlns:a16="http://schemas.microsoft.com/office/drawing/2014/main" id="{26C6CA27-B14A-ECD0-48C5-D3F5B82B8D29}"/>
              </a:ext>
            </a:extLst>
          </p:cNvPr>
          <p:cNvCxnSpPr/>
          <p:nvPr>
            <p:custDataLst>
              <p:tags r:id="rId8"/>
            </p:custDataLst>
          </p:nvPr>
        </p:nvCxnSpPr>
        <p:spPr bwMode="auto">
          <a:xfrm>
            <a:off x="6538913" y="1795463"/>
            <a:ext cx="0" cy="166687"/>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91652A54-451E-EC98-310B-F60A6EF4583A}"/>
              </a:ext>
            </a:extLst>
          </p:cNvPr>
          <p:cNvCxnSpPr/>
          <p:nvPr>
            <p:custDataLst>
              <p:tags r:id="rId9"/>
            </p:custDataLst>
          </p:nvPr>
        </p:nvCxnSpPr>
        <p:spPr bwMode="auto">
          <a:xfrm>
            <a:off x="6253163" y="1795463"/>
            <a:ext cx="285750" cy="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853C5B9D-9E5B-7788-F964-4DBB81A61EA2}"/>
              </a:ext>
            </a:extLst>
          </p:cNvPr>
          <p:cNvCxnSpPr/>
          <p:nvPr>
            <p:custDataLst>
              <p:tags r:id="rId10"/>
            </p:custDataLst>
          </p:nvPr>
        </p:nvCxnSpPr>
        <p:spPr bwMode="auto">
          <a:xfrm>
            <a:off x="6253163" y="1962150"/>
            <a:ext cx="285750" cy="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7" name="Text Placeholder 19">
            <a:extLst>
              <a:ext uri="{FF2B5EF4-FFF2-40B4-BE49-F238E27FC236}">
                <a16:creationId xmlns:a16="http://schemas.microsoft.com/office/drawing/2014/main" id="{9492D074-0337-536A-DB0E-392FEF01126C}"/>
              </a:ext>
            </a:extLst>
          </p:cNvPr>
          <p:cNvSpPr>
            <a:spLocks noGrp="1"/>
          </p:cNvSpPr>
          <p:nvPr>
            <p:custDataLst>
              <p:tags r:id="rId11"/>
            </p:custDataLst>
          </p:nvPr>
        </p:nvSpPr>
        <p:spPr bwMode="auto">
          <a:xfrm>
            <a:off x="4224338" y="1787526"/>
            <a:ext cx="482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7C4D35B9-06D2-423E-833A-A57569DB1137}" type="datetime'E''''''''''''''''''''''u''''''''''''''r''''''''o''p''e'">
              <a:rPr lang="en-GB" altLang="en-US" smtClean="0"/>
              <a:pPr algn="r">
                <a:spcBef>
                  <a:spcPct val="0"/>
                </a:spcBef>
                <a:spcAft>
                  <a:spcPct val="0"/>
                </a:spcAft>
              </a:pPr>
              <a:t>Europe</a:t>
            </a:fld>
            <a:endParaRPr lang="en-GB"/>
          </a:p>
        </p:txBody>
      </p:sp>
      <p:graphicFrame>
        <p:nvGraphicFramePr>
          <p:cNvPr id="37" name="Chart 36">
            <a:extLst>
              <a:ext uri="{FF2B5EF4-FFF2-40B4-BE49-F238E27FC236}">
                <a16:creationId xmlns:a16="http://schemas.microsoft.com/office/drawing/2014/main" id="{6D81B818-AC4C-8A70-5CF7-0992AACF2D00}"/>
              </a:ext>
            </a:extLst>
          </p:cNvPr>
          <p:cNvGraphicFramePr/>
          <p:nvPr>
            <p:custDataLst>
              <p:tags r:id="rId12"/>
            </p:custDataLst>
            <p:extLst>
              <p:ext uri="{D42A27DB-BD31-4B8C-83A1-F6EECF244321}">
                <p14:modId xmlns:p14="http://schemas.microsoft.com/office/powerpoint/2010/main" val="2536285559"/>
              </p:ext>
            </p:extLst>
          </p:nvPr>
        </p:nvGraphicFramePr>
        <p:xfrm>
          <a:off x="8583613" y="1646238"/>
          <a:ext cx="3000375" cy="465137"/>
        </p:xfrm>
        <a:graphic>
          <a:graphicData uri="http://schemas.openxmlformats.org/drawingml/2006/chart">
            <c:chart xmlns:c="http://schemas.openxmlformats.org/drawingml/2006/chart" xmlns:r="http://schemas.openxmlformats.org/officeDocument/2006/relationships" r:id="rId34"/>
          </a:graphicData>
        </a:graphic>
      </p:graphicFrame>
      <p:cxnSp>
        <p:nvCxnSpPr>
          <p:cNvPr id="56" name="Straight Connector 55">
            <a:extLst>
              <a:ext uri="{FF2B5EF4-FFF2-40B4-BE49-F238E27FC236}">
                <a16:creationId xmlns:a16="http://schemas.microsoft.com/office/drawing/2014/main" id="{F2A8FBF3-7569-1693-1361-5D40AEC49089}"/>
              </a:ext>
            </a:extLst>
          </p:cNvPr>
          <p:cNvCxnSpPr/>
          <p:nvPr>
            <p:custDataLst>
              <p:tags r:id="rId13"/>
            </p:custDataLst>
          </p:nvPr>
        </p:nvCxnSpPr>
        <p:spPr bwMode="auto">
          <a:xfrm>
            <a:off x="10647363" y="1795463"/>
            <a:ext cx="0" cy="166687"/>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75967C1B-8F1E-D378-6B35-55FE51A2482A}"/>
              </a:ext>
            </a:extLst>
          </p:cNvPr>
          <p:cNvCxnSpPr/>
          <p:nvPr>
            <p:custDataLst>
              <p:tags r:id="rId14"/>
            </p:custDataLst>
          </p:nvPr>
        </p:nvCxnSpPr>
        <p:spPr bwMode="auto">
          <a:xfrm>
            <a:off x="9796463" y="1795463"/>
            <a:ext cx="850900" cy="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01D7438F-D9E7-4B4F-D754-65D6383BF6CA}"/>
              </a:ext>
            </a:extLst>
          </p:cNvPr>
          <p:cNvCxnSpPr/>
          <p:nvPr>
            <p:custDataLst>
              <p:tags r:id="rId15"/>
            </p:custDataLst>
          </p:nvPr>
        </p:nvCxnSpPr>
        <p:spPr bwMode="auto">
          <a:xfrm>
            <a:off x="9796463" y="1962150"/>
            <a:ext cx="850900" cy="0"/>
          </a:xfrm>
          <a:prstGeom prst="line">
            <a:avLst/>
          </a:prstGeom>
          <a:ln w="15875" cap="flat"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6" name="Text Placeholder 19">
            <a:extLst>
              <a:ext uri="{FF2B5EF4-FFF2-40B4-BE49-F238E27FC236}">
                <a16:creationId xmlns:a16="http://schemas.microsoft.com/office/drawing/2014/main" id="{C2554DDA-72E8-75F6-6781-23CEB636C895}"/>
              </a:ext>
            </a:extLst>
          </p:cNvPr>
          <p:cNvSpPr>
            <a:spLocks noGrp="1"/>
          </p:cNvSpPr>
          <p:nvPr>
            <p:custDataLst>
              <p:tags r:id="rId16"/>
            </p:custDataLst>
          </p:nvPr>
        </p:nvSpPr>
        <p:spPr bwMode="auto">
          <a:xfrm>
            <a:off x="8081963" y="1787526"/>
            <a:ext cx="482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DAC1A4D6-B152-488F-92CE-21137481F740}" type="datetime'Eur''''''''''''''''''''''''''''''''''o''p''e'''''">
              <a:rPr lang="en-GB" altLang="en-US" smtClean="0"/>
              <a:pPr algn="r">
                <a:spcBef>
                  <a:spcPct val="0"/>
                </a:spcBef>
                <a:spcAft>
                  <a:spcPct val="0"/>
                </a:spcAft>
              </a:pPr>
              <a:t>Europe</a:t>
            </a:fld>
            <a:endParaRPr lang="en-GB"/>
          </a:p>
        </p:txBody>
      </p:sp>
      <p:cxnSp>
        <p:nvCxnSpPr>
          <p:cNvPr id="475" name="Straight Connector 474">
            <a:extLst>
              <a:ext uri="{FF2B5EF4-FFF2-40B4-BE49-F238E27FC236}">
                <a16:creationId xmlns:a16="http://schemas.microsoft.com/office/drawing/2014/main" id="{8FA3B761-25C6-F276-0F65-742FF2DBED51}"/>
              </a:ext>
            </a:extLst>
          </p:cNvPr>
          <p:cNvCxnSpPr/>
          <p:nvPr/>
        </p:nvCxnSpPr>
        <p:spPr>
          <a:xfrm>
            <a:off x="381000" y="2069653"/>
            <a:ext cx="114427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66" name="Rectangle 565">
            <a:extLst>
              <a:ext uri="{FF2B5EF4-FFF2-40B4-BE49-F238E27FC236}">
                <a16:creationId xmlns:a16="http://schemas.microsoft.com/office/drawing/2014/main" id="{CF70D685-AC8A-67D1-4906-9DF92CBF8990}"/>
              </a:ext>
            </a:extLst>
          </p:cNvPr>
          <p:cNvSpPr/>
          <p:nvPr>
            <p:custDataLst>
              <p:tags r:id="rId17"/>
            </p:custDataLst>
          </p:nvPr>
        </p:nvSpPr>
        <p:spPr bwMode="auto">
          <a:xfrm>
            <a:off x="8347075" y="624046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79" name="Rectangle 478">
            <a:extLst>
              <a:ext uri="{FF2B5EF4-FFF2-40B4-BE49-F238E27FC236}">
                <a16:creationId xmlns:a16="http://schemas.microsoft.com/office/drawing/2014/main" id="{CACC740E-7E33-DB8A-F718-AF9E741B2726}"/>
              </a:ext>
            </a:extLst>
          </p:cNvPr>
          <p:cNvSpPr/>
          <p:nvPr>
            <p:custDataLst>
              <p:tags r:id="rId18"/>
            </p:custDataLst>
          </p:nvPr>
        </p:nvSpPr>
        <p:spPr bwMode="auto">
          <a:xfrm>
            <a:off x="8894763" y="6240463"/>
            <a:ext cx="179388" cy="133350"/>
          </a:xfrm>
          <a:prstGeom prst="rect">
            <a:avLst/>
          </a:prstGeom>
          <a:solidFill>
            <a:srgbClr val="9DB1CF"/>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20" name="Rectangle 519">
            <a:extLst>
              <a:ext uri="{FF2B5EF4-FFF2-40B4-BE49-F238E27FC236}">
                <a16:creationId xmlns:a16="http://schemas.microsoft.com/office/drawing/2014/main" id="{AB0B0D7D-46E5-DE19-5FD2-5ACB6E1BCC3D}"/>
              </a:ext>
            </a:extLst>
          </p:cNvPr>
          <p:cNvSpPr/>
          <p:nvPr>
            <p:custDataLst>
              <p:tags r:id="rId19"/>
            </p:custDataLst>
          </p:nvPr>
        </p:nvSpPr>
        <p:spPr bwMode="auto">
          <a:xfrm>
            <a:off x="9369425" y="6240463"/>
            <a:ext cx="179388" cy="133350"/>
          </a:xfrm>
          <a:prstGeom prst="rect">
            <a:avLst/>
          </a:prstGeom>
          <a:solidFill>
            <a:srgbClr val="6F8DB9"/>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82" name="Rectangle 481">
            <a:extLst>
              <a:ext uri="{FF2B5EF4-FFF2-40B4-BE49-F238E27FC236}">
                <a16:creationId xmlns:a16="http://schemas.microsoft.com/office/drawing/2014/main" id="{E5D2B613-1534-86FC-9167-A82347E3CFC5}"/>
              </a:ext>
            </a:extLst>
          </p:cNvPr>
          <p:cNvSpPr/>
          <p:nvPr>
            <p:custDataLst>
              <p:tags r:id="rId20"/>
            </p:custDataLst>
          </p:nvPr>
        </p:nvSpPr>
        <p:spPr bwMode="auto">
          <a:xfrm>
            <a:off x="9917113" y="6240463"/>
            <a:ext cx="179388" cy="133350"/>
          </a:xfrm>
          <a:prstGeom prst="rect">
            <a:avLst/>
          </a:prstGeom>
          <a:noFill/>
          <a:ln w="15875" cap="flat" cmpd="sng" algn="ctr">
            <a:solidFill>
              <a:schemeClr val="tx1"/>
            </a:solidFill>
            <a:prstDash val="sysDot"/>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63" name="Text Placeholder 19">
            <a:extLst>
              <a:ext uri="{FF2B5EF4-FFF2-40B4-BE49-F238E27FC236}">
                <a16:creationId xmlns:a16="http://schemas.microsoft.com/office/drawing/2014/main" id="{98081A2A-E25D-C82F-C081-24142EDD1083}"/>
              </a:ext>
            </a:extLst>
          </p:cNvPr>
          <p:cNvSpPr>
            <a:spLocks noGrp="1"/>
          </p:cNvSpPr>
          <p:nvPr>
            <p:custDataLst>
              <p:tags r:id="rId21"/>
            </p:custDataLst>
          </p:nvPr>
        </p:nvSpPr>
        <p:spPr bwMode="auto">
          <a:xfrm>
            <a:off x="8577263" y="6235700"/>
            <a:ext cx="215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D8CD964F-E307-411C-9C37-1AD845BAE10E}" type="datetime'''''''''''''''''''''''''''''''&lt;''1h'''''''''''''">
              <a:rPr lang="en-GB" altLang="en-US" sz="1000" smtClean="0"/>
              <a:pPr lvl="0">
                <a:spcBef>
                  <a:spcPct val="0"/>
                </a:spcBef>
                <a:spcAft>
                  <a:spcPct val="0"/>
                </a:spcAft>
              </a:pPr>
              <a:t>&lt;1h</a:t>
            </a:fld>
            <a:endParaRPr lang="en-GB" sz="1000"/>
          </a:p>
        </p:txBody>
      </p:sp>
      <p:sp>
        <p:nvSpPr>
          <p:cNvPr id="473"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auto">
          <a:xfrm>
            <a:off x="9124950" y="6235700"/>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DA4A333D-638F-4354-A993-AAAAB4454831}" type="datetime'''''''''''''2''''''''''''''''''h'''''''''''''''''''''''''">
              <a:rPr lang="en-GB" altLang="en-US" sz="1000" smtClean="0">
                <a:effectLst/>
              </a:rPr>
              <a:pPr lvl="0">
                <a:spcBef>
                  <a:spcPct val="0"/>
                </a:spcBef>
                <a:spcAft>
                  <a:spcPct val="0"/>
                </a:spcAft>
              </a:pPr>
              <a:t>2h</a:t>
            </a:fld>
            <a:endParaRPr lang="en-GB" sz="1000"/>
          </a:p>
        </p:txBody>
      </p:sp>
      <p:sp>
        <p:nvSpPr>
          <p:cNvPr id="516" name="Text Placeholder 19">
            <a:extLst>
              <a:ext uri="{FF2B5EF4-FFF2-40B4-BE49-F238E27FC236}">
                <a16:creationId xmlns:a16="http://schemas.microsoft.com/office/drawing/2014/main" id="{EF4926C7-0B9F-18FD-D157-E282FCDCA7EB}"/>
              </a:ext>
            </a:extLst>
          </p:cNvPr>
          <p:cNvSpPr>
            <a:spLocks noGrp="1"/>
          </p:cNvSpPr>
          <p:nvPr>
            <p:custDataLst>
              <p:tags r:id="rId23"/>
            </p:custDataLst>
          </p:nvPr>
        </p:nvSpPr>
        <p:spPr bwMode="auto">
          <a:xfrm>
            <a:off x="9599613" y="6235700"/>
            <a:ext cx="215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5B37A43-F786-4A4D-8ACD-D51EA7E6A6F6}" type="datetime'''4''''''''h''''''''''+'''''''''''">
              <a:rPr lang="en-GB" altLang="en-US" sz="1000" smtClean="0"/>
              <a:pPr lvl="0">
                <a:spcBef>
                  <a:spcPct val="0"/>
                </a:spcBef>
                <a:spcAft>
                  <a:spcPct val="0"/>
                </a:spcAft>
              </a:pPr>
              <a:t>4h+</a:t>
            </a:fld>
            <a:endParaRPr lang="en-GB" sz="1000"/>
          </a:p>
        </p:txBody>
      </p:sp>
      <p:sp>
        <p:nvSpPr>
          <p:cNvPr id="466" name="Text Placeholder 19">
            <a:extLst>
              <a:ext uri="{FF2B5EF4-FFF2-40B4-BE49-F238E27FC236}">
                <a16:creationId xmlns:a16="http://schemas.microsoft.com/office/drawing/2014/main" id="{9F9869AF-B0F6-4E89-B216-4EC18C7334C2}"/>
              </a:ext>
            </a:extLst>
          </p:cNvPr>
          <p:cNvSpPr>
            <a:spLocks noGrp="1"/>
          </p:cNvSpPr>
          <p:nvPr>
            <p:custDataLst>
              <p:tags r:id="rId24"/>
            </p:custDataLst>
          </p:nvPr>
        </p:nvSpPr>
        <p:spPr bwMode="auto">
          <a:xfrm>
            <a:off x="10147300" y="6235700"/>
            <a:ext cx="669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D6271900-331B-44DE-AC29-8188D6F6BE56}" type="datetime'''''R''epo''''wer''i''''''''''n''g'''''''''">
              <a:rPr lang="en-GB" altLang="en-US" sz="1000" smtClean="0">
                <a:effectLst/>
              </a:rPr>
              <a:pPr lvl="0">
                <a:spcBef>
                  <a:spcPct val="0"/>
                </a:spcBef>
                <a:spcAft>
                  <a:spcPct val="0"/>
                </a:spcAft>
              </a:pPr>
              <a:t>Repowering</a:t>
            </a:fld>
            <a:endParaRPr lang="en-GB" sz="1000"/>
          </a:p>
        </p:txBody>
      </p:sp>
      <p:sp>
        <p:nvSpPr>
          <p:cNvPr id="7" name="Oval 6">
            <a:extLst>
              <a:ext uri="{FF2B5EF4-FFF2-40B4-BE49-F238E27FC236}">
                <a16:creationId xmlns:a16="http://schemas.microsoft.com/office/drawing/2014/main" id="{4BB5E333-9A2F-E0BD-A027-19C9816E7B07}"/>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12" name="Oval 11">
            <a:extLst>
              <a:ext uri="{FF2B5EF4-FFF2-40B4-BE49-F238E27FC236}">
                <a16:creationId xmlns:a16="http://schemas.microsoft.com/office/drawing/2014/main" id="{BB46B657-3046-C83A-FD06-3D92A14E3C28}"/>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4" name="Rectangle 3">
            <a:extLst>
              <a:ext uri="{FF2B5EF4-FFF2-40B4-BE49-F238E27FC236}">
                <a16:creationId xmlns:a16="http://schemas.microsoft.com/office/drawing/2014/main" id="{A2D334B8-105E-11CF-3920-4B421175FE5A}"/>
              </a:ext>
            </a:extLst>
          </p:cNvPr>
          <p:cNvSpPr/>
          <p:nvPr/>
        </p:nvSpPr>
        <p:spPr>
          <a:xfrm>
            <a:off x="226973" y="1702518"/>
            <a:ext cx="11563389" cy="4403653"/>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0" name="Rectangle 9">
            <a:extLst>
              <a:ext uri="{FF2B5EF4-FFF2-40B4-BE49-F238E27FC236}">
                <a16:creationId xmlns:a16="http://schemas.microsoft.com/office/drawing/2014/main" id="{36D9A128-F376-97FC-B115-2B32B24D38E1}"/>
              </a:ext>
            </a:extLst>
          </p:cNvPr>
          <p:cNvSpPr/>
          <p:nvPr/>
        </p:nvSpPr>
        <p:spPr>
          <a:xfrm>
            <a:off x="2072640" y="5860869"/>
            <a:ext cx="5373189" cy="51294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11" name="Group 10">
            <a:extLst>
              <a:ext uri="{FF2B5EF4-FFF2-40B4-BE49-F238E27FC236}">
                <a16:creationId xmlns:a16="http://schemas.microsoft.com/office/drawing/2014/main" id="{82EC49E9-4EBA-2C65-7742-416F83B1C0D0}"/>
              </a:ext>
            </a:extLst>
          </p:cNvPr>
          <p:cNvGrpSpPr/>
          <p:nvPr/>
        </p:nvGrpSpPr>
        <p:grpSpPr>
          <a:xfrm>
            <a:off x="4772297" y="2928257"/>
            <a:ext cx="2647407" cy="1001486"/>
            <a:chOff x="8251369" y="2255520"/>
            <a:chExt cx="2647407" cy="1001486"/>
          </a:xfrm>
        </p:grpSpPr>
        <p:sp>
          <p:nvSpPr>
            <p:cNvPr id="13" name="Rectangle: Rounded Corners 12">
              <a:extLst>
                <a:ext uri="{FF2B5EF4-FFF2-40B4-BE49-F238E27FC236}">
                  <a16:creationId xmlns:a16="http://schemas.microsoft.com/office/drawing/2014/main" id="{6B366B5E-895B-D222-B325-E674B0D1F03E}"/>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4" name="TextBox 13">
              <a:extLst>
                <a:ext uri="{FF2B5EF4-FFF2-40B4-BE49-F238E27FC236}">
                  <a16:creationId xmlns:a16="http://schemas.microsoft.com/office/drawing/2014/main" id="{7730F786-8303-37FE-53E4-64A4DBA605C1}"/>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66869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0F733B-245E-4E5E-BEBD-088828324F12}"/>
              </a:ext>
            </a:extLst>
          </p:cNvPr>
          <p:cNvGraphicFramePr>
            <a:graphicFrameLocks noChangeAspect="1"/>
          </p:cNvGraphicFramePr>
          <p:nvPr>
            <p:custDataLst>
              <p:tags r:id="rId1"/>
            </p:custDataLst>
            <p:extLst>
              <p:ext uri="{D42A27DB-BD31-4B8C-83A1-F6EECF244321}">
                <p14:modId xmlns:p14="http://schemas.microsoft.com/office/powerpoint/2010/main" val="305376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0" name="Object 9" hidden="1">
                        <a:extLst>
                          <a:ext uri="{FF2B5EF4-FFF2-40B4-BE49-F238E27FC236}">
                            <a16:creationId xmlns:a16="http://schemas.microsoft.com/office/drawing/2014/main" id="{300F733B-245E-4E5E-BEBD-088828324F1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2" name="Rectangle 61">
            <a:extLst>
              <a:ext uri="{FF2B5EF4-FFF2-40B4-BE49-F238E27FC236}">
                <a16:creationId xmlns:a16="http://schemas.microsoft.com/office/drawing/2014/main" id="{24F48A01-A841-B441-E456-36051C952DE5}"/>
              </a:ext>
            </a:extLst>
          </p:cNvPr>
          <p:cNvSpPr/>
          <p:nvPr/>
        </p:nvSpPr>
        <p:spPr>
          <a:xfrm>
            <a:off x="943429" y="1835119"/>
            <a:ext cx="3199593" cy="3956084"/>
          </a:xfrm>
          <a:prstGeom prst="rect">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r>
              <a:rPr lang="en-GB" sz="1200" i="1">
                <a:solidFill>
                  <a:schemeClr val="tx1"/>
                </a:solidFill>
              </a:rPr>
              <a:t>Historical</a:t>
            </a:r>
          </a:p>
        </p:txBody>
      </p:sp>
      <p:sp>
        <p:nvSpPr>
          <p:cNvPr id="57" name="Text Placeholder 56">
            <a:extLst>
              <a:ext uri="{FF2B5EF4-FFF2-40B4-BE49-F238E27FC236}">
                <a16:creationId xmlns:a16="http://schemas.microsoft.com/office/drawing/2014/main" id="{754A056D-57C2-105C-C510-F9DC96CDCF1D}"/>
              </a:ext>
            </a:extLst>
          </p:cNvPr>
          <p:cNvSpPr>
            <a:spLocks noGrp="1"/>
          </p:cNvSpPr>
          <p:nvPr>
            <p:ph type="body" sz="quarter" idx="29"/>
          </p:nvPr>
        </p:nvSpPr>
        <p:spPr/>
        <p:txBody>
          <a:bodyPr/>
          <a:lstStyle/>
          <a:p>
            <a:r>
              <a:rPr lang="en-GB"/>
              <a:t>Historical and forecasted capacity of behind-the-meter and grid-scale battery storage systems across Europe</a:t>
            </a:r>
          </a:p>
          <a:p>
            <a:r>
              <a:rPr lang="en-GB" b="0">
                <a:solidFill>
                  <a:schemeClr val="accent5"/>
                </a:solidFill>
                <a:latin typeface="Lato"/>
              </a:rPr>
              <a:t>GW</a:t>
            </a:r>
          </a:p>
        </p:txBody>
      </p:sp>
      <p:sp>
        <p:nvSpPr>
          <p:cNvPr id="2" name="Text Placeholder 1">
            <a:extLst>
              <a:ext uri="{FF2B5EF4-FFF2-40B4-BE49-F238E27FC236}">
                <a16:creationId xmlns:a16="http://schemas.microsoft.com/office/drawing/2014/main" id="{0D326790-F4D0-4D4C-9838-536A4F463977}"/>
              </a:ext>
            </a:extLst>
          </p:cNvPr>
          <p:cNvSpPr>
            <a:spLocks noGrp="1"/>
          </p:cNvSpPr>
          <p:nvPr>
            <p:ph type="body" sz="quarter" idx="22"/>
          </p:nvPr>
        </p:nvSpPr>
        <p:spPr>
          <a:xfrm>
            <a:off x="381001" y="6715169"/>
            <a:ext cx="3550652" cy="110800"/>
          </a:xfrm>
        </p:spPr>
        <p:txBody>
          <a:bodyPr/>
          <a:lstStyle/>
          <a:p>
            <a:r>
              <a:rPr lang="en-GB"/>
              <a:t>Sources: Aurora Energy Research, Eurostat, </a:t>
            </a:r>
            <a:r>
              <a:rPr lang="en-GB" err="1"/>
              <a:t>SolarPower</a:t>
            </a:r>
            <a:r>
              <a:rPr lang="en-GB"/>
              <a:t> Europe, </a:t>
            </a:r>
            <a:r>
              <a:rPr lang="en-GB" err="1"/>
              <a:t>CleanTechnica</a:t>
            </a:r>
            <a:endParaRPr lang="en-GB"/>
          </a:p>
        </p:txBody>
      </p:sp>
      <p:sp>
        <p:nvSpPr>
          <p:cNvPr id="3" name="Title 2">
            <a:extLst>
              <a:ext uri="{FF2B5EF4-FFF2-40B4-BE49-F238E27FC236}">
                <a16:creationId xmlns:a16="http://schemas.microsoft.com/office/drawing/2014/main" id="{730ABDDA-85A4-4992-908F-C9093A4C6D5E}"/>
              </a:ext>
            </a:extLst>
          </p:cNvPr>
          <p:cNvSpPr>
            <a:spLocks noGrp="1"/>
          </p:cNvSpPr>
          <p:nvPr>
            <p:ph type="title"/>
          </p:nvPr>
        </p:nvSpPr>
        <p:spPr/>
        <p:txBody>
          <a:bodyPr vert="horz"/>
          <a:lstStyle/>
          <a:p>
            <a:r>
              <a:rPr lang="en-GB"/>
              <a:t>Though deployment of behind-the-meter (</a:t>
            </a:r>
            <a:r>
              <a:rPr lang="en-GB" err="1"/>
              <a:t>BtM</a:t>
            </a:r>
            <a:r>
              <a:rPr lang="en-GB"/>
              <a:t>) batteries could drive competition, growth of grid-scale batteries is expected to be faster</a:t>
            </a:r>
          </a:p>
        </p:txBody>
      </p:sp>
      <p:sp>
        <p:nvSpPr>
          <p:cNvPr id="58" name="Text Placeholder 57">
            <a:extLst>
              <a:ext uri="{FF2B5EF4-FFF2-40B4-BE49-F238E27FC236}">
                <a16:creationId xmlns:a16="http://schemas.microsoft.com/office/drawing/2014/main" id="{101DCC75-5374-54CE-EE3B-57C5D7A0B8A2}"/>
              </a:ext>
            </a:extLst>
          </p:cNvPr>
          <p:cNvSpPr>
            <a:spLocks noGrp="1"/>
          </p:cNvSpPr>
          <p:nvPr>
            <p:ph type="body" sz="quarter" idx="32"/>
          </p:nvPr>
        </p:nvSpPr>
        <p:spPr>
          <a:xfrm>
            <a:off x="381600" y="6474841"/>
            <a:ext cx="8601074" cy="110800"/>
          </a:xfrm>
        </p:spPr>
        <p:txBody>
          <a:bodyPr/>
          <a:lstStyle/>
          <a:p>
            <a:r>
              <a:rPr lang="en-GB"/>
              <a:t>1) Based on Aurora Central scenario. 2) Assumes average duration of 2 hours.</a:t>
            </a:r>
          </a:p>
        </p:txBody>
      </p:sp>
      <p:sp>
        <p:nvSpPr>
          <p:cNvPr id="4" name="Text Placeholder 54">
            <a:extLst>
              <a:ext uri="{FF2B5EF4-FFF2-40B4-BE49-F238E27FC236}">
                <a16:creationId xmlns:a16="http://schemas.microsoft.com/office/drawing/2014/main" id="{67DDF8D4-ACE6-2462-EE41-173565B40D48}"/>
              </a:ext>
            </a:extLst>
          </p:cNvPr>
          <p:cNvSpPr>
            <a:spLocks noGrp="1"/>
          </p:cNvSpPr>
          <p:nvPr>
            <p:ph type="body" sz="quarter" idx="31"/>
          </p:nvPr>
        </p:nvSpPr>
        <p:spPr>
          <a:xfrm>
            <a:off x="381599" y="79401"/>
            <a:ext cx="3983463" cy="184666"/>
          </a:xfrm>
        </p:spPr>
        <p:txBody>
          <a:bodyPr/>
          <a:lstStyle/>
          <a:p>
            <a:pPr marL="444500"/>
            <a:r>
              <a:rPr lang="en-GB"/>
              <a:t>	Market size and outlook – Long-term market outlook</a:t>
            </a:r>
          </a:p>
        </p:txBody>
      </p:sp>
      <p:cxnSp>
        <p:nvCxnSpPr>
          <p:cNvPr id="502" name="Straight Connector 501">
            <a:extLst>
              <a:ext uri="{FF2B5EF4-FFF2-40B4-BE49-F238E27FC236}">
                <a16:creationId xmlns:a16="http://schemas.microsoft.com/office/drawing/2014/main" id="{05646267-E963-C315-90C5-F4A61082DFB6}"/>
              </a:ext>
            </a:extLst>
          </p:cNvPr>
          <p:cNvCxnSpPr/>
          <p:nvPr>
            <p:custDataLst>
              <p:tags r:id="rId2"/>
            </p:custDataLst>
          </p:nvPr>
        </p:nvCxnSpPr>
        <p:spPr bwMode="gray">
          <a:xfrm>
            <a:off x="442913" y="6343650"/>
            <a:ext cx="222250" cy="0"/>
          </a:xfrm>
          <a:prstGeom prst="line">
            <a:avLst/>
          </a:prstGeom>
          <a:ln w="22225" cap="rnd" cmpd="sng" algn="ctr">
            <a:solidFill>
              <a:srgbClr val="6F8DB9"/>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078C96FB-C03B-0119-1C7B-C08F256AECE3}"/>
              </a:ext>
            </a:extLst>
          </p:cNvPr>
          <p:cNvCxnSpPr/>
          <p:nvPr>
            <p:custDataLst>
              <p:tags r:id="rId3"/>
            </p:custDataLst>
          </p:nvPr>
        </p:nvCxnSpPr>
        <p:spPr bwMode="gray">
          <a:xfrm>
            <a:off x="1965325" y="6343650"/>
            <a:ext cx="222250" cy="0"/>
          </a:xfrm>
          <a:prstGeom prst="line">
            <a:avLst/>
          </a:prstGeom>
          <a:ln w="22225" cap="rnd" cmpd="sng" algn="ctr">
            <a:solidFill>
              <a:srgbClr val="A6B727"/>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8" name="Text Placeholder 19">
            <a:extLst>
              <a:ext uri="{FF2B5EF4-FFF2-40B4-BE49-F238E27FC236}">
                <a16:creationId xmlns:a16="http://schemas.microsoft.com/office/drawing/2014/main" id="{342D6747-F978-BECE-1693-AD978A5E9E75}"/>
              </a:ext>
            </a:extLst>
          </p:cNvPr>
          <p:cNvSpPr>
            <a:spLocks noGrp="1"/>
          </p:cNvSpPr>
          <p:nvPr>
            <p:custDataLst>
              <p:tags r:id="rId4"/>
            </p:custDataLst>
          </p:nvPr>
        </p:nvSpPr>
        <p:spPr bwMode="auto">
          <a:xfrm>
            <a:off x="727074" y="6272213"/>
            <a:ext cx="1125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7C4CBE5-A1F3-4AA7-A0CA-BC708CDE7FB7}" type="datetime'G''''''rid sc''a''l''e'' b''at''t''er''''''''''''''''ie''''s'">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Grid scale batteries</a:t>
            </a:fld>
            <a:r>
              <a:rPr kumimoji="0" lang="en-GB" altLang="en-US" sz="1000" b="0" i="0" u="none" strike="noStrike" kern="1200" cap="none" spc="0" normalizeH="0" baseline="30000" noProof="0">
                <a:ln>
                  <a:noFill/>
                </a:ln>
                <a:solidFill>
                  <a:srgbClr val="3C3C3B"/>
                </a:solidFill>
                <a:effectLst/>
                <a:uLnTx/>
                <a:uFillTx/>
                <a:latin typeface="Lato"/>
                <a:sym typeface="Lato" panose="020F0502020204030203" pitchFamily="34" charset="0"/>
              </a:rPr>
              <a:t>1</a:t>
            </a:r>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44" name="Text Placeholder 19">
            <a:extLst>
              <a:ext uri="{FF2B5EF4-FFF2-40B4-BE49-F238E27FC236}">
                <a16:creationId xmlns:a16="http://schemas.microsoft.com/office/drawing/2014/main" id="{A83F51BD-3E33-9C9B-50FB-A82FFBF7DDEA}"/>
              </a:ext>
            </a:extLst>
          </p:cNvPr>
          <p:cNvSpPr>
            <a:spLocks noGrp="1"/>
          </p:cNvSpPr>
          <p:nvPr>
            <p:custDataLst>
              <p:tags r:id="rId5"/>
            </p:custDataLst>
          </p:nvPr>
        </p:nvSpPr>
        <p:spPr bwMode="auto">
          <a:xfrm>
            <a:off x="2249488" y="6272213"/>
            <a:ext cx="1468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FFC2EE3-6CA2-4A04-A259-F7A66DDA09FF}" type="datetime'Resi''dent''''ial'''''''''' ''BtM'' ba''t''''''''''ter''ie''s'">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Residential BtM batteries</a:t>
            </a:fld>
            <a:r>
              <a:rPr lang="en-GB" altLang="en-US" sz="1000" baseline="30000">
                <a:solidFill>
                  <a:srgbClr val="3C3C3B"/>
                </a:solidFill>
                <a:latin typeface="Lato"/>
              </a:rPr>
              <a:t>2</a:t>
            </a:r>
            <a:endParaRPr kumimoji="0" lang="en-GB" sz="1000" b="0" i="0" u="none" strike="noStrike" kern="1200" cap="none" spc="0" normalizeH="0" baseline="30000" noProof="0">
              <a:ln>
                <a:noFill/>
              </a:ln>
              <a:solidFill>
                <a:srgbClr val="3C3C3B"/>
              </a:solidFill>
              <a:effectLst/>
              <a:uLnTx/>
              <a:uFillTx/>
              <a:latin typeface="Lato"/>
              <a:sym typeface="Lato" panose="020F0502020204030203" pitchFamily="34" charset="0"/>
            </a:endParaRPr>
          </a:p>
        </p:txBody>
      </p:sp>
      <p:graphicFrame>
        <p:nvGraphicFramePr>
          <p:cNvPr id="49" name="Chart 48">
            <a:extLst>
              <a:ext uri="{FF2B5EF4-FFF2-40B4-BE49-F238E27FC236}">
                <a16:creationId xmlns:a16="http://schemas.microsoft.com/office/drawing/2014/main" id="{DF68C1A3-3CA4-1E24-DB12-32636B2FC031}"/>
              </a:ext>
            </a:extLst>
          </p:cNvPr>
          <p:cNvGraphicFramePr/>
          <p:nvPr>
            <p:custDataLst>
              <p:tags r:id="rId6"/>
            </p:custDataLst>
            <p:extLst>
              <p:ext uri="{D42A27DB-BD31-4B8C-83A1-F6EECF244321}">
                <p14:modId xmlns:p14="http://schemas.microsoft.com/office/powerpoint/2010/main" val="1874082541"/>
              </p:ext>
            </p:extLst>
          </p:nvPr>
        </p:nvGraphicFramePr>
        <p:xfrm>
          <a:off x="582613" y="1751013"/>
          <a:ext cx="8408987" cy="4483100"/>
        </p:xfrm>
        <a:graphic>
          <a:graphicData uri="http://schemas.openxmlformats.org/drawingml/2006/chart">
            <c:chart xmlns:c="http://schemas.openxmlformats.org/drawingml/2006/chart" xmlns:r="http://schemas.openxmlformats.org/officeDocument/2006/relationships" r:id="rId27"/>
          </a:graphicData>
        </a:graphic>
      </p:graphicFrame>
      <p:cxnSp>
        <p:nvCxnSpPr>
          <p:cNvPr id="255" name="Straight Connector 254">
            <a:extLst>
              <a:ext uri="{FF2B5EF4-FFF2-40B4-BE49-F238E27FC236}">
                <a16:creationId xmlns:a16="http://schemas.microsoft.com/office/drawing/2014/main" id="{523A7B61-A767-8461-A37E-DE59E78CB77E}"/>
              </a:ext>
            </a:extLst>
          </p:cNvPr>
          <p:cNvCxnSpPr>
            <a:cxnSpLocks/>
          </p:cNvCxnSpPr>
          <p:nvPr>
            <p:custDataLst>
              <p:tags r:id="rId7"/>
            </p:custDataLst>
          </p:nvPr>
        </p:nvCxnSpPr>
        <p:spPr bwMode="auto">
          <a:xfrm>
            <a:off x="4146550" y="5291138"/>
            <a:ext cx="32416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0C311BE5-FF66-48BB-BCD9-6912D3159C56}"/>
              </a:ext>
            </a:extLst>
          </p:cNvPr>
          <p:cNvCxnSpPr>
            <a:cxnSpLocks/>
          </p:cNvCxnSpPr>
          <p:nvPr>
            <p:custDataLst>
              <p:tags r:id="rId8"/>
            </p:custDataLst>
          </p:nvPr>
        </p:nvCxnSpPr>
        <p:spPr bwMode="auto">
          <a:xfrm flipH="1">
            <a:off x="7312025" y="3181350"/>
            <a:ext cx="13192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DC80D392-B7C6-039C-D203-DAA44AD2DCCE}"/>
              </a:ext>
            </a:extLst>
          </p:cNvPr>
          <p:cNvCxnSpPr/>
          <p:nvPr>
            <p:custDataLst>
              <p:tags r:id="rId9"/>
            </p:custDataLst>
          </p:nvPr>
        </p:nvCxnSpPr>
        <p:spPr bwMode="gray">
          <a:xfrm flipV="1">
            <a:off x="7350125" y="3178175"/>
            <a:ext cx="0" cy="21161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81C2BD64-0631-CAAC-FD57-830795647C3D}"/>
              </a:ext>
            </a:extLst>
          </p:cNvPr>
          <p:cNvCxnSpPr/>
          <p:nvPr>
            <p:custDataLst>
              <p:tags r:id="rId10"/>
            </p:custDataLst>
          </p:nvPr>
        </p:nvCxnSpPr>
        <p:spPr bwMode="auto">
          <a:xfrm>
            <a:off x="4146550" y="5249863"/>
            <a:ext cx="45227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E36BC77C-3E4C-A77F-335D-DB55D237BDD4}"/>
              </a:ext>
            </a:extLst>
          </p:cNvPr>
          <p:cNvCxnSpPr/>
          <p:nvPr>
            <p:custDataLst>
              <p:tags r:id="rId11"/>
            </p:custDataLst>
          </p:nvPr>
        </p:nvCxnSpPr>
        <p:spPr bwMode="gray">
          <a:xfrm flipV="1">
            <a:off x="8631238" y="2155825"/>
            <a:ext cx="0" cy="30972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0A93EAC6-0B09-D6AF-4923-9376200686D3}"/>
              </a:ext>
            </a:extLst>
          </p:cNvPr>
          <p:cNvCxnSpPr/>
          <p:nvPr>
            <p:custDataLst>
              <p:tags r:id="rId12"/>
            </p:custDataLst>
          </p:nvPr>
        </p:nvCxnSpPr>
        <p:spPr bwMode="auto">
          <a:xfrm>
            <a:off x="942976" y="5746750"/>
            <a:ext cx="61245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412AB43F-5F68-00BA-5496-B27C1E9E5E31}"/>
              </a:ext>
            </a:extLst>
          </p:cNvPr>
          <p:cNvCxnSpPr>
            <a:cxnSpLocks/>
          </p:cNvCxnSpPr>
          <p:nvPr>
            <p:custDataLst>
              <p:tags r:id="rId13"/>
            </p:custDataLst>
          </p:nvPr>
        </p:nvCxnSpPr>
        <p:spPr bwMode="auto">
          <a:xfrm>
            <a:off x="4146550" y="5291138"/>
            <a:ext cx="29210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856D000E-85ED-54BD-45B4-5A1866DADC74}"/>
              </a:ext>
            </a:extLst>
          </p:cNvPr>
          <p:cNvCxnSpPr/>
          <p:nvPr>
            <p:custDataLst>
              <p:tags r:id="rId14"/>
            </p:custDataLst>
          </p:nvPr>
        </p:nvCxnSpPr>
        <p:spPr bwMode="gray">
          <a:xfrm flipV="1">
            <a:off x="7029450" y="5287963"/>
            <a:ext cx="0" cy="4619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06DD97E9-3D9B-2C71-34FB-0814167E6CF3}"/>
              </a:ext>
            </a:extLst>
          </p:cNvPr>
          <p:cNvCxnSpPr/>
          <p:nvPr>
            <p:custDataLst>
              <p:tags r:id="rId15"/>
            </p:custDataLst>
          </p:nvPr>
        </p:nvCxnSpPr>
        <p:spPr bwMode="auto">
          <a:xfrm>
            <a:off x="942975" y="5754688"/>
            <a:ext cx="74056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AB9DF2C3-EB43-D731-7E8C-E336CE2A847B}"/>
              </a:ext>
            </a:extLst>
          </p:cNvPr>
          <p:cNvCxnSpPr/>
          <p:nvPr>
            <p:custDataLst>
              <p:tags r:id="rId16"/>
            </p:custDataLst>
          </p:nvPr>
        </p:nvCxnSpPr>
        <p:spPr bwMode="auto">
          <a:xfrm>
            <a:off x="4146551" y="5249863"/>
            <a:ext cx="42021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9C1BD32D-60B9-8E1F-F41A-14FC09A256E0}"/>
              </a:ext>
            </a:extLst>
          </p:cNvPr>
          <p:cNvCxnSpPr/>
          <p:nvPr>
            <p:custDataLst>
              <p:tags r:id="rId17"/>
            </p:custDataLst>
          </p:nvPr>
        </p:nvCxnSpPr>
        <p:spPr bwMode="gray">
          <a:xfrm flipV="1">
            <a:off x="8310563" y="5246688"/>
            <a:ext cx="0" cy="5111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7" name="Text Placeholder 19">
            <a:extLst>
              <a:ext uri="{FF2B5EF4-FFF2-40B4-BE49-F238E27FC236}">
                <a16:creationId xmlns:a16="http://schemas.microsoft.com/office/drawing/2014/main" id="{9F9869AF-B0F6-4E89-B216-4EC18C7334C2}"/>
              </a:ext>
            </a:extLst>
          </p:cNvPr>
          <p:cNvSpPr>
            <a:spLocks noGrp="1"/>
          </p:cNvSpPr>
          <p:nvPr>
            <p:custDataLst>
              <p:tags r:id="rId18"/>
            </p:custDataLst>
          </p:nvPr>
        </p:nvSpPr>
        <p:spPr bwMode="auto">
          <a:xfrm>
            <a:off x="7204075" y="4144963"/>
            <a:ext cx="292100" cy="258763"/>
          </a:xfrm>
          <a:prstGeom prst="ellipse">
            <a:avLst/>
          </a:prstGeom>
          <a:solidFill>
            <a:schemeClr val="bg1"/>
          </a:solidFill>
          <a:ln w="9525" cmpd="sng" algn="ctr">
            <a:solidFill>
              <a:srgbClr val="A6B727"/>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rPr>
              <a:t>XX</a:t>
            </a:r>
            <a:endParaRPr lang="en-GB" b="1"/>
          </a:p>
        </p:txBody>
      </p:sp>
      <p:sp>
        <p:nvSpPr>
          <p:cNvPr id="239" name="Text Placeholder 19">
            <a:extLst>
              <a:ext uri="{FF2B5EF4-FFF2-40B4-BE49-F238E27FC236}">
                <a16:creationId xmlns:a16="http://schemas.microsoft.com/office/drawing/2014/main" id="{9F9869AF-B0F6-4E89-B216-4EC18C7334C2}"/>
              </a:ext>
            </a:extLst>
          </p:cNvPr>
          <p:cNvSpPr>
            <a:spLocks noGrp="1"/>
          </p:cNvSpPr>
          <p:nvPr>
            <p:custDataLst>
              <p:tags r:id="rId19"/>
            </p:custDataLst>
          </p:nvPr>
        </p:nvSpPr>
        <p:spPr bwMode="auto">
          <a:xfrm>
            <a:off x="8485188" y="3613150"/>
            <a:ext cx="292100" cy="258763"/>
          </a:xfrm>
          <a:prstGeom prst="ellipse">
            <a:avLst/>
          </a:prstGeom>
          <a:solidFill>
            <a:schemeClr val="bg1"/>
          </a:solidFill>
          <a:ln w="9525" cmpd="sng" algn="ctr">
            <a:solidFill>
              <a:srgbClr val="6F8DB9"/>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rPr>
              <a:t>XX</a:t>
            </a:r>
            <a:endParaRPr lang="en-GB" b="1"/>
          </a:p>
        </p:txBody>
      </p:sp>
      <p:sp>
        <p:nvSpPr>
          <p:cNvPr id="262" name="Text Placeholder 19">
            <a:extLst>
              <a:ext uri="{FF2B5EF4-FFF2-40B4-BE49-F238E27FC236}">
                <a16:creationId xmlns:a16="http://schemas.microsoft.com/office/drawing/2014/main" id="{9F9869AF-B0F6-4E89-B216-4EC18C7334C2}"/>
              </a:ext>
            </a:extLst>
          </p:cNvPr>
          <p:cNvSpPr>
            <a:spLocks noGrp="1"/>
          </p:cNvSpPr>
          <p:nvPr>
            <p:custDataLst>
              <p:tags r:id="rId20"/>
            </p:custDataLst>
          </p:nvPr>
        </p:nvSpPr>
        <p:spPr bwMode="auto">
          <a:xfrm>
            <a:off x="6883399" y="5427663"/>
            <a:ext cx="292100" cy="258763"/>
          </a:xfrm>
          <a:prstGeom prst="ellipse">
            <a:avLst/>
          </a:prstGeom>
          <a:solidFill>
            <a:schemeClr val="bg1"/>
          </a:solidFill>
          <a:ln w="9525" cmpd="sng" algn="ctr">
            <a:solidFill>
              <a:srgbClr val="A6B727"/>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b="1"/>
              <a:t>XX</a:t>
            </a:r>
          </a:p>
        </p:txBody>
      </p:sp>
      <p:sp>
        <p:nvSpPr>
          <p:cNvPr id="301"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auto">
          <a:xfrm>
            <a:off x="8164513" y="5411788"/>
            <a:ext cx="292100" cy="258763"/>
          </a:xfrm>
          <a:prstGeom prst="ellipse">
            <a:avLst/>
          </a:prstGeom>
          <a:solidFill>
            <a:schemeClr val="bg1"/>
          </a:solidFill>
          <a:ln w="9525" cmpd="sng" algn="ctr">
            <a:solidFill>
              <a:srgbClr val="6F8DB9"/>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b="1"/>
              <a:t>XX</a:t>
            </a:r>
          </a:p>
        </p:txBody>
      </p:sp>
      <p:sp>
        <p:nvSpPr>
          <p:cNvPr id="484" name="TextBox 483">
            <a:extLst>
              <a:ext uri="{FF2B5EF4-FFF2-40B4-BE49-F238E27FC236}">
                <a16:creationId xmlns:a16="http://schemas.microsoft.com/office/drawing/2014/main" id="{99CC150D-1CD0-AD5A-C5E8-54E96B4E0A1B}"/>
              </a:ext>
            </a:extLst>
          </p:cNvPr>
          <p:cNvSpPr txBox="1"/>
          <p:nvPr/>
        </p:nvSpPr>
        <p:spPr>
          <a:xfrm>
            <a:off x="1687513" y="2239963"/>
            <a:ext cx="2171700" cy="2138363"/>
          </a:xfrm>
          <a:prstGeom prst="rect">
            <a:avLst/>
          </a:prstGeom>
          <a:solidFill>
            <a:schemeClr val="bg1"/>
          </a:solidFill>
          <a:ln>
            <a:solidFill>
              <a:schemeClr val="tx1"/>
            </a:solidFill>
          </a:ln>
        </p:spPr>
        <p:txBody>
          <a:bodyPr wrap="square" lIns="72000" tIns="72000" rIns="72000" bIns="7200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graphicFrame>
        <p:nvGraphicFramePr>
          <p:cNvPr id="29" name="Chart 28">
            <a:extLst>
              <a:ext uri="{FF2B5EF4-FFF2-40B4-BE49-F238E27FC236}">
                <a16:creationId xmlns:a16="http://schemas.microsoft.com/office/drawing/2014/main" id="{28D18F5B-6752-476E-650F-3E297A174BC5}"/>
              </a:ext>
            </a:extLst>
          </p:cNvPr>
          <p:cNvGraphicFramePr/>
          <p:nvPr>
            <p:custDataLst>
              <p:tags r:id="rId22"/>
            </p:custDataLst>
            <p:extLst>
              <p:ext uri="{D42A27DB-BD31-4B8C-83A1-F6EECF244321}">
                <p14:modId xmlns:p14="http://schemas.microsoft.com/office/powerpoint/2010/main" val="480200614"/>
              </p:ext>
            </p:extLst>
          </p:nvPr>
        </p:nvGraphicFramePr>
        <p:xfrm>
          <a:off x="1920875" y="2225675"/>
          <a:ext cx="1730375" cy="1730375"/>
        </p:xfrm>
        <a:graphic>
          <a:graphicData uri="http://schemas.openxmlformats.org/drawingml/2006/chart">
            <c:chart xmlns:c="http://schemas.openxmlformats.org/drawingml/2006/chart" xmlns:r="http://schemas.openxmlformats.org/officeDocument/2006/relationships" r:id="rId28"/>
          </a:graphicData>
        </a:graphic>
      </p:graphicFrame>
      <p:cxnSp>
        <p:nvCxnSpPr>
          <p:cNvPr id="505" name="Straight Connector 504">
            <a:extLst>
              <a:ext uri="{FF2B5EF4-FFF2-40B4-BE49-F238E27FC236}">
                <a16:creationId xmlns:a16="http://schemas.microsoft.com/office/drawing/2014/main" id="{4906B9E5-7AFD-790C-F135-521550D0C141}"/>
              </a:ext>
            </a:extLst>
          </p:cNvPr>
          <p:cNvCxnSpPr>
            <a:cxnSpLocks/>
            <a:stCxn id="484" idx="2"/>
          </p:cNvCxnSpPr>
          <p:nvPr/>
        </p:nvCxnSpPr>
        <p:spPr>
          <a:xfrm>
            <a:off x="2773363" y="4378326"/>
            <a:ext cx="63500" cy="1050924"/>
          </a:xfrm>
          <a:prstGeom prst="line">
            <a:avLst/>
          </a:prstGeom>
          <a:ln>
            <a:solidFill>
              <a:srgbClr val="A6B727"/>
            </a:solidFill>
            <a:tailEnd type="oval"/>
          </a:ln>
        </p:spPr>
        <p:style>
          <a:lnRef idx="2">
            <a:schemeClr val="dk1"/>
          </a:lnRef>
          <a:fillRef idx="0">
            <a:schemeClr val="dk1"/>
          </a:fillRef>
          <a:effectRef idx="1">
            <a:schemeClr val="dk1"/>
          </a:effectRef>
          <a:fontRef idx="minor">
            <a:schemeClr val="tx1"/>
          </a:fontRef>
        </p:style>
      </p:cxnSp>
      <p:sp>
        <p:nvSpPr>
          <p:cNvPr id="533" name="TextBox 532">
            <a:extLst>
              <a:ext uri="{FF2B5EF4-FFF2-40B4-BE49-F238E27FC236}">
                <a16:creationId xmlns:a16="http://schemas.microsoft.com/office/drawing/2014/main" id="{6EDFB83F-0E91-B54F-4185-F343BF4BFB69}"/>
              </a:ext>
            </a:extLst>
          </p:cNvPr>
          <p:cNvSpPr txBox="1"/>
          <p:nvPr/>
        </p:nvSpPr>
        <p:spPr>
          <a:xfrm>
            <a:off x="2530476" y="2994026"/>
            <a:ext cx="509587" cy="184666"/>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200" b="1"/>
              <a:t>2021</a:t>
            </a:r>
          </a:p>
        </p:txBody>
      </p:sp>
      <p:sp>
        <p:nvSpPr>
          <p:cNvPr id="52" name="TextBox 51">
            <a:extLst>
              <a:ext uri="{FF2B5EF4-FFF2-40B4-BE49-F238E27FC236}">
                <a16:creationId xmlns:a16="http://schemas.microsoft.com/office/drawing/2014/main" id="{FA4226EF-C502-66DA-F76C-AF0A27C498D4}"/>
              </a:ext>
            </a:extLst>
          </p:cNvPr>
          <p:cNvSpPr txBox="1"/>
          <p:nvPr/>
        </p:nvSpPr>
        <p:spPr>
          <a:xfrm>
            <a:off x="4214102" y="1907790"/>
            <a:ext cx="886181" cy="184666"/>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i="1"/>
              <a:t>Forecast</a:t>
            </a:r>
          </a:p>
        </p:txBody>
      </p:sp>
      <p:sp>
        <p:nvSpPr>
          <p:cNvPr id="5" name="Oval 4">
            <a:extLst>
              <a:ext uri="{FF2B5EF4-FFF2-40B4-BE49-F238E27FC236}">
                <a16:creationId xmlns:a16="http://schemas.microsoft.com/office/drawing/2014/main" id="{05288671-8700-F9ED-F832-D8FEBE13C188}"/>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9" name="Oval 8">
            <a:extLst>
              <a:ext uri="{FF2B5EF4-FFF2-40B4-BE49-F238E27FC236}">
                <a16:creationId xmlns:a16="http://schemas.microsoft.com/office/drawing/2014/main" id="{47ACD0C5-7392-7EF2-891E-460A68656EA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50" name="Text Placeholder 16">
            <a:extLst>
              <a:ext uri="{FF2B5EF4-FFF2-40B4-BE49-F238E27FC236}">
                <a16:creationId xmlns:a16="http://schemas.microsoft.com/office/drawing/2014/main" id="{888F4D5B-2B2A-F031-54D5-7EDF7DCB65BF}"/>
              </a:ext>
            </a:extLst>
          </p:cNvPr>
          <p:cNvSpPr txBox="1">
            <a:spLocks/>
          </p:cNvSpPr>
          <p:nvPr/>
        </p:nvSpPr>
        <p:spPr>
          <a:xfrm>
            <a:off x="9501188" y="6107385"/>
            <a:ext cx="2335212"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6" name="Rectangle 5">
            <a:extLst>
              <a:ext uri="{FF2B5EF4-FFF2-40B4-BE49-F238E27FC236}">
                <a16:creationId xmlns:a16="http://schemas.microsoft.com/office/drawing/2014/main" id="{A8C87F42-CD60-2387-6BA3-B43A716C0436}"/>
              </a:ext>
            </a:extLst>
          </p:cNvPr>
          <p:cNvSpPr/>
          <p:nvPr/>
        </p:nvSpPr>
        <p:spPr>
          <a:xfrm>
            <a:off x="376355" y="1751013"/>
            <a:ext cx="8492437" cy="4347949"/>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945042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0B94E07-4DD7-B937-A6B0-4B6760377013}"/>
              </a:ext>
            </a:extLst>
          </p:cNvPr>
          <p:cNvGraphicFramePr>
            <a:graphicFrameLocks noChangeAspect="1"/>
          </p:cNvGraphicFramePr>
          <p:nvPr>
            <p:custDataLst>
              <p:tags r:id="rId1"/>
            </p:custDataLst>
            <p:extLst>
              <p:ext uri="{D42A27DB-BD31-4B8C-83A1-F6EECF244321}">
                <p14:modId xmlns:p14="http://schemas.microsoft.com/office/powerpoint/2010/main" val="2314038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2" name="Object 11" hidden="1">
                        <a:extLst>
                          <a:ext uri="{FF2B5EF4-FFF2-40B4-BE49-F238E27FC236}">
                            <a16:creationId xmlns:a16="http://schemas.microsoft.com/office/drawing/2014/main" id="{10B94E07-4DD7-B937-A6B0-4B67603770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0C4CC84-F427-2D91-8143-9C7B79077EA5}"/>
              </a:ext>
            </a:extLst>
          </p:cNvPr>
          <p:cNvSpPr>
            <a:spLocks noGrp="1"/>
          </p:cNvSpPr>
          <p:nvPr>
            <p:ph type="body" sz="quarter" idx="26"/>
          </p:nvPr>
        </p:nvSpPr>
        <p:spPr/>
        <p:txBody>
          <a:bodyPr/>
          <a:lstStyle/>
          <a:p>
            <a:endParaRPr lang="en-GB"/>
          </a:p>
        </p:txBody>
      </p:sp>
      <p:sp>
        <p:nvSpPr>
          <p:cNvPr id="5" name="Text Placeholder 4">
            <a:extLst>
              <a:ext uri="{FF2B5EF4-FFF2-40B4-BE49-F238E27FC236}">
                <a16:creationId xmlns:a16="http://schemas.microsoft.com/office/drawing/2014/main" id="{2ED9BFF4-20CD-2A0B-4695-BCECACA1243B}"/>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6" name="Title 5">
            <a:extLst>
              <a:ext uri="{FF2B5EF4-FFF2-40B4-BE49-F238E27FC236}">
                <a16:creationId xmlns:a16="http://schemas.microsoft.com/office/drawing/2014/main" id="{66803A70-CB04-B0B3-1DBA-30C5FE641B87}"/>
              </a:ext>
            </a:extLst>
          </p:cNvPr>
          <p:cNvSpPr>
            <a:spLocks noGrp="1"/>
          </p:cNvSpPr>
          <p:nvPr>
            <p:ph type="title"/>
          </p:nvPr>
        </p:nvSpPr>
        <p:spPr/>
        <p:txBody>
          <a:bodyPr vert="horz"/>
          <a:lstStyle/>
          <a:p>
            <a:r>
              <a:rPr lang="en-GB"/>
              <a:t>Aurora is the leading commercial advisor for battery storage investments and transactions in Europe</a:t>
            </a:r>
          </a:p>
        </p:txBody>
      </p:sp>
      <p:sp>
        <p:nvSpPr>
          <p:cNvPr id="20" name="TextBox 19">
            <a:extLst>
              <a:ext uri="{FF2B5EF4-FFF2-40B4-BE49-F238E27FC236}">
                <a16:creationId xmlns:a16="http://schemas.microsoft.com/office/drawing/2014/main" id="{B7A4BCF6-7B0B-E036-D1A0-680A0A734C14}"/>
              </a:ext>
            </a:extLst>
          </p:cNvPr>
          <p:cNvSpPr txBox="1"/>
          <p:nvPr/>
        </p:nvSpPr>
        <p:spPr>
          <a:xfrm>
            <a:off x="609516" y="2442505"/>
            <a:ext cx="3372862" cy="1877437"/>
          </a:xfrm>
          <a:prstGeom prst="rect">
            <a:avLst/>
          </a:prstGeom>
          <a:noFill/>
        </p:spPr>
        <p:txBody>
          <a:bodyPr wrap="square" lIns="0" tIns="0" rIns="0" bIns="0" rtlCol="0">
            <a:spAutoFit/>
          </a:bodyPr>
          <a:lstStyle/>
          <a:p>
            <a:pPr marL="171450" indent="-171450" algn="l">
              <a:spcBef>
                <a:spcPts val="600"/>
              </a:spcBef>
              <a:buFont typeface="Arial" panose="020B0604020202020204" pitchFamily="34" charset="0"/>
              <a:buChar char="•"/>
            </a:pPr>
            <a:r>
              <a:rPr lang="en-GB" sz="1400"/>
              <a:t>Aurora have advised &gt;3GW of battery storage projects in Europe</a:t>
            </a:r>
          </a:p>
          <a:p>
            <a:pPr marL="171450" indent="-171450" algn="l">
              <a:spcBef>
                <a:spcPts val="600"/>
              </a:spcBef>
              <a:buFont typeface="Arial" panose="020B0604020202020204" pitchFamily="34" charset="0"/>
              <a:buChar char="•"/>
            </a:pPr>
            <a:r>
              <a:rPr lang="en-GB" sz="1400"/>
              <a:t>Our forecasts have enabled battery investments of &gt;£1.5bn </a:t>
            </a:r>
          </a:p>
          <a:p>
            <a:pPr marL="171450" indent="-171450" algn="l">
              <a:spcBef>
                <a:spcPts val="600"/>
              </a:spcBef>
              <a:buFont typeface="Arial" panose="020B0604020202020204" pitchFamily="34" charset="0"/>
              <a:buChar char="•"/>
            </a:pPr>
            <a:r>
              <a:rPr lang="en-GB" sz="1400"/>
              <a:t>Over 250 developers, investors, utilities and banks subscribe to Aurora’s regular revenue stream and battery business case forecasts in Europe   </a:t>
            </a:r>
          </a:p>
        </p:txBody>
      </p:sp>
      <p:sp>
        <p:nvSpPr>
          <p:cNvPr id="21" name="TextBox 20">
            <a:extLst>
              <a:ext uri="{FF2B5EF4-FFF2-40B4-BE49-F238E27FC236}">
                <a16:creationId xmlns:a16="http://schemas.microsoft.com/office/drawing/2014/main" id="{9C9EE226-F27F-6AC6-E402-91671982239C}"/>
              </a:ext>
            </a:extLst>
          </p:cNvPr>
          <p:cNvSpPr txBox="1"/>
          <p:nvPr/>
        </p:nvSpPr>
        <p:spPr>
          <a:xfrm>
            <a:off x="4330358" y="2442505"/>
            <a:ext cx="3414771" cy="1154162"/>
          </a:xfrm>
          <a:prstGeom prst="rect">
            <a:avLst/>
          </a:prstGeom>
          <a:noFill/>
        </p:spPr>
        <p:txBody>
          <a:bodyPr wrap="square" lIns="0" tIns="0" rIns="0" bIns="0" rtlCol="0">
            <a:spAutoFit/>
          </a:bodyPr>
          <a:lstStyle/>
          <a:p>
            <a:pPr marL="171450" indent="-171450" algn="l">
              <a:spcBef>
                <a:spcPts val="600"/>
              </a:spcBef>
              <a:buFont typeface="Arial" panose="020B0604020202020204" pitchFamily="34" charset="0"/>
              <a:buChar char="•"/>
            </a:pPr>
            <a:r>
              <a:rPr lang="en-GB" sz="1400"/>
              <a:t>Aurora forecasts have helped to raise &gt;£600m of debt financing for battery storage projects </a:t>
            </a:r>
          </a:p>
          <a:p>
            <a:pPr marL="171450" indent="-171450" algn="l">
              <a:spcBef>
                <a:spcPts val="600"/>
              </a:spcBef>
              <a:buFont typeface="Arial" panose="020B0604020202020204" pitchFamily="34" charset="0"/>
              <a:buChar char="•"/>
            </a:pPr>
            <a:r>
              <a:rPr lang="en-GB" sz="1400"/>
              <a:t>We provided reliance to 10+ banks to debt finance battery projects</a:t>
            </a:r>
          </a:p>
        </p:txBody>
      </p:sp>
      <p:sp>
        <p:nvSpPr>
          <p:cNvPr id="22" name="TextBox 21">
            <a:extLst>
              <a:ext uri="{FF2B5EF4-FFF2-40B4-BE49-F238E27FC236}">
                <a16:creationId xmlns:a16="http://schemas.microsoft.com/office/drawing/2014/main" id="{68FAF97A-5177-35CF-B0E8-5300B9FA7201}"/>
              </a:ext>
            </a:extLst>
          </p:cNvPr>
          <p:cNvSpPr txBox="1"/>
          <p:nvPr/>
        </p:nvSpPr>
        <p:spPr>
          <a:xfrm>
            <a:off x="8119160" y="2442505"/>
            <a:ext cx="3372862" cy="1585049"/>
          </a:xfrm>
          <a:prstGeom prst="rect">
            <a:avLst/>
          </a:prstGeom>
          <a:noFill/>
        </p:spPr>
        <p:txBody>
          <a:bodyPr wrap="square" lIns="0" tIns="0" rIns="0" bIns="0" rtlCol="0">
            <a:spAutoFit/>
          </a:bodyPr>
          <a:lstStyle/>
          <a:p>
            <a:pPr marL="171450" indent="-171450" algn="l">
              <a:spcBef>
                <a:spcPts val="600"/>
              </a:spcBef>
              <a:buFont typeface="Arial" panose="020B0604020202020204" pitchFamily="34" charset="0"/>
              <a:buChar char="•"/>
            </a:pPr>
            <a:r>
              <a:rPr lang="en-GB" sz="1400"/>
              <a:t>Aurora provides forecasts for regular valuation of 3 listed battery funds with </a:t>
            </a:r>
            <a:br>
              <a:rPr lang="en-GB" sz="1400"/>
            </a:br>
            <a:r>
              <a:rPr lang="en-GB" sz="1400"/>
              <a:t>total Net Asset Value of &gt;£1.6bn</a:t>
            </a:r>
          </a:p>
          <a:p>
            <a:pPr marL="171450" indent="-171450" algn="l">
              <a:spcBef>
                <a:spcPts val="600"/>
              </a:spcBef>
              <a:buFont typeface="Arial" panose="020B0604020202020204" pitchFamily="34" charset="0"/>
              <a:buChar char="•"/>
            </a:pPr>
            <a:r>
              <a:rPr lang="en-GB" sz="1400"/>
              <a:t>Renewable &amp; Energy Transition funds with &gt;£100bn AUM use Aurora forecasts for their battery storage valuations &amp; investments</a:t>
            </a:r>
          </a:p>
        </p:txBody>
      </p:sp>
      <p:pic>
        <p:nvPicPr>
          <p:cNvPr id="42" name="Picture 7" descr="Commonwealth Bank Logo, history, meaning, symbol, PNG">
            <a:extLst>
              <a:ext uri="{FF2B5EF4-FFF2-40B4-BE49-F238E27FC236}">
                <a16:creationId xmlns:a16="http://schemas.microsoft.com/office/drawing/2014/main" id="{3E1D15E5-848B-7D72-0957-ED4D55D6803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601605" y="4828988"/>
            <a:ext cx="889512" cy="50035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8" descr="Image result for logo lloyds">
            <a:extLst>
              <a:ext uri="{FF2B5EF4-FFF2-40B4-BE49-F238E27FC236}">
                <a16:creationId xmlns:a16="http://schemas.microsoft.com/office/drawing/2014/main" id="{E1D12B32-48F0-536D-DBBC-AC1B4232987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635453" y="4591606"/>
            <a:ext cx="857082" cy="41398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Banco Sabadell to Enable Companies to Make Transfers From Accounts With  Other Financial Institutions by Leveraging Open Banking Capabilities |  Financial IT">
            <a:extLst>
              <a:ext uri="{FF2B5EF4-FFF2-40B4-BE49-F238E27FC236}">
                <a16:creationId xmlns:a16="http://schemas.microsoft.com/office/drawing/2014/main" id="{BB39A7D4-EF24-0009-D977-4A24CB7B73B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1650" b="28805"/>
          <a:stretch/>
        </p:blipFill>
        <p:spPr bwMode="auto">
          <a:xfrm>
            <a:off x="4658561" y="5811647"/>
            <a:ext cx="969818" cy="19175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IBC Logo and symbol, meaning, history, PNG">
            <a:extLst>
              <a:ext uri="{FF2B5EF4-FFF2-40B4-BE49-F238E27FC236}">
                <a16:creationId xmlns:a16="http://schemas.microsoft.com/office/drawing/2014/main" id="{05E4398A-AA8E-C12A-6FEE-5BE59EB4B08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8625" b="26767"/>
          <a:stretch/>
        </p:blipFill>
        <p:spPr bwMode="auto">
          <a:xfrm>
            <a:off x="4859765" y="5492246"/>
            <a:ext cx="762659" cy="19136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Triple Point LLP - Certified B Corporation - B Lab Global">
            <a:extLst>
              <a:ext uri="{FF2B5EF4-FFF2-40B4-BE49-F238E27FC236}">
                <a16:creationId xmlns:a16="http://schemas.microsoft.com/office/drawing/2014/main" id="{0BB497FB-1D0D-A0AC-4E42-F8A7EA5B58B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1185" t="14394" r="9753" b="10707"/>
          <a:stretch/>
        </p:blipFill>
        <p:spPr bwMode="auto">
          <a:xfrm>
            <a:off x="6728571" y="4874870"/>
            <a:ext cx="626511" cy="449751"/>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How To Open A Spanish Santander Bank Account">
            <a:extLst>
              <a:ext uri="{FF2B5EF4-FFF2-40B4-BE49-F238E27FC236}">
                <a16:creationId xmlns:a16="http://schemas.microsoft.com/office/drawing/2014/main" id="{11AAF142-02D5-CE70-ECAD-38BD553E92C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33084" b="31472"/>
          <a:stretch/>
        </p:blipFill>
        <p:spPr bwMode="auto">
          <a:xfrm>
            <a:off x="4661202" y="4530911"/>
            <a:ext cx="1027603" cy="204878"/>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NatWest Group weighs acquisition of Sainsbury's Bank">
            <a:extLst>
              <a:ext uri="{FF2B5EF4-FFF2-40B4-BE49-F238E27FC236}">
                <a16:creationId xmlns:a16="http://schemas.microsoft.com/office/drawing/2014/main" id="{C0647B9F-1760-6EFF-D5C7-B3D2FC0FDBF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1731" t="25590" r="10922" b="21484"/>
          <a:stretch/>
        </p:blipFill>
        <p:spPr bwMode="auto">
          <a:xfrm>
            <a:off x="6464308" y="4566546"/>
            <a:ext cx="796516" cy="13767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GRESHAM HOUSE ENERGY STORAGE FUND PLC GRID Stock | London Stock Exchange">
            <a:extLst>
              <a:ext uri="{FF2B5EF4-FFF2-40B4-BE49-F238E27FC236}">
                <a16:creationId xmlns:a16="http://schemas.microsoft.com/office/drawing/2014/main" id="{B3CE872D-AC5B-41F9-D389-A18D49941DE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379016" y="4232606"/>
            <a:ext cx="762657" cy="4124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ustainability and Impact is part of our DNA | Gore Street Energy Storage  Fund plc">
            <a:extLst>
              <a:ext uri="{FF2B5EF4-FFF2-40B4-BE49-F238E27FC236}">
                <a16:creationId xmlns:a16="http://schemas.microsoft.com/office/drawing/2014/main" id="{1DBE4793-46B7-8053-C11C-3F88174959C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287654" y="4274023"/>
            <a:ext cx="896466" cy="38279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ividend Declaration - 07:00:07 03 Jul 2022 - HEIT News article | London  Stock Exchange">
            <a:extLst>
              <a:ext uri="{FF2B5EF4-FFF2-40B4-BE49-F238E27FC236}">
                <a16:creationId xmlns:a16="http://schemas.microsoft.com/office/drawing/2014/main" id="{EA34BFEF-91D9-7C67-9F28-2ED4C08FB32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08651" y="4325079"/>
            <a:ext cx="970048" cy="242765"/>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Macquarie. Information about the issuer. (LEI ACMHD8HWFMFUIQQ8Y590, SWIFT  MACQAU2S). News and credit ratings. Tables with accounting and financial  reports.">
            <a:extLst>
              <a:ext uri="{FF2B5EF4-FFF2-40B4-BE49-F238E27FC236}">
                <a16:creationId xmlns:a16="http://schemas.microsoft.com/office/drawing/2014/main" id="{FDF155AD-44D4-3C3A-AD70-153F0FCDA59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1372" b="31466"/>
          <a:stretch/>
        </p:blipFill>
        <p:spPr bwMode="auto">
          <a:xfrm>
            <a:off x="8375516" y="4866825"/>
            <a:ext cx="1028492" cy="212339"/>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CPPIB in talks to acquire stake in ReNew Power - Renewable Watch">
            <a:extLst>
              <a:ext uri="{FF2B5EF4-FFF2-40B4-BE49-F238E27FC236}">
                <a16:creationId xmlns:a16="http://schemas.microsoft.com/office/drawing/2014/main" id="{B7B4336A-A5ED-23E8-E67D-3E43FFDDD6C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69483" y="5269549"/>
            <a:ext cx="895294" cy="256473"/>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Cubico Sustainable Investments - ACORE">
            <a:extLst>
              <a:ext uri="{FF2B5EF4-FFF2-40B4-BE49-F238E27FC236}">
                <a16:creationId xmlns:a16="http://schemas.microsoft.com/office/drawing/2014/main" id="{01A4BD87-D0A0-27B7-5B3F-818D3E50829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7973" t="18666" r="7165" b="18407"/>
          <a:stretch/>
        </p:blipFill>
        <p:spPr bwMode="auto">
          <a:xfrm>
            <a:off x="8419836" y="5508557"/>
            <a:ext cx="795890" cy="255353"/>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Governance jobs with InfraRed Capital | Jobs in Governance">
            <a:extLst>
              <a:ext uri="{FF2B5EF4-FFF2-40B4-BE49-F238E27FC236}">
                <a16:creationId xmlns:a16="http://schemas.microsoft.com/office/drawing/2014/main" id="{EC0FCA15-497C-605E-5215-1B39D1263593}"/>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26429" b="26756"/>
          <a:stretch/>
        </p:blipFill>
        <p:spPr bwMode="auto">
          <a:xfrm>
            <a:off x="9492860" y="5968620"/>
            <a:ext cx="698601" cy="184474"/>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Copenhagen Infrastructure Partners (CIP) - ACORE">
            <a:extLst>
              <a:ext uri="{FF2B5EF4-FFF2-40B4-BE49-F238E27FC236}">
                <a16:creationId xmlns:a16="http://schemas.microsoft.com/office/drawing/2014/main" id="{11CEAFA2-C22A-C69A-6B3B-04EFADA466F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549511" y="4844368"/>
            <a:ext cx="815314" cy="301072"/>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Foresight Energy Infrastructure Partners">
            <a:extLst>
              <a:ext uri="{FF2B5EF4-FFF2-40B4-BE49-F238E27FC236}">
                <a16:creationId xmlns:a16="http://schemas.microsoft.com/office/drawing/2014/main" id="{63240528-756D-D222-4A16-8AC34848E641}"/>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2249" t="31372" b="33486"/>
          <a:stretch/>
        </p:blipFill>
        <p:spPr bwMode="auto">
          <a:xfrm>
            <a:off x="8422717" y="5890909"/>
            <a:ext cx="908635" cy="230833"/>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Aquila Capital | Smart Cities Marketplace">
            <a:extLst>
              <a:ext uri="{FF2B5EF4-FFF2-40B4-BE49-F238E27FC236}">
                <a16:creationId xmlns:a16="http://schemas.microsoft.com/office/drawing/2014/main" id="{B8EB811A-6EF6-0A6E-CEF9-E59551FCFEE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45454" y="5935579"/>
            <a:ext cx="719323" cy="215797"/>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Amp Energy India Pvt. Ltd., (“AMPIN”) a leading Energy Transition Platform  in India, closes investments totaling up to USD 250 million from SMBC, ICG,  and AIIB – EQ Mag – The Leading">
            <a:extLst>
              <a:ext uri="{FF2B5EF4-FFF2-40B4-BE49-F238E27FC236}">
                <a16:creationId xmlns:a16="http://schemas.microsoft.com/office/drawing/2014/main" id="{B27F3054-A04E-EC2C-9EF8-87AEAE40FB70}"/>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9093" t="26982" r="4893" b="35244"/>
          <a:stretch/>
        </p:blipFill>
        <p:spPr bwMode="auto">
          <a:xfrm>
            <a:off x="9321575" y="5513118"/>
            <a:ext cx="455873" cy="200204"/>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BlackRock — Scottish Financial Enterprise (SFE)">
            <a:extLst>
              <a:ext uri="{FF2B5EF4-FFF2-40B4-BE49-F238E27FC236}">
                <a16:creationId xmlns:a16="http://schemas.microsoft.com/office/drawing/2014/main" id="{05D4323E-E812-9309-DE7E-8E8D9FD734B6}"/>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7712" t="36157" r="1367" b="37282"/>
          <a:stretch/>
        </p:blipFill>
        <p:spPr bwMode="auto">
          <a:xfrm>
            <a:off x="8419836" y="5218415"/>
            <a:ext cx="972365" cy="159784"/>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Glennmont Partners | LinkedIn">
            <a:extLst>
              <a:ext uri="{FF2B5EF4-FFF2-40B4-BE49-F238E27FC236}">
                <a16:creationId xmlns:a16="http://schemas.microsoft.com/office/drawing/2014/main" id="{6D330D14-16B3-E922-5B43-51171882503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883298" y="5387760"/>
            <a:ext cx="376150" cy="37615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Brookfield Renewable | LinkedIn">
            <a:extLst>
              <a:ext uri="{FF2B5EF4-FFF2-40B4-BE49-F238E27FC236}">
                <a16:creationId xmlns:a16="http://schemas.microsoft.com/office/drawing/2014/main" id="{0E429553-4E98-CD8E-362F-833A89595CD4}"/>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40744" b="28336"/>
          <a:stretch/>
        </p:blipFill>
        <p:spPr bwMode="auto">
          <a:xfrm>
            <a:off x="10549422" y="4889207"/>
            <a:ext cx="698600" cy="216011"/>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Net Zero Power Infrastructure | Quinbrook">
            <a:extLst>
              <a:ext uri="{FF2B5EF4-FFF2-40B4-BE49-F238E27FC236}">
                <a16:creationId xmlns:a16="http://schemas.microsoft.com/office/drawing/2014/main" id="{37391B3E-A43E-096A-C71E-8E7A340435B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374751" y="5677279"/>
            <a:ext cx="908635" cy="262387"/>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D29256B0-EEAA-967E-D2BE-DE409FF5141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46239" y="4614299"/>
            <a:ext cx="835632" cy="21099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8" descr="Image result for enel">
            <a:extLst>
              <a:ext uri="{FF2B5EF4-FFF2-40B4-BE49-F238E27FC236}">
                <a16:creationId xmlns:a16="http://schemas.microsoft.com/office/drawing/2014/main" id="{3A7B9790-BFBF-CF53-56D6-CAE4DDECCFD6}"/>
              </a:ext>
            </a:extLst>
          </p:cNvPr>
          <p:cNvPicPr/>
          <p:nvPr/>
        </p:nvPicPr>
        <p:blipFill>
          <a:blip r:embed="rId28" cstate="screen">
            <a:extLst>
              <a:ext uri="{28A0092B-C50C-407E-A947-70E740481C1C}">
                <a14:useLocalDpi xmlns:a14="http://schemas.microsoft.com/office/drawing/2010/main"/>
              </a:ext>
            </a:extLst>
          </a:blip>
          <a:srcRect/>
          <a:stretch>
            <a:fillRect/>
          </a:stretch>
        </p:blipFill>
        <p:spPr bwMode="auto">
          <a:xfrm>
            <a:off x="947414" y="5477132"/>
            <a:ext cx="516944" cy="20143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Logo&#10;&#10;Description automatically generated">
            <a:extLst>
              <a:ext uri="{FF2B5EF4-FFF2-40B4-BE49-F238E27FC236}">
                <a16:creationId xmlns:a16="http://schemas.microsoft.com/office/drawing/2014/main" id="{9F02A3CC-421C-1B96-531E-66121AC02C72}"/>
              </a:ext>
            </a:extLst>
          </p:cNvPr>
          <p:cNvPicPr/>
          <p:nvPr/>
        </p:nvPicPr>
        <p:blipFill>
          <a:blip r:embed="rId29" cstate="screen">
            <a:extLst>
              <a:ext uri="{28A0092B-C50C-407E-A947-70E740481C1C}">
                <a14:useLocalDpi xmlns:a14="http://schemas.microsoft.com/office/drawing/2010/main"/>
              </a:ext>
            </a:extLst>
          </a:blip>
          <a:stretch>
            <a:fillRect/>
          </a:stretch>
        </p:blipFill>
        <p:spPr>
          <a:xfrm>
            <a:off x="1454980" y="5051308"/>
            <a:ext cx="516555" cy="156352"/>
          </a:xfrm>
          <a:prstGeom prst="rect">
            <a:avLst/>
          </a:prstGeom>
        </p:spPr>
      </p:pic>
      <p:pic>
        <p:nvPicPr>
          <p:cNvPr id="55" name="Picture 54">
            <a:extLst>
              <a:ext uri="{FF2B5EF4-FFF2-40B4-BE49-F238E27FC236}">
                <a16:creationId xmlns:a16="http://schemas.microsoft.com/office/drawing/2014/main" id="{B7BA0AF4-7889-0F9A-3689-436C84E80240}"/>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2034893" y="4865255"/>
            <a:ext cx="587706" cy="330585"/>
          </a:xfrm>
          <a:prstGeom prst="rect">
            <a:avLst/>
          </a:prstGeom>
        </p:spPr>
      </p:pic>
      <p:pic>
        <p:nvPicPr>
          <p:cNvPr id="1082" name="Picture 58" descr="BayWa r.e. - Energy Storage Summit 2024">
            <a:extLst>
              <a:ext uri="{FF2B5EF4-FFF2-40B4-BE49-F238E27FC236}">
                <a16:creationId xmlns:a16="http://schemas.microsoft.com/office/drawing/2014/main" id="{41528441-BC47-2099-CF72-2BDB19F553C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615618" y="5869281"/>
            <a:ext cx="873834" cy="210039"/>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descr="Fotowatio Renewable Ventures | Climate Bonds Initiative">
            <a:extLst>
              <a:ext uri="{FF2B5EF4-FFF2-40B4-BE49-F238E27FC236}">
                <a16:creationId xmlns:a16="http://schemas.microsoft.com/office/drawing/2014/main" id="{B7175784-33FD-AFEF-92C2-53533FD8FD8F}"/>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l="25886" t="12799" r="25759" b="13447"/>
          <a:stretch/>
        </p:blipFill>
        <p:spPr bwMode="auto">
          <a:xfrm>
            <a:off x="1550355" y="5405240"/>
            <a:ext cx="314542" cy="317894"/>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37EA4610-98EE-BEC8-F163-F61A5B3837FA}"/>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991445" y="4519423"/>
            <a:ext cx="609398" cy="609398"/>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descr="Neoen wins a PPA with Google in Finland - Business France Nordics">
            <a:extLst>
              <a:ext uri="{FF2B5EF4-FFF2-40B4-BE49-F238E27FC236}">
                <a16:creationId xmlns:a16="http://schemas.microsoft.com/office/drawing/2014/main" id="{2AC4FB98-3C2C-B768-2CE5-F502025E137B}"/>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l="10705" t="23386" r="10557" b="30872"/>
          <a:stretch/>
        </p:blipFill>
        <p:spPr bwMode="auto">
          <a:xfrm>
            <a:off x="1976950" y="5541835"/>
            <a:ext cx="737378" cy="146079"/>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descr="Canadian Solar – PV Technology Inc.">
            <a:extLst>
              <a:ext uri="{FF2B5EF4-FFF2-40B4-BE49-F238E27FC236}">
                <a16:creationId xmlns:a16="http://schemas.microsoft.com/office/drawing/2014/main" id="{A1F3EFFC-CDE6-A0DA-7894-2D038639AD9A}"/>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423620" y="4639929"/>
            <a:ext cx="664592" cy="332296"/>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descr="Fluence | A Siemens and AES Company">
            <a:extLst>
              <a:ext uri="{FF2B5EF4-FFF2-40B4-BE49-F238E27FC236}">
                <a16:creationId xmlns:a16="http://schemas.microsoft.com/office/drawing/2014/main" id="{C9E392D1-8193-81A7-E895-A8FF349AD2DE}"/>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11633" t="35775" r="11465" b="36284"/>
          <a:stretch/>
        </p:blipFill>
        <p:spPr bwMode="auto">
          <a:xfrm>
            <a:off x="1768557" y="5922378"/>
            <a:ext cx="741686" cy="197922"/>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descr="Home - X-ELIO">
            <a:extLst>
              <a:ext uri="{FF2B5EF4-FFF2-40B4-BE49-F238E27FC236}">
                <a16:creationId xmlns:a16="http://schemas.microsoft.com/office/drawing/2014/main" id="{05C332EA-3201-1A04-B52E-CB49D01CCA3C}"/>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l="10092" t="30076" r="10068" b="30030"/>
          <a:stretch/>
        </p:blipFill>
        <p:spPr bwMode="auto">
          <a:xfrm>
            <a:off x="975278" y="5901423"/>
            <a:ext cx="680604" cy="164237"/>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74" descr="EDP | Sustainable Energy for All">
            <a:extLst>
              <a:ext uri="{FF2B5EF4-FFF2-40B4-BE49-F238E27FC236}">
                <a16:creationId xmlns:a16="http://schemas.microsoft.com/office/drawing/2014/main" id="{A431A4C5-E700-2815-D53F-2546C674A939}"/>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l="4905" t="3232" r="5010" b="7030"/>
          <a:stretch/>
        </p:blipFill>
        <p:spPr bwMode="auto">
          <a:xfrm>
            <a:off x="936948" y="4988218"/>
            <a:ext cx="396679" cy="313509"/>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descr="LobbyMap Ørsted">
            <a:extLst>
              <a:ext uri="{FF2B5EF4-FFF2-40B4-BE49-F238E27FC236}">
                <a16:creationId xmlns:a16="http://schemas.microsoft.com/office/drawing/2014/main" id="{7F936291-35C2-89FC-6FAB-96E4C33DE630}"/>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947232" y="4558461"/>
            <a:ext cx="535089" cy="146079"/>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descr="Home - TagEnergy">
            <a:extLst>
              <a:ext uri="{FF2B5EF4-FFF2-40B4-BE49-F238E27FC236}">
                <a16:creationId xmlns:a16="http://schemas.microsoft.com/office/drawing/2014/main" id="{28BB276F-C746-A26A-BA6C-4D30099110C9}"/>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l="3071" t="29708" r="3914" b="31455"/>
          <a:stretch/>
        </p:blipFill>
        <p:spPr bwMode="auto">
          <a:xfrm>
            <a:off x="2844525" y="5559589"/>
            <a:ext cx="684601" cy="15044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19EE669-464D-D055-5424-2D930BEF0861}"/>
              </a:ext>
            </a:extLst>
          </p:cNvPr>
          <p:cNvSpPr/>
          <p:nvPr/>
        </p:nvSpPr>
        <p:spPr>
          <a:xfrm>
            <a:off x="574970" y="1443719"/>
            <a:ext cx="3415721" cy="788462"/>
          </a:xfrm>
          <a:prstGeom prst="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3" name="Straight Connector 2">
            <a:extLst>
              <a:ext uri="{FF2B5EF4-FFF2-40B4-BE49-F238E27FC236}">
                <a16:creationId xmlns:a16="http://schemas.microsoft.com/office/drawing/2014/main" id="{A051E440-39AB-6A98-4CC8-F9B6C92B9ACD}"/>
              </a:ext>
            </a:extLst>
          </p:cNvPr>
          <p:cNvCxnSpPr>
            <a:cxnSpLocks/>
          </p:cNvCxnSpPr>
          <p:nvPr/>
        </p:nvCxnSpPr>
        <p:spPr>
          <a:xfrm>
            <a:off x="577821" y="2232181"/>
            <a:ext cx="3404557"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9521B3-8881-1DE7-7C23-40889C35965E}"/>
              </a:ext>
            </a:extLst>
          </p:cNvPr>
          <p:cNvCxnSpPr>
            <a:cxnSpLocks/>
          </p:cNvCxnSpPr>
          <p:nvPr/>
        </p:nvCxnSpPr>
        <p:spPr>
          <a:xfrm>
            <a:off x="588486" y="1443489"/>
            <a:ext cx="0" cy="782179"/>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148434A-0E38-5918-3324-BAE951EF7556}"/>
              </a:ext>
            </a:extLst>
          </p:cNvPr>
          <p:cNvSpPr txBox="1"/>
          <p:nvPr/>
        </p:nvSpPr>
        <p:spPr>
          <a:xfrm>
            <a:off x="616378" y="1562941"/>
            <a:ext cx="3548296" cy="584775"/>
          </a:xfrm>
          <a:prstGeom prst="rect">
            <a:avLst/>
          </a:prstGeom>
          <a:noFill/>
        </p:spPr>
        <p:txBody>
          <a:bodyPr wrap="square">
            <a:spAutoFit/>
          </a:bodyPr>
          <a:lstStyle/>
          <a:p>
            <a:pPr algn="l">
              <a:spcBef>
                <a:spcPts val="600"/>
              </a:spcBef>
            </a:pPr>
            <a:r>
              <a:rPr lang="en-GB" sz="1600" b="1">
                <a:solidFill>
                  <a:schemeClr val="accent1"/>
                </a:solidFill>
              </a:rPr>
              <a:t>Deeply experienced in investment </a:t>
            </a:r>
            <a:br>
              <a:rPr lang="en-GB" sz="1600" b="1">
                <a:solidFill>
                  <a:schemeClr val="accent1"/>
                </a:solidFill>
              </a:rPr>
            </a:br>
            <a:r>
              <a:rPr lang="en-GB" sz="1600" b="1">
                <a:solidFill>
                  <a:schemeClr val="accent1"/>
                </a:solidFill>
              </a:rPr>
              <a:t>&amp; business case analysis </a:t>
            </a:r>
          </a:p>
        </p:txBody>
      </p:sp>
      <p:sp>
        <p:nvSpPr>
          <p:cNvPr id="15" name="Rectangle 14">
            <a:extLst>
              <a:ext uri="{FF2B5EF4-FFF2-40B4-BE49-F238E27FC236}">
                <a16:creationId xmlns:a16="http://schemas.microsoft.com/office/drawing/2014/main" id="{3B2480BB-408E-E314-764F-7A701650CB5E}"/>
              </a:ext>
            </a:extLst>
          </p:cNvPr>
          <p:cNvSpPr/>
          <p:nvPr/>
        </p:nvSpPr>
        <p:spPr>
          <a:xfrm>
            <a:off x="4337721" y="1443719"/>
            <a:ext cx="3415721" cy="788462"/>
          </a:xfrm>
          <a:prstGeom prst="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16" name="Straight Connector 15">
            <a:extLst>
              <a:ext uri="{FF2B5EF4-FFF2-40B4-BE49-F238E27FC236}">
                <a16:creationId xmlns:a16="http://schemas.microsoft.com/office/drawing/2014/main" id="{FF7DBCF3-E6F3-30D2-D15E-C6B4E8DC85BB}"/>
              </a:ext>
            </a:extLst>
          </p:cNvPr>
          <p:cNvCxnSpPr>
            <a:cxnSpLocks/>
          </p:cNvCxnSpPr>
          <p:nvPr/>
        </p:nvCxnSpPr>
        <p:spPr>
          <a:xfrm>
            <a:off x="4340572" y="2232181"/>
            <a:ext cx="3404557"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DEBEF44-14F4-FDD5-8359-EB738D97C692}"/>
              </a:ext>
            </a:extLst>
          </p:cNvPr>
          <p:cNvCxnSpPr>
            <a:cxnSpLocks/>
          </p:cNvCxnSpPr>
          <p:nvPr/>
        </p:nvCxnSpPr>
        <p:spPr>
          <a:xfrm>
            <a:off x="4351237" y="1443489"/>
            <a:ext cx="0" cy="782179"/>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DE3FBC0-A4D5-4762-F308-C7666231B406}"/>
              </a:ext>
            </a:extLst>
          </p:cNvPr>
          <p:cNvSpPr txBox="1"/>
          <p:nvPr/>
        </p:nvSpPr>
        <p:spPr>
          <a:xfrm>
            <a:off x="4379129" y="1562941"/>
            <a:ext cx="3548296" cy="584775"/>
          </a:xfrm>
          <a:prstGeom prst="rect">
            <a:avLst/>
          </a:prstGeom>
          <a:noFill/>
        </p:spPr>
        <p:txBody>
          <a:bodyPr wrap="square">
            <a:spAutoFit/>
          </a:bodyPr>
          <a:lstStyle/>
          <a:p>
            <a:pPr algn="l">
              <a:spcBef>
                <a:spcPts val="600"/>
              </a:spcBef>
            </a:pPr>
            <a:r>
              <a:rPr lang="en-GB" sz="1600" b="1">
                <a:solidFill>
                  <a:schemeClr val="accent1"/>
                </a:solidFill>
              </a:rPr>
              <a:t>Extensively relied upon for debt financing</a:t>
            </a:r>
          </a:p>
        </p:txBody>
      </p:sp>
      <p:sp>
        <p:nvSpPr>
          <p:cNvPr id="19" name="Rectangle 18">
            <a:extLst>
              <a:ext uri="{FF2B5EF4-FFF2-40B4-BE49-F238E27FC236}">
                <a16:creationId xmlns:a16="http://schemas.microsoft.com/office/drawing/2014/main" id="{D98AEC65-ADAB-0862-C9FB-B84E170E64EA}"/>
              </a:ext>
            </a:extLst>
          </p:cNvPr>
          <p:cNvSpPr/>
          <p:nvPr/>
        </p:nvSpPr>
        <p:spPr>
          <a:xfrm>
            <a:off x="8105644" y="1443719"/>
            <a:ext cx="3415721" cy="788462"/>
          </a:xfrm>
          <a:prstGeom prst="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23" name="Straight Connector 22">
            <a:extLst>
              <a:ext uri="{FF2B5EF4-FFF2-40B4-BE49-F238E27FC236}">
                <a16:creationId xmlns:a16="http://schemas.microsoft.com/office/drawing/2014/main" id="{262AAE19-7845-B2A6-9D64-DED427DA5AF8}"/>
              </a:ext>
            </a:extLst>
          </p:cNvPr>
          <p:cNvCxnSpPr>
            <a:cxnSpLocks/>
          </p:cNvCxnSpPr>
          <p:nvPr/>
        </p:nvCxnSpPr>
        <p:spPr>
          <a:xfrm>
            <a:off x="8108495" y="2232181"/>
            <a:ext cx="3404557"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04030CB-9082-C412-A62E-77F61AD44E02}"/>
              </a:ext>
            </a:extLst>
          </p:cNvPr>
          <p:cNvCxnSpPr>
            <a:cxnSpLocks/>
          </p:cNvCxnSpPr>
          <p:nvPr/>
        </p:nvCxnSpPr>
        <p:spPr>
          <a:xfrm>
            <a:off x="8119160" y="1443489"/>
            <a:ext cx="0" cy="782179"/>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3158FAD-AA0D-E0E5-F21B-A81ACD230C23}"/>
              </a:ext>
            </a:extLst>
          </p:cNvPr>
          <p:cNvSpPr txBox="1"/>
          <p:nvPr/>
        </p:nvSpPr>
        <p:spPr>
          <a:xfrm>
            <a:off x="8147052" y="1562941"/>
            <a:ext cx="3548296" cy="584775"/>
          </a:xfrm>
          <a:prstGeom prst="rect">
            <a:avLst/>
          </a:prstGeom>
          <a:noFill/>
        </p:spPr>
        <p:txBody>
          <a:bodyPr wrap="square">
            <a:spAutoFit/>
          </a:bodyPr>
          <a:lstStyle/>
          <a:p>
            <a:pPr algn="l">
              <a:spcBef>
                <a:spcPts val="600"/>
              </a:spcBef>
            </a:pPr>
            <a:r>
              <a:rPr lang="en-GB" sz="1600" b="1">
                <a:solidFill>
                  <a:schemeClr val="accent1"/>
                </a:solidFill>
              </a:rPr>
              <a:t>Widely trusted for</a:t>
            </a:r>
            <a:br>
              <a:rPr lang="en-GB" sz="1600" b="1">
                <a:solidFill>
                  <a:schemeClr val="accent1"/>
                </a:solidFill>
              </a:rPr>
            </a:br>
            <a:r>
              <a:rPr lang="en-GB" sz="1600" b="1">
                <a:solidFill>
                  <a:schemeClr val="accent1"/>
                </a:solidFill>
              </a:rPr>
              <a:t>regular fund valuations</a:t>
            </a:r>
          </a:p>
        </p:txBody>
      </p:sp>
      <p:pic>
        <p:nvPicPr>
          <p:cNvPr id="9" name="Picture 8" descr="Allied Irish Banks - Wikipedia">
            <a:extLst>
              <a:ext uri="{FF2B5EF4-FFF2-40B4-BE49-F238E27FC236}">
                <a16:creationId xmlns:a16="http://schemas.microsoft.com/office/drawing/2014/main" id="{5723D16E-F2B3-471A-B804-90A7892387A0}"/>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913498" y="5636233"/>
            <a:ext cx="398988" cy="39898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obbyMap Rabobank">
            <a:extLst>
              <a:ext uri="{FF2B5EF4-FFF2-40B4-BE49-F238E27FC236}">
                <a16:creationId xmlns:a16="http://schemas.microsoft.com/office/drawing/2014/main" id="{9F9B96FE-7F51-B11E-9D1C-22CC421D8219}"/>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6492535" y="5629505"/>
            <a:ext cx="960955" cy="354036"/>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35FE994D-3E58-1187-0D3D-458AA4C50F7C}"/>
              </a:ext>
            </a:extLst>
          </p:cNvPr>
          <p:cNvCxnSpPr/>
          <p:nvPr/>
        </p:nvCxnSpPr>
        <p:spPr>
          <a:xfrm>
            <a:off x="8695113" y="4719163"/>
            <a:ext cx="223612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5">
            <a:extLst>
              <a:ext uri="{FF2B5EF4-FFF2-40B4-BE49-F238E27FC236}">
                <a16:creationId xmlns:a16="http://schemas.microsoft.com/office/drawing/2014/main" id="{2A15A48E-271C-E358-0EEE-0522F02C7A73}"/>
              </a:ext>
            </a:extLst>
          </p:cNvPr>
          <p:cNvSpPr txBox="1">
            <a:spLocks/>
          </p:cNvSpPr>
          <p:nvPr/>
        </p:nvSpPr>
        <p:spPr>
          <a:xfrm>
            <a:off x="381599" y="79401"/>
            <a:ext cx="3821559" cy="184666"/>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0" kern="1200">
                <a:solidFill>
                  <a:schemeClr val="accent5"/>
                </a:solidFill>
                <a:latin typeface="+mn-lt"/>
                <a:ea typeface="Lato Black" panose="020F0502020204030203" pitchFamily="34" charset="0"/>
                <a:cs typeface="Lato Black"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Aurora European Battery Markets Attractiveness Report</a:t>
            </a:r>
          </a:p>
        </p:txBody>
      </p:sp>
      <p:pic>
        <p:nvPicPr>
          <p:cNvPr id="11" name="Picture 10">
            <a:extLst>
              <a:ext uri="{FF2B5EF4-FFF2-40B4-BE49-F238E27FC236}">
                <a16:creationId xmlns:a16="http://schemas.microsoft.com/office/drawing/2014/main" id="{F0BFCB14-CB63-4C7F-7A8F-8EF8BE1FABCF}"/>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5845128" y="5267747"/>
            <a:ext cx="685800" cy="20002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78" descr="Pacifico Energy Partners | LinkedIn">
            <a:extLst>
              <a:ext uri="{FF2B5EF4-FFF2-40B4-BE49-F238E27FC236}">
                <a16:creationId xmlns:a16="http://schemas.microsoft.com/office/drawing/2014/main" id="{909AC209-1332-EF70-55B8-EE7E7D98FDBA}"/>
              </a:ext>
            </a:extLst>
          </p:cNvPr>
          <p:cNvPicPr/>
          <p:nvPr/>
        </p:nvPicPr>
        <p:blipFill rotWithShape="1">
          <a:blip r:embed="rId44" cstate="screen">
            <a:extLst>
              <a:ext uri="{28A0092B-C50C-407E-A947-70E740481C1C}">
                <a14:useLocalDpi xmlns:a14="http://schemas.microsoft.com/office/drawing/2010/main"/>
              </a:ext>
            </a:extLst>
          </a:blip>
          <a:srcRect/>
          <a:stretch/>
        </p:blipFill>
        <p:spPr bwMode="auto">
          <a:xfrm>
            <a:off x="2567310" y="5250047"/>
            <a:ext cx="848269" cy="2090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83953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00F733B-245E-4E5E-BEBD-088828324F12}"/>
              </a:ext>
            </a:extLst>
          </p:cNvPr>
          <p:cNvGraphicFramePr>
            <a:graphicFrameLocks noChangeAspect="1"/>
          </p:cNvGraphicFramePr>
          <p:nvPr>
            <p:custDataLst>
              <p:tags r:id="rId1"/>
            </p:custDataLst>
            <p:extLst>
              <p:ext uri="{D42A27DB-BD31-4B8C-83A1-F6EECF244321}">
                <p14:modId xmlns:p14="http://schemas.microsoft.com/office/powerpoint/2010/main" val="485131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95" imgH="396" progId="TCLayout.ActiveDocument.1">
                  <p:embed/>
                </p:oleObj>
              </mc:Choice>
              <mc:Fallback>
                <p:oleObj name="think-cell Slide" r:id="rId45" imgW="395" imgH="396" progId="TCLayout.ActiveDocument.1">
                  <p:embed/>
                  <p:pic>
                    <p:nvPicPr>
                      <p:cNvPr id="10" name="Object 9" hidden="1">
                        <a:extLst>
                          <a:ext uri="{FF2B5EF4-FFF2-40B4-BE49-F238E27FC236}">
                            <a16:creationId xmlns:a16="http://schemas.microsoft.com/office/drawing/2014/main" id="{300F733B-245E-4E5E-BEBD-088828324F12}"/>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graphicFrame>
        <p:nvGraphicFramePr>
          <p:cNvPr id="17" name="Chart 16">
            <a:extLst>
              <a:ext uri="{FF2B5EF4-FFF2-40B4-BE49-F238E27FC236}">
                <a16:creationId xmlns:a16="http://schemas.microsoft.com/office/drawing/2014/main" id="{2D5157FD-98E7-649E-CCFA-E97EF92F3EA3}"/>
              </a:ext>
            </a:extLst>
          </p:cNvPr>
          <p:cNvGraphicFramePr/>
          <p:nvPr>
            <p:custDataLst>
              <p:tags r:id="rId2"/>
            </p:custDataLst>
            <p:extLst>
              <p:ext uri="{D42A27DB-BD31-4B8C-83A1-F6EECF244321}">
                <p14:modId xmlns:p14="http://schemas.microsoft.com/office/powerpoint/2010/main" val="123802242"/>
              </p:ext>
            </p:extLst>
          </p:nvPr>
        </p:nvGraphicFramePr>
        <p:xfrm>
          <a:off x="860425" y="1787525"/>
          <a:ext cx="7967663" cy="3586163"/>
        </p:xfrm>
        <a:graphic>
          <a:graphicData uri="http://schemas.openxmlformats.org/drawingml/2006/chart">
            <c:chart xmlns:c="http://schemas.openxmlformats.org/drawingml/2006/chart" xmlns:r="http://schemas.openxmlformats.org/officeDocument/2006/relationships" r:id="rId47"/>
          </a:graphicData>
        </a:graphic>
      </p:graphicFrame>
      <p:cxnSp>
        <p:nvCxnSpPr>
          <p:cNvPr id="474" name="Straight Connector 473">
            <a:extLst>
              <a:ext uri="{FF2B5EF4-FFF2-40B4-BE49-F238E27FC236}">
                <a16:creationId xmlns:a16="http://schemas.microsoft.com/office/drawing/2014/main" id="{0DB5CF8D-3638-1AB6-A5C0-59E329C022BB}"/>
              </a:ext>
            </a:extLst>
          </p:cNvPr>
          <p:cNvCxnSpPr/>
          <p:nvPr>
            <p:custDataLst>
              <p:tags r:id="rId3"/>
            </p:custDataLst>
          </p:nvPr>
        </p:nvCxnSpPr>
        <p:spPr bwMode="gray">
          <a:xfrm>
            <a:off x="8745538" y="5191125"/>
            <a:ext cx="0" cy="95250"/>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A40428F0-8D5D-AE73-6946-FD254E6A75EE}"/>
              </a:ext>
            </a:extLst>
          </p:cNvPr>
          <p:cNvCxnSpPr/>
          <p:nvPr>
            <p:custDataLst>
              <p:tags r:id="rId4"/>
            </p:custDataLst>
          </p:nvPr>
        </p:nvCxnSpPr>
        <p:spPr bwMode="gray">
          <a:xfrm>
            <a:off x="7878763" y="5191125"/>
            <a:ext cx="0" cy="95250"/>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7407329F-540E-E62C-EC06-7F8ACFEDC1B9}"/>
              </a:ext>
            </a:extLst>
          </p:cNvPr>
          <p:cNvCxnSpPr/>
          <p:nvPr>
            <p:custDataLst>
              <p:tags r:id="rId5"/>
            </p:custDataLst>
          </p:nvPr>
        </p:nvCxnSpPr>
        <p:spPr bwMode="gray">
          <a:xfrm>
            <a:off x="7878763" y="5191125"/>
            <a:ext cx="866775" cy="0"/>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3" name="Straight Connector 662">
            <a:extLst>
              <a:ext uri="{FF2B5EF4-FFF2-40B4-BE49-F238E27FC236}">
                <a16:creationId xmlns:a16="http://schemas.microsoft.com/office/drawing/2014/main" id="{50083D43-1B98-04B6-9BE5-03E94BAF0FA0}"/>
              </a:ext>
            </a:extLst>
          </p:cNvPr>
          <p:cNvCxnSpPr/>
          <p:nvPr>
            <p:custDataLst>
              <p:tags r:id="rId6"/>
            </p:custDataLst>
          </p:nvPr>
        </p:nvCxnSpPr>
        <p:spPr bwMode="gray">
          <a:xfrm>
            <a:off x="8745538" y="3068637"/>
            <a:ext cx="0" cy="2122488"/>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4" name="Straight Connector 663">
            <a:extLst>
              <a:ext uri="{FF2B5EF4-FFF2-40B4-BE49-F238E27FC236}">
                <a16:creationId xmlns:a16="http://schemas.microsoft.com/office/drawing/2014/main" id="{7AA34832-A5BF-2A74-5CF3-4A7FA5030A4C}"/>
              </a:ext>
            </a:extLst>
          </p:cNvPr>
          <p:cNvCxnSpPr/>
          <p:nvPr>
            <p:custDataLst>
              <p:tags r:id="rId7"/>
            </p:custDataLst>
          </p:nvPr>
        </p:nvCxnSpPr>
        <p:spPr bwMode="gray">
          <a:xfrm>
            <a:off x="7878763" y="3068637"/>
            <a:ext cx="0" cy="2122488"/>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5" name="Straight Connector 664">
            <a:extLst>
              <a:ext uri="{FF2B5EF4-FFF2-40B4-BE49-F238E27FC236}">
                <a16:creationId xmlns:a16="http://schemas.microsoft.com/office/drawing/2014/main" id="{A4C81323-C2E3-6071-BC29-43E1EB291113}"/>
              </a:ext>
            </a:extLst>
          </p:cNvPr>
          <p:cNvCxnSpPr/>
          <p:nvPr>
            <p:custDataLst>
              <p:tags r:id="rId8"/>
            </p:custDataLst>
          </p:nvPr>
        </p:nvCxnSpPr>
        <p:spPr bwMode="gray">
          <a:xfrm>
            <a:off x="7878763" y="3068638"/>
            <a:ext cx="866775" cy="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98B5D9C7-2FBC-5223-CA97-7467E939BF22}"/>
              </a:ext>
            </a:extLst>
          </p:cNvPr>
          <p:cNvCxnSpPr/>
          <p:nvPr>
            <p:custDataLst>
              <p:tags r:id="rId9"/>
            </p:custDataLst>
          </p:nvPr>
        </p:nvCxnSpPr>
        <p:spPr bwMode="gray">
          <a:xfrm>
            <a:off x="7011988" y="5213350"/>
            <a:ext cx="0" cy="73025"/>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6961700D-DFE5-8D48-70BB-889EC29627E9}"/>
              </a:ext>
            </a:extLst>
          </p:cNvPr>
          <p:cNvCxnSpPr/>
          <p:nvPr>
            <p:custDataLst>
              <p:tags r:id="rId10"/>
            </p:custDataLst>
          </p:nvPr>
        </p:nvCxnSpPr>
        <p:spPr bwMode="gray">
          <a:xfrm>
            <a:off x="6145213" y="5213350"/>
            <a:ext cx="0" cy="73025"/>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468">
            <a:extLst>
              <a:ext uri="{FF2B5EF4-FFF2-40B4-BE49-F238E27FC236}">
                <a16:creationId xmlns:a16="http://schemas.microsoft.com/office/drawing/2014/main" id="{27A26146-C227-8B66-8E02-FABB9E354D56}"/>
              </a:ext>
            </a:extLst>
          </p:cNvPr>
          <p:cNvCxnSpPr/>
          <p:nvPr>
            <p:custDataLst>
              <p:tags r:id="rId11"/>
            </p:custDataLst>
          </p:nvPr>
        </p:nvCxnSpPr>
        <p:spPr bwMode="gray">
          <a:xfrm>
            <a:off x="6145213" y="5213350"/>
            <a:ext cx="866775" cy="0"/>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0" name="Straight Connector 669">
            <a:extLst>
              <a:ext uri="{FF2B5EF4-FFF2-40B4-BE49-F238E27FC236}">
                <a16:creationId xmlns:a16="http://schemas.microsoft.com/office/drawing/2014/main" id="{E79A9A05-988C-1670-A4D7-A575DE1DC794}"/>
              </a:ext>
            </a:extLst>
          </p:cNvPr>
          <p:cNvCxnSpPr/>
          <p:nvPr>
            <p:custDataLst>
              <p:tags r:id="rId12"/>
            </p:custDataLst>
          </p:nvPr>
        </p:nvCxnSpPr>
        <p:spPr bwMode="gray">
          <a:xfrm>
            <a:off x="6145213" y="3933825"/>
            <a:ext cx="866775" cy="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9" name="Straight Connector 668">
            <a:extLst>
              <a:ext uri="{FF2B5EF4-FFF2-40B4-BE49-F238E27FC236}">
                <a16:creationId xmlns:a16="http://schemas.microsoft.com/office/drawing/2014/main" id="{BC9DF009-A4C8-EFF2-A3B9-327C06460DE0}"/>
              </a:ext>
            </a:extLst>
          </p:cNvPr>
          <p:cNvCxnSpPr/>
          <p:nvPr>
            <p:custDataLst>
              <p:tags r:id="rId13"/>
            </p:custDataLst>
          </p:nvPr>
        </p:nvCxnSpPr>
        <p:spPr bwMode="gray">
          <a:xfrm>
            <a:off x="7011988" y="3933825"/>
            <a:ext cx="0" cy="1279525"/>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1" name="Straight Connector 670">
            <a:extLst>
              <a:ext uri="{FF2B5EF4-FFF2-40B4-BE49-F238E27FC236}">
                <a16:creationId xmlns:a16="http://schemas.microsoft.com/office/drawing/2014/main" id="{51DC2266-5E2F-083D-4153-963142064E48}"/>
              </a:ext>
            </a:extLst>
          </p:cNvPr>
          <p:cNvCxnSpPr/>
          <p:nvPr>
            <p:custDataLst>
              <p:tags r:id="rId14"/>
            </p:custDataLst>
          </p:nvPr>
        </p:nvCxnSpPr>
        <p:spPr bwMode="gray">
          <a:xfrm>
            <a:off x="6145213" y="3933825"/>
            <a:ext cx="0" cy="1279525"/>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9CF4E38-A9DA-F507-9801-E12BB6599934}"/>
              </a:ext>
            </a:extLst>
          </p:cNvPr>
          <p:cNvCxnSpPr/>
          <p:nvPr>
            <p:custDataLst>
              <p:tags r:id="rId15"/>
            </p:custDataLst>
          </p:nvPr>
        </p:nvCxnSpPr>
        <p:spPr bwMode="gray">
          <a:xfrm>
            <a:off x="5278438" y="5240338"/>
            <a:ext cx="0" cy="46037"/>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5A9E5492-266D-D387-7182-86C3A7F04FCD}"/>
              </a:ext>
            </a:extLst>
          </p:cNvPr>
          <p:cNvCxnSpPr/>
          <p:nvPr>
            <p:custDataLst>
              <p:tags r:id="rId16"/>
            </p:custDataLst>
          </p:nvPr>
        </p:nvCxnSpPr>
        <p:spPr bwMode="gray">
          <a:xfrm>
            <a:off x="4410075" y="5240338"/>
            <a:ext cx="868363" cy="0"/>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1C732E36-6B29-E50E-836E-5B6B91B1E3EC}"/>
              </a:ext>
            </a:extLst>
          </p:cNvPr>
          <p:cNvCxnSpPr/>
          <p:nvPr>
            <p:custDataLst>
              <p:tags r:id="rId17"/>
            </p:custDataLst>
          </p:nvPr>
        </p:nvCxnSpPr>
        <p:spPr bwMode="gray">
          <a:xfrm>
            <a:off x="4410075" y="5240338"/>
            <a:ext cx="0" cy="46037"/>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5" name="Straight Connector 674">
            <a:extLst>
              <a:ext uri="{FF2B5EF4-FFF2-40B4-BE49-F238E27FC236}">
                <a16:creationId xmlns:a16="http://schemas.microsoft.com/office/drawing/2014/main" id="{0F8CEE97-3CEA-6708-C9B8-C4CF726774B7}"/>
              </a:ext>
            </a:extLst>
          </p:cNvPr>
          <p:cNvCxnSpPr/>
          <p:nvPr>
            <p:custDataLst>
              <p:tags r:id="rId18"/>
            </p:custDataLst>
          </p:nvPr>
        </p:nvCxnSpPr>
        <p:spPr bwMode="gray">
          <a:xfrm>
            <a:off x="5278438" y="5000625"/>
            <a:ext cx="0" cy="239713"/>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6" name="Straight Connector 675">
            <a:extLst>
              <a:ext uri="{FF2B5EF4-FFF2-40B4-BE49-F238E27FC236}">
                <a16:creationId xmlns:a16="http://schemas.microsoft.com/office/drawing/2014/main" id="{EBF19A53-92FC-F837-7072-F6F8BC5725FC}"/>
              </a:ext>
            </a:extLst>
          </p:cNvPr>
          <p:cNvCxnSpPr/>
          <p:nvPr>
            <p:custDataLst>
              <p:tags r:id="rId19"/>
            </p:custDataLst>
          </p:nvPr>
        </p:nvCxnSpPr>
        <p:spPr bwMode="gray">
          <a:xfrm>
            <a:off x="4410075" y="5000625"/>
            <a:ext cx="0" cy="239713"/>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7" name="Straight Connector 676">
            <a:extLst>
              <a:ext uri="{FF2B5EF4-FFF2-40B4-BE49-F238E27FC236}">
                <a16:creationId xmlns:a16="http://schemas.microsoft.com/office/drawing/2014/main" id="{AD3598D4-82CC-0646-8872-69A5CB9DB8FC}"/>
              </a:ext>
            </a:extLst>
          </p:cNvPr>
          <p:cNvCxnSpPr/>
          <p:nvPr>
            <p:custDataLst>
              <p:tags r:id="rId20"/>
            </p:custDataLst>
          </p:nvPr>
        </p:nvCxnSpPr>
        <p:spPr bwMode="gray">
          <a:xfrm>
            <a:off x="4410075" y="5000625"/>
            <a:ext cx="868363" cy="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FDEAF8AB-8465-2436-1CCE-231F2E26D6CB}"/>
              </a:ext>
            </a:extLst>
          </p:cNvPr>
          <p:cNvCxnSpPr/>
          <p:nvPr>
            <p:custDataLst>
              <p:tags r:id="rId21"/>
            </p:custDataLst>
          </p:nvPr>
        </p:nvCxnSpPr>
        <p:spPr bwMode="gray">
          <a:xfrm>
            <a:off x="3543300" y="5276850"/>
            <a:ext cx="0" cy="9525"/>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6F16D983-A63F-BDF7-16F5-9CBF406AC5E7}"/>
              </a:ext>
            </a:extLst>
          </p:cNvPr>
          <p:cNvCxnSpPr/>
          <p:nvPr>
            <p:custDataLst>
              <p:tags r:id="rId22"/>
            </p:custDataLst>
          </p:nvPr>
        </p:nvCxnSpPr>
        <p:spPr bwMode="gray">
          <a:xfrm>
            <a:off x="2676525" y="5276850"/>
            <a:ext cx="0" cy="9525"/>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C169F1E1-87DE-FA57-9272-8C26701DF879}"/>
              </a:ext>
            </a:extLst>
          </p:cNvPr>
          <p:cNvCxnSpPr/>
          <p:nvPr>
            <p:custDataLst>
              <p:tags r:id="rId23"/>
            </p:custDataLst>
          </p:nvPr>
        </p:nvCxnSpPr>
        <p:spPr bwMode="gray">
          <a:xfrm>
            <a:off x="2676525" y="5276850"/>
            <a:ext cx="866775" cy="0"/>
          </a:xfrm>
          <a:prstGeom prst="line">
            <a:avLst/>
          </a:prstGeom>
          <a:ln w="28575" cap="flat" cmpd="sng" algn="ctr">
            <a:solidFill>
              <a:srgbClr val="DF5327"/>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1" name="Straight Connector 680">
            <a:extLst>
              <a:ext uri="{FF2B5EF4-FFF2-40B4-BE49-F238E27FC236}">
                <a16:creationId xmlns:a16="http://schemas.microsoft.com/office/drawing/2014/main" id="{95C584E0-84E2-B14C-30DA-9E9967289E9F}"/>
              </a:ext>
            </a:extLst>
          </p:cNvPr>
          <p:cNvCxnSpPr/>
          <p:nvPr>
            <p:custDataLst>
              <p:tags r:id="rId24"/>
            </p:custDataLst>
          </p:nvPr>
        </p:nvCxnSpPr>
        <p:spPr bwMode="gray">
          <a:xfrm>
            <a:off x="3543300" y="5232399"/>
            <a:ext cx="0" cy="4445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2" name="Straight Connector 681">
            <a:extLst>
              <a:ext uri="{FF2B5EF4-FFF2-40B4-BE49-F238E27FC236}">
                <a16:creationId xmlns:a16="http://schemas.microsoft.com/office/drawing/2014/main" id="{32059D9F-F2A1-EA5D-6D0A-05B7A09A4C38}"/>
              </a:ext>
            </a:extLst>
          </p:cNvPr>
          <p:cNvCxnSpPr/>
          <p:nvPr>
            <p:custDataLst>
              <p:tags r:id="rId25"/>
            </p:custDataLst>
          </p:nvPr>
        </p:nvCxnSpPr>
        <p:spPr bwMode="gray">
          <a:xfrm>
            <a:off x="2676525" y="5232399"/>
            <a:ext cx="0" cy="4445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3" name="Straight Connector 682">
            <a:extLst>
              <a:ext uri="{FF2B5EF4-FFF2-40B4-BE49-F238E27FC236}">
                <a16:creationId xmlns:a16="http://schemas.microsoft.com/office/drawing/2014/main" id="{792F47C3-DE9F-C9E6-B785-D812C19C5E45}"/>
              </a:ext>
            </a:extLst>
          </p:cNvPr>
          <p:cNvCxnSpPr/>
          <p:nvPr>
            <p:custDataLst>
              <p:tags r:id="rId26"/>
            </p:custDataLst>
          </p:nvPr>
        </p:nvCxnSpPr>
        <p:spPr bwMode="gray">
          <a:xfrm>
            <a:off x="2676525" y="5232400"/>
            <a:ext cx="866775" cy="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5" name="Straight Connector 684">
            <a:extLst>
              <a:ext uri="{FF2B5EF4-FFF2-40B4-BE49-F238E27FC236}">
                <a16:creationId xmlns:a16="http://schemas.microsoft.com/office/drawing/2014/main" id="{D6170AE5-B999-62BA-EA07-DEDCC689634E}"/>
              </a:ext>
            </a:extLst>
          </p:cNvPr>
          <p:cNvCxnSpPr/>
          <p:nvPr>
            <p:custDataLst>
              <p:tags r:id="rId27"/>
            </p:custDataLst>
          </p:nvPr>
        </p:nvCxnSpPr>
        <p:spPr bwMode="gray">
          <a:xfrm>
            <a:off x="942975" y="5267325"/>
            <a:ext cx="0" cy="1905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6" name="Straight Connector 685">
            <a:extLst>
              <a:ext uri="{FF2B5EF4-FFF2-40B4-BE49-F238E27FC236}">
                <a16:creationId xmlns:a16="http://schemas.microsoft.com/office/drawing/2014/main" id="{7A7F0B14-5B3D-64A0-9D8E-733576046845}"/>
              </a:ext>
            </a:extLst>
          </p:cNvPr>
          <p:cNvCxnSpPr/>
          <p:nvPr>
            <p:custDataLst>
              <p:tags r:id="rId28"/>
            </p:custDataLst>
          </p:nvPr>
        </p:nvCxnSpPr>
        <p:spPr bwMode="gray">
          <a:xfrm>
            <a:off x="1809750" y="5267325"/>
            <a:ext cx="0" cy="1905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4" name="Straight Connector 683">
            <a:extLst>
              <a:ext uri="{FF2B5EF4-FFF2-40B4-BE49-F238E27FC236}">
                <a16:creationId xmlns:a16="http://schemas.microsoft.com/office/drawing/2014/main" id="{D1E4785B-EA7D-562D-D390-4867A91874C4}"/>
              </a:ext>
            </a:extLst>
          </p:cNvPr>
          <p:cNvCxnSpPr/>
          <p:nvPr>
            <p:custDataLst>
              <p:tags r:id="rId29"/>
            </p:custDataLst>
          </p:nvPr>
        </p:nvCxnSpPr>
        <p:spPr bwMode="gray">
          <a:xfrm>
            <a:off x="942975" y="5267325"/>
            <a:ext cx="866775" cy="0"/>
          </a:xfrm>
          <a:prstGeom prst="line">
            <a:avLst/>
          </a:prstGeom>
          <a:ln w="22225" cap="flat" cmpd="sng" algn="ctr">
            <a:solidFill>
              <a:schemeClr val="tx2"/>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7" name="Text Placeholder 19">
            <a:extLst>
              <a:ext uri="{FF2B5EF4-FFF2-40B4-BE49-F238E27FC236}">
                <a16:creationId xmlns:a16="http://schemas.microsoft.com/office/drawing/2014/main" id="{41ED2BFA-EC54-7653-5282-85FE8DA6B3ED}"/>
              </a:ext>
            </a:extLst>
          </p:cNvPr>
          <p:cNvSpPr>
            <a:spLocks noGrp="1"/>
          </p:cNvSpPr>
          <p:nvPr>
            <p:custDataLst>
              <p:tags r:id="rId30"/>
            </p:custDataLst>
          </p:nvPr>
        </p:nvSpPr>
        <p:spPr bwMode="auto">
          <a:xfrm>
            <a:off x="4659313" y="534193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071D24F0-797C-4AC5-9216-75D5467F29A2}" type="datetime'''''''''''''''''''2''03''''''''''''''''''''''''''''''''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88" name="Text Placeholder 19">
            <a:extLst>
              <a:ext uri="{FF2B5EF4-FFF2-40B4-BE49-F238E27FC236}">
                <a16:creationId xmlns:a16="http://schemas.microsoft.com/office/drawing/2014/main" id="{736FAFCE-D7F2-2DC7-D7A0-346039870F67}"/>
              </a:ext>
            </a:extLst>
          </p:cNvPr>
          <p:cNvSpPr>
            <a:spLocks noGrp="1"/>
          </p:cNvSpPr>
          <p:nvPr>
            <p:custDataLst>
              <p:tags r:id="rId31"/>
            </p:custDataLst>
          </p:nvPr>
        </p:nvSpPr>
        <p:spPr bwMode="auto">
          <a:xfrm>
            <a:off x="2925763" y="534193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5A6DDE1-5242-4670-B55A-D556FF275FE0}" type="datetime'''20''''2''''''''''''''''5'''''''''''">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5</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89" name="Text Placeholder 19">
            <a:extLst>
              <a:ext uri="{FF2B5EF4-FFF2-40B4-BE49-F238E27FC236}">
                <a16:creationId xmlns:a16="http://schemas.microsoft.com/office/drawing/2014/main" id="{0731559D-326E-3839-5A31-685E21020EE0}"/>
              </a:ext>
            </a:extLst>
          </p:cNvPr>
          <p:cNvSpPr>
            <a:spLocks noGrp="1"/>
          </p:cNvSpPr>
          <p:nvPr>
            <p:custDataLst>
              <p:tags r:id="rId32"/>
            </p:custDataLst>
          </p:nvPr>
        </p:nvSpPr>
        <p:spPr bwMode="auto">
          <a:xfrm>
            <a:off x="6394450" y="534193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E56458A-DD3F-42E8-861E-C47D965BE95E}" type="datetime'''2''''''''''''0''''''''''''''''''''''''''''''4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4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90" name="Text Placeholder 19">
            <a:extLst>
              <a:ext uri="{FF2B5EF4-FFF2-40B4-BE49-F238E27FC236}">
                <a16:creationId xmlns:a16="http://schemas.microsoft.com/office/drawing/2014/main" id="{B0966504-6769-984E-9CC4-92BAF24026E1}"/>
              </a:ext>
            </a:extLst>
          </p:cNvPr>
          <p:cNvSpPr>
            <a:spLocks noGrp="1"/>
          </p:cNvSpPr>
          <p:nvPr>
            <p:custDataLst>
              <p:tags r:id="rId33"/>
            </p:custDataLst>
          </p:nvPr>
        </p:nvSpPr>
        <p:spPr bwMode="auto">
          <a:xfrm>
            <a:off x="1192213" y="534193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05B2BDB-5644-400A-A9EA-D559BEC358AA}" type="datetime'''''2''''''''0''''2''''''''3'''''''''''''''''''''''">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3</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91" name="Text Placeholder 19">
            <a:extLst>
              <a:ext uri="{FF2B5EF4-FFF2-40B4-BE49-F238E27FC236}">
                <a16:creationId xmlns:a16="http://schemas.microsoft.com/office/drawing/2014/main" id="{1534793A-873C-4F5A-1210-4AD1B3403E68}"/>
              </a:ext>
            </a:extLst>
          </p:cNvPr>
          <p:cNvSpPr>
            <a:spLocks noGrp="1"/>
          </p:cNvSpPr>
          <p:nvPr>
            <p:custDataLst>
              <p:tags r:id="rId34"/>
            </p:custDataLst>
          </p:nvPr>
        </p:nvSpPr>
        <p:spPr bwMode="auto">
          <a:xfrm>
            <a:off x="8128000" y="5341938"/>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A12ADD4-F8FC-47B5-ABAD-420B174A2287}" type="datetime'''2''0''''''''5''''''''''''''''''''''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5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8" name="Text Placeholder 457">
            <a:extLst>
              <a:ext uri="{FF2B5EF4-FFF2-40B4-BE49-F238E27FC236}">
                <a16:creationId xmlns:a16="http://schemas.microsoft.com/office/drawing/2014/main" id="{CFE89CA1-2B8C-B832-2B48-CA51DDB5B7BF}"/>
              </a:ext>
            </a:extLst>
          </p:cNvPr>
          <p:cNvSpPr>
            <a:spLocks noGrp="1"/>
          </p:cNvSpPr>
          <p:nvPr>
            <p:ph type="body" sz="quarter" idx="28"/>
          </p:nvPr>
        </p:nvSpPr>
        <p:spPr>
          <a:xfrm>
            <a:off x="381000" y="1273173"/>
            <a:ext cx="8040437" cy="369332"/>
          </a:xfrm>
        </p:spPr>
        <p:txBody>
          <a:bodyPr/>
          <a:lstStyle/>
          <a:p>
            <a:r>
              <a:rPr lang="en-GB" b="1">
                <a:latin typeface="Lato"/>
              </a:rPr>
              <a:t>Total available storage in electric vehicles (EVs) in Europe </a:t>
            </a:r>
            <a:r>
              <a:rPr lang="en-GB" sz="1200" b="1">
                <a:latin typeface="Lato"/>
              </a:rPr>
              <a:t>(Aurora Central scenario)</a:t>
            </a:r>
            <a:br>
              <a:rPr lang="en-GB">
                <a:solidFill>
                  <a:schemeClr val="accent5"/>
                </a:solidFill>
                <a:latin typeface="Lato"/>
              </a:rPr>
            </a:br>
            <a:r>
              <a:rPr lang="en-GB" b="0">
                <a:solidFill>
                  <a:schemeClr val="accent5"/>
                </a:solidFill>
                <a:latin typeface="Lato"/>
              </a:rPr>
              <a:t>GWh</a:t>
            </a:r>
          </a:p>
        </p:txBody>
      </p:sp>
      <p:sp>
        <p:nvSpPr>
          <p:cNvPr id="2" name="Text Placeholder 1">
            <a:extLst>
              <a:ext uri="{FF2B5EF4-FFF2-40B4-BE49-F238E27FC236}">
                <a16:creationId xmlns:a16="http://schemas.microsoft.com/office/drawing/2014/main" id="{0D326790-F4D0-4D4C-9838-536A4F463977}"/>
              </a:ext>
            </a:extLst>
          </p:cNvPr>
          <p:cNvSpPr>
            <a:spLocks noGrp="1"/>
          </p:cNvSpPr>
          <p:nvPr>
            <p:ph type="body" sz="quarter" idx="22"/>
          </p:nvPr>
        </p:nvSpPr>
        <p:spPr>
          <a:xfrm>
            <a:off x="381001" y="6715169"/>
            <a:ext cx="1931619" cy="110800"/>
          </a:xfrm>
        </p:spPr>
        <p:txBody>
          <a:bodyPr/>
          <a:lstStyle/>
          <a:p>
            <a:r>
              <a:rPr lang="en-GB"/>
              <a:t>Sources: Aurora Energy Research, Eurostat</a:t>
            </a:r>
          </a:p>
        </p:txBody>
      </p:sp>
      <p:sp>
        <p:nvSpPr>
          <p:cNvPr id="3" name="Title 2">
            <a:extLst>
              <a:ext uri="{FF2B5EF4-FFF2-40B4-BE49-F238E27FC236}">
                <a16:creationId xmlns:a16="http://schemas.microsoft.com/office/drawing/2014/main" id="{730ABDDA-85A4-4992-908F-C9093A4C6D5E}"/>
              </a:ext>
            </a:extLst>
          </p:cNvPr>
          <p:cNvSpPr>
            <a:spLocks noGrp="1"/>
          </p:cNvSpPr>
          <p:nvPr>
            <p:ph type="title"/>
          </p:nvPr>
        </p:nvSpPr>
        <p:spPr/>
        <p:txBody>
          <a:bodyPr vert="horz"/>
          <a:lstStyle/>
          <a:p>
            <a:r>
              <a:rPr lang="en-GB"/>
              <a:t>Smart charging systems could drive competition for grid scale assets with </a:t>
            </a:r>
            <a:r>
              <a:rPr lang="en-GB" sz="2400" b="1" i="0" u="none" strike="noStrike" kern="1200" baseline="0">
                <a:solidFill>
                  <a:srgbClr val="808080"/>
                </a:solidFill>
                <a:highlight>
                  <a:srgbClr val="808080"/>
                </a:highlight>
                <a:latin typeface="Lato" panose="020F0502020204030203" pitchFamily="34" charset="0"/>
              </a:rPr>
              <a:t>XX </a:t>
            </a:r>
            <a:r>
              <a:rPr lang="en-GB"/>
              <a:t>x more smart charging EV storage than grid storage by 2030</a:t>
            </a:r>
          </a:p>
        </p:txBody>
      </p:sp>
      <p:sp>
        <p:nvSpPr>
          <p:cNvPr id="301" name="Rounded Rectangle 96">
            <a:extLst>
              <a:ext uri="{FF2B5EF4-FFF2-40B4-BE49-F238E27FC236}">
                <a16:creationId xmlns:a16="http://schemas.microsoft.com/office/drawing/2014/main" id="{772CFFB2-1CF3-0363-4186-9470A77BC7BA}"/>
              </a:ext>
            </a:extLst>
          </p:cNvPr>
          <p:cNvSpPr/>
          <p:nvPr/>
        </p:nvSpPr>
        <p:spPr>
          <a:xfrm>
            <a:off x="2810210" y="5635405"/>
            <a:ext cx="540000" cy="263525"/>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XX</a:t>
            </a:r>
          </a:p>
        </p:txBody>
      </p:sp>
      <p:sp>
        <p:nvSpPr>
          <p:cNvPr id="302" name="Rounded Rectangle 96">
            <a:extLst>
              <a:ext uri="{FF2B5EF4-FFF2-40B4-BE49-F238E27FC236}">
                <a16:creationId xmlns:a16="http://schemas.microsoft.com/office/drawing/2014/main" id="{1046A80E-F8FD-A7E6-4A0C-154DC5FF4194}"/>
              </a:ext>
            </a:extLst>
          </p:cNvPr>
          <p:cNvSpPr/>
          <p:nvPr/>
        </p:nvSpPr>
        <p:spPr>
          <a:xfrm>
            <a:off x="4557600" y="5635405"/>
            <a:ext cx="540000" cy="263525"/>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XX</a:t>
            </a:r>
          </a:p>
        </p:txBody>
      </p:sp>
      <p:sp>
        <p:nvSpPr>
          <p:cNvPr id="304" name="Rounded Rectangle 96">
            <a:extLst>
              <a:ext uri="{FF2B5EF4-FFF2-40B4-BE49-F238E27FC236}">
                <a16:creationId xmlns:a16="http://schemas.microsoft.com/office/drawing/2014/main" id="{87912F33-1983-39A3-A524-4CDF4C63037C}"/>
              </a:ext>
            </a:extLst>
          </p:cNvPr>
          <p:cNvSpPr/>
          <p:nvPr/>
        </p:nvSpPr>
        <p:spPr>
          <a:xfrm>
            <a:off x="8052379" y="5635405"/>
            <a:ext cx="540000" cy="263525"/>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XX</a:t>
            </a:r>
          </a:p>
        </p:txBody>
      </p:sp>
      <p:sp>
        <p:nvSpPr>
          <p:cNvPr id="305" name="Rounded Rectangle 96">
            <a:extLst>
              <a:ext uri="{FF2B5EF4-FFF2-40B4-BE49-F238E27FC236}">
                <a16:creationId xmlns:a16="http://schemas.microsoft.com/office/drawing/2014/main" id="{B21C3495-35A4-D124-FDC7-0F181ADEDBE4}"/>
              </a:ext>
            </a:extLst>
          </p:cNvPr>
          <p:cNvSpPr/>
          <p:nvPr/>
        </p:nvSpPr>
        <p:spPr>
          <a:xfrm>
            <a:off x="6304990" y="5635405"/>
            <a:ext cx="540000" cy="263525"/>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XX</a:t>
            </a:r>
          </a:p>
        </p:txBody>
      </p:sp>
      <p:sp>
        <p:nvSpPr>
          <p:cNvPr id="308" name="Rounded Rectangle 96">
            <a:extLst>
              <a:ext uri="{FF2B5EF4-FFF2-40B4-BE49-F238E27FC236}">
                <a16:creationId xmlns:a16="http://schemas.microsoft.com/office/drawing/2014/main" id="{E0A9FCEB-D7A5-DF7F-67BA-B07E29B27DC7}"/>
              </a:ext>
            </a:extLst>
          </p:cNvPr>
          <p:cNvSpPr/>
          <p:nvPr/>
        </p:nvSpPr>
        <p:spPr>
          <a:xfrm>
            <a:off x="1062820" y="5635405"/>
            <a:ext cx="540000" cy="263525"/>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p>
        </p:txBody>
      </p:sp>
      <p:grpSp>
        <p:nvGrpSpPr>
          <p:cNvPr id="309" name="Group 308">
            <a:extLst>
              <a:ext uri="{FF2B5EF4-FFF2-40B4-BE49-F238E27FC236}">
                <a16:creationId xmlns:a16="http://schemas.microsoft.com/office/drawing/2014/main" id="{D1459643-F599-7ECC-85BB-6E57DB861768}"/>
              </a:ext>
            </a:extLst>
          </p:cNvPr>
          <p:cNvGrpSpPr/>
          <p:nvPr/>
        </p:nvGrpSpPr>
        <p:grpSpPr>
          <a:xfrm>
            <a:off x="4613277" y="6256337"/>
            <a:ext cx="4479922" cy="159523"/>
            <a:chOff x="5465469" y="5960785"/>
            <a:chExt cx="4651375" cy="195020"/>
          </a:xfrm>
        </p:grpSpPr>
        <p:sp>
          <p:nvSpPr>
            <p:cNvPr id="311" name="Rounded Rectangle 96">
              <a:extLst>
                <a:ext uri="{FF2B5EF4-FFF2-40B4-BE49-F238E27FC236}">
                  <a16:creationId xmlns:a16="http://schemas.microsoft.com/office/drawing/2014/main" id="{7B172CF2-3037-3594-E361-385CFBC6828A}"/>
                </a:ext>
              </a:extLst>
            </p:cNvPr>
            <p:cNvSpPr/>
            <p:nvPr/>
          </p:nvSpPr>
          <p:spPr>
            <a:xfrm>
              <a:off x="5465469" y="5960785"/>
              <a:ext cx="449209" cy="195020"/>
            </a:xfrm>
            <a:prstGeom prst="roundRect">
              <a:avLst>
                <a:gd name="adj" fmla="val 50000"/>
              </a:avLst>
            </a:prstGeom>
            <a:solidFill>
              <a:schemeClr val="tx1">
                <a:lumMod val="20000"/>
                <a:lumOff val="80000"/>
              </a:schemeClr>
            </a:solidFill>
            <a:ln w="63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p>
          </p:txBody>
        </p:sp>
        <p:sp>
          <p:nvSpPr>
            <p:cNvPr id="312" name="TextBox 311">
              <a:extLst>
                <a:ext uri="{FF2B5EF4-FFF2-40B4-BE49-F238E27FC236}">
                  <a16:creationId xmlns:a16="http://schemas.microsoft.com/office/drawing/2014/main" id="{748BAAA9-FB78-9FC1-79C9-2867F9A0F04F}"/>
                </a:ext>
              </a:extLst>
            </p:cNvPr>
            <p:cNvSpPr txBox="1"/>
            <p:nvPr/>
          </p:nvSpPr>
          <p:spPr>
            <a:xfrm>
              <a:off x="5991013" y="5964663"/>
              <a:ext cx="4125831" cy="1881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Storage capacity of </a:t>
              </a:r>
              <a:r>
                <a:rPr lang="en-GB" sz="1000">
                  <a:solidFill>
                    <a:srgbClr val="3C3C3B"/>
                  </a:solidFill>
                  <a:latin typeface="Lato"/>
                </a:rPr>
                <a:t>smart</a:t>
              </a:r>
              <a:r>
                <a:rPr lang="en-GB" sz="1000" baseline="30000">
                  <a:solidFill>
                    <a:srgbClr val="3C3C3B"/>
                  </a:solidFill>
                  <a:latin typeface="Lato"/>
                </a:rPr>
                <a:t>1</a:t>
              </a:r>
              <a:r>
                <a:rPr lang="en-GB" sz="1000">
                  <a:solidFill>
                    <a:srgbClr val="3C3C3B"/>
                  </a:solidFill>
                  <a:latin typeface="Lato"/>
                </a:rPr>
                <a:t> </a:t>
              </a:r>
              <a:r>
                <a:rPr kumimoji="0" lang="en-GB" sz="1000" b="0" i="0" u="none" strike="noStrike" kern="1200" cap="none" spc="0" normalizeH="0" baseline="0" noProof="0">
                  <a:ln>
                    <a:noFill/>
                  </a:ln>
                  <a:solidFill>
                    <a:srgbClr val="3C3C3B"/>
                  </a:solidFill>
                  <a:effectLst/>
                  <a:uLnTx/>
                  <a:uFillTx/>
                  <a:latin typeface="Lato"/>
                  <a:ea typeface="+mn-ea"/>
                  <a:cs typeface="+mn-cs"/>
                </a:rPr>
                <a:t>EVs as multiple of grid scale batteries (GWh)</a:t>
              </a:r>
            </a:p>
          </p:txBody>
        </p:sp>
      </p:grpSp>
      <p:sp>
        <p:nvSpPr>
          <p:cNvPr id="19" name="Text Placeholder 54">
            <a:extLst>
              <a:ext uri="{FF2B5EF4-FFF2-40B4-BE49-F238E27FC236}">
                <a16:creationId xmlns:a16="http://schemas.microsoft.com/office/drawing/2014/main" id="{45408647-88B7-2E87-E078-5DF0DFAFB63B}"/>
              </a:ext>
            </a:extLst>
          </p:cNvPr>
          <p:cNvSpPr>
            <a:spLocks noGrp="1"/>
          </p:cNvSpPr>
          <p:nvPr>
            <p:ph type="body" sz="quarter" idx="32"/>
          </p:nvPr>
        </p:nvSpPr>
        <p:spPr>
          <a:xfrm>
            <a:off x="381600" y="6474841"/>
            <a:ext cx="8600470" cy="110800"/>
          </a:xfrm>
        </p:spPr>
        <p:txBody>
          <a:bodyPr/>
          <a:lstStyle/>
          <a:p>
            <a:r>
              <a:rPr lang="en-GB"/>
              <a:t>1) Refers to unidirectionally smart charging vehicles i.e. vehicles that can adapt the timing of their charging based on power prices. V2G refers to bidirectional charging vehicles. 2) See slide 69</a:t>
            </a:r>
          </a:p>
        </p:txBody>
      </p:sp>
      <p:sp>
        <p:nvSpPr>
          <p:cNvPr id="70" name="Text Placeholder 54">
            <a:extLst>
              <a:ext uri="{FF2B5EF4-FFF2-40B4-BE49-F238E27FC236}">
                <a16:creationId xmlns:a16="http://schemas.microsoft.com/office/drawing/2014/main" id="{67DDF8D4-ACE6-2462-EE41-173565B40D48}"/>
              </a:ext>
            </a:extLst>
          </p:cNvPr>
          <p:cNvSpPr>
            <a:spLocks noGrp="1"/>
          </p:cNvSpPr>
          <p:nvPr>
            <p:ph type="body" sz="quarter" idx="31"/>
          </p:nvPr>
        </p:nvSpPr>
        <p:spPr>
          <a:xfrm>
            <a:off x="381599" y="79401"/>
            <a:ext cx="3983463" cy="184666"/>
          </a:xfrm>
        </p:spPr>
        <p:txBody>
          <a:bodyPr/>
          <a:lstStyle/>
          <a:p>
            <a:pPr marL="444500"/>
            <a:r>
              <a:rPr lang="en-GB"/>
              <a:t>	Market size and outlook – Long-term market outlook</a:t>
            </a:r>
          </a:p>
        </p:txBody>
      </p:sp>
      <p:sp>
        <p:nvSpPr>
          <p:cNvPr id="4" name="Oval 3">
            <a:extLst>
              <a:ext uri="{FF2B5EF4-FFF2-40B4-BE49-F238E27FC236}">
                <a16:creationId xmlns:a16="http://schemas.microsoft.com/office/drawing/2014/main" id="{1C9F5750-DC1A-63E7-B445-43A9DF6EDC0D}"/>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II</a:t>
            </a:r>
          </a:p>
        </p:txBody>
      </p:sp>
      <p:sp>
        <p:nvSpPr>
          <p:cNvPr id="8" name="Oval 7">
            <a:extLst>
              <a:ext uri="{FF2B5EF4-FFF2-40B4-BE49-F238E27FC236}">
                <a16:creationId xmlns:a16="http://schemas.microsoft.com/office/drawing/2014/main" id="{9F52D22A-E676-B798-74E9-FE6F98EBA7A3}"/>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704" name="Oval 703">
            <a:extLst>
              <a:ext uri="{FF2B5EF4-FFF2-40B4-BE49-F238E27FC236}">
                <a16:creationId xmlns:a16="http://schemas.microsoft.com/office/drawing/2014/main" id="{565C7C0D-68E3-B0BA-53AD-2DD98763B9ED}"/>
              </a:ext>
            </a:extLst>
          </p:cNvPr>
          <p:cNvSpPr/>
          <p:nvPr/>
        </p:nvSpPr>
        <p:spPr>
          <a:xfrm>
            <a:off x="2732878" y="3813175"/>
            <a:ext cx="982662" cy="966788"/>
          </a:xfrm>
          <a:prstGeom prst="ellipse">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97" name="Rectangle 696">
            <a:extLst>
              <a:ext uri="{FF2B5EF4-FFF2-40B4-BE49-F238E27FC236}">
                <a16:creationId xmlns:a16="http://schemas.microsoft.com/office/drawing/2014/main" id="{325C578C-E829-4B6A-50FD-42C99AD71F45}"/>
              </a:ext>
            </a:extLst>
          </p:cNvPr>
          <p:cNvSpPr/>
          <p:nvPr>
            <p:custDataLst>
              <p:tags r:id="rId35"/>
            </p:custDataLst>
          </p:nvPr>
        </p:nvSpPr>
        <p:spPr bwMode="auto">
          <a:xfrm>
            <a:off x="390525" y="6281738"/>
            <a:ext cx="179388" cy="133350"/>
          </a:xfrm>
          <a:prstGeom prst="rect">
            <a:avLst/>
          </a:prstGeom>
          <a:solidFill>
            <a:schemeClr val="accent1"/>
          </a:solidFill>
          <a:ln w="22225" cap="flat" cmpd="sng" algn="ctr">
            <a:solidFill>
              <a:schemeClr val="tx2"/>
            </a:solidFill>
            <a:prstDash val="dash"/>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698" name="Rectangle 697">
            <a:extLst>
              <a:ext uri="{FF2B5EF4-FFF2-40B4-BE49-F238E27FC236}">
                <a16:creationId xmlns:a16="http://schemas.microsoft.com/office/drawing/2014/main" id="{5A4CD271-4F26-5D10-9CF0-B7E593CED8C6}"/>
              </a:ext>
            </a:extLst>
          </p:cNvPr>
          <p:cNvSpPr/>
          <p:nvPr>
            <p:custDataLst>
              <p:tags r:id="rId36"/>
            </p:custDataLst>
          </p:nvPr>
        </p:nvSpPr>
        <p:spPr bwMode="auto">
          <a:xfrm>
            <a:off x="2538413" y="6281738"/>
            <a:ext cx="179388" cy="133350"/>
          </a:xfrm>
          <a:prstGeom prst="rect">
            <a:avLst/>
          </a:prstGeom>
          <a:solidFill>
            <a:schemeClr val="accent1"/>
          </a:solidFill>
          <a:ln w="28575" cap="flat" cmpd="sng" algn="ctr">
            <a:solidFill>
              <a:srgbClr val="DF5327"/>
            </a:solidFill>
            <a:prstDash val="dash"/>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699" name="Text Placeholder 19">
            <a:extLst>
              <a:ext uri="{FF2B5EF4-FFF2-40B4-BE49-F238E27FC236}">
                <a16:creationId xmlns:a16="http://schemas.microsoft.com/office/drawing/2014/main" id="{54318E83-B94F-F431-2673-972A7B9D4897}"/>
              </a:ext>
            </a:extLst>
          </p:cNvPr>
          <p:cNvSpPr>
            <a:spLocks noGrp="1"/>
          </p:cNvSpPr>
          <p:nvPr>
            <p:custDataLst>
              <p:tags r:id="rId37"/>
            </p:custDataLst>
          </p:nvPr>
        </p:nvSpPr>
        <p:spPr bwMode="auto">
          <a:xfrm>
            <a:off x="620713" y="6276975"/>
            <a:ext cx="1816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B1FAA943-7896-4A95-A562-94F4B6C92F8A}" type="datetime'''EVs avaliab''''''l''e f''o''''r ''s''mart charg''in''g'">
              <a:rPr kumimoji="0" lang="en-US"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EVs avaliable for smart charging</a:t>
            </a:fld>
            <a:r>
              <a:rPr kumimoji="0" lang="en-GB" altLang="en-US" sz="1000" b="0" i="0" u="none" strike="noStrike" kern="1200" cap="none" spc="0" normalizeH="0" baseline="30000" noProof="0">
                <a:ln>
                  <a:noFill/>
                </a:ln>
                <a:solidFill>
                  <a:srgbClr val="3C3C3B"/>
                </a:solidFill>
                <a:effectLst/>
                <a:uLnTx/>
                <a:uFillTx/>
                <a:latin typeface="Lato"/>
                <a:ea typeface="+mn-ea"/>
                <a:cs typeface="+mn-cs"/>
                <a:sym typeface="Lato" panose="020F0502020204030203" pitchFamily="34" charset="0"/>
              </a:rPr>
              <a:t>1</a:t>
            </a:r>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00" name="Text Placeholder 19">
            <a:extLst>
              <a:ext uri="{FF2B5EF4-FFF2-40B4-BE49-F238E27FC236}">
                <a16:creationId xmlns:a16="http://schemas.microsoft.com/office/drawing/2014/main" id="{0DEB04E9-6E52-F156-CBF0-F8DE493583C8}"/>
              </a:ext>
            </a:extLst>
          </p:cNvPr>
          <p:cNvSpPr>
            <a:spLocks noGrp="1"/>
          </p:cNvSpPr>
          <p:nvPr>
            <p:custDataLst>
              <p:tags r:id="rId38"/>
            </p:custDataLst>
          </p:nvPr>
        </p:nvSpPr>
        <p:spPr bwMode="auto">
          <a:xfrm>
            <a:off x="2768600" y="6276975"/>
            <a:ext cx="1552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2715B45-6F26-43CD-8A88-D01CA9F5E074}" type="datetime'Ut''i''lity-scale'''' ''b''''''atter''y ''s''''''torag''e'''">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Utility-scale battery storage</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705" name="Oval 704">
            <a:extLst>
              <a:ext uri="{FF2B5EF4-FFF2-40B4-BE49-F238E27FC236}">
                <a16:creationId xmlns:a16="http://schemas.microsoft.com/office/drawing/2014/main" id="{A07C1C70-954A-CDD6-531B-B5CD5E1E931E}"/>
              </a:ext>
            </a:extLst>
          </p:cNvPr>
          <p:cNvSpPr/>
          <p:nvPr/>
        </p:nvSpPr>
        <p:spPr>
          <a:xfrm>
            <a:off x="6078567" y="1715977"/>
            <a:ext cx="982663" cy="966788"/>
          </a:xfrm>
          <a:prstGeom prst="ellipse">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aphicFrame>
        <p:nvGraphicFramePr>
          <p:cNvPr id="14" name="Chart 13">
            <a:extLst>
              <a:ext uri="{FF2B5EF4-FFF2-40B4-BE49-F238E27FC236}">
                <a16:creationId xmlns:a16="http://schemas.microsoft.com/office/drawing/2014/main" id="{3D47007A-3CDC-792D-256A-A0DAD8B094B6}"/>
              </a:ext>
            </a:extLst>
          </p:cNvPr>
          <p:cNvGraphicFramePr/>
          <p:nvPr>
            <p:custDataLst>
              <p:tags r:id="rId39"/>
            </p:custDataLst>
            <p:extLst>
              <p:ext uri="{D42A27DB-BD31-4B8C-83A1-F6EECF244321}">
                <p14:modId xmlns:p14="http://schemas.microsoft.com/office/powerpoint/2010/main" val="406950865"/>
              </p:ext>
            </p:extLst>
          </p:nvPr>
        </p:nvGraphicFramePr>
        <p:xfrm>
          <a:off x="5916613" y="1616075"/>
          <a:ext cx="1249362" cy="1249363"/>
        </p:xfrm>
        <a:graphic>
          <a:graphicData uri="http://schemas.openxmlformats.org/drawingml/2006/chart">
            <c:chart xmlns:c="http://schemas.openxmlformats.org/drawingml/2006/chart" xmlns:r="http://schemas.openxmlformats.org/officeDocument/2006/relationships" r:id="rId48"/>
          </a:graphicData>
        </a:graphic>
      </p:graphicFrame>
      <p:sp>
        <p:nvSpPr>
          <p:cNvPr id="140" name="Text Placeholder 19">
            <a:extLst>
              <a:ext uri="{FF2B5EF4-FFF2-40B4-BE49-F238E27FC236}">
                <a16:creationId xmlns:a16="http://schemas.microsoft.com/office/drawing/2014/main" id="{9F9869AF-B0F6-4E89-B216-4EC18C7334C2}"/>
              </a:ext>
            </a:extLst>
          </p:cNvPr>
          <p:cNvSpPr>
            <a:spLocks noGrp="1"/>
          </p:cNvSpPr>
          <p:nvPr>
            <p:custDataLst>
              <p:tags r:id="rId40"/>
            </p:custDataLst>
          </p:nvPr>
        </p:nvSpPr>
        <p:spPr bwMode="auto">
          <a:xfrm>
            <a:off x="6335713" y="2149475"/>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sym typeface="Lato" panose="020F0502020204030203" pitchFamily="34" charset="0"/>
              </a:rPr>
              <a:t>2040</a:t>
            </a:r>
            <a:endPar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aphicFrame>
        <p:nvGraphicFramePr>
          <p:cNvPr id="13" name="Chart 12">
            <a:extLst>
              <a:ext uri="{FF2B5EF4-FFF2-40B4-BE49-F238E27FC236}">
                <a16:creationId xmlns:a16="http://schemas.microsoft.com/office/drawing/2014/main" id="{BAE92126-4E5F-968A-7A0F-E4DD0AE5B6DD}"/>
              </a:ext>
            </a:extLst>
          </p:cNvPr>
          <p:cNvGraphicFramePr/>
          <p:nvPr>
            <p:custDataLst>
              <p:tags r:id="rId41"/>
            </p:custDataLst>
            <p:extLst>
              <p:ext uri="{D42A27DB-BD31-4B8C-83A1-F6EECF244321}">
                <p14:modId xmlns:p14="http://schemas.microsoft.com/office/powerpoint/2010/main" val="3253106264"/>
              </p:ext>
            </p:extLst>
          </p:nvPr>
        </p:nvGraphicFramePr>
        <p:xfrm>
          <a:off x="2476500" y="3486150"/>
          <a:ext cx="1262063" cy="1262063"/>
        </p:xfrm>
        <a:graphic>
          <a:graphicData uri="http://schemas.openxmlformats.org/drawingml/2006/chart">
            <c:chart xmlns:c="http://schemas.openxmlformats.org/drawingml/2006/chart" xmlns:r="http://schemas.openxmlformats.org/officeDocument/2006/relationships" r:id="rId49"/>
          </a:graphicData>
        </a:graphic>
      </p:graphicFrame>
      <p:sp>
        <p:nvSpPr>
          <p:cNvPr id="823" name="Text Placeholder 19">
            <a:extLst>
              <a:ext uri="{FF2B5EF4-FFF2-40B4-BE49-F238E27FC236}">
                <a16:creationId xmlns:a16="http://schemas.microsoft.com/office/drawing/2014/main" id="{4F348293-C194-A0DB-4C9C-42448FCE6542}"/>
              </a:ext>
            </a:extLst>
          </p:cNvPr>
          <p:cNvSpPr>
            <a:spLocks noGrp="1"/>
          </p:cNvSpPr>
          <p:nvPr>
            <p:custDataLst>
              <p:tags r:id="rId42"/>
            </p:custDataLst>
          </p:nvPr>
        </p:nvSpPr>
        <p:spPr bwMode="auto">
          <a:xfrm>
            <a:off x="2908300" y="40259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sym typeface="Lato" panose="020F0502020204030203" pitchFamily="34" charset="0"/>
              </a:rPr>
              <a:t>2025</a:t>
            </a:r>
            <a:endPar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1" name="Text Placeholder 16">
            <a:extLst>
              <a:ext uri="{FF2B5EF4-FFF2-40B4-BE49-F238E27FC236}">
                <a16:creationId xmlns:a16="http://schemas.microsoft.com/office/drawing/2014/main" id="{56F237A2-4DC9-77F4-421E-AEF333F0166A}"/>
              </a:ext>
            </a:extLst>
          </p:cNvPr>
          <p:cNvSpPr txBox="1">
            <a:spLocks/>
          </p:cNvSpPr>
          <p:nvPr/>
        </p:nvSpPr>
        <p:spPr>
          <a:xfrm>
            <a:off x="9501188" y="6107385"/>
            <a:ext cx="2335212"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6" name="Rectangle 5">
            <a:extLst>
              <a:ext uri="{FF2B5EF4-FFF2-40B4-BE49-F238E27FC236}">
                <a16:creationId xmlns:a16="http://schemas.microsoft.com/office/drawing/2014/main" id="{6B54DC84-EE59-6240-54B2-929BA91A6571}"/>
              </a:ext>
            </a:extLst>
          </p:cNvPr>
          <p:cNvSpPr/>
          <p:nvPr/>
        </p:nvSpPr>
        <p:spPr>
          <a:xfrm>
            <a:off x="206374" y="1666873"/>
            <a:ext cx="8775696" cy="429892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4610859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2636786"/>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3431421"/>
          </a:xfrm>
        </p:spPr>
        <p:txBody>
          <a:bodyPr/>
          <a:lstStyle/>
          <a:p>
            <a:r>
              <a:rPr lang="en-GB" sz="1400" dirty="0">
                <a:hlinkClick r:id="rId6" action="ppaction://hlinksldjump"/>
              </a:rPr>
              <a:t>Executive summary</a:t>
            </a:r>
            <a:endParaRPr lang="en-GB" sz="1400" dirty="0"/>
          </a:p>
          <a:p>
            <a:r>
              <a:rPr lang="en-GB" sz="1400" dirty="0">
                <a:hlinkClick r:id="rId7" action="ppaction://hlinksldjump"/>
              </a:rPr>
              <a:t>Introduction to battery storage</a:t>
            </a:r>
            <a:r>
              <a:rPr lang="en-GB" sz="1400" dirty="0"/>
              <a:t>	</a:t>
            </a:r>
          </a:p>
          <a:p>
            <a:r>
              <a:rPr lang="en-GB" sz="1400" dirty="0">
                <a:hlinkClick r:id="" action="ppaction://noaction"/>
              </a:rPr>
              <a:t>Market size and outlook </a:t>
            </a:r>
            <a:endParaRPr lang="en-GB" sz="1400" dirty="0"/>
          </a:p>
          <a:p>
            <a:r>
              <a:rPr lang="en-GB" sz="1400" dirty="0">
                <a:hlinkClick r:id="rId8" action="ppaction://hlinksldjump"/>
              </a:rPr>
              <a:t>Policy and regulatory environment</a:t>
            </a:r>
            <a:endParaRPr lang="en-GB" sz="1400" dirty="0"/>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2" name="Group 1">
            <a:extLst>
              <a:ext uri="{FF2B5EF4-FFF2-40B4-BE49-F238E27FC236}">
                <a16:creationId xmlns:a16="http://schemas.microsoft.com/office/drawing/2014/main" id="{34C20A81-F451-0BC9-DB17-A0E0A7F5D955}"/>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0ABB1BD2-48AC-A006-D586-5287340E559E}"/>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6" name="TextBox 5">
              <a:extLst>
                <a:ext uri="{FF2B5EF4-FFF2-40B4-BE49-F238E27FC236}">
                  <a16:creationId xmlns:a16="http://schemas.microsoft.com/office/drawing/2014/main" id="{13B14643-C3BB-A615-609C-DA690F78230F}"/>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22067471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6BA3DD-96E0-81EC-8691-ACD048D565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256BA3DD-96E0-81EC-8691-ACD048D56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1D2E9AA-7FE4-78B0-D36B-3C959C0CA05E}"/>
              </a:ext>
            </a:extLst>
          </p:cNvPr>
          <p:cNvSpPr>
            <a:spLocks noGrp="1"/>
          </p:cNvSpPr>
          <p:nvPr>
            <p:ph type="body" sz="quarter" idx="27"/>
          </p:nvPr>
        </p:nvSpPr>
        <p:spPr>
          <a:xfrm>
            <a:off x="380996" y="2860467"/>
            <a:ext cx="3038479" cy="738664"/>
          </a:xfrm>
        </p:spPr>
        <p:txBody>
          <a:bodyPr/>
          <a:lstStyle/>
          <a:p>
            <a:r>
              <a:rPr lang="en-GB" sz="2400" i="1"/>
              <a:t>Policy and regulatory environment</a:t>
            </a:r>
          </a:p>
        </p:txBody>
      </p:sp>
      <p:sp>
        <p:nvSpPr>
          <p:cNvPr id="3" name="Text Placeholder 2">
            <a:extLst>
              <a:ext uri="{FF2B5EF4-FFF2-40B4-BE49-F238E27FC236}">
                <a16:creationId xmlns:a16="http://schemas.microsoft.com/office/drawing/2014/main" id="{A54D5BFC-8DFA-9E5F-B542-1941CC42EBC7}"/>
              </a:ext>
            </a:extLst>
          </p:cNvPr>
          <p:cNvSpPr>
            <a:spLocks noGrp="1"/>
          </p:cNvSpPr>
          <p:nvPr>
            <p:ph type="body" sz="quarter" idx="28"/>
          </p:nvPr>
        </p:nvSpPr>
        <p:spPr>
          <a:xfrm>
            <a:off x="3814481" y="1284169"/>
            <a:ext cx="8009220" cy="5257850"/>
          </a:xfrm>
        </p:spPr>
        <p:txBody>
          <a:bodyPr>
            <a:spAutoFit/>
          </a:bodyPr>
          <a:lstStyle/>
          <a:p>
            <a:pPr marL="182880" indent="-182880">
              <a:spcBef>
                <a:spcPts val="500"/>
              </a:spcBef>
              <a:buFont typeface="Wingdings" panose="05000000000000000000" pitchFamily="2" charset="2"/>
              <a:buChar char="§"/>
            </a:pPr>
            <a:r>
              <a:rPr lang="en-GB">
                <a:solidFill>
                  <a:schemeClr val="tx1"/>
                </a:solidFill>
              </a:rPr>
              <a:t>The outlook for battery storage deployment is largely driven by a mix of decarbonisation policies for the energy sector generally, and policies and regulations relating to batteries explicitly.</a:t>
            </a:r>
          </a:p>
          <a:p>
            <a:pPr marL="182880" indent="-182880">
              <a:spcBef>
                <a:spcPts val="500"/>
              </a:spcBef>
              <a:buFont typeface="Wingdings" panose="05000000000000000000" pitchFamily="2" charset="2"/>
              <a:buChar char="§"/>
            </a:pPr>
            <a:r>
              <a:rPr lang="en-GB"/>
              <a:t>Alongside the </a:t>
            </a:r>
            <a:r>
              <a:rPr lang="en-GB" err="1"/>
              <a:t>REPowerEU</a:t>
            </a:r>
            <a:r>
              <a:rPr lang="en-GB"/>
              <a:t> target of </a:t>
            </a:r>
            <a:r>
              <a:rPr lang="en-GB" sz="1200" b="1" i="0" u="none" strike="noStrike" kern="1200" baseline="0">
                <a:solidFill>
                  <a:srgbClr val="808080"/>
                </a:solidFill>
                <a:highlight>
                  <a:srgbClr val="808080"/>
                </a:highlight>
                <a:latin typeface="Lato" panose="020F0502020204030203" pitchFamily="34" charset="0"/>
              </a:rPr>
              <a:t>XX</a:t>
            </a:r>
            <a:r>
              <a:rPr lang="en-GB"/>
              <a:t> GW wind and solar capacity by 2030, several countries have set higher deployment targets for variable renewables in their updated NECPs</a:t>
            </a:r>
            <a:r>
              <a:rPr lang="en-GB" baseline="30000"/>
              <a:t>1</a:t>
            </a:r>
            <a:r>
              <a:rPr lang="en-GB"/>
              <a:t>, driving increased requirements for batteries.</a:t>
            </a:r>
          </a:p>
          <a:p>
            <a:pPr marL="182880" indent="-182880">
              <a:spcBef>
                <a:spcPts val="500"/>
              </a:spcBef>
              <a:buFont typeface="Wingdings" panose="05000000000000000000" pitchFamily="2" charset="2"/>
              <a:buChar char="§"/>
            </a:pPr>
            <a:r>
              <a:rPr lang="en-GB"/>
              <a:t>Policy support for battery storage in the European Union has remained relatively weak until recent years; a rising number of countries have introduced strategies and targets for energy storage deployment of which the most notable are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nd </a:t>
            </a:r>
            <a:r>
              <a:rPr lang="en-GB" sz="1200" b="1" i="0" u="none" strike="noStrike" kern="1200" baseline="0">
                <a:solidFill>
                  <a:srgbClr val="808080"/>
                </a:solidFill>
                <a:highlight>
                  <a:srgbClr val="808080"/>
                </a:highlight>
                <a:latin typeface="Lato" panose="020F0502020204030203" pitchFamily="34" charset="0"/>
              </a:rPr>
              <a:t>XX</a:t>
            </a:r>
            <a:r>
              <a:rPr lang="en-GB"/>
              <a:t>. </a:t>
            </a:r>
          </a:p>
          <a:p>
            <a:pPr marL="182880" indent="-182880">
              <a:spcBef>
                <a:spcPts val="500"/>
              </a:spcBef>
              <a:buFont typeface="Wingdings" panose="05000000000000000000" pitchFamily="2" charset="2"/>
              <a:buChar char="§"/>
            </a:pPr>
            <a:r>
              <a:rPr lang="en-GB"/>
              <a:t>Dedicated auctions for standalone or co-located battery storage in Europe has to date subsidised at least </a:t>
            </a:r>
            <a:r>
              <a:rPr lang="en-GB" sz="1200" b="1" i="0" u="none" strike="noStrike" kern="1200" baseline="0">
                <a:solidFill>
                  <a:srgbClr val="808080"/>
                </a:solidFill>
                <a:highlight>
                  <a:srgbClr val="808080"/>
                </a:highlight>
                <a:latin typeface="Lato" panose="020F0502020204030203" pitchFamily="34" charset="0"/>
              </a:rPr>
              <a:t>XX</a:t>
            </a:r>
            <a:r>
              <a:rPr lang="en-GB">
                <a:solidFill>
                  <a:schemeClr val="accent5"/>
                </a:solidFill>
                <a:highlight>
                  <a:srgbClr val="808080"/>
                </a:highlight>
              </a:rPr>
              <a:t> </a:t>
            </a:r>
            <a:r>
              <a:rPr lang="en-GB"/>
              <a:t>GW of batteries in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nd </a:t>
            </a:r>
            <a:r>
              <a:rPr lang="en-GB" sz="1200" b="1" i="0" u="none" strike="noStrike" kern="1200" baseline="0">
                <a:solidFill>
                  <a:srgbClr val="808080"/>
                </a:solidFill>
                <a:highlight>
                  <a:srgbClr val="808080"/>
                </a:highlight>
                <a:latin typeface="Lato" panose="020F0502020204030203" pitchFamily="34" charset="0"/>
              </a:rPr>
              <a:t>XX</a:t>
            </a:r>
            <a:r>
              <a:rPr lang="en-GB"/>
              <a:t>; upcoming auctions could procure over </a:t>
            </a:r>
            <a:r>
              <a:rPr lang="en-GB">
                <a:highlight>
                  <a:srgbClr val="808080"/>
                </a:highlight>
              </a:rPr>
              <a:t>       </a:t>
            </a:r>
            <a:r>
              <a:rPr lang="en-GB"/>
              <a:t>GW across Europe by 2030, notably </a:t>
            </a:r>
            <a:r>
              <a:rPr lang="en-GB" sz="1200" b="1" i="0" u="none" strike="noStrike" kern="1200" baseline="0">
                <a:solidFill>
                  <a:srgbClr val="808080"/>
                </a:solidFill>
                <a:highlight>
                  <a:srgbClr val="808080"/>
                </a:highlight>
                <a:latin typeface="Lato" panose="020F0502020204030203" pitchFamily="34" charset="0"/>
              </a:rPr>
              <a:t>XX</a:t>
            </a:r>
            <a:r>
              <a:rPr lang="en-GB">
                <a:solidFill>
                  <a:schemeClr val="accent5"/>
                </a:solidFill>
                <a:highlight>
                  <a:srgbClr val="808080"/>
                </a:highlight>
              </a:rPr>
              <a:t> </a:t>
            </a:r>
            <a:r>
              <a:rPr lang="en-GB"/>
              <a:t>GW of procurement from </a:t>
            </a:r>
            <a:r>
              <a:rPr lang="en-GB" sz="1200" b="1" i="0" u="none" strike="noStrike" kern="1200" baseline="0">
                <a:solidFill>
                  <a:srgbClr val="808080"/>
                </a:solidFill>
                <a:highlight>
                  <a:srgbClr val="808080"/>
                </a:highlight>
                <a:latin typeface="Lato" panose="020F0502020204030203" pitchFamily="34" charset="0"/>
              </a:rPr>
              <a:t>XX</a:t>
            </a:r>
            <a:r>
              <a:rPr lang="en-GB">
                <a:solidFill>
                  <a:schemeClr val="accent5"/>
                </a:solidFill>
                <a:highlight>
                  <a:srgbClr val="808080"/>
                </a:highlight>
              </a:rPr>
              <a:t>  </a:t>
            </a:r>
            <a:r>
              <a:rPr lang="en-GB"/>
              <a:t>subsidy which aims to cover both capital and operational costs.</a:t>
            </a:r>
          </a:p>
          <a:p>
            <a:pPr marL="182880" indent="-182880">
              <a:spcBef>
                <a:spcPts val="500"/>
              </a:spcBef>
              <a:buFont typeface="Wingdings" panose="05000000000000000000" pitchFamily="2" charset="2"/>
              <a:buChar char="§"/>
            </a:pPr>
            <a:r>
              <a:rPr lang="en-GB">
                <a:solidFill>
                  <a:schemeClr val="tx1"/>
                </a:solidFill>
              </a:rPr>
              <a:t>Grid-scale battery assets typically participate in four key markets, with further access to additional ancillary services. </a:t>
            </a:r>
            <a:r>
              <a:rPr lang="en-GB"/>
              <a:t>Most countries allow for batteries to stack revenue streams, however contracted revenues are limited. </a:t>
            </a:r>
          </a:p>
          <a:p>
            <a:pPr marL="182880" indent="-182880">
              <a:spcBef>
                <a:spcPts val="500"/>
              </a:spcBef>
              <a:buFont typeface="Wingdings" panose="05000000000000000000" pitchFamily="2" charset="2"/>
              <a:buChar char="§"/>
            </a:pPr>
            <a:r>
              <a:rPr lang="en-GB"/>
              <a:t>Capacity market contracts are currently only available to BESS in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nd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is expected to introduce capacity markets by </a:t>
            </a:r>
            <a:r>
              <a:rPr lang="en-GB" sz="1200" b="1" i="0" u="none" strike="noStrike" kern="1200" baseline="0">
                <a:solidFill>
                  <a:srgbClr val="808080"/>
                </a:solidFill>
                <a:highlight>
                  <a:srgbClr val="808080"/>
                </a:highlight>
                <a:latin typeface="Lato" panose="020F0502020204030203" pitchFamily="34" charset="0"/>
              </a:rPr>
              <a:t>XX</a:t>
            </a:r>
            <a:r>
              <a:rPr lang="en-GB"/>
              <a:t>, while capacity markets are in discussion in </a:t>
            </a:r>
            <a:r>
              <a:rPr lang="en-GB" sz="1200" b="1" i="0" u="none" strike="noStrike" kern="1200" baseline="0">
                <a:solidFill>
                  <a:srgbClr val="808080"/>
                </a:solidFill>
                <a:highlight>
                  <a:srgbClr val="808080"/>
                </a:highlight>
                <a:latin typeface="Lato" panose="020F0502020204030203" pitchFamily="34" charset="0"/>
              </a:rPr>
              <a:t>XX</a:t>
            </a:r>
            <a:r>
              <a:rPr lang="en-GB"/>
              <a:t>.</a:t>
            </a:r>
          </a:p>
          <a:p>
            <a:pPr marL="182880" indent="-182880">
              <a:spcBef>
                <a:spcPts val="500"/>
              </a:spcBef>
              <a:buFont typeface="Wingdings" panose="05000000000000000000" pitchFamily="2" charset="2"/>
              <a:buChar char="§"/>
            </a:pPr>
            <a:r>
              <a:rPr lang="en-GB"/>
              <a:t>Technical requirements for Frequency Regulation Reserves will increasingly be harmonised at EU level between Member States, increasing cross-border competition and procurement. </a:t>
            </a:r>
          </a:p>
          <a:p>
            <a:pPr marL="182880" indent="-182880">
              <a:spcBef>
                <a:spcPts val="500"/>
              </a:spcBef>
              <a:buFont typeface="Wingdings" panose="05000000000000000000" pitchFamily="2" charset="2"/>
              <a:buChar char="§"/>
            </a:pPr>
            <a:r>
              <a:rPr lang="en-GB"/>
              <a:t>On-going regulatory developments within individual markets present both opportunities and challenges for battery assets. New developments in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and </a:t>
            </a:r>
            <a:r>
              <a:rPr lang="en-GB" sz="1200" b="1" i="0" u="none" strike="noStrike" kern="1200" baseline="0">
                <a:solidFill>
                  <a:srgbClr val="808080"/>
                </a:solidFill>
                <a:highlight>
                  <a:srgbClr val="808080"/>
                </a:highlight>
                <a:latin typeface="Lato" panose="020F0502020204030203" pitchFamily="34" charset="0"/>
              </a:rPr>
              <a:t>XX</a:t>
            </a:r>
            <a:r>
              <a:rPr lang="en-GB"/>
              <a:t> could provide additional contracted revenues for BESS.</a:t>
            </a:r>
          </a:p>
          <a:p>
            <a:pPr marL="182880" indent="-182880">
              <a:spcBef>
                <a:spcPts val="500"/>
              </a:spcBef>
              <a:buFont typeface="Wingdings" panose="05000000000000000000" pitchFamily="2" charset="2"/>
              <a:buChar char="§"/>
            </a:pPr>
            <a:r>
              <a:rPr lang="en-GB"/>
              <a:t>Batteries face regulatory hurdles in grid access and fees in some countries, complicating deployment of capacity. </a:t>
            </a:r>
          </a:p>
          <a:p>
            <a:pPr marL="182880" indent="-182880">
              <a:spcBef>
                <a:spcPts val="500"/>
              </a:spcBef>
              <a:buFont typeface="Wingdings" panose="05000000000000000000" pitchFamily="2" charset="2"/>
              <a:buChar char="§"/>
            </a:pPr>
            <a:r>
              <a:rPr lang="en-GB">
                <a:ea typeface="Lato"/>
                <a:cs typeface="Lato"/>
              </a:rPr>
              <a:t>The deployment of behind-the-meter batteries, hydrogen electrolysers, and electric vehicles poses strong competition with grid scale batteries, dependent on national regulations allowing them to participate in ancillary energy markets.</a:t>
            </a:r>
            <a:endParaRPr lang="en-GB"/>
          </a:p>
          <a:p>
            <a:pPr marL="182880" indent="-182880">
              <a:spcBef>
                <a:spcPts val="500"/>
              </a:spcBef>
              <a:buFont typeface="Wingdings" panose="05000000000000000000" pitchFamily="2" charset="2"/>
              <a:buChar char="§"/>
            </a:pPr>
            <a:r>
              <a:rPr lang="en-GB" sz="1200" b="1" i="0" u="none" strike="noStrike" kern="1200" baseline="0">
                <a:highlight>
                  <a:srgbClr val="808080"/>
                </a:highlight>
                <a:latin typeface="Lato" panose="020F0502020204030203" pitchFamily="34" charset="0"/>
              </a:rPr>
              <a:t>XX</a:t>
            </a:r>
            <a:r>
              <a:rPr lang="en-GB"/>
              <a:t> currently has the most attractive policy environment and has set an ambitious target of </a:t>
            </a:r>
            <a:r>
              <a:rPr lang="en-GB" sz="1200" b="1" i="0" u="none" strike="noStrike" kern="1200" baseline="0">
                <a:highlight>
                  <a:srgbClr val="808080"/>
                </a:highlight>
                <a:latin typeface="Lato" panose="020F0502020204030203" pitchFamily="34" charset="0"/>
              </a:rPr>
              <a:t>XX</a:t>
            </a:r>
            <a:r>
              <a:rPr lang="en-GB">
                <a:highlight>
                  <a:srgbClr val="808080"/>
                </a:highlight>
              </a:rPr>
              <a:t> </a:t>
            </a:r>
            <a:r>
              <a:rPr lang="en-GB"/>
              <a:t>GW by 2030. Confirmed ancillary services access for BESS, heightened storage targets alongside an upcoming capacity market makes for </a:t>
            </a:r>
            <a:r>
              <a:rPr lang="en-GB">
                <a:solidFill>
                  <a:schemeClr val="tx1"/>
                </a:solidFill>
              </a:rPr>
              <a:t>an increasingly attractive policy environment in </a:t>
            </a:r>
            <a:r>
              <a:rPr lang="en-GB" sz="1200" b="1" i="0" u="none" strike="noStrike" kern="1200" baseline="0">
                <a:solidFill>
                  <a:srgbClr val="808080"/>
                </a:solidFill>
                <a:highlight>
                  <a:srgbClr val="808080"/>
                </a:highlight>
                <a:latin typeface="Lato" panose="020F0502020204030203" pitchFamily="34" charset="0"/>
              </a:rPr>
              <a:t>XX</a:t>
            </a:r>
            <a:r>
              <a:rPr lang="en-GB">
                <a:solidFill>
                  <a:schemeClr val="tx1"/>
                </a:solidFill>
              </a:rPr>
              <a:t>.</a:t>
            </a:r>
            <a:endParaRPr lang="en-GB"/>
          </a:p>
        </p:txBody>
      </p:sp>
      <p:sp>
        <p:nvSpPr>
          <p:cNvPr id="5" name="Text Placeholder 4">
            <a:extLst>
              <a:ext uri="{FF2B5EF4-FFF2-40B4-BE49-F238E27FC236}">
                <a16:creationId xmlns:a16="http://schemas.microsoft.com/office/drawing/2014/main" id="{87F08681-1CDD-4FBB-9047-E4EBC51D6ADD}"/>
              </a:ext>
            </a:extLst>
          </p:cNvPr>
          <p:cNvSpPr>
            <a:spLocks noGrp="1"/>
          </p:cNvSpPr>
          <p:nvPr>
            <p:ph type="body" sz="quarter" idx="22"/>
          </p:nvPr>
        </p:nvSpPr>
        <p:spPr>
          <a:xfrm>
            <a:off x="3814480" y="6703127"/>
            <a:ext cx="1455527" cy="110800"/>
          </a:xfrm>
        </p:spPr>
        <p:txBody>
          <a:bodyPr/>
          <a:lstStyle/>
          <a:p>
            <a:r>
              <a:rPr lang="en-GB"/>
              <a:t>Source: Aurora Energy Research</a:t>
            </a:r>
          </a:p>
        </p:txBody>
      </p:sp>
      <p:sp>
        <p:nvSpPr>
          <p:cNvPr id="7" name="Text Placeholder 6">
            <a:extLst>
              <a:ext uri="{FF2B5EF4-FFF2-40B4-BE49-F238E27FC236}">
                <a16:creationId xmlns:a16="http://schemas.microsoft.com/office/drawing/2014/main" id="{CAF6E79D-8C74-3F6F-600C-CF6C846A9BF3}"/>
              </a:ext>
            </a:extLst>
          </p:cNvPr>
          <p:cNvSpPr>
            <a:spLocks noGrp="1"/>
          </p:cNvSpPr>
          <p:nvPr>
            <p:ph type="body" sz="quarter" idx="31"/>
          </p:nvPr>
        </p:nvSpPr>
        <p:spPr>
          <a:xfrm>
            <a:off x="3814481" y="79401"/>
            <a:ext cx="2560316" cy="184666"/>
          </a:xfrm>
        </p:spPr>
        <p:txBody>
          <a:bodyPr/>
          <a:lstStyle/>
          <a:p>
            <a:r>
              <a:rPr lang="en-GB"/>
              <a:t>	Policy and regulatory environment</a:t>
            </a:r>
          </a:p>
        </p:txBody>
      </p:sp>
      <p:grpSp>
        <p:nvGrpSpPr>
          <p:cNvPr id="30" name="Group 29">
            <a:extLst>
              <a:ext uri="{FF2B5EF4-FFF2-40B4-BE49-F238E27FC236}">
                <a16:creationId xmlns:a16="http://schemas.microsoft.com/office/drawing/2014/main" id="{00E3B6AA-4548-7DAC-16C3-E9E6DEFE417C}"/>
              </a:ext>
            </a:extLst>
          </p:cNvPr>
          <p:cNvGrpSpPr/>
          <p:nvPr/>
        </p:nvGrpSpPr>
        <p:grpSpPr>
          <a:xfrm>
            <a:off x="843248" y="3968682"/>
            <a:ext cx="2273181" cy="1761372"/>
            <a:chOff x="927221" y="4296572"/>
            <a:chExt cx="973015" cy="767508"/>
          </a:xfrm>
        </p:grpSpPr>
        <p:grpSp>
          <p:nvGrpSpPr>
            <p:cNvPr id="12" name="Group 11">
              <a:extLst>
                <a:ext uri="{FF2B5EF4-FFF2-40B4-BE49-F238E27FC236}">
                  <a16:creationId xmlns:a16="http://schemas.microsoft.com/office/drawing/2014/main" id="{7B8E7F1F-322D-5662-D781-2038714A6224}"/>
                </a:ext>
              </a:extLst>
            </p:cNvPr>
            <p:cNvGrpSpPr/>
            <p:nvPr/>
          </p:nvGrpSpPr>
          <p:grpSpPr>
            <a:xfrm>
              <a:off x="1293751" y="4497279"/>
              <a:ext cx="606485" cy="566801"/>
              <a:chOff x="5239483" y="2746864"/>
              <a:chExt cx="501303" cy="442302"/>
            </a:xfrm>
            <a:solidFill>
              <a:schemeClr val="tx1">
                <a:lumMod val="50000"/>
              </a:schemeClr>
            </a:solidFill>
          </p:grpSpPr>
          <p:sp>
            <p:nvSpPr>
              <p:cNvPr id="13" name="Freeform 30">
                <a:extLst>
                  <a:ext uri="{FF2B5EF4-FFF2-40B4-BE49-F238E27FC236}">
                    <a16:creationId xmlns:a16="http://schemas.microsoft.com/office/drawing/2014/main" id="{C560622B-A29E-A55F-9EE0-CD97A453A215}"/>
                  </a:ext>
                </a:extLst>
              </p:cNvPr>
              <p:cNvSpPr>
                <a:spLocks/>
              </p:cNvSpPr>
              <p:nvPr/>
            </p:nvSpPr>
            <p:spPr bwMode="auto">
              <a:xfrm>
                <a:off x="5403739" y="2746864"/>
                <a:ext cx="146538" cy="114300"/>
              </a:xfrm>
              <a:custGeom>
                <a:avLst/>
                <a:gdLst/>
                <a:ahLst/>
                <a:cxnLst>
                  <a:cxn ang="0">
                    <a:pos x="6" y="31"/>
                  </a:cxn>
                  <a:cxn ang="0">
                    <a:pos x="2" y="40"/>
                  </a:cxn>
                  <a:cxn ang="0">
                    <a:pos x="50" y="59"/>
                  </a:cxn>
                  <a:cxn ang="0">
                    <a:pos x="54" y="50"/>
                  </a:cxn>
                  <a:cxn ang="0">
                    <a:pos x="59" y="43"/>
                  </a:cxn>
                  <a:cxn ang="0">
                    <a:pos x="63" y="45"/>
                  </a:cxn>
                  <a:cxn ang="0">
                    <a:pos x="67" y="43"/>
                  </a:cxn>
                  <a:cxn ang="0">
                    <a:pos x="66" y="41"/>
                  </a:cxn>
                  <a:cxn ang="0">
                    <a:pos x="67" y="38"/>
                  </a:cxn>
                  <a:cxn ang="0">
                    <a:pos x="74" y="35"/>
                  </a:cxn>
                  <a:cxn ang="0">
                    <a:pos x="71" y="28"/>
                  </a:cxn>
                  <a:cxn ang="0">
                    <a:pos x="72" y="25"/>
                  </a:cxn>
                  <a:cxn ang="0">
                    <a:pos x="43" y="6"/>
                  </a:cxn>
                  <a:cxn ang="0">
                    <a:pos x="9" y="1"/>
                  </a:cxn>
                  <a:cxn ang="0">
                    <a:pos x="8" y="3"/>
                  </a:cxn>
                  <a:cxn ang="0">
                    <a:pos x="1" y="6"/>
                  </a:cxn>
                  <a:cxn ang="0">
                    <a:pos x="4" y="14"/>
                  </a:cxn>
                  <a:cxn ang="0">
                    <a:pos x="3" y="16"/>
                  </a:cxn>
                  <a:cxn ang="0">
                    <a:pos x="1" y="19"/>
                  </a:cxn>
                  <a:cxn ang="0">
                    <a:pos x="2" y="21"/>
                  </a:cxn>
                  <a:cxn ang="0">
                    <a:pos x="6" y="22"/>
                  </a:cxn>
                  <a:cxn ang="0">
                    <a:pos x="6" y="31"/>
                  </a:cxn>
                </a:cxnLst>
                <a:rect l="0" t="0" r="r" b="b"/>
                <a:pathLst>
                  <a:path w="76" h="59">
                    <a:moveTo>
                      <a:pt x="6" y="31"/>
                    </a:moveTo>
                    <a:cubicBezTo>
                      <a:pt x="2" y="40"/>
                      <a:pt x="2" y="40"/>
                      <a:pt x="2" y="40"/>
                    </a:cubicBezTo>
                    <a:cubicBezTo>
                      <a:pt x="50" y="59"/>
                      <a:pt x="50" y="59"/>
                      <a:pt x="50" y="59"/>
                    </a:cubicBezTo>
                    <a:cubicBezTo>
                      <a:pt x="54" y="50"/>
                      <a:pt x="54" y="50"/>
                      <a:pt x="54" y="50"/>
                    </a:cubicBezTo>
                    <a:cubicBezTo>
                      <a:pt x="54" y="47"/>
                      <a:pt x="57" y="44"/>
                      <a:pt x="59" y="43"/>
                    </a:cubicBezTo>
                    <a:cubicBezTo>
                      <a:pt x="63" y="45"/>
                      <a:pt x="63" y="45"/>
                      <a:pt x="63" y="45"/>
                    </a:cubicBezTo>
                    <a:cubicBezTo>
                      <a:pt x="65" y="45"/>
                      <a:pt x="66" y="44"/>
                      <a:pt x="67" y="43"/>
                    </a:cubicBezTo>
                    <a:cubicBezTo>
                      <a:pt x="67" y="42"/>
                      <a:pt x="67" y="41"/>
                      <a:pt x="66" y="41"/>
                    </a:cubicBezTo>
                    <a:cubicBezTo>
                      <a:pt x="67" y="38"/>
                      <a:pt x="67" y="38"/>
                      <a:pt x="67" y="38"/>
                    </a:cubicBezTo>
                    <a:cubicBezTo>
                      <a:pt x="70" y="40"/>
                      <a:pt x="73" y="38"/>
                      <a:pt x="74" y="35"/>
                    </a:cubicBezTo>
                    <a:cubicBezTo>
                      <a:pt x="76" y="32"/>
                      <a:pt x="74" y="29"/>
                      <a:pt x="71" y="28"/>
                    </a:cubicBezTo>
                    <a:cubicBezTo>
                      <a:pt x="72" y="25"/>
                      <a:pt x="72" y="25"/>
                      <a:pt x="72" y="25"/>
                    </a:cubicBezTo>
                    <a:cubicBezTo>
                      <a:pt x="65" y="19"/>
                      <a:pt x="52" y="10"/>
                      <a:pt x="43" y="6"/>
                    </a:cubicBezTo>
                    <a:cubicBezTo>
                      <a:pt x="35" y="3"/>
                      <a:pt x="18" y="0"/>
                      <a:pt x="9" y="1"/>
                    </a:cubicBezTo>
                    <a:cubicBezTo>
                      <a:pt x="8" y="3"/>
                      <a:pt x="8" y="3"/>
                      <a:pt x="8" y="3"/>
                    </a:cubicBezTo>
                    <a:cubicBezTo>
                      <a:pt x="5" y="2"/>
                      <a:pt x="2" y="3"/>
                      <a:pt x="1" y="6"/>
                    </a:cubicBezTo>
                    <a:cubicBezTo>
                      <a:pt x="0" y="9"/>
                      <a:pt x="1" y="13"/>
                      <a:pt x="4" y="14"/>
                    </a:cubicBezTo>
                    <a:cubicBezTo>
                      <a:pt x="3" y="16"/>
                      <a:pt x="3" y="16"/>
                      <a:pt x="3" y="16"/>
                    </a:cubicBezTo>
                    <a:cubicBezTo>
                      <a:pt x="2" y="16"/>
                      <a:pt x="1" y="17"/>
                      <a:pt x="1" y="19"/>
                    </a:cubicBezTo>
                    <a:cubicBezTo>
                      <a:pt x="1" y="20"/>
                      <a:pt x="2" y="20"/>
                      <a:pt x="2" y="21"/>
                    </a:cubicBezTo>
                    <a:cubicBezTo>
                      <a:pt x="6" y="22"/>
                      <a:pt x="6" y="22"/>
                      <a:pt x="6" y="22"/>
                    </a:cubicBezTo>
                    <a:cubicBezTo>
                      <a:pt x="8" y="25"/>
                      <a:pt x="7" y="29"/>
                      <a:pt x="6" y="31"/>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14" name="Freeform 31">
                <a:extLst>
                  <a:ext uri="{FF2B5EF4-FFF2-40B4-BE49-F238E27FC236}">
                    <a16:creationId xmlns:a16="http://schemas.microsoft.com/office/drawing/2014/main" id="{F4AE373A-910E-B620-E166-70F4ACB79953}"/>
                  </a:ext>
                </a:extLst>
              </p:cNvPr>
              <p:cNvSpPr>
                <a:spLocks/>
              </p:cNvSpPr>
              <p:nvPr/>
            </p:nvSpPr>
            <p:spPr bwMode="auto">
              <a:xfrm>
                <a:off x="5359786" y="2827703"/>
                <a:ext cx="381000" cy="194897"/>
              </a:xfrm>
              <a:custGeom>
                <a:avLst/>
                <a:gdLst/>
                <a:ahLst/>
                <a:cxnLst>
                  <a:cxn ang="0">
                    <a:pos x="192" y="101"/>
                  </a:cxn>
                  <a:cxn ang="0">
                    <a:pos x="114" y="70"/>
                  </a:cxn>
                  <a:cxn ang="0">
                    <a:pos x="94" y="69"/>
                  </a:cxn>
                  <a:cxn ang="0">
                    <a:pos x="61" y="56"/>
                  </a:cxn>
                  <a:cxn ang="0">
                    <a:pos x="57" y="67"/>
                  </a:cxn>
                  <a:cxn ang="0">
                    <a:pos x="0" y="45"/>
                  </a:cxn>
                  <a:cxn ang="0">
                    <a:pos x="18" y="0"/>
                  </a:cxn>
                  <a:cxn ang="0">
                    <a:pos x="75" y="22"/>
                  </a:cxn>
                  <a:cxn ang="0">
                    <a:pos x="71" y="30"/>
                  </a:cxn>
                  <a:cxn ang="0">
                    <a:pos x="104" y="43"/>
                  </a:cxn>
                  <a:cxn ang="0">
                    <a:pos x="120" y="55"/>
                  </a:cxn>
                  <a:cxn ang="0">
                    <a:pos x="198" y="86"/>
                  </a:cxn>
                </a:cxnLst>
                <a:rect l="0" t="0" r="r" b="b"/>
                <a:pathLst>
                  <a:path w="198" h="101">
                    <a:moveTo>
                      <a:pt x="192" y="101"/>
                    </a:moveTo>
                    <a:cubicBezTo>
                      <a:pt x="114" y="70"/>
                      <a:pt x="114" y="70"/>
                      <a:pt x="114" y="70"/>
                    </a:cubicBezTo>
                    <a:cubicBezTo>
                      <a:pt x="108" y="69"/>
                      <a:pt x="99" y="68"/>
                      <a:pt x="94" y="69"/>
                    </a:cubicBezTo>
                    <a:cubicBezTo>
                      <a:pt x="61" y="56"/>
                      <a:pt x="61" y="56"/>
                      <a:pt x="61" y="56"/>
                    </a:cubicBezTo>
                    <a:cubicBezTo>
                      <a:pt x="57" y="67"/>
                      <a:pt x="57" y="67"/>
                      <a:pt x="57" y="67"/>
                    </a:cubicBezTo>
                    <a:cubicBezTo>
                      <a:pt x="0" y="45"/>
                      <a:pt x="0" y="45"/>
                      <a:pt x="0" y="45"/>
                    </a:cubicBezTo>
                    <a:cubicBezTo>
                      <a:pt x="18" y="0"/>
                      <a:pt x="18" y="0"/>
                      <a:pt x="18" y="0"/>
                    </a:cubicBezTo>
                    <a:cubicBezTo>
                      <a:pt x="75" y="22"/>
                      <a:pt x="75" y="22"/>
                      <a:pt x="75" y="22"/>
                    </a:cubicBezTo>
                    <a:cubicBezTo>
                      <a:pt x="71" y="30"/>
                      <a:pt x="71" y="30"/>
                      <a:pt x="71" y="30"/>
                    </a:cubicBezTo>
                    <a:cubicBezTo>
                      <a:pt x="104" y="43"/>
                      <a:pt x="104" y="43"/>
                      <a:pt x="104" y="43"/>
                    </a:cubicBezTo>
                    <a:cubicBezTo>
                      <a:pt x="107" y="47"/>
                      <a:pt x="115" y="53"/>
                      <a:pt x="120" y="55"/>
                    </a:cubicBezTo>
                    <a:cubicBezTo>
                      <a:pt x="198" y="86"/>
                      <a:pt x="198" y="86"/>
                      <a:pt x="198" y="86"/>
                    </a:cubicBezTo>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15" name="Freeform 32">
                <a:extLst>
                  <a:ext uri="{FF2B5EF4-FFF2-40B4-BE49-F238E27FC236}">
                    <a16:creationId xmlns:a16="http://schemas.microsoft.com/office/drawing/2014/main" id="{F0AE19F7-B7F3-BDA8-B02E-D8875D1F42D4}"/>
                  </a:ext>
                </a:extLst>
              </p:cNvPr>
              <p:cNvSpPr>
                <a:spLocks/>
              </p:cNvSpPr>
              <p:nvPr/>
            </p:nvSpPr>
            <p:spPr bwMode="auto">
              <a:xfrm>
                <a:off x="5313618" y="2927840"/>
                <a:ext cx="145074" cy="111369"/>
              </a:xfrm>
              <a:custGeom>
                <a:avLst/>
                <a:gdLst/>
                <a:ahLst/>
                <a:cxnLst>
                  <a:cxn ang="0">
                    <a:pos x="22" y="8"/>
                  </a:cxn>
                  <a:cxn ang="0">
                    <a:pos x="25" y="0"/>
                  </a:cxn>
                  <a:cxn ang="0">
                    <a:pos x="73" y="18"/>
                  </a:cxn>
                  <a:cxn ang="0">
                    <a:pos x="70" y="27"/>
                  </a:cxn>
                  <a:cxn ang="0">
                    <a:pos x="69" y="36"/>
                  </a:cxn>
                  <a:cxn ang="0">
                    <a:pos x="73" y="37"/>
                  </a:cxn>
                  <a:cxn ang="0">
                    <a:pos x="75" y="40"/>
                  </a:cxn>
                  <a:cxn ang="0">
                    <a:pos x="73" y="42"/>
                  </a:cxn>
                  <a:cxn ang="0">
                    <a:pos x="72" y="44"/>
                  </a:cxn>
                  <a:cxn ang="0">
                    <a:pos x="75" y="52"/>
                  </a:cxn>
                  <a:cxn ang="0">
                    <a:pos x="68" y="55"/>
                  </a:cxn>
                  <a:cxn ang="0">
                    <a:pos x="67" y="58"/>
                  </a:cxn>
                  <a:cxn ang="0">
                    <a:pos x="33" y="52"/>
                  </a:cxn>
                  <a:cxn ang="0">
                    <a:pos x="4" y="33"/>
                  </a:cxn>
                  <a:cxn ang="0">
                    <a:pos x="5" y="31"/>
                  </a:cxn>
                  <a:cxn ang="0">
                    <a:pos x="1" y="23"/>
                  </a:cxn>
                  <a:cxn ang="0">
                    <a:pos x="9" y="20"/>
                  </a:cxn>
                  <a:cxn ang="0">
                    <a:pos x="10" y="18"/>
                  </a:cxn>
                  <a:cxn ang="0">
                    <a:pos x="9" y="15"/>
                  </a:cxn>
                  <a:cxn ang="0">
                    <a:pos x="12" y="14"/>
                  </a:cxn>
                  <a:cxn ang="0">
                    <a:pos x="16" y="15"/>
                  </a:cxn>
                  <a:cxn ang="0">
                    <a:pos x="22" y="8"/>
                  </a:cxn>
                </a:cxnLst>
                <a:rect l="0" t="0" r="r" b="b"/>
                <a:pathLst>
                  <a:path w="76" h="58">
                    <a:moveTo>
                      <a:pt x="22" y="8"/>
                    </a:moveTo>
                    <a:cubicBezTo>
                      <a:pt x="25" y="0"/>
                      <a:pt x="25" y="0"/>
                      <a:pt x="25" y="0"/>
                    </a:cubicBezTo>
                    <a:cubicBezTo>
                      <a:pt x="73" y="18"/>
                      <a:pt x="73" y="18"/>
                      <a:pt x="73" y="18"/>
                    </a:cubicBezTo>
                    <a:cubicBezTo>
                      <a:pt x="70" y="27"/>
                      <a:pt x="70" y="27"/>
                      <a:pt x="70" y="27"/>
                    </a:cubicBezTo>
                    <a:cubicBezTo>
                      <a:pt x="69" y="29"/>
                      <a:pt x="68" y="33"/>
                      <a:pt x="69" y="36"/>
                    </a:cubicBezTo>
                    <a:cubicBezTo>
                      <a:pt x="73" y="37"/>
                      <a:pt x="73" y="37"/>
                      <a:pt x="73" y="37"/>
                    </a:cubicBezTo>
                    <a:cubicBezTo>
                      <a:pt x="74" y="38"/>
                      <a:pt x="75" y="39"/>
                      <a:pt x="75" y="40"/>
                    </a:cubicBezTo>
                    <a:cubicBezTo>
                      <a:pt x="75" y="41"/>
                      <a:pt x="74" y="42"/>
                      <a:pt x="73" y="42"/>
                    </a:cubicBezTo>
                    <a:cubicBezTo>
                      <a:pt x="72" y="44"/>
                      <a:pt x="72" y="44"/>
                      <a:pt x="72" y="44"/>
                    </a:cubicBezTo>
                    <a:cubicBezTo>
                      <a:pt x="75" y="46"/>
                      <a:pt x="76" y="49"/>
                      <a:pt x="75" y="52"/>
                    </a:cubicBezTo>
                    <a:cubicBezTo>
                      <a:pt x="74" y="55"/>
                      <a:pt x="71" y="56"/>
                      <a:pt x="68" y="55"/>
                    </a:cubicBezTo>
                    <a:cubicBezTo>
                      <a:pt x="67" y="58"/>
                      <a:pt x="67" y="58"/>
                      <a:pt x="67" y="58"/>
                    </a:cubicBezTo>
                    <a:cubicBezTo>
                      <a:pt x="57" y="58"/>
                      <a:pt x="41" y="55"/>
                      <a:pt x="33" y="52"/>
                    </a:cubicBezTo>
                    <a:cubicBezTo>
                      <a:pt x="24" y="48"/>
                      <a:pt x="10" y="39"/>
                      <a:pt x="4" y="33"/>
                    </a:cubicBezTo>
                    <a:cubicBezTo>
                      <a:pt x="5" y="31"/>
                      <a:pt x="5" y="31"/>
                      <a:pt x="5" y="31"/>
                    </a:cubicBezTo>
                    <a:cubicBezTo>
                      <a:pt x="2" y="30"/>
                      <a:pt x="0" y="26"/>
                      <a:pt x="1" y="23"/>
                    </a:cubicBezTo>
                    <a:cubicBezTo>
                      <a:pt x="3" y="20"/>
                      <a:pt x="6" y="19"/>
                      <a:pt x="9" y="20"/>
                    </a:cubicBezTo>
                    <a:cubicBezTo>
                      <a:pt x="10" y="18"/>
                      <a:pt x="10" y="18"/>
                      <a:pt x="10" y="18"/>
                    </a:cubicBezTo>
                    <a:cubicBezTo>
                      <a:pt x="9" y="17"/>
                      <a:pt x="9" y="16"/>
                      <a:pt x="9" y="15"/>
                    </a:cubicBezTo>
                    <a:cubicBezTo>
                      <a:pt x="10" y="14"/>
                      <a:pt x="11" y="13"/>
                      <a:pt x="12" y="14"/>
                    </a:cubicBezTo>
                    <a:cubicBezTo>
                      <a:pt x="16" y="15"/>
                      <a:pt x="16" y="15"/>
                      <a:pt x="16" y="15"/>
                    </a:cubicBezTo>
                    <a:cubicBezTo>
                      <a:pt x="19" y="14"/>
                      <a:pt x="22" y="11"/>
                      <a:pt x="22" y="8"/>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16" name="Rectangle 33">
                <a:extLst>
                  <a:ext uri="{FF2B5EF4-FFF2-40B4-BE49-F238E27FC236}">
                    <a16:creationId xmlns:a16="http://schemas.microsoft.com/office/drawing/2014/main" id="{3563B400-0DF5-737A-9C43-00356B335EBC}"/>
                  </a:ext>
                </a:extLst>
              </p:cNvPr>
              <p:cNvSpPr>
                <a:spLocks noChangeArrowheads="1"/>
              </p:cNvSpPr>
              <p:nvPr/>
            </p:nvSpPr>
            <p:spPr bwMode="auto">
              <a:xfrm>
                <a:off x="5239483" y="3149600"/>
                <a:ext cx="303335" cy="39566"/>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17" name="Freeform 35">
                <a:extLst>
                  <a:ext uri="{FF2B5EF4-FFF2-40B4-BE49-F238E27FC236}">
                    <a16:creationId xmlns:a16="http://schemas.microsoft.com/office/drawing/2014/main" id="{46EA47BD-8AF3-8A9F-37F2-7E8D19CCECA0}"/>
                  </a:ext>
                </a:extLst>
              </p:cNvPr>
              <p:cNvSpPr>
                <a:spLocks/>
              </p:cNvSpPr>
              <p:nvPr/>
            </p:nvSpPr>
            <p:spPr bwMode="auto">
              <a:xfrm>
                <a:off x="5279829" y="3100755"/>
                <a:ext cx="216877" cy="39566"/>
              </a:xfrm>
              <a:custGeom>
                <a:avLst/>
                <a:gdLst/>
                <a:ahLst/>
                <a:cxnLst>
                  <a:cxn ang="0">
                    <a:pos x="110" y="10"/>
                  </a:cxn>
                  <a:cxn ang="0">
                    <a:pos x="103" y="10"/>
                  </a:cxn>
                  <a:cxn ang="0">
                    <a:pos x="103" y="4"/>
                  </a:cxn>
                  <a:cxn ang="0">
                    <a:pos x="99" y="0"/>
                  </a:cxn>
                  <a:cxn ang="0">
                    <a:pos x="15" y="0"/>
                  </a:cxn>
                  <a:cxn ang="0">
                    <a:pos x="11" y="4"/>
                  </a:cxn>
                  <a:cxn ang="0">
                    <a:pos x="11" y="10"/>
                  </a:cxn>
                  <a:cxn ang="0">
                    <a:pos x="4" y="10"/>
                  </a:cxn>
                  <a:cxn ang="0">
                    <a:pos x="0" y="14"/>
                  </a:cxn>
                  <a:cxn ang="0">
                    <a:pos x="0" y="20"/>
                  </a:cxn>
                  <a:cxn ang="0">
                    <a:pos x="113" y="20"/>
                  </a:cxn>
                  <a:cxn ang="0">
                    <a:pos x="113" y="14"/>
                  </a:cxn>
                  <a:cxn ang="0">
                    <a:pos x="110" y="10"/>
                  </a:cxn>
                </a:cxnLst>
                <a:rect l="0" t="0" r="r" b="b"/>
                <a:pathLst>
                  <a:path w="113" h="20">
                    <a:moveTo>
                      <a:pt x="110" y="10"/>
                    </a:moveTo>
                    <a:cubicBezTo>
                      <a:pt x="103" y="10"/>
                      <a:pt x="103" y="10"/>
                      <a:pt x="103" y="10"/>
                    </a:cubicBezTo>
                    <a:cubicBezTo>
                      <a:pt x="103" y="4"/>
                      <a:pt x="103" y="4"/>
                      <a:pt x="103" y="4"/>
                    </a:cubicBezTo>
                    <a:cubicBezTo>
                      <a:pt x="103" y="2"/>
                      <a:pt x="101" y="0"/>
                      <a:pt x="99" y="0"/>
                    </a:cubicBezTo>
                    <a:cubicBezTo>
                      <a:pt x="15" y="0"/>
                      <a:pt x="15" y="0"/>
                      <a:pt x="15" y="0"/>
                    </a:cubicBezTo>
                    <a:cubicBezTo>
                      <a:pt x="12" y="0"/>
                      <a:pt x="11" y="2"/>
                      <a:pt x="11" y="4"/>
                    </a:cubicBezTo>
                    <a:cubicBezTo>
                      <a:pt x="11" y="10"/>
                      <a:pt x="11" y="10"/>
                      <a:pt x="11" y="10"/>
                    </a:cubicBezTo>
                    <a:cubicBezTo>
                      <a:pt x="4" y="10"/>
                      <a:pt x="4" y="10"/>
                      <a:pt x="4" y="10"/>
                    </a:cubicBezTo>
                    <a:cubicBezTo>
                      <a:pt x="2" y="10"/>
                      <a:pt x="0" y="12"/>
                      <a:pt x="0" y="14"/>
                    </a:cubicBezTo>
                    <a:cubicBezTo>
                      <a:pt x="0" y="20"/>
                      <a:pt x="0" y="20"/>
                      <a:pt x="0" y="20"/>
                    </a:cubicBezTo>
                    <a:cubicBezTo>
                      <a:pt x="113" y="20"/>
                      <a:pt x="113" y="20"/>
                      <a:pt x="113" y="20"/>
                    </a:cubicBezTo>
                    <a:cubicBezTo>
                      <a:pt x="113" y="14"/>
                      <a:pt x="113" y="14"/>
                      <a:pt x="113" y="14"/>
                    </a:cubicBezTo>
                    <a:cubicBezTo>
                      <a:pt x="113" y="12"/>
                      <a:pt x="112" y="10"/>
                      <a:pt x="110" y="10"/>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grpSp>
        <p:grpSp>
          <p:nvGrpSpPr>
            <p:cNvPr id="18" name="Group 264">
              <a:extLst>
                <a:ext uri="{FF2B5EF4-FFF2-40B4-BE49-F238E27FC236}">
                  <a16:creationId xmlns:a16="http://schemas.microsoft.com/office/drawing/2014/main" id="{0E74A285-AE26-CA68-4935-CEBED64D7068}"/>
                </a:ext>
              </a:extLst>
            </p:cNvPr>
            <p:cNvGrpSpPr/>
            <p:nvPr/>
          </p:nvGrpSpPr>
          <p:grpSpPr>
            <a:xfrm>
              <a:off x="927221" y="4296572"/>
              <a:ext cx="366530" cy="429139"/>
              <a:chOff x="817563" y="2454276"/>
              <a:chExt cx="446087" cy="522288"/>
            </a:xfrm>
            <a:solidFill>
              <a:schemeClr val="tx1">
                <a:lumMod val="50000"/>
              </a:schemeClr>
            </a:solidFill>
          </p:grpSpPr>
          <p:sp>
            <p:nvSpPr>
              <p:cNvPr id="19" name="Rectangle 69">
                <a:extLst>
                  <a:ext uri="{FF2B5EF4-FFF2-40B4-BE49-F238E27FC236}">
                    <a16:creationId xmlns:a16="http://schemas.microsoft.com/office/drawing/2014/main" id="{085EEF95-4B38-972C-FA4B-DC3150FAD20C}"/>
                  </a:ext>
                </a:extLst>
              </p:cNvPr>
              <p:cNvSpPr>
                <a:spLocks noChangeArrowheads="1"/>
              </p:cNvSpPr>
              <p:nvPr/>
            </p:nvSpPr>
            <p:spPr bwMode="auto">
              <a:xfrm>
                <a:off x="895350" y="2530476"/>
                <a:ext cx="171450" cy="12700"/>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0" name="Rectangle 70">
                <a:extLst>
                  <a:ext uri="{FF2B5EF4-FFF2-40B4-BE49-F238E27FC236}">
                    <a16:creationId xmlns:a16="http://schemas.microsoft.com/office/drawing/2014/main" id="{77ECFD11-7592-41E9-455C-4118B751D686}"/>
                  </a:ext>
                </a:extLst>
              </p:cNvPr>
              <p:cNvSpPr>
                <a:spLocks noChangeArrowheads="1"/>
              </p:cNvSpPr>
              <p:nvPr/>
            </p:nvSpPr>
            <p:spPr bwMode="auto">
              <a:xfrm>
                <a:off x="895350" y="2568576"/>
                <a:ext cx="47625" cy="12700"/>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1" name="Rectangle 71">
                <a:extLst>
                  <a:ext uri="{FF2B5EF4-FFF2-40B4-BE49-F238E27FC236}">
                    <a16:creationId xmlns:a16="http://schemas.microsoft.com/office/drawing/2014/main" id="{E23DB325-D11B-6FF8-7DE9-FE7D75ECCF1C}"/>
                  </a:ext>
                </a:extLst>
              </p:cNvPr>
              <p:cNvSpPr>
                <a:spLocks noChangeArrowheads="1"/>
              </p:cNvSpPr>
              <p:nvPr/>
            </p:nvSpPr>
            <p:spPr bwMode="auto">
              <a:xfrm>
                <a:off x="895350" y="2605088"/>
                <a:ext cx="47625" cy="12700"/>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2" name="Rectangle 72">
                <a:extLst>
                  <a:ext uri="{FF2B5EF4-FFF2-40B4-BE49-F238E27FC236}">
                    <a16:creationId xmlns:a16="http://schemas.microsoft.com/office/drawing/2014/main" id="{B341E0B0-4F98-4D8A-459F-99E30CD5660A}"/>
                  </a:ext>
                </a:extLst>
              </p:cNvPr>
              <p:cNvSpPr>
                <a:spLocks noChangeArrowheads="1"/>
              </p:cNvSpPr>
              <p:nvPr/>
            </p:nvSpPr>
            <p:spPr bwMode="auto">
              <a:xfrm>
                <a:off x="895350" y="2643188"/>
                <a:ext cx="47625" cy="12700"/>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3" name="Rectangle 73">
                <a:extLst>
                  <a:ext uri="{FF2B5EF4-FFF2-40B4-BE49-F238E27FC236}">
                    <a16:creationId xmlns:a16="http://schemas.microsoft.com/office/drawing/2014/main" id="{193DA367-8CDE-35F7-C0DD-252E8741325A}"/>
                  </a:ext>
                </a:extLst>
              </p:cNvPr>
              <p:cNvSpPr>
                <a:spLocks noChangeArrowheads="1"/>
              </p:cNvSpPr>
              <p:nvPr/>
            </p:nvSpPr>
            <p:spPr bwMode="auto">
              <a:xfrm>
                <a:off x="895350" y="2679701"/>
                <a:ext cx="47625" cy="12700"/>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4" name="Rectangle 74">
                <a:extLst>
                  <a:ext uri="{FF2B5EF4-FFF2-40B4-BE49-F238E27FC236}">
                    <a16:creationId xmlns:a16="http://schemas.microsoft.com/office/drawing/2014/main" id="{9F15D98A-2AE2-C2CD-718D-98FC5C3DE86C}"/>
                  </a:ext>
                </a:extLst>
              </p:cNvPr>
              <p:cNvSpPr>
                <a:spLocks noChangeArrowheads="1"/>
              </p:cNvSpPr>
              <p:nvPr/>
            </p:nvSpPr>
            <p:spPr bwMode="auto">
              <a:xfrm>
                <a:off x="895350" y="2717801"/>
                <a:ext cx="47625" cy="12700"/>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5" name="Rectangle 75">
                <a:extLst>
                  <a:ext uri="{FF2B5EF4-FFF2-40B4-BE49-F238E27FC236}">
                    <a16:creationId xmlns:a16="http://schemas.microsoft.com/office/drawing/2014/main" id="{9E8591D7-C80E-61A2-5178-9F8FE8B4A83D}"/>
                  </a:ext>
                </a:extLst>
              </p:cNvPr>
              <p:cNvSpPr>
                <a:spLocks noChangeArrowheads="1"/>
              </p:cNvSpPr>
              <p:nvPr/>
            </p:nvSpPr>
            <p:spPr bwMode="auto">
              <a:xfrm>
                <a:off x="895350" y="2754313"/>
                <a:ext cx="47625" cy="12700"/>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6" name="Rectangle 76">
                <a:extLst>
                  <a:ext uri="{FF2B5EF4-FFF2-40B4-BE49-F238E27FC236}">
                    <a16:creationId xmlns:a16="http://schemas.microsoft.com/office/drawing/2014/main" id="{6DE86BD6-1330-448B-8019-DECD81D7B7AF}"/>
                  </a:ext>
                </a:extLst>
              </p:cNvPr>
              <p:cNvSpPr>
                <a:spLocks noChangeArrowheads="1"/>
              </p:cNvSpPr>
              <p:nvPr/>
            </p:nvSpPr>
            <p:spPr bwMode="auto">
              <a:xfrm>
                <a:off x="895350" y="2792413"/>
                <a:ext cx="47625" cy="12700"/>
              </a:xfrm>
              <a:prstGeom prst="rect">
                <a:avLst/>
              </a:prstGeom>
              <a:grpFill/>
              <a:ln w="9525">
                <a:noFill/>
                <a:miter lim="800000"/>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7" name="Freeform 77">
                <a:extLst>
                  <a:ext uri="{FF2B5EF4-FFF2-40B4-BE49-F238E27FC236}">
                    <a16:creationId xmlns:a16="http://schemas.microsoft.com/office/drawing/2014/main" id="{B6CD8B59-AC8F-2AED-C501-963932CF3C90}"/>
                  </a:ext>
                </a:extLst>
              </p:cNvPr>
              <p:cNvSpPr>
                <a:spLocks/>
              </p:cNvSpPr>
              <p:nvPr/>
            </p:nvSpPr>
            <p:spPr bwMode="auto">
              <a:xfrm>
                <a:off x="817563" y="2454276"/>
                <a:ext cx="323850" cy="438150"/>
              </a:xfrm>
              <a:custGeom>
                <a:avLst/>
                <a:gdLst/>
                <a:ahLst/>
                <a:cxnLst>
                  <a:cxn ang="0">
                    <a:pos x="71" y="1280"/>
                  </a:cxn>
                  <a:cxn ang="0">
                    <a:pos x="56" y="1266"/>
                  </a:cxn>
                  <a:cxn ang="0">
                    <a:pos x="56" y="73"/>
                  </a:cxn>
                  <a:cxn ang="0">
                    <a:pos x="71" y="59"/>
                  </a:cxn>
                  <a:cxn ang="0">
                    <a:pos x="916" y="59"/>
                  </a:cxn>
                  <a:cxn ang="0">
                    <a:pos x="930" y="73"/>
                  </a:cxn>
                  <a:cxn ang="0">
                    <a:pos x="930" y="266"/>
                  </a:cxn>
                  <a:cxn ang="0">
                    <a:pos x="987" y="266"/>
                  </a:cxn>
                  <a:cxn ang="0">
                    <a:pos x="987" y="73"/>
                  </a:cxn>
                  <a:cxn ang="0">
                    <a:pos x="916" y="0"/>
                  </a:cxn>
                  <a:cxn ang="0">
                    <a:pos x="71" y="0"/>
                  </a:cxn>
                  <a:cxn ang="0">
                    <a:pos x="0" y="73"/>
                  </a:cxn>
                  <a:cxn ang="0">
                    <a:pos x="0" y="1266"/>
                  </a:cxn>
                  <a:cxn ang="0">
                    <a:pos x="71" y="1339"/>
                  </a:cxn>
                  <a:cxn ang="0">
                    <a:pos x="389" y="1339"/>
                  </a:cxn>
                  <a:cxn ang="0">
                    <a:pos x="389" y="1280"/>
                  </a:cxn>
                  <a:cxn ang="0">
                    <a:pos x="71" y="1280"/>
                  </a:cxn>
                </a:cxnLst>
                <a:rect l="0" t="0" r="r" b="b"/>
                <a:pathLst>
                  <a:path w="987" h="1339">
                    <a:moveTo>
                      <a:pt x="71" y="1280"/>
                    </a:moveTo>
                    <a:cubicBezTo>
                      <a:pt x="63" y="1280"/>
                      <a:pt x="56" y="1274"/>
                      <a:pt x="56" y="1266"/>
                    </a:cubicBezTo>
                    <a:cubicBezTo>
                      <a:pt x="56" y="73"/>
                      <a:pt x="56" y="73"/>
                      <a:pt x="56" y="73"/>
                    </a:cubicBezTo>
                    <a:cubicBezTo>
                      <a:pt x="56" y="65"/>
                      <a:pt x="63" y="59"/>
                      <a:pt x="71" y="59"/>
                    </a:cubicBezTo>
                    <a:cubicBezTo>
                      <a:pt x="916" y="59"/>
                      <a:pt x="916" y="59"/>
                      <a:pt x="916" y="59"/>
                    </a:cubicBezTo>
                    <a:cubicBezTo>
                      <a:pt x="924" y="59"/>
                      <a:pt x="930" y="65"/>
                      <a:pt x="930" y="73"/>
                    </a:cubicBezTo>
                    <a:cubicBezTo>
                      <a:pt x="930" y="266"/>
                      <a:pt x="930" y="266"/>
                      <a:pt x="930" y="266"/>
                    </a:cubicBezTo>
                    <a:cubicBezTo>
                      <a:pt x="987" y="266"/>
                      <a:pt x="987" y="266"/>
                      <a:pt x="987" y="266"/>
                    </a:cubicBezTo>
                    <a:cubicBezTo>
                      <a:pt x="987" y="73"/>
                      <a:pt x="987" y="73"/>
                      <a:pt x="987" y="73"/>
                    </a:cubicBezTo>
                    <a:cubicBezTo>
                      <a:pt x="987" y="33"/>
                      <a:pt x="955" y="0"/>
                      <a:pt x="916" y="0"/>
                    </a:cubicBezTo>
                    <a:cubicBezTo>
                      <a:pt x="71" y="0"/>
                      <a:pt x="71" y="0"/>
                      <a:pt x="71" y="0"/>
                    </a:cubicBezTo>
                    <a:cubicBezTo>
                      <a:pt x="31" y="0"/>
                      <a:pt x="0" y="33"/>
                      <a:pt x="0" y="73"/>
                    </a:cubicBezTo>
                    <a:cubicBezTo>
                      <a:pt x="0" y="1266"/>
                      <a:pt x="0" y="1266"/>
                      <a:pt x="0" y="1266"/>
                    </a:cubicBezTo>
                    <a:cubicBezTo>
                      <a:pt x="0" y="1306"/>
                      <a:pt x="31" y="1339"/>
                      <a:pt x="71" y="1339"/>
                    </a:cubicBezTo>
                    <a:cubicBezTo>
                      <a:pt x="389" y="1339"/>
                      <a:pt x="389" y="1339"/>
                      <a:pt x="389" y="1339"/>
                    </a:cubicBezTo>
                    <a:cubicBezTo>
                      <a:pt x="389" y="1280"/>
                      <a:pt x="389" y="1280"/>
                      <a:pt x="389" y="1280"/>
                    </a:cubicBezTo>
                    <a:lnTo>
                      <a:pt x="71" y="128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8" name="Freeform 78">
                <a:extLst>
                  <a:ext uri="{FF2B5EF4-FFF2-40B4-BE49-F238E27FC236}">
                    <a16:creationId xmlns:a16="http://schemas.microsoft.com/office/drawing/2014/main" id="{9C042F90-36CD-A502-5EEF-12C3A3B4A5C4}"/>
                  </a:ext>
                </a:extLst>
              </p:cNvPr>
              <p:cNvSpPr>
                <a:spLocks noEditPoints="1"/>
              </p:cNvSpPr>
              <p:nvPr/>
            </p:nvSpPr>
            <p:spPr bwMode="auto">
              <a:xfrm>
                <a:off x="958850" y="2555876"/>
                <a:ext cx="304800" cy="420688"/>
              </a:xfrm>
              <a:custGeom>
                <a:avLst/>
                <a:gdLst/>
                <a:ahLst/>
                <a:cxnLst>
                  <a:cxn ang="0">
                    <a:pos x="888" y="0"/>
                  </a:cxn>
                  <a:cxn ang="0">
                    <a:pos x="580" y="0"/>
                  </a:cxn>
                  <a:cxn ang="0">
                    <a:pos x="523" y="0"/>
                  </a:cxn>
                  <a:cxn ang="0">
                    <a:pos x="43" y="0"/>
                  </a:cxn>
                  <a:cxn ang="0">
                    <a:pos x="0" y="44"/>
                  </a:cxn>
                  <a:cxn ang="0">
                    <a:pos x="0" y="996"/>
                  </a:cxn>
                  <a:cxn ang="0">
                    <a:pos x="0" y="1054"/>
                  </a:cxn>
                  <a:cxn ang="0">
                    <a:pos x="0" y="1237"/>
                  </a:cxn>
                  <a:cxn ang="0">
                    <a:pos x="43" y="1280"/>
                  </a:cxn>
                  <a:cxn ang="0">
                    <a:pos x="811" y="1280"/>
                  </a:cxn>
                  <a:cxn ang="0">
                    <a:pos x="930" y="1152"/>
                  </a:cxn>
                  <a:cxn ang="0">
                    <a:pos x="930" y="44"/>
                  </a:cxn>
                  <a:cxn ang="0">
                    <a:pos x="888" y="0"/>
                  </a:cxn>
                  <a:cxn ang="0">
                    <a:pos x="729" y="1041"/>
                  </a:cxn>
                  <a:cxn ang="0">
                    <a:pos x="206" y="1041"/>
                  </a:cxn>
                  <a:cxn ang="0">
                    <a:pos x="206" y="1003"/>
                  </a:cxn>
                  <a:cxn ang="0">
                    <a:pos x="729" y="1003"/>
                  </a:cxn>
                  <a:cxn ang="0">
                    <a:pos x="729" y="1041"/>
                  </a:cxn>
                  <a:cxn ang="0">
                    <a:pos x="729" y="927"/>
                  </a:cxn>
                  <a:cxn ang="0">
                    <a:pos x="206" y="927"/>
                  </a:cxn>
                  <a:cxn ang="0">
                    <a:pos x="206" y="889"/>
                  </a:cxn>
                  <a:cxn ang="0">
                    <a:pos x="729" y="889"/>
                  </a:cxn>
                  <a:cxn ang="0">
                    <a:pos x="729" y="927"/>
                  </a:cxn>
                  <a:cxn ang="0">
                    <a:pos x="729" y="813"/>
                  </a:cxn>
                  <a:cxn ang="0">
                    <a:pos x="206" y="813"/>
                  </a:cxn>
                  <a:cxn ang="0">
                    <a:pos x="206" y="775"/>
                  </a:cxn>
                  <a:cxn ang="0">
                    <a:pos x="729" y="775"/>
                  </a:cxn>
                  <a:cxn ang="0">
                    <a:pos x="729" y="813"/>
                  </a:cxn>
                  <a:cxn ang="0">
                    <a:pos x="729" y="699"/>
                  </a:cxn>
                  <a:cxn ang="0">
                    <a:pos x="206" y="699"/>
                  </a:cxn>
                  <a:cxn ang="0">
                    <a:pos x="206" y="661"/>
                  </a:cxn>
                  <a:cxn ang="0">
                    <a:pos x="729" y="661"/>
                  </a:cxn>
                  <a:cxn ang="0">
                    <a:pos x="729" y="699"/>
                  </a:cxn>
                  <a:cxn ang="0">
                    <a:pos x="729" y="585"/>
                  </a:cxn>
                  <a:cxn ang="0">
                    <a:pos x="206" y="585"/>
                  </a:cxn>
                  <a:cxn ang="0">
                    <a:pos x="206" y="547"/>
                  </a:cxn>
                  <a:cxn ang="0">
                    <a:pos x="729" y="547"/>
                  </a:cxn>
                  <a:cxn ang="0">
                    <a:pos x="729" y="585"/>
                  </a:cxn>
                  <a:cxn ang="0">
                    <a:pos x="729" y="471"/>
                  </a:cxn>
                  <a:cxn ang="0">
                    <a:pos x="206" y="471"/>
                  </a:cxn>
                  <a:cxn ang="0">
                    <a:pos x="206" y="433"/>
                  </a:cxn>
                  <a:cxn ang="0">
                    <a:pos x="729" y="433"/>
                  </a:cxn>
                  <a:cxn ang="0">
                    <a:pos x="729" y="471"/>
                  </a:cxn>
                  <a:cxn ang="0">
                    <a:pos x="729" y="357"/>
                  </a:cxn>
                  <a:cxn ang="0">
                    <a:pos x="206" y="357"/>
                  </a:cxn>
                  <a:cxn ang="0">
                    <a:pos x="206" y="319"/>
                  </a:cxn>
                  <a:cxn ang="0">
                    <a:pos x="729" y="319"/>
                  </a:cxn>
                  <a:cxn ang="0">
                    <a:pos x="729" y="357"/>
                  </a:cxn>
                  <a:cxn ang="0">
                    <a:pos x="729" y="243"/>
                  </a:cxn>
                  <a:cxn ang="0">
                    <a:pos x="206" y="243"/>
                  </a:cxn>
                  <a:cxn ang="0">
                    <a:pos x="206" y="205"/>
                  </a:cxn>
                  <a:cxn ang="0">
                    <a:pos x="729" y="205"/>
                  </a:cxn>
                  <a:cxn ang="0">
                    <a:pos x="729" y="243"/>
                  </a:cxn>
                  <a:cxn ang="0">
                    <a:pos x="788" y="1251"/>
                  </a:cxn>
                  <a:cxn ang="0">
                    <a:pos x="788" y="1142"/>
                  </a:cxn>
                  <a:cxn ang="0">
                    <a:pos x="805" y="1124"/>
                  </a:cxn>
                  <a:cxn ang="0">
                    <a:pos x="908" y="1124"/>
                  </a:cxn>
                  <a:cxn ang="0">
                    <a:pos x="788" y="1251"/>
                  </a:cxn>
                </a:cxnLst>
                <a:rect l="0" t="0" r="r" b="b"/>
                <a:pathLst>
                  <a:path w="930" h="1280">
                    <a:moveTo>
                      <a:pt x="888" y="0"/>
                    </a:moveTo>
                    <a:cubicBezTo>
                      <a:pt x="580" y="0"/>
                      <a:pt x="580" y="0"/>
                      <a:pt x="580" y="0"/>
                    </a:cubicBezTo>
                    <a:cubicBezTo>
                      <a:pt x="523" y="0"/>
                      <a:pt x="523" y="0"/>
                      <a:pt x="523" y="0"/>
                    </a:cubicBezTo>
                    <a:cubicBezTo>
                      <a:pt x="43" y="0"/>
                      <a:pt x="43" y="0"/>
                      <a:pt x="43" y="0"/>
                    </a:cubicBezTo>
                    <a:cubicBezTo>
                      <a:pt x="19" y="0"/>
                      <a:pt x="0" y="20"/>
                      <a:pt x="0" y="44"/>
                    </a:cubicBezTo>
                    <a:cubicBezTo>
                      <a:pt x="0" y="996"/>
                      <a:pt x="0" y="996"/>
                      <a:pt x="0" y="996"/>
                    </a:cubicBezTo>
                    <a:cubicBezTo>
                      <a:pt x="0" y="1054"/>
                      <a:pt x="0" y="1054"/>
                      <a:pt x="0" y="1054"/>
                    </a:cubicBezTo>
                    <a:cubicBezTo>
                      <a:pt x="0" y="1237"/>
                      <a:pt x="0" y="1237"/>
                      <a:pt x="0" y="1237"/>
                    </a:cubicBezTo>
                    <a:cubicBezTo>
                      <a:pt x="0" y="1261"/>
                      <a:pt x="19" y="1280"/>
                      <a:pt x="43" y="1280"/>
                    </a:cubicBezTo>
                    <a:cubicBezTo>
                      <a:pt x="811" y="1280"/>
                      <a:pt x="811" y="1280"/>
                      <a:pt x="811" y="1280"/>
                    </a:cubicBezTo>
                    <a:cubicBezTo>
                      <a:pt x="930" y="1152"/>
                      <a:pt x="930" y="1152"/>
                      <a:pt x="930" y="1152"/>
                    </a:cubicBezTo>
                    <a:cubicBezTo>
                      <a:pt x="930" y="44"/>
                      <a:pt x="930" y="44"/>
                      <a:pt x="930" y="44"/>
                    </a:cubicBezTo>
                    <a:cubicBezTo>
                      <a:pt x="930" y="20"/>
                      <a:pt x="911" y="0"/>
                      <a:pt x="888" y="0"/>
                    </a:cubicBezTo>
                    <a:close/>
                    <a:moveTo>
                      <a:pt x="729" y="1041"/>
                    </a:moveTo>
                    <a:cubicBezTo>
                      <a:pt x="206" y="1041"/>
                      <a:pt x="206" y="1041"/>
                      <a:pt x="206" y="1041"/>
                    </a:cubicBezTo>
                    <a:cubicBezTo>
                      <a:pt x="206" y="1003"/>
                      <a:pt x="206" y="1003"/>
                      <a:pt x="206" y="1003"/>
                    </a:cubicBezTo>
                    <a:cubicBezTo>
                      <a:pt x="729" y="1003"/>
                      <a:pt x="729" y="1003"/>
                      <a:pt x="729" y="1003"/>
                    </a:cubicBezTo>
                    <a:lnTo>
                      <a:pt x="729" y="1041"/>
                    </a:lnTo>
                    <a:close/>
                    <a:moveTo>
                      <a:pt x="729" y="927"/>
                    </a:moveTo>
                    <a:cubicBezTo>
                      <a:pt x="206" y="927"/>
                      <a:pt x="206" y="927"/>
                      <a:pt x="206" y="927"/>
                    </a:cubicBezTo>
                    <a:cubicBezTo>
                      <a:pt x="206" y="889"/>
                      <a:pt x="206" y="889"/>
                      <a:pt x="206" y="889"/>
                    </a:cubicBezTo>
                    <a:cubicBezTo>
                      <a:pt x="729" y="889"/>
                      <a:pt x="729" y="889"/>
                      <a:pt x="729" y="889"/>
                    </a:cubicBezTo>
                    <a:lnTo>
                      <a:pt x="729" y="927"/>
                    </a:lnTo>
                    <a:close/>
                    <a:moveTo>
                      <a:pt x="729" y="813"/>
                    </a:moveTo>
                    <a:cubicBezTo>
                      <a:pt x="206" y="813"/>
                      <a:pt x="206" y="813"/>
                      <a:pt x="206" y="813"/>
                    </a:cubicBezTo>
                    <a:cubicBezTo>
                      <a:pt x="206" y="775"/>
                      <a:pt x="206" y="775"/>
                      <a:pt x="206" y="775"/>
                    </a:cubicBezTo>
                    <a:cubicBezTo>
                      <a:pt x="729" y="775"/>
                      <a:pt x="729" y="775"/>
                      <a:pt x="729" y="775"/>
                    </a:cubicBezTo>
                    <a:lnTo>
                      <a:pt x="729" y="813"/>
                    </a:lnTo>
                    <a:close/>
                    <a:moveTo>
                      <a:pt x="729" y="699"/>
                    </a:moveTo>
                    <a:cubicBezTo>
                      <a:pt x="206" y="699"/>
                      <a:pt x="206" y="699"/>
                      <a:pt x="206" y="699"/>
                    </a:cubicBezTo>
                    <a:cubicBezTo>
                      <a:pt x="206" y="661"/>
                      <a:pt x="206" y="661"/>
                      <a:pt x="206" y="661"/>
                    </a:cubicBezTo>
                    <a:cubicBezTo>
                      <a:pt x="729" y="661"/>
                      <a:pt x="729" y="661"/>
                      <a:pt x="729" y="661"/>
                    </a:cubicBezTo>
                    <a:lnTo>
                      <a:pt x="729" y="699"/>
                    </a:lnTo>
                    <a:close/>
                    <a:moveTo>
                      <a:pt x="729" y="585"/>
                    </a:moveTo>
                    <a:cubicBezTo>
                      <a:pt x="206" y="585"/>
                      <a:pt x="206" y="585"/>
                      <a:pt x="206" y="585"/>
                    </a:cubicBezTo>
                    <a:cubicBezTo>
                      <a:pt x="206" y="547"/>
                      <a:pt x="206" y="547"/>
                      <a:pt x="206" y="547"/>
                    </a:cubicBezTo>
                    <a:cubicBezTo>
                      <a:pt x="729" y="547"/>
                      <a:pt x="729" y="547"/>
                      <a:pt x="729" y="547"/>
                    </a:cubicBezTo>
                    <a:lnTo>
                      <a:pt x="729" y="585"/>
                    </a:lnTo>
                    <a:close/>
                    <a:moveTo>
                      <a:pt x="729" y="471"/>
                    </a:moveTo>
                    <a:cubicBezTo>
                      <a:pt x="206" y="471"/>
                      <a:pt x="206" y="471"/>
                      <a:pt x="206" y="471"/>
                    </a:cubicBezTo>
                    <a:cubicBezTo>
                      <a:pt x="206" y="433"/>
                      <a:pt x="206" y="433"/>
                      <a:pt x="206" y="433"/>
                    </a:cubicBezTo>
                    <a:cubicBezTo>
                      <a:pt x="729" y="433"/>
                      <a:pt x="729" y="433"/>
                      <a:pt x="729" y="433"/>
                    </a:cubicBezTo>
                    <a:lnTo>
                      <a:pt x="729" y="471"/>
                    </a:lnTo>
                    <a:close/>
                    <a:moveTo>
                      <a:pt x="729" y="357"/>
                    </a:moveTo>
                    <a:cubicBezTo>
                      <a:pt x="206" y="357"/>
                      <a:pt x="206" y="357"/>
                      <a:pt x="206" y="357"/>
                    </a:cubicBezTo>
                    <a:cubicBezTo>
                      <a:pt x="206" y="319"/>
                      <a:pt x="206" y="319"/>
                      <a:pt x="206" y="319"/>
                    </a:cubicBezTo>
                    <a:cubicBezTo>
                      <a:pt x="729" y="319"/>
                      <a:pt x="729" y="319"/>
                      <a:pt x="729" y="319"/>
                    </a:cubicBezTo>
                    <a:lnTo>
                      <a:pt x="729" y="357"/>
                    </a:lnTo>
                    <a:close/>
                    <a:moveTo>
                      <a:pt x="729" y="243"/>
                    </a:moveTo>
                    <a:cubicBezTo>
                      <a:pt x="206" y="243"/>
                      <a:pt x="206" y="243"/>
                      <a:pt x="206" y="243"/>
                    </a:cubicBezTo>
                    <a:cubicBezTo>
                      <a:pt x="206" y="205"/>
                      <a:pt x="206" y="205"/>
                      <a:pt x="206" y="205"/>
                    </a:cubicBezTo>
                    <a:cubicBezTo>
                      <a:pt x="729" y="205"/>
                      <a:pt x="729" y="205"/>
                      <a:pt x="729" y="205"/>
                    </a:cubicBezTo>
                    <a:lnTo>
                      <a:pt x="729" y="243"/>
                    </a:lnTo>
                    <a:close/>
                    <a:moveTo>
                      <a:pt x="788" y="1251"/>
                    </a:moveTo>
                    <a:cubicBezTo>
                      <a:pt x="788" y="1142"/>
                      <a:pt x="788" y="1142"/>
                      <a:pt x="788" y="1142"/>
                    </a:cubicBezTo>
                    <a:cubicBezTo>
                      <a:pt x="788" y="1132"/>
                      <a:pt x="795" y="1124"/>
                      <a:pt x="805" y="1124"/>
                    </a:cubicBezTo>
                    <a:cubicBezTo>
                      <a:pt x="908" y="1124"/>
                      <a:pt x="908" y="1124"/>
                      <a:pt x="908" y="1124"/>
                    </a:cubicBezTo>
                    <a:lnTo>
                      <a:pt x="788" y="1251"/>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grpSp>
      </p:grpSp>
      <p:sp>
        <p:nvSpPr>
          <p:cNvPr id="29" name="Oval 28">
            <a:extLst>
              <a:ext uri="{FF2B5EF4-FFF2-40B4-BE49-F238E27FC236}">
                <a16:creationId xmlns:a16="http://schemas.microsoft.com/office/drawing/2014/main" id="{0BC58E50-522D-428B-9F05-49819E4DF99C}"/>
              </a:ext>
            </a:extLst>
          </p:cNvPr>
          <p:cNvSpPr/>
          <p:nvPr/>
        </p:nvSpPr>
        <p:spPr>
          <a:xfrm>
            <a:off x="3814481"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6" name="Text Placeholder 10">
            <a:extLst>
              <a:ext uri="{FF2B5EF4-FFF2-40B4-BE49-F238E27FC236}">
                <a16:creationId xmlns:a16="http://schemas.microsoft.com/office/drawing/2014/main" id="{40FF8B98-F395-784D-306C-BBF091956D99}"/>
              </a:ext>
            </a:extLst>
          </p:cNvPr>
          <p:cNvSpPr txBox="1">
            <a:spLocks/>
          </p:cNvSpPr>
          <p:nvPr/>
        </p:nvSpPr>
        <p:spPr>
          <a:xfrm>
            <a:off x="3814480" y="6474840"/>
            <a:ext cx="7995919" cy="110800"/>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1) National Energy and Climate Plans. </a:t>
            </a:r>
          </a:p>
        </p:txBody>
      </p:sp>
      <p:sp>
        <p:nvSpPr>
          <p:cNvPr id="8" name="Rectangle 7">
            <a:extLst>
              <a:ext uri="{FF2B5EF4-FFF2-40B4-BE49-F238E27FC236}">
                <a16:creationId xmlns:a16="http://schemas.microsoft.com/office/drawing/2014/main" id="{C6C85A07-5D53-204C-29C4-BFDAD63128D9}"/>
              </a:ext>
            </a:extLst>
          </p:cNvPr>
          <p:cNvSpPr/>
          <p:nvPr/>
        </p:nvSpPr>
        <p:spPr>
          <a:xfrm>
            <a:off x="3989107" y="754602"/>
            <a:ext cx="8229600" cy="560275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Tree>
    <p:extLst>
      <p:ext uri="{BB962C8B-B14F-4D97-AF65-F5344CB8AC3E}">
        <p14:creationId xmlns:p14="http://schemas.microsoft.com/office/powerpoint/2010/main" val="26020970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E69CE6-A077-4331-9700-35F6304FA5F3}"/>
              </a:ext>
            </a:extLst>
          </p:cNvPr>
          <p:cNvGraphicFramePr>
            <a:graphicFrameLocks noChangeAspect="1"/>
          </p:cNvGraphicFramePr>
          <p:nvPr>
            <p:custDataLst>
              <p:tags r:id="rId1"/>
            </p:custDataLst>
            <p:extLst>
              <p:ext uri="{D42A27DB-BD31-4B8C-83A1-F6EECF244321}">
                <p14:modId xmlns:p14="http://schemas.microsoft.com/office/powerpoint/2010/main" val="3526034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7" name="Object 6" hidden="1">
                        <a:extLst>
                          <a:ext uri="{FF2B5EF4-FFF2-40B4-BE49-F238E27FC236}">
                            <a16:creationId xmlns:a16="http://schemas.microsoft.com/office/drawing/2014/main" id="{97E69CE6-A077-4331-9700-35F6304FA5F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graphicFrame>
        <p:nvGraphicFramePr>
          <p:cNvPr id="111" name="Table 42">
            <a:extLst>
              <a:ext uri="{FF2B5EF4-FFF2-40B4-BE49-F238E27FC236}">
                <a16:creationId xmlns:a16="http://schemas.microsoft.com/office/drawing/2014/main" id="{3EB52EE8-2589-4F36-86F6-AAEEB2049D15}"/>
              </a:ext>
            </a:extLst>
          </p:cNvPr>
          <p:cNvGraphicFramePr>
            <a:graphicFrameLocks noGrp="1"/>
          </p:cNvGraphicFramePr>
          <p:nvPr>
            <p:extLst>
              <p:ext uri="{D42A27DB-BD31-4B8C-83A1-F6EECF244321}">
                <p14:modId xmlns:p14="http://schemas.microsoft.com/office/powerpoint/2010/main" val="3453549890"/>
              </p:ext>
            </p:extLst>
          </p:nvPr>
        </p:nvGraphicFramePr>
        <p:xfrm>
          <a:off x="374689" y="1554888"/>
          <a:ext cx="11461990" cy="1645920"/>
        </p:xfrm>
        <a:graphic>
          <a:graphicData uri="http://schemas.openxmlformats.org/drawingml/2006/table">
            <a:tbl>
              <a:tblPr firstRow="1" bandRow="1">
                <a:tableStyleId>{2D5ABB26-0587-4C30-8999-92F81FD0307C}</a:tableStyleId>
              </a:tblPr>
              <a:tblGrid>
                <a:gridCol w="4398033">
                  <a:extLst>
                    <a:ext uri="{9D8B030D-6E8A-4147-A177-3AD203B41FA5}">
                      <a16:colId xmlns:a16="http://schemas.microsoft.com/office/drawing/2014/main" val="501274450"/>
                    </a:ext>
                  </a:extLst>
                </a:gridCol>
                <a:gridCol w="880946">
                  <a:extLst>
                    <a:ext uri="{9D8B030D-6E8A-4147-A177-3AD203B41FA5}">
                      <a16:colId xmlns:a16="http://schemas.microsoft.com/office/drawing/2014/main" val="4065989005"/>
                    </a:ext>
                  </a:extLst>
                </a:gridCol>
                <a:gridCol w="6183011">
                  <a:extLst>
                    <a:ext uri="{9D8B030D-6E8A-4147-A177-3AD203B41FA5}">
                      <a16:colId xmlns:a16="http://schemas.microsoft.com/office/drawing/2014/main" val="3864269130"/>
                    </a:ext>
                  </a:extLst>
                </a:gridCol>
              </a:tblGrid>
              <a:tr h="0">
                <a:tc>
                  <a:txBody>
                    <a:bodyPr/>
                    <a:lstStyle/>
                    <a:p>
                      <a:pPr algn="l" rtl="0"/>
                      <a:r>
                        <a:rPr lang="en-GB" sz="1200" b="1"/>
                        <a:t>Metri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b="1"/>
                        <a:t>Weighting</a:t>
                      </a:r>
                    </a:p>
                  </a:txBody>
                  <a:tcPr marL="72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b="1"/>
                        <a:t>Rationa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1830504"/>
                  </a:ext>
                </a:extLst>
              </a:tr>
              <a:tr h="240032">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a:t>National battery targets and policies by 2030</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lnSpc>
                          <a:spcPts val="1340"/>
                        </a:lnSpc>
                      </a:pPr>
                      <a:r>
                        <a:rPr lang="en-GB" sz="1200" i="1"/>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GB" sz="1200"/>
                        <a:t>Demonstrates policy ambition for battery storage 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3895335"/>
                  </a:ext>
                </a:extLst>
              </a:tr>
              <a:tr h="240032">
                <a:tc>
                  <a:txBody>
                    <a:bodyPr/>
                    <a:lstStyle/>
                    <a:p>
                      <a:pPr marL="171450" indent="-171450" rtl="0">
                        <a:buFont typeface="Wingdings" panose="05000000000000000000" pitchFamily="2" charset="2"/>
                        <a:buChar char="§"/>
                      </a:pPr>
                      <a:r>
                        <a:rPr lang="en-GB" sz="1200"/>
                        <a:t>Renewables targets (i.e. driver of flexibility need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200" i="1"/>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a:t>Demonstrates policy ambition for renewables deploymen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048218"/>
                  </a:ext>
                </a:extLst>
              </a:tr>
              <a:tr h="240032">
                <a:tc>
                  <a:txBody>
                    <a:bodyPr/>
                    <a:lstStyle/>
                    <a:p>
                      <a:pPr marL="171450" indent="-171450" rtl="0">
                        <a:buFont typeface="Wingdings" panose="05000000000000000000" pitchFamily="2" charset="2"/>
                        <a:buChar char="§"/>
                      </a:pPr>
                      <a:r>
                        <a:rPr lang="en-GB" sz="1200"/>
                        <a:t>Availability and contractability of revenue stream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200" i="1"/>
                        <a:t>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a:t>Indicates availability and long term contractability of revenu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5652731"/>
                  </a:ext>
                </a:extLst>
              </a:tr>
              <a:tr h="240032">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a:t>Risks from grid connection and charges</a:t>
                      </a:r>
                      <a:endParaRPr lang="en-GB" sz="1200" baseline="3000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200" i="1"/>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a:t>Indicates regulatory risks around grid connection and charg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8090262"/>
                  </a:ext>
                </a:extLst>
              </a:tr>
              <a:tr h="240032">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a:t>Competition risks</a:t>
                      </a:r>
                      <a:endParaRPr lang="en-GB" sz="1200" baseline="30000"/>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lang="en-GB" sz="1200" i="1"/>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a:t>Indicates competition risks around aggregation</a:t>
                      </a:r>
                      <a:r>
                        <a:rPr lang="en-GB" sz="1200" baseline="30000"/>
                        <a:t>1</a:t>
                      </a:r>
                      <a:r>
                        <a:rPr lang="en-GB" sz="1200"/>
                        <a:t>, electrolysers and EV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8744179"/>
                  </a:ext>
                </a:extLst>
              </a:tr>
            </a:tbl>
          </a:graphicData>
        </a:graphic>
      </p:graphicFrame>
      <p:sp>
        <p:nvSpPr>
          <p:cNvPr id="208" name="Text Placeholder 207">
            <a:extLst>
              <a:ext uri="{FF2B5EF4-FFF2-40B4-BE49-F238E27FC236}">
                <a16:creationId xmlns:a16="http://schemas.microsoft.com/office/drawing/2014/main" id="{83729209-CEA6-404D-ABE4-51581910B7F2}"/>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83F456BF-D62F-4BA3-9D8F-8884BA87F243}"/>
              </a:ext>
            </a:extLst>
          </p:cNvPr>
          <p:cNvSpPr>
            <a:spLocks noGrp="1"/>
          </p:cNvSpPr>
          <p:nvPr>
            <p:ph type="title"/>
          </p:nvPr>
        </p:nvSpPr>
        <p:spPr/>
        <p:txBody>
          <a:bodyPr vert="horz"/>
          <a:lstStyle/>
          <a:p>
            <a:r>
              <a:rPr lang="en-GB" sz="2400" b="1" i="0" u="none" strike="noStrike" kern="1200" baseline="0">
                <a:solidFill>
                  <a:srgbClr val="808080"/>
                </a:solidFill>
                <a:highlight>
                  <a:srgbClr val="808080"/>
                </a:highlight>
                <a:latin typeface="Lato" panose="020F0502020204030203" pitchFamily="34" charset="0"/>
              </a:rPr>
              <a:t>XXX</a:t>
            </a:r>
            <a:r>
              <a:rPr lang="en-GB" sz="2400" b="1" i="0" u="none" strike="noStrike" kern="1200" baseline="0">
                <a:solidFill>
                  <a:srgbClr val="808080"/>
                </a:solidFill>
                <a:latin typeface="Lato" panose="020F0502020204030203" pitchFamily="34" charset="0"/>
              </a:rPr>
              <a:t> </a:t>
            </a:r>
            <a:r>
              <a:rPr lang="en-GB">
                <a:solidFill>
                  <a:schemeClr val="tx1"/>
                </a:solidFill>
              </a:rPr>
              <a:t>sees the most attractive policy environment for grid-scale battery deployment, followed by </a:t>
            </a:r>
            <a:r>
              <a:rPr lang="en-GB" sz="2400" b="1" i="0" u="none" strike="noStrike" kern="1200" baseline="0">
                <a:solidFill>
                  <a:srgbClr val="808080"/>
                </a:solidFill>
                <a:highlight>
                  <a:srgbClr val="808080"/>
                </a:highlight>
                <a:latin typeface="Lato" panose="020F0502020204030203" pitchFamily="34" charset="0"/>
              </a:rPr>
              <a:t>XXX</a:t>
            </a:r>
            <a:r>
              <a:rPr lang="en-GB">
                <a:solidFill>
                  <a:schemeClr val="tx1"/>
                </a:solidFill>
              </a:rPr>
              <a:t> and </a:t>
            </a:r>
            <a:r>
              <a:rPr lang="en-GB" sz="2400" b="1" i="0" u="none" strike="noStrike" kern="1200" baseline="0">
                <a:solidFill>
                  <a:srgbClr val="808080"/>
                </a:solidFill>
                <a:highlight>
                  <a:srgbClr val="808080"/>
                </a:highlight>
                <a:latin typeface="Lato" panose="020F0502020204030203" pitchFamily="34" charset="0"/>
              </a:rPr>
              <a:t>XXX</a:t>
            </a:r>
            <a:endParaRPr lang="en-GB">
              <a:solidFill>
                <a:schemeClr val="tx1"/>
              </a:solidFill>
            </a:endParaRPr>
          </a:p>
        </p:txBody>
      </p:sp>
      <p:sp>
        <p:nvSpPr>
          <p:cNvPr id="11" name="Text Placeholder 10">
            <a:extLst>
              <a:ext uri="{FF2B5EF4-FFF2-40B4-BE49-F238E27FC236}">
                <a16:creationId xmlns:a16="http://schemas.microsoft.com/office/drawing/2014/main" id="{13982388-B708-F4A3-2740-0C445C3C342F}"/>
              </a:ext>
            </a:extLst>
          </p:cNvPr>
          <p:cNvSpPr>
            <a:spLocks noGrp="1"/>
          </p:cNvSpPr>
          <p:nvPr>
            <p:ph type="body" sz="quarter" idx="32"/>
          </p:nvPr>
        </p:nvSpPr>
        <p:spPr>
          <a:xfrm>
            <a:off x="381600" y="6474841"/>
            <a:ext cx="11428800" cy="110800"/>
          </a:xfrm>
        </p:spPr>
        <p:txBody>
          <a:bodyPr/>
          <a:lstStyle/>
          <a:p>
            <a:r>
              <a:rPr lang="en-GB"/>
              <a:t>1) Distributed energy resources</a:t>
            </a:r>
          </a:p>
        </p:txBody>
      </p:sp>
      <p:sp>
        <p:nvSpPr>
          <p:cNvPr id="10" name="Text Placeholder 9">
            <a:extLst>
              <a:ext uri="{FF2B5EF4-FFF2-40B4-BE49-F238E27FC236}">
                <a16:creationId xmlns:a16="http://schemas.microsoft.com/office/drawing/2014/main" id="{07031A1D-EC0E-8823-09BE-5BD99223C805}"/>
              </a:ext>
            </a:extLst>
          </p:cNvPr>
          <p:cNvSpPr>
            <a:spLocks noGrp="1"/>
          </p:cNvSpPr>
          <p:nvPr>
            <p:ph type="body" sz="quarter" idx="31"/>
          </p:nvPr>
        </p:nvSpPr>
        <p:spPr>
          <a:xfrm>
            <a:off x="381599" y="79401"/>
            <a:ext cx="2595262" cy="184666"/>
          </a:xfrm>
        </p:spPr>
        <p:txBody>
          <a:bodyPr/>
          <a:lstStyle/>
          <a:p>
            <a:r>
              <a:rPr lang="en-GB"/>
              <a:t>	Policy and regulatory environment</a:t>
            </a:r>
          </a:p>
        </p:txBody>
      </p:sp>
      <p:sp>
        <p:nvSpPr>
          <p:cNvPr id="99" name="Text Placeholder 11">
            <a:extLst>
              <a:ext uri="{FF2B5EF4-FFF2-40B4-BE49-F238E27FC236}">
                <a16:creationId xmlns:a16="http://schemas.microsoft.com/office/drawing/2014/main" id="{59D1FC59-42D5-5875-AD60-A26E1004321D}"/>
              </a:ext>
            </a:extLst>
          </p:cNvPr>
          <p:cNvSpPr txBox="1">
            <a:spLocks/>
          </p:cNvSpPr>
          <p:nvPr/>
        </p:nvSpPr>
        <p:spPr>
          <a:xfrm>
            <a:off x="3025775" y="1225911"/>
            <a:ext cx="8795527" cy="369332"/>
          </a:xfrm>
          <a:prstGeom prst="rect">
            <a:avLst/>
          </a:prstGeom>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r>
              <a:rPr lang="en-GB" i="1"/>
              <a:t>Countries are assessed in terms of their policy environment for battery storage as of Q1 2024, based on five criteria shown below. An overall score between 0-10 is assigned for each country reflecting the following weighting of assessment criteria.</a:t>
            </a:r>
          </a:p>
        </p:txBody>
      </p:sp>
      <p:sp>
        <p:nvSpPr>
          <p:cNvPr id="101" name="Oval 11">
            <a:extLst>
              <a:ext uri="{FF2B5EF4-FFF2-40B4-BE49-F238E27FC236}">
                <a16:creationId xmlns:a16="http://schemas.microsoft.com/office/drawing/2014/main" id="{BFF28BA2-E62D-6F9A-D92E-233A43136874}"/>
              </a:ext>
            </a:extLst>
          </p:cNvPr>
          <p:cNvSpPr>
            <a:spLocks/>
          </p:cNvSpPr>
          <p:nvPr/>
        </p:nvSpPr>
        <p:spPr>
          <a:xfrm>
            <a:off x="397611" y="1287132"/>
            <a:ext cx="2503967" cy="253119"/>
          </a:xfrm>
          <a:prstGeom prst="roundRect">
            <a:avLst>
              <a:gd name="adj" fmla="val 50000"/>
            </a:avLst>
          </a:prstGeom>
          <a:solidFill>
            <a:srgbClr val="A6964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l" defTabSz="685783" eaLnBrk="1" fontAlgn="auto" latinLnBrk="0" hangingPunct="1">
              <a:lnSpc>
                <a:spcPct val="100000"/>
              </a:lnSpc>
              <a:spcBef>
                <a:spcPts val="0"/>
              </a:spcBef>
              <a:spcAft>
                <a:spcPts val="0"/>
              </a:spcAft>
              <a:buClrTx/>
              <a:buSzTx/>
              <a:buFontTx/>
              <a:buNone/>
              <a:tabLst/>
              <a:defRPr/>
            </a:pPr>
            <a:r>
              <a:rPr lang="en-GB" sz="1100" b="1"/>
              <a:t>Policy environment</a:t>
            </a:r>
          </a:p>
        </p:txBody>
      </p:sp>
      <p:graphicFrame>
        <p:nvGraphicFramePr>
          <p:cNvPr id="100" name="Tabelle 7">
            <a:extLst>
              <a:ext uri="{FF2B5EF4-FFF2-40B4-BE49-F238E27FC236}">
                <a16:creationId xmlns:a16="http://schemas.microsoft.com/office/drawing/2014/main" id="{5F05063F-AE7D-A73B-C10C-D9B5A0F576E1}"/>
              </a:ext>
            </a:extLst>
          </p:cNvPr>
          <p:cNvGraphicFramePr>
            <a:graphicFrameLocks noGrp="1"/>
          </p:cNvGraphicFramePr>
          <p:nvPr>
            <p:custDataLst>
              <p:tags r:id="rId2"/>
            </p:custDataLst>
            <p:extLst>
              <p:ext uri="{D42A27DB-BD31-4B8C-83A1-F6EECF244321}">
                <p14:modId xmlns:p14="http://schemas.microsoft.com/office/powerpoint/2010/main" val="655919531"/>
              </p:ext>
            </p:extLst>
          </p:nvPr>
        </p:nvGraphicFramePr>
        <p:xfrm>
          <a:off x="381599" y="3216275"/>
          <a:ext cx="5359325" cy="3017520"/>
        </p:xfrm>
        <a:graphic>
          <a:graphicData uri="http://schemas.openxmlformats.org/drawingml/2006/table">
            <a:tbl>
              <a:tblPr firstRow="1" bandRow="1">
                <a:effectLst/>
                <a:tableStyleId>{5C22544A-7EE6-4342-B048-85BDC9FD1C3A}</a:tableStyleId>
              </a:tblPr>
              <a:tblGrid>
                <a:gridCol w="621599">
                  <a:extLst>
                    <a:ext uri="{9D8B030D-6E8A-4147-A177-3AD203B41FA5}">
                      <a16:colId xmlns:a16="http://schemas.microsoft.com/office/drawing/2014/main" val="2084924206"/>
                    </a:ext>
                  </a:extLst>
                </a:gridCol>
                <a:gridCol w="1141230">
                  <a:extLst>
                    <a:ext uri="{9D8B030D-6E8A-4147-A177-3AD203B41FA5}">
                      <a16:colId xmlns:a16="http://schemas.microsoft.com/office/drawing/2014/main" val="2561383920"/>
                    </a:ext>
                  </a:extLst>
                </a:gridCol>
                <a:gridCol w="117114">
                  <a:extLst>
                    <a:ext uri="{9D8B030D-6E8A-4147-A177-3AD203B41FA5}">
                      <a16:colId xmlns:a16="http://schemas.microsoft.com/office/drawing/2014/main" val="872547697"/>
                    </a:ext>
                  </a:extLst>
                </a:gridCol>
                <a:gridCol w="3479382">
                  <a:extLst>
                    <a:ext uri="{9D8B030D-6E8A-4147-A177-3AD203B41FA5}">
                      <a16:colId xmlns:a16="http://schemas.microsoft.com/office/drawing/2014/main" val="3029055405"/>
                    </a:ext>
                  </a:extLst>
                </a:gridCol>
              </a:tblGrid>
              <a:tr h="266953">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ank</a:t>
                      </a:r>
                    </a:p>
                  </a:txBody>
                  <a:tcPr marL="45720" marR="45720" anchor="b">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45720" marR="45720" anchor="b">
                    <a:lnR w="12700" cmpd="sng">
                      <a:noFill/>
                    </a:lnR>
                    <a:lnB w="12700" cap="flat" cmpd="sng" algn="ctr">
                      <a:solidFill>
                        <a:schemeClr val="tx1"/>
                      </a:solidFill>
                      <a:prstDash val="solid"/>
                      <a:round/>
                      <a:headEnd type="none" w="med" len="med"/>
                      <a:tailEnd type="none" w="med" len="med"/>
                    </a:lnB>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200" b="1" i="0" kern="1200">
                        <a:solidFill>
                          <a:schemeClr val="tx1"/>
                        </a:solidFill>
                        <a:latin typeface="+mn-lt"/>
                        <a:ea typeface="Lato" panose="020F0502020204030203" pitchFamily="34" charset="0"/>
                        <a:cs typeface="Lato" panose="020F0502020204030203" pitchFamily="34" charset="0"/>
                      </a:endParaRPr>
                    </a:p>
                  </a:txBody>
                  <a:tcPr marL="45720" marR="4572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a:solidFill>
                            <a:schemeClr val="tx1"/>
                          </a:solidFill>
                          <a:latin typeface="+mn-lt"/>
                          <a:ea typeface="Lato" panose="020F0502020204030203" pitchFamily="34" charset="0"/>
                          <a:cs typeface="Lato" panose="020F0502020204030203" pitchFamily="34" charset="0"/>
                        </a:rPr>
                        <a:t>Market attractiveness score</a:t>
                      </a:r>
                    </a:p>
                  </a:txBody>
                  <a:tcPr marL="45720" marR="45720" anchor="b">
                    <a:lnL w="12700" cmpd="sng">
                      <a:noFill/>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5036239"/>
                  </a:ext>
                </a:extLst>
              </a:tr>
              <a:tr h="266981">
                <a:tc>
                  <a:txBody>
                    <a:bodyPr/>
                    <a:lstStyle/>
                    <a:p>
                      <a:pPr algn="ctr" rtl="0" fontAlgn="b"/>
                      <a:r>
                        <a:rPr lang="en-GB" sz="1200" b="0" i="0" u="none" strike="noStrike">
                          <a:solidFill>
                            <a:schemeClr val="tx1"/>
                          </a:solidFill>
                          <a:effectLst/>
                          <a:latin typeface="+mn-lt"/>
                        </a:rPr>
                        <a:t>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6981">
                <a:tc>
                  <a:txBody>
                    <a:bodyPr/>
                    <a:lstStyle/>
                    <a:p>
                      <a:pPr algn="ctr" rtl="0" fontAlgn="b"/>
                      <a:r>
                        <a:rPr lang="en-GB" sz="1200" b="0" i="0" u="none" strike="noStrike">
                          <a:solidFill>
                            <a:schemeClr val="tx1"/>
                          </a:solidFill>
                          <a:effectLst/>
                          <a:latin typeface="+mn-lt"/>
                        </a:rPr>
                        <a:t>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9210508"/>
                  </a:ext>
                </a:extLst>
              </a:tr>
              <a:tr h="266981">
                <a:tc>
                  <a:txBody>
                    <a:bodyPr/>
                    <a:lstStyle/>
                    <a:p>
                      <a:pPr algn="ctr" rtl="0" fontAlgn="b"/>
                      <a:r>
                        <a:rPr lang="en-GB" sz="1200" b="0" i="0" u="none" strike="noStrike">
                          <a:solidFill>
                            <a:schemeClr val="tx1"/>
                          </a:solidFill>
                          <a:effectLst/>
                          <a:latin typeface="+mn-lt"/>
                        </a:rPr>
                        <a:t>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8080983"/>
                  </a:ext>
                </a:extLst>
              </a:tr>
              <a:tr h="266981">
                <a:tc>
                  <a:txBody>
                    <a:bodyPr/>
                    <a:lstStyle/>
                    <a:p>
                      <a:pPr algn="ctr" rtl="0" fontAlgn="b"/>
                      <a:r>
                        <a:rPr lang="en-GB" sz="1200" b="0" i="0" u="none" strike="noStrike">
                          <a:solidFill>
                            <a:schemeClr val="tx1"/>
                          </a:solidFill>
                          <a:effectLst/>
                          <a:latin typeface="+mn-lt"/>
                        </a:rPr>
                        <a:t>4</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8261833"/>
                  </a:ext>
                </a:extLst>
              </a:tr>
              <a:tr h="266981">
                <a:tc>
                  <a:txBody>
                    <a:bodyPr/>
                    <a:lstStyle/>
                    <a:p>
                      <a:pPr algn="ctr" rtl="0" fontAlgn="b"/>
                      <a:r>
                        <a:rPr lang="en-GB" sz="1200" b="0" i="0" u="none" strike="noStrike">
                          <a:solidFill>
                            <a:schemeClr val="tx1"/>
                          </a:solidFill>
                          <a:effectLst/>
                          <a:latin typeface="+mn-lt"/>
                        </a:rPr>
                        <a:t>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8506081"/>
                  </a:ext>
                </a:extLst>
              </a:tr>
              <a:tr h="266981">
                <a:tc>
                  <a:txBody>
                    <a:bodyPr/>
                    <a:lstStyle/>
                    <a:p>
                      <a:pPr algn="ctr" rtl="0" fontAlgn="b"/>
                      <a:r>
                        <a:rPr lang="en-GB" sz="1200" b="0" i="0" u="none" strike="noStrike">
                          <a:solidFill>
                            <a:schemeClr val="tx1"/>
                          </a:solidFill>
                          <a:effectLst/>
                          <a:latin typeface="+mn-lt"/>
                        </a:rPr>
                        <a:t>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9309152"/>
                  </a:ext>
                </a:extLst>
              </a:tr>
              <a:tr h="266981">
                <a:tc>
                  <a:txBody>
                    <a:bodyPr/>
                    <a:lstStyle/>
                    <a:p>
                      <a:pPr algn="ctr" rtl="0" fontAlgn="b"/>
                      <a:r>
                        <a:rPr lang="en-GB" sz="1200" b="0" i="0" u="none" strike="noStrike">
                          <a:solidFill>
                            <a:schemeClr val="tx1"/>
                          </a:solidFill>
                          <a:effectLst/>
                          <a:latin typeface="+mn-lt"/>
                        </a:rPr>
                        <a:t>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0424253"/>
                  </a:ext>
                </a:extLst>
              </a:tr>
              <a:tr h="266981">
                <a:tc>
                  <a:txBody>
                    <a:bodyPr/>
                    <a:lstStyle/>
                    <a:p>
                      <a:pPr algn="ctr" rtl="0" fontAlgn="b"/>
                      <a:r>
                        <a:rPr lang="en-GB" sz="1200" b="0" i="0" u="none" strike="noStrike">
                          <a:solidFill>
                            <a:schemeClr val="tx1"/>
                          </a:solidFill>
                          <a:effectLst/>
                          <a:latin typeface="+mn-lt"/>
                        </a:rPr>
                        <a:t>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5004117"/>
                  </a:ext>
                </a:extLst>
              </a:tr>
              <a:tr h="266981">
                <a:tc>
                  <a:txBody>
                    <a:bodyPr/>
                    <a:lstStyle/>
                    <a:p>
                      <a:pPr algn="ctr" rtl="0" fontAlgn="b"/>
                      <a:r>
                        <a:rPr lang="en-GB" sz="1200" b="0" i="0" u="none" strike="noStrike">
                          <a:solidFill>
                            <a:schemeClr val="tx1"/>
                          </a:solidFill>
                          <a:effectLst/>
                          <a:latin typeface="+mn-lt"/>
                        </a:rPr>
                        <a:t>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675267"/>
                  </a:ext>
                </a:extLst>
              </a:tr>
              <a:tr h="266981">
                <a:tc>
                  <a:txBody>
                    <a:bodyPr/>
                    <a:lstStyle/>
                    <a:p>
                      <a:pPr algn="ctr" rtl="0" fontAlgn="b"/>
                      <a:r>
                        <a:rPr lang="en-GB" sz="1200" b="0" i="0" u="none" strike="noStrike">
                          <a:solidFill>
                            <a:schemeClr val="tx1"/>
                          </a:solidFill>
                          <a:effectLst/>
                          <a:latin typeface="+mn-lt"/>
                        </a:rPr>
                        <a:t>10</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7503049"/>
                  </a:ext>
                </a:extLst>
              </a:tr>
            </a:tbl>
          </a:graphicData>
        </a:graphic>
      </p:graphicFrame>
      <p:graphicFrame>
        <p:nvGraphicFramePr>
          <p:cNvPr id="12" name="Chart 11">
            <a:extLst>
              <a:ext uri="{FF2B5EF4-FFF2-40B4-BE49-F238E27FC236}">
                <a16:creationId xmlns:a16="http://schemas.microsoft.com/office/drawing/2014/main" id="{6FF8528F-6C9E-F1FE-477D-0704864DEAAD}"/>
              </a:ext>
            </a:extLst>
          </p:cNvPr>
          <p:cNvGraphicFramePr/>
          <p:nvPr>
            <p:custDataLst>
              <p:tags r:id="rId3"/>
            </p:custDataLst>
            <p:extLst>
              <p:ext uri="{D42A27DB-BD31-4B8C-83A1-F6EECF244321}">
                <p14:modId xmlns:p14="http://schemas.microsoft.com/office/powerpoint/2010/main" val="4255896198"/>
              </p:ext>
            </p:extLst>
          </p:nvPr>
        </p:nvGraphicFramePr>
        <p:xfrm>
          <a:off x="2392363" y="3414713"/>
          <a:ext cx="3027362" cy="2901950"/>
        </p:xfrm>
        <a:graphic>
          <a:graphicData uri="http://schemas.openxmlformats.org/drawingml/2006/chart">
            <c:chart xmlns:c="http://schemas.openxmlformats.org/drawingml/2006/chart" xmlns:r="http://schemas.openxmlformats.org/officeDocument/2006/relationships" r:id="rId18"/>
          </a:graphicData>
        </a:graphic>
      </p:graphicFrame>
      <p:sp>
        <p:nvSpPr>
          <p:cNvPr id="133" name="Rectangle 132">
            <a:extLst>
              <a:ext uri="{FF2B5EF4-FFF2-40B4-BE49-F238E27FC236}">
                <a16:creationId xmlns:a16="http://schemas.microsoft.com/office/drawing/2014/main" id="{4169BAC9-E7BF-54F6-AE5E-1AEE7C0ED4DD}"/>
              </a:ext>
            </a:extLst>
          </p:cNvPr>
          <p:cNvSpPr/>
          <p:nvPr>
            <p:custDataLst>
              <p:tags r:id="rId4"/>
            </p:custDataLst>
          </p:nvPr>
        </p:nvSpPr>
        <p:spPr bwMode="auto">
          <a:xfrm>
            <a:off x="447675" y="6289675"/>
            <a:ext cx="179388" cy="133350"/>
          </a:xfrm>
          <a:prstGeom prst="rect">
            <a:avLst/>
          </a:prstGeom>
          <a:solidFill>
            <a:srgbClr val="E9E261"/>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6" name="Rectangle 155">
            <a:extLst>
              <a:ext uri="{FF2B5EF4-FFF2-40B4-BE49-F238E27FC236}">
                <a16:creationId xmlns:a16="http://schemas.microsoft.com/office/drawing/2014/main" id="{EAF4E85F-4677-E75D-124D-9114CBB14E31}"/>
              </a:ext>
            </a:extLst>
          </p:cNvPr>
          <p:cNvSpPr/>
          <p:nvPr>
            <p:custDataLst>
              <p:tags r:id="rId5"/>
            </p:custDataLst>
          </p:nvPr>
        </p:nvSpPr>
        <p:spPr bwMode="auto">
          <a:xfrm>
            <a:off x="1627188" y="6289675"/>
            <a:ext cx="179388" cy="133350"/>
          </a:xfrm>
          <a:prstGeom prst="rect">
            <a:avLst/>
          </a:prstGeom>
          <a:solidFill>
            <a:srgbClr val="C8BD88"/>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5" name="Rectangle 154">
            <a:extLst>
              <a:ext uri="{FF2B5EF4-FFF2-40B4-BE49-F238E27FC236}">
                <a16:creationId xmlns:a16="http://schemas.microsoft.com/office/drawing/2014/main" id="{47C2C8FE-50F1-2D75-B7C0-F03ADFAFEFF6}"/>
              </a:ext>
            </a:extLst>
          </p:cNvPr>
          <p:cNvSpPr/>
          <p:nvPr>
            <p:custDataLst>
              <p:tags r:id="rId6"/>
            </p:custDataLst>
          </p:nvPr>
        </p:nvSpPr>
        <p:spPr bwMode="auto">
          <a:xfrm>
            <a:off x="2919413" y="6289675"/>
            <a:ext cx="179388" cy="133350"/>
          </a:xfrm>
          <a:prstGeom prst="rect">
            <a:avLst/>
          </a:prstGeom>
          <a:solidFill>
            <a:srgbClr val="A6964E"/>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 name="Rectangle 5">
            <a:extLst>
              <a:ext uri="{FF2B5EF4-FFF2-40B4-BE49-F238E27FC236}">
                <a16:creationId xmlns:a16="http://schemas.microsoft.com/office/drawing/2014/main" id="{1E7A5769-56D9-7C5F-6172-5862204E73C3}"/>
              </a:ext>
            </a:extLst>
          </p:cNvPr>
          <p:cNvSpPr/>
          <p:nvPr>
            <p:custDataLst>
              <p:tags r:id="rId7"/>
            </p:custDataLst>
          </p:nvPr>
        </p:nvSpPr>
        <p:spPr bwMode="auto">
          <a:xfrm>
            <a:off x="4208463" y="6289675"/>
            <a:ext cx="179388" cy="133350"/>
          </a:xfrm>
          <a:prstGeom prst="rect">
            <a:avLst/>
          </a:prstGeom>
          <a:solidFill>
            <a:srgbClr val="7B7039"/>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7" name="Rectangle 16">
            <a:extLst>
              <a:ext uri="{FF2B5EF4-FFF2-40B4-BE49-F238E27FC236}">
                <a16:creationId xmlns:a16="http://schemas.microsoft.com/office/drawing/2014/main" id="{0CF8E4BA-3D33-320A-4385-E2DA004621EF}"/>
              </a:ext>
            </a:extLst>
          </p:cNvPr>
          <p:cNvSpPr/>
          <p:nvPr>
            <p:custDataLst>
              <p:tags r:id="rId8"/>
            </p:custDataLst>
          </p:nvPr>
        </p:nvSpPr>
        <p:spPr bwMode="auto">
          <a:xfrm>
            <a:off x="5424488" y="6289675"/>
            <a:ext cx="179388" cy="133350"/>
          </a:xfrm>
          <a:prstGeom prst="rect">
            <a:avLst/>
          </a:prstGeom>
          <a:solidFill>
            <a:srgbClr val="5C542A"/>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60" name="Text Placeholder 19">
            <a:extLst>
              <a:ext uri="{FF2B5EF4-FFF2-40B4-BE49-F238E27FC236}">
                <a16:creationId xmlns:a16="http://schemas.microsoft.com/office/drawing/2014/main" id="{EE9E8BCB-A5E4-D4AD-A8C7-10D03CFD49B3}"/>
              </a:ext>
            </a:extLst>
          </p:cNvPr>
          <p:cNvSpPr>
            <a:spLocks noGrp="1"/>
          </p:cNvSpPr>
          <p:nvPr>
            <p:custDataLst>
              <p:tags r:id="rId9"/>
            </p:custDataLst>
          </p:nvPr>
        </p:nvSpPr>
        <p:spPr bwMode="auto">
          <a:xfrm>
            <a:off x="677863" y="6284913"/>
            <a:ext cx="847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59A3A52C-3558-4681-9255-A9B48650EE5C}" type="datetime'''Ba''''''''''''t''te''''ry'''''' ''t''a''r''''g''''''e''ts'''">
              <a:rPr lang="en-GB" altLang="en-US" sz="1000" smtClean="0"/>
              <a:pPr>
                <a:spcBef>
                  <a:spcPct val="0"/>
                </a:spcBef>
                <a:spcAft>
                  <a:spcPct val="0"/>
                </a:spcAft>
              </a:pPr>
              <a:t>Battery targets</a:t>
            </a:fld>
            <a:endParaRPr lang="en-GB" sz="1000"/>
          </a:p>
        </p:txBody>
      </p:sp>
      <p:sp>
        <p:nvSpPr>
          <p:cNvPr id="159" name="Text Placeholder 19">
            <a:extLst>
              <a:ext uri="{FF2B5EF4-FFF2-40B4-BE49-F238E27FC236}">
                <a16:creationId xmlns:a16="http://schemas.microsoft.com/office/drawing/2014/main" id="{D993F250-3E6D-0353-D598-1412A1A1F041}"/>
              </a:ext>
            </a:extLst>
          </p:cNvPr>
          <p:cNvSpPr>
            <a:spLocks noGrp="1"/>
          </p:cNvSpPr>
          <p:nvPr>
            <p:custDataLst>
              <p:tags r:id="rId10"/>
            </p:custDataLst>
          </p:nvPr>
        </p:nvSpPr>
        <p:spPr bwMode="auto">
          <a:xfrm>
            <a:off x="1857375" y="6284913"/>
            <a:ext cx="960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6728C219-FFF9-416E-B7A3-E70D97B12264}" type="datetime'F''l''''e''''x''ibi''''l''''''''''ity'''' ''''dri''ve''rs'">
              <a:rPr lang="en-GB" altLang="en-US" sz="1000" smtClean="0"/>
              <a:pPr>
                <a:spcBef>
                  <a:spcPct val="0"/>
                </a:spcBef>
                <a:spcAft>
                  <a:spcPct val="0"/>
                </a:spcAft>
              </a:pPr>
              <a:t>Flexibility drivers</a:t>
            </a:fld>
            <a:endParaRPr lang="en-GB" sz="1000"/>
          </a:p>
        </p:txBody>
      </p:sp>
      <p:sp>
        <p:nvSpPr>
          <p:cNvPr id="157" name="Text Placeholder 19">
            <a:extLst>
              <a:ext uri="{FF2B5EF4-FFF2-40B4-BE49-F238E27FC236}">
                <a16:creationId xmlns:a16="http://schemas.microsoft.com/office/drawing/2014/main" id="{231D5B5E-31B3-F7F4-E40C-D335849A755F}"/>
              </a:ext>
            </a:extLst>
          </p:cNvPr>
          <p:cNvSpPr>
            <a:spLocks noGrp="1"/>
          </p:cNvSpPr>
          <p:nvPr>
            <p:custDataLst>
              <p:tags r:id="rId11"/>
            </p:custDataLst>
          </p:nvPr>
        </p:nvSpPr>
        <p:spPr bwMode="auto">
          <a:xfrm>
            <a:off x="3149600" y="6284913"/>
            <a:ext cx="957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6F62AB09-A5A4-4034-AB14-E611705E1D0F}" type="datetime'Reve''''nue'''''''''''' ''str''e''''a''''''''''''''''''m''s'">
              <a:rPr lang="en-GB" altLang="en-US" sz="1000" smtClean="0"/>
              <a:pPr>
                <a:spcBef>
                  <a:spcPct val="0"/>
                </a:spcBef>
                <a:spcAft>
                  <a:spcPct val="0"/>
                </a:spcAft>
              </a:pPr>
              <a:t>Revenue streams</a:t>
            </a:fld>
            <a:endParaRPr lang="en-GB" sz="1000"/>
          </a:p>
        </p:txBody>
      </p:sp>
      <p:sp>
        <p:nvSpPr>
          <p:cNvPr id="44" name="Text Placeholder 19">
            <a:extLst>
              <a:ext uri="{FF2B5EF4-FFF2-40B4-BE49-F238E27FC236}">
                <a16:creationId xmlns:a16="http://schemas.microsoft.com/office/drawing/2014/main" id="{123EC150-BED0-A601-2CBD-40B5206DBBA6}"/>
              </a:ext>
            </a:extLst>
          </p:cNvPr>
          <p:cNvSpPr>
            <a:spLocks noGrp="1"/>
          </p:cNvSpPr>
          <p:nvPr>
            <p:custDataLst>
              <p:tags r:id="rId12"/>
            </p:custDataLst>
          </p:nvPr>
        </p:nvSpPr>
        <p:spPr bwMode="auto">
          <a:xfrm>
            <a:off x="4438650" y="6284913"/>
            <a:ext cx="884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E356F3F7-B434-409F-89D8-8730AB1DC3F9}" type="datetime'''Gr''i''''d co''''n''n''''e''c''''t''''''io''''''''''''n'''''">
              <a:rPr lang="en-GB" altLang="en-US" sz="1000" smtClean="0"/>
              <a:pPr>
                <a:spcBef>
                  <a:spcPct val="0"/>
                </a:spcBef>
                <a:spcAft>
                  <a:spcPct val="0"/>
                </a:spcAft>
              </a:pPr>
              <a:t>Grid connection</a:t>
            </a:fld>
            <a:endParaRPr lang="en-GB" sz="1000"/>
          </a:p>
        </p:txBody>
      </p:sp>
      <p:sp>
        <p:nvSpPr>
          <p:cNvPr id="67" name="Text Placeholder 19">
            <a:extLst>
              <a:ext uri="{FF2B5EF4-FFF2-40B4-BE49-F238E27FC236}">
                <a16:creationId xmlns:a16="http://schemas.microsoft.com/office/drawing/2014/main" id="{C9639C3E-083D-5EB3-CACE-0DB108E7D661}"/>
              </a:ext>
            </a:extLst>
          </p:cNvPr>
          <p:cNvSpPr>
            <a:spLocks noGrp="1"/>
          </p:cNvSpPr>
          <p:nvPr>
            <p:custDataLst>
              <p:tags r:id="rId13"/>
            </p:custDataLst>
          </p:nvPr>
        </p:nvSpPr>
        <p:spPr bwMode="auto">
          <a:xfrm>
            <a:off x="5654674" y="6284913"/>
            <a:ext cx="985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6EF0AE00-F556-4A60-82BD-15C673C10FBC}" type="datetime'D''''''ER'''''''' ''''agg''''''''''''re''ga''''tion'''''''''''">
              <a:rPr lang="en-GB" altLang="en-US" sz="1000" smtClean="0"/>
              <a:pPr>
                <a:spcBef>
                  <a:spcPct val="0"/>
                </a:spcBef>
                <a:spcAft>
                  <a:spcPct val="0"/>
                </a:spcAft>
              </a:pPr>
              <a:t>DER aggregation</a:t>
            </a:fld>
            <a:r>
              <a:rPr lang="en-GB" altLang="en-US" sz="1000" baseline="30000"/>
              <a:t>1</a:t>
            </a:r>
            <a:endParaRPr lang="en-GB" sz="1000"/>
          </a:p>
        </p:txBody>
      </p:sp>
      <p:sp>
        <p:nvSpPr>
          <p:cNvPr id="182" name="Text Placeholder 10">
            <a:extLst>
              <a:ext uri="{FF2B5EF4-FFF2-40B4-BE49-F238E27FC236}">
                <a16:creationId xmlns:a16="http://schemas.microsoft.com/office/drawing/2014/main" id="{5CA8336B-F7AE-494F-40E4-9ECD0A2CDB8B}"/>
              </a:ext>
            </a:extLst>
          </p:cNvPr>
          <p:cNvSpPr txBox="1">
            <a:spLocks/>
          </p:cNvSpPr>
          <p:nvPr/>
        </p:nvSpPr>
        <p:spPr>
          <a:xfrm>
            <a:off x="6438900" y="3612028"/>
            <a:ext cx="5376000" cy="2236510"/>
          </a:xfrm>
          <a:prstGeom prst="rect">
            <a:avLst/>
          </a:prstGeom>
        </p:spPr>
        <p:txBody>
          <a:bodyPr vert="horz"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2880" indent="-182880">
              <a:buFont typeface="Wingdings" panose="05000000000000000000" pitchFamily="2" charset="2"/>
              <a:buChar char="§"/>
            </a:pPr>
            <a:r>
              <a:rPr lang="en-GB" sz="1200" b="1" i="0" u="none" strike="noStrike" kern="1200" baseline="0">
                <a:solidFill>
                  <a:srgbClr val="808080"/>
                </a:solidFill>
                <a:highlight>
                  <a:srgbClr val="808080"/>
                </a:highlight>
                <a:latin typeface="Lato" panose="020F0502020204030203" pitchFamily="34" charset="0"/>
              </a:rPr>
              <a:t>XXX</a:t>
            </a:r>
            <a:r>
              <a:rPr lang="en-GB"/>
              <a:t> ambitious target of </a:t>
            </a:r>
            <a:r>
              <a:rPr lang="en-GB" sz="1200" b="1" i="0" u="none" strike="noStrike" kern="1200" baseline="0">
                <a:solidFill>
                  <a:srgbClr val="808080"/>
                </a:solidFill>
                <a:highlight>
                  <a:srgbClr val="808080"/>
                </a:highlight>
                <a:latin typeface="Lato" panose="020F0502020204030203" pitchFamily="34" charset="0"/>
              </a:rPr>
              <a:t>XXXX </a:t>
            </a:r>
            <a:r>
              <a:rPr lang="en-GB"/>
              <a:t>GW battery capacity by 2030, which the TSO aims to procure through the new remuneration mechanism scheme </a:t>
            </a:r>
            <a:r>
              <a:rPr lang="en-GB" sz="1200" b="1" i="0" u="none" strike="noStrike" kern="1200" baseline="0">
                <a:solidFill>
                  <a:srgbClr val="808080"/>
                </a:solidFill>
                <a:highlight>
                  <a:srgbClr val="808080"/>
                </a:highlight>
                <a:latin typeface="Lato" panose="020F0502020204030203" pitchFamily="34" charset="0"/>
              </a:rPr>
              <a:t>XXXX </a:t>
            </a:r>
            <a:r>
              <a:rPr lang="en-GB"/>
              <a:t>in addition to multiple policy-enabled revenue streams, such as battery participation in the </a:t>
            </a:r>
            <a:r>
              <a:rPr lang="en-GB" sz="1200" b="1" i="0" u="none" strike="noStrike" kern="1200" baseline="0">
                <a:solidFill>
                  <a:srgbClr val="808080"/>
                </a:solidFill>
                <a:highlight>
                  <a:srgbClr val="808080"/>
                </a:highlight>
                <a:latin typeface="Lato" panose="020F0502020204030203" pitchFamily="34" charset="0"/>
              </a:rPr>
              <a:t>XXXX</a:t>
            </a:r>
            <a:r>
              <a:rPr lang="en-GB"/>
              <a:t>, makes it the strongest environment.</a:t>
            </a:r>
          </a:p>
          <a:p>
            <a:pPr marL="171450" indent="-171450">
              <a:buFont typeface="Wingdings" panose="05000000000000000000" pitchFamily="2" charset="2"/>
              <a:buChar char="§"/>
            </a:pPr>
            <a:r>
              <a:rPr lang="en-GB"/>
              <a:t>Confirmed access to ancillary markets and heightened battery targets in addition to the existing </a:t>
            </a:r>
            <a:r>
              <a:rPr lang="en-GB" sz="1200" b="1" i="0" u="none" strike="noStrike" kern="1200" baseline="0">
                <a:solidFill>
                  <a:srgbClr val="808080"/>
                </a:solidFill>
                <a:highlight>
                  <a:srgbClr val="808080"/>
                </a:highlight>
                <a:latin typeface="Lato" panose="020F0502020204030203" pitchFamily="34" charset="0"/>
              </a:rPr>
              <a:t>XXXX </a:t>
            </a:r>
            <a:r>
              <a:rPr lang="en-GB"/>
              <a:t>GW deployment target indicates strong policy support for battery projects in </a:t>
            </a:r>
            <a:r>
              <a:rPr lang="en-GB" sz="1200" b="1" i="0" u="none" strike="noStrike" kern="1200" baseline="0">
                <a:solidFill>
                  <a:srgbClr val="808080"/>
                </a:solidFill>
                <a:highlight>
                  <a:srgbClr val="808080"/>
                </a:highlight>
                <a:latin typeface="Lato" panose="020F0502020204030203" pitchFamily="34" charset="0"/>
              </a:rPr>
              <a:t>XXX</a:t>
            </a:r>
            <a:r>
              <a:rPr lang="en-GB"/>
              <a:t>. The confirmation of </a:t>
            </a:r>
            <a:r>
              <a:rPr lang="en-GB" sz="1200" b="1" i="0" u="none" strike="noStrike" kern="1200" baseline="0">
                <a:solidFill>
                  <a:srgbClr val="808080"/>
                </a:solidFill>
                <a:highlight>
                  <a:srgbClr val="808080"/>
                </a:highlight>
                <a:latin typeface="Lato" panose="020F0502020204030203" pitchFamily="34" charset="0"/>
              </a:rPr>
              <a:t>XXXX </a:t>
            </a:r>
            <a:r>
              <a:rPr lang="en-GB"/>
              <a:t>expected in </a:t>
            </a:r>
            <a:r>
              <a:rPr lang="en-GB" sz="1200" b="1" i="0" u="none" strike="noStrike" kern="1200" baseline="0">
                <a:solidFill>
                  <a:srgbClr val="808080"/>
                </a:solidFill>
                <a:highlight>
                  <a:srgbClr val="808080"/>
                </a:highlight>
                <a:latin typeface="Lato" panose="020F0502020204030203" pitchFamily="34" charset="0"/>
              </a:rPr>
              <a:t>XXXX</a:t>
            </a:r>
            <a:r>
              <a:rPr lang="en-GB"/>
              <a:t> presents an opportunity to secure stable long-term revenues.</a:t>
            </a:r>
          </a:p>
          <a:p>
            <a:pPr marL="171450" indent="-171450">
              <a:buFont typeface="Wingdings" panose="05000000000000000000" pitchFamily="2" charset="2"/>
              <a:buChar char="§"/>
            </a:pPr>
            <a:r>
              <a:rPr lang="en-GB"/>
              <a:t>Revenue stacking opportunities in </a:t>
            </a:r>
            <a:r>
              <a:rPr lang="en-GB" sz="1200" b="1" i="0" u="none" strike="noStrike" kern="1200" baseline="0">
                <a:solidFill>
                  <a:srgbClr val="808080"/>
                </a:solidFill>
                <a:highlight>
                  <a:srgbClr val="808080"/>
                </a:highlight>
                <a:latin typeface="Lato" panose="020F0502020204030203" pitchFamily="34" charset="0"/>
              </a:rPr>
              <a:t>XXXX </a:t>
            </a:r>
            <a:r>
              <a:rPr lang="en-GB"/>
              <a:t>coupled with multiple favourable revenue streams and availability of long-term contracts results in the third most favourable policy environment across Europe for batteries.</a:t>
            </a:r>
          </a:p>
        </p:txBody>
      </p:sp>
      <p:sp>
        <p:nvSpPr>
          <p:cNvPr id="183" name="Text Placeholder 12">
            <a:extLst>
              <a:ext uri="{FF2B5EF4-FFF2-40B4-BE49-F238E27FC236}">
                <a16:creationId xmlns:a16="http://schemas.microsoft.com/office/drawing/2014/main" id="{D3DF5E63-263B-CABD-2143-5453BDFDF7B9}"/>
              </a:ext>
            </a:extLst>
          </p:cNvPr>
          <p:cNvSpPr txBox="1">
            <a:spLocks/>
          </p:cNvSpPr>
          <p:nvPr/>
        </p:nvSpPr>
        <p:spPr>
          <a:xfrm>
            <a:off x="6438900" y="3324691"/>
            <a:ext cx="5376000" cy="184150"/>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u="sng"/>
              <a:t>Top markets</a:t>
            </a:r>
          </a:p>
        </p:txBody>
      </p:sp>
      <p:sp>
        <p:nvSpPr>
          <p:cNvPr id="54" name="Text Placeholder 14">
            <a:extLst>
              <a:ext uri="{FF2B5EF4-FFF2-40B4-BE49-F238E27FC236}">
                <a16:creationId xmlns:a16="http://schemas.microsoft.com/office/drawing/2014/main" id="{F0F0827F-E065-81B3-B4A5-2D42338C1955}"/>
              </a:ext>
            </a:extLst>
          </p:cNvPr>
          <p:cNvSpPr txBox="1">
            <a:spLocks/>
          </p:cNvSpPr>
          <p:nvPr/>
        </p:nvSpPr>
        <p:spPr>
          <a:xfrm>
            <a:off x="435951" y="1875640"/>
            <a:ext cx="180000" cy="180000"/>
          </a:xfrm>
          <a:prstGeom prst="ellipse">
            <a:avLst/>
          </a:prstGeom>
          <a:solidFill>
            <a:srgbClr val="E9E261"/>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4</a:t>
            </a:r>
          </a:p>
        </p:txBody>
      </p:sp>
      <p:sp>
        <p:nvSpPr>
          <p:cNvPr id="55" name="Text Placeholder 14">
            <a:extLst>
              <a:ext uri="{FF2B5EF4-FFF2-40B4-BE49-F238E27FC236}">
                <a16:creationId xmlns:a16="http://schemas.microsoft.com/office/drawing/2014/main" id="{8CF08A94-D8E0-5000-3C58-DC65F12745DE}"/>
              </a:ext>
            </a:extLst>
          </p:cNvPr>
          <p:cNvSpPr txBox="1">
            <a:spLocks/>
          </p:cNvSpPr>
          <p:nvPr/>
        </p:nvSpPr>
        <p:spPr>
          <a:xfrm>
            <a:off x="435951" y="2146405"/>
            <a:ext cx="180000" cy="180000"/>
          </a:xfrm>
          <a:prstGeom prst="ellipse">
            <a:avLst/>
          </a:prstGeom>
          <a:solidFill>
            <a:srgbClr val="C8BD88"/>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5</a:t>
            </a:r>
          </a:p>
        </p:txBody>
      </p:sp>
      <p:sp>
        <p:nvSpPr>
          <p:cNvPr id="56" name="Text Placeholder 14">
            <a:extLst>
              <a:ext uri="{FF2B5EF4-FFF2-40B4-BE49-F238E27FC236}">
                <a16:creationId xmlns:a16="http://schemas.microsoft.com/office/drawing/2014/main" id="{88443F12-71D4-097B-C41F-BEC482042AF8}"/>
              </a:ext>
            </a:extLst>
          </p:cNvPr>
          <p:cNvSpPr txBox="1">
            <a:spLocks/>
          </p:cNvSpPr>
          <p:nvPr/>
        </p:nvSpPr>
        <p:spPr>
          <a:xfrm>
            <a:off x="435951" y="2426898"/>
            <a:ext cx="180000" cy="180000"/>
          </a:xfrm>
          <a:prstGeom prst="ellipse">
            <a:avLst/>
          </a:prstGeom>
          <a:solidFill>
            <a:srgbClr val="A6964E"/>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6</a:t>
            </a:r>
          </a:p>
        </p:txBody>
      </p:sp>
      <p:sp>
        <p:nvSpPr>
          <p:cNvPr id="57" name="Text Placeholder 14">
            <a:extLst>
              <a:ext uri="{FF2B5EF4-FFF2-40B4-BE49-F238E27FC236}">
                <a16:creationId xmlns:a16="http://schemas.microsoft.com/office/drawing/2014/main" id="{83C5BC48-288A-84C1-4745-82192D4BACC0}"/>
              </a:ext>
            </a:extLst>
          </p:cNvPr>
          <p:cNvSpPr txBox="1">
            <a:spLocks/>
          </p:cNvSpPr>
          <p:nvPr/>
        </p:nvSpPr>
        <p:spPr>
          <a:xfrm>
            <a:off x="435951" y="2697663"/>
            <a:ext cx="180000" cy="180000"/>
          </a:xfrm>
          <a:prstGeom prst="ellipse">
            <a:avLst/>
          </a:prstGeom>
          <a:solidFill>
            <a:srgbClr val="7B7039"/>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solidFill>
                  <a:schemeClr val="bg1"/>
                </a:solidFill>
              </a:rPr>
              <a:t>7</a:t>
            </a:r>
          </a:p>
        </p:txBody>
      </p:sp>
      <p:sp>
        <p:nvSpPr>
          <p:cNvPr id="58" name="Text Placeholder 14">
            <a:extLst>
              <a:ext uri="{FF2B5EF4-FFF2-40B4-BE49-F238E27FC236}">
                <a16:creationId xmlns:a16="http://schemas.microsoft.com/office/drawing/2014/main" id="{B2CF7A7F-B10A-266B-DEE7-FB20125668AC}"/>
              </a:ext>
            </a:extLst>
          </p:cNvPr>
          <p:cNvSpPr txBox="1">
            <a:spLocks/>
          </p:cNvSpPr>
          <p:nvPr/>
        </p:nvSpPr>
        <p:spPr>
          <a:xfrm>
            <a:off x="435951" y="2978155"/>
            <a:ext cx="180000" cy="180000"/>
          </a:xfrm>
          <a:prstGeom prst="ellipse">
            <a:avLst/>
          </a:prstGeom>
          <a:solidFill>
            <a:srgbClr val="5C542A"/>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solidFill>
                  <a:schemeClr val="bg1"/>
                </a:solidFill>
              </a:rPr>
              <a:t>8</a:t>
            </a:r>
          </a:p>
        </p:txBody>
      </p:sp>
      <p:sp>
        <p:nvSpPr>
          <p:cNvPr id="39" name="Oval 3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2" name="Rectangle 1">
            <a:extLst>
              <a:ext uri="{FF2B5EF4-FFF2-40B4-BE49-F238E27FC236}">
                <a16:creationId xmlns:a16="http://schemas.microsoft.com/office/drawing/2014/main" id="{C8812DD3-70AE-5603-EBAE-6994B28BCBB1}"/>
              </a:ext>
            </a:extLst>
          </p:cNvPr>
          <p:cNvSpPr/>
          <p:nvPr/>
        </p:nvSpPr>
        <p:spPr>
          <a:xfrm>
            <a:off x="6226793" y="3324691"/>
            <a:ext cx="5770485" cy="2709932"/>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0031171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extLst>
              <p:ext uri="{D42A27DB-BD31-4B8C-83A1-F6EECF244321}">
                <p14:modId xmlns:p14="http://schemas.microsoft.com/office/powerpoint/2010/main" val="204677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7">
            <a:hlinkClick r:id="rId6" action="ppaction://hlinksldjump"/>
            <a:extLst>
              <a:ext uri="{FF2B5EF4-FFF2-40B4-BE49-F238E27FC236}">
                <a16:creationId xmlns:a16="http://schemas.microsoft.com/office/drawing/2014/main" id="{4D5795D6-4479-12C0-2634-3A3670FA5536}"/>
              </a:ext>
            </a:extLst>
          </p:cNvPr>
          <p:cNvSpPr txBox="1">
            <a:spLocks/>
          </p:cNvSpPr>
          <p:nvPr/>
        </p:nvSpPr>
        <p:spPr>
          <a:xfrm>
            <a:off x="0" y="2905582"/>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7" name="Text Placeholder 7">
            <a:hlinkClick r:id="" action="ppaction://noaction"/>
            <a:extLst>
              <a:ext uri="{FF2B5EF4-FFF2-40B4-BE49-F238E27FC236}">
                <a16:creationId xmlns:a16="http://schemas.microsoft.com/office/drawing/2014/main" id="{4D5795D6-4479-12C0-2634-3A3670FA5536}"/>
              </a:ext>
            </a:extLst>
          </p:cNvPr>
          <p:cNvSpPr txBox="1">
            <a:spLocks/>
          </p:cNvSpPr>
          <p:nvPr/>
        </p:nvSpPr>
        <p:spPr>
          <a:xfrm>
            <a:off x="0" y="3196258"/>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9" name="Text Placeholder 7">
            <a:hlinkClick r:id="rId7" action="ppaction://hlinksldjump"/>
            <a:extLst>
              <a:ext uri="{FF2B5EF4-FFF2-40B4-BE49-F238E27FC236}">
                <a16:creationId xmlns:a16="http://schemas.microsoft.com/office/drawing/2014/main" id="{4D5795D6-4479-12C0-2634-3A3670FA5536}"/>
              </a:ext>
            </a:extLst>
          </p:cNvPr>
          <p:cNvSpPr txBox="1">
            <a:spLocks/>
          </p:cNvSpPr>
          <p:nvPr/>
        </p:nvSpPr>
        <p:spPr>
          <a:xfrm>
            <a:off x="0" y="3486934"/>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0" name="Text Placeholder 7">
            <a:hlinkClick r:id="" action="ppaction://noaction"/>
            <a:extLst>
              <a:ext uri="{FF2B5EF4-FFF2-40B4-BE49-F238E27FC236}">
                <a16:creationId xmlns:a16="http://schemas.microsoft.com/office/drawing/2014/main" id="{4D5795D6-4479-12C0-2634-3A3670FA5536}"/>
              </a:ext>
            </a:extLst>
          </p:cNvPr>
          <p:cNvSpPr txBox="1">
            <a:spLocks/>
          </p:cNvSpPr>
          <p:nvPr/>
        </p:nvSpPr>
        <p:spPr>
          <a:xfrm>
            <a:off x="0" y="3777611"/>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2636786"/>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751066"/>
          </a:xfrm>
        </p:spPr>
        <p:txBody>
          <a:bodyPr/>
          <a:lstStyle/>
          <a:p>
            <a:r>
              <a:rPr lang="en-GB" sz="1400" dirty="0">
                <a:hlinkClick r:id="rId7" action="ppaction://hlinksldjump"/>
              </a:rPr>
              <a:t>Executive summary</a:t>
            </a:r>
            <a:endParaRPr lang="en-GB" sz="1400" dirty="0"/>
          </a:p>
          <a:p>
            <a:r>
              <a:rPr lang="en-GB" sz="1400" dirty="0">
                <a:hlinkClick r:id="rId8" action="ppaction://hlinksldjump"/>
              </a:rPr>
              <a:t>Introduction to battery storage </a:t>
            </a:r>
            <a:r>
              <a:rPr lang="en-GB" sz="1400" dirty="0"/>
              <a:t>	</a:t>
            </a:r>
          </a:p>
          <a:p>
            <a:r>
              <a:rPr lang="en-GB" sz="1400" dirty="0">
                <a:hlinkClick r:id="" action="ppaction://noaction"/>
              </a:rPr>
              <a:t>Market size and outlook </a:t>
            </a:r>
            <a:endParaRPr lang="en-GB" sz="1400" dirty="0"/>
          </a:p>
          <a:p>
            <a:r>
              <a:rPr lang="en-GB" sz="1400" dirty="0">
                <a:hlinkClick r:id="rId9" action="ppaction://hlinksldjump"/>
              </a:rPr>
              <a:t>Policy and regulatory environment</a:t>
            </a:r>
            <a:endParaRPr lang="en-GB" sz="1400" dirty="0"/>
          </a:p>
          <a:p>
            <a:pPr lvl="1"/>
            <a:r>
              <a:rPr lang="en-GB" sz="1400" dirty="0"/>
              <a:t>Battery storage policies, targets and subsidies </a:t>
            </a:r>
          </a:p>
          <a:p>
            <a:pPr lvl="1"/>
            <a:r>
              <a:rPr lang="en-GB" sz="1400" dirty="0"/>
              <a:t>Regulatory challenges and opportunities</a:t>
            </a:r>
          </a:p>
          <a:p>
            <a:pPr lvl="1"/>
            <a:r>
              <a:rPr lang="en-GB" sz="1400" dirty="0"/>
              <a:t>Revenue opportunities</a:t>
            </a:r>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2" name="Group 1">
            <a:extLst>
              <a:ext uri="{FF2B5EF4-FFF2-40B4-BE49-F238E27FC236}">
                <a16:creationId xmlns:a16="http://schemas.microsoft.com/office/drawing/2014/main" id="{BAC8BF83-C744-5747-1A68-F1235B0A6B7A}"/>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1FFD468F-BB2C-8A6E-E709-B52149DCE784}"/>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11" name="TextBox 10">
              <a:extLst>
                <a:ext uri="{FF2B5EF4-FFF2-40B4-BE49-F238E27FC236}">
                  <a16:creationId xmlns:a16="http://schemas.microsoft.com/office/drawing/2014/main" id="{554AD5D2-F066-51B2-AD34-6E8C76ACF164}"/>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27707203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7DE705-90BE-4346-9CD0-B2DE8E99AA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5F7DE705-90BE-4346-9CD0-B2DE8E99A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 Placeholder 22">
            <a:extLst>
              <a:ext uri="{FF2B5EF4-FFF2-40B4-BE49-F238E27FC236}">
                <a16:creationId xmlns:a16="http://schemas.microsoft.com/office/drawing/2014/main" id="{DD1BD5F3-B953-43DF-8E24-69489F602B1D}"/>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4" name="Title 3">
            <a:extLst>
              <a:ext uri="{FF2B5EF4-FFF2-40B4-BE49-F238E27FC236}">
                <a16:creationId xmlns:a16="http://schemas.microsoft.com/office/drawing/2014/main" id="{4D363CDA-AAA2-47A6-BF36-9F290C66BE41}"/>
              </a:ext>
            </a:extLst>
          </p:cNvPr>
          <p:cNvSpPr>
            <a:spLocks noGrp="1"/>
          </p:cNvSpPr>
          <p:nvPr>
            <p:ph type="title"/>
          </p:nvPr>
        </p:nvSpPr>
        <p:spPr/>
        <p:txBody>
          <a:bodyPr vert="horz"/>
          <a:lstStyle/>
          <a:p>
            <a:r>
              <a:rPr lang="en-GB">
                <a:solidFill>
                  <a:schemeClr val="tx1"/>
                </a:solidFill>
              </a:rPr>
              <a:t>The outlook for battery storage deployment is largely driven by energy policy and regulation</a:t>
            </a:r>
            <a:endParaRPr lang="en-GB">
              <a:solidFill>
                <a:srgbClr val="FF0000"/>
              </a:solidFill>
            </a:endParaRPr>
          </a:p>
        </p:txBody>
      </p:sp>
      <p:sp>
        <p:nvSpPr>
          <p:cNvPr id="25" name="Text Placeholder 24">
            <a:extLst>
              <a:ext uri="{FF2B5EF4-FFF2-40B4-BE49-F238E27FC236}">
                <a16:creationId xmlns:a16="http://schemas.microsoft.com/office/drawing/2014/main" id="{A5241476-29B9-4E64-AEBD-069C542BAF17}"/>
              </a:ext>
            </a:extLst>
          </p:cNvPr>
          <p:cNvSpPr>
            <a:spLocks noGrp="1"/>
          </p:cNvSpPr>
          <p:nvPr>
            <p:ph type="body" sz="quarter" idx="31"/>
          </p:nvPr>
        </p:nvSpPr>
        <p:spPr>
          <a:xfrm>
            <a:off x="381598" y="79401"/>
            <a:ext cx="5990422" cy="184666"/>
          </a:xfrm>
        </p:spPr>
        <p:txBody>
          <a:bodyPr/>
          <a:lstStyle/>
          <a:p>
            <a:pPr marL="444500" indent="-444500"/>
            <a:r>
              <a:rPr lang="en-GB"/>
              <a:t>	Policy and regulatory environment - </a:t>
            </a:r>
            <a:r>
              <a:rPr lang="en-GB" sz="1200"/>
              <a:t>Battery storage policies, targets and subsidies </a:t>
            </a:r>
          </a:p>
        </p:txBody>
      </p:sp>
      <p:cxnSp>
        <p:nvCxnSpPr>
          <p:cNvPr id="28" name="Straight Connector 27">
            <a:extLst>
              <a:ext uri="{FF2B5EF4-FFF2-40B4-BE49-F238E27FC236}">
                <a16:creationId xmlns:a16="http://schemas.microsoft.com/office/drawing/2014/main" id="{101FA293-2061-9B3A-0323-CF149A92AB3F}"/>
              </a:ext>
            </a:extLst>
          </p:cNvPr>
          <p:cNvCxnSpPr>
            <a:cxnSpLocks/>
          </p:cNvCxnSpPr>
          <p:nvPr/>
        </p:nvCxnSpPr>
        <p:spPr>
          <a:xfrm>
            <a:off x="389724" y="3973522"/>
            <a:ext cx="11451129" cy="0"/>
          </a:xfrm>
          <a:prstGeom prst="line">
            <a:avLst/>
          </a:prstGeom>
          <a:ln/>
        </p:spPr>
        <p:style>
          <a:lnRef idx="1">
            <a:schemeClr val="accent6"/>
          </a:lnRef>
          <a:fillRef idx="0">
            <a:schemeClr val="accent6"/>
          </a:fillRef>
          <a:effectRef idx="0">
            <a:schemeClr val="accent6"/>
          </a:effectRef>
          <a:fontRef idx="minor">
            <a:schemeClr val="tx1"/>
          </a:fontRef>
        </p:style>
      </p:cxnSp>
      <p:sp>
        <p:nvSpPr>
          <p:cNvPr id="29" name="Rectangle 28">
            <a:extLst>
              <a:ext uri="{FF2B5EF4-FFF2-40B4-BE49-F238E27FC236}">
                <a16:creationId xmlns:a16="http://schemas.microsoft.com/office/drawing/2014/main" id="{01424ACA-3C91-FD2A-A6C4-78A83BB3981D}"/>
              </a:ext>
            </a:extLst>
          </p:cNvPr>
          <p:cNvSpPr/>
          <p:nvPr/>
        </p:nvSpPr>
        <p:spPr>
          <a:xfrm rot="16200000">
            <a:off x="-501552" y="2780291"/>
            <a:ext cx="1980000" cy="180000"/>
          </a:xfrm>
          <a:prstGeom prst="rect">
            <a:avLst/>
          </a:prstGeom>
          <a:solidFill>
            <a:srgbClr val="CFDE63"/>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72000" tIns="36000" rIns="72000" bIns="72000" numCol="1" spcCol="0" rtlCol="0" fromWordArt="0" anchor="ctr" anchorCtr="0" forceAA="0" compatLnSpc="1">
            <a:prstTxWarp prst="textNoShape">
              <a:avLst/>
            </a:prstTxWarp>
            <a:noAutofit/>
          </a:bodyPr>
          <a:lstStyle/>
          <a:p>
            <a:pPr algn="ctr"/>
            <a:r>
              <a:rPr lang="en-GB" sz="1200" b="1">
                <a:solidFill>
                  <a:schemeClr val="tx1"/>
                </a:solidFill>
              </a:rPr>
              <a:t>Description</a:t>
            </a:r>
          </a:p>
        </p:txBody>
      </p:sp>
      <p:sp>
        <p:nvSpPr>
          <p:cNvPr id="31" name="Rectangle 30">
            <a:extLst>
              <a:ext uri="{FF2B5EF4-FFF2-40B4-BE49-F238E27FC236}">
                <a16:creationId xmlns:a16="http://schemas.microsoft.com/office/drawing/2014/main" id="{82B97AC4-73C9-1E16-6686-4353FE7BFE16}"/>
              </a:ext>
            </a:extLst>
          </p:cNvPr>
          <p:cNvSpPr/>
          <p:nvPr/>
        </p:nvSpPr>
        <p:spPr>
          <a:xfrm rot="16200000">
            <a:off x="-510276" y="4975531"/>
            <a:ext cx="1980000" cy="180000"/>
          </a:xfrm>
          <a:prstGeom prst="rect">
            <a:avLst/>
          </a:prstGeom>
          <a:solidFill>
            <a:srgbClr val="9DB1CF"/>
          </a:solidFill>
          <a:ln>
            <a:no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72000" tIns="36000" rIns="72000" bIns="72000" numCol="1" spcCol="0" rtlCol="0" fromWordArt="0" anchor="ctr" anchorCtr="0" forceAA="0" compatLnSpc="1">
            <a:prstTxWarp prst="textNoShape">
              <a:avLst/>
            </a:prstTxWarp>
            <a:noAutofit/>
          </a:bodyPr>
          <a:lstStyle/>
          <a:p>
            <a:pPr algn="ctr"/>
            <a:r>
              <a:rPr lang="en-GB" sz="1200" b="1">
                <a:solidFill>
                  <a:schemeClr val="tx1"/>
                </a:solidFill>
              </a:rPr>
              <a:t>Implications</a:t>
            </a:r>
          </a:p>
        </p:txBody>
      </p:sp>
      <p:cxnSp>
        <p:nvCxnSpPr>
          <p:cNvPr id="83" name="Straight Connector 82">
            <a:extLst>
              <a:ext uri="{FF2B5EF4-FFF2-40B4-BE49-F238E27FC236}">
                <a16:creationId xmlns:a16="http://schemas.microsoft.com/office/drawing/2014/main" id="{3A9F38C5-E4CE-A2F2-A55F-47275B70045B}"/>
              </a:ext>
            </a:extLst>
          </p:cNvPr>
          <p:cNvCxnSpPr>
            <a:cxnSpLocks/>
          </p:cNvCxnSpPr>
          <p:nvPr/>
        </p:nvCxnSpPr>
        <p:spPr>
          <a:xfrm>
            <a:off x="389724" y="1788588"/>
            <a:ext cx="11451129" cy="0"/>
          </a:xfrm>
          <a:prstGeom prst="line">
            <a:avLst/>
          </a:prstGeom>
          <a:ln/>
        </p:spPr>
        <p:style>
          <a:lnRef idx="1">
            <a:schemeClr val="accent6"/>
          </a:lnRef>
          <a:fillRef idx="0">
            <a:schemeClr val="accent6"/>
          </a:fillRef>
          <a:effectRef idx="0">
            <a:schemeClr val="accent6"/>
          </a:effectRef>
          <a:fontRef idx="minor">
            <a:schemeClr val="tx1"/>
          </a:fontRef>
        </p:style>
      </p:cxnSp>
      <p:grpSp>
        <p:nvGrpSpPr>
          <p:cNvPr id="84" name="Group 83">
            <a:extLst>
              <a:ext uri="{FF2B5EF4-FFF2-40B4-BE49-F238E27FC236}">
                <a16:creationId xmlns:a16="http://schemas.microsoft.com/office/drawing/2014/main" id="{D4193854-E2C5-8F29-ADAD-EA020AAB1792}"/>
              </a:ext>
            </a:extLst>
          </p:cNvPr>
          <p:cNvGrpSpPr/>
          <p:nvPr/>
        </p:nvGrpSpPr>
        <p:grpSpPr>
          <a:xfrm>
            <a:off x="696448" y="1267568"/>
            <a:ext cx="2431760" cy="412925"/>
            <a:chOff x="341296" y="1276373"/>
            <a:chExt cx="2557366" cy="412925"/>
          </a:xfrm>
        </p:grpSpPr>
        <p:sp>
          <p:nvSpPr>
            <p:cNvPr id="85" name="Rounded Rectangle 57">
              <a:extLst>
                <a:ext uri="{FF2B5EF4-FFF2-40B4-BE49-F238E27FC236}">
                  <a16:creationId xmlns:a16="http://schemas.microsoft.com/office/drawing/2014/main" id="{37011F07-B27A-924E-1534-C0D625C6533F}"/>
                </a:ext>
              </a:extLst>
            </p:cNvPr>
            <p:cNvSpPr/>
            <p:nvPr/>
          </p:nvSpPr>
          <p:spPr>
            <a:xfrm>
              <a:off x="341296" y="1295283"/>
              <a:ext cx="2557366" cy="394015"/>
            </a:xfrm>
            <a:prstGeom prst="rect">
              <a:avLst/>
            </a:prstGeom>
            <a:solidFill>
              <a:schemeClr val="tx2">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24000" tIns="72000" rIns="72000" bIns="72000" numCol="1" spcCol="0" rtlCol="0" fromWordArt="0" anchor="ctr" anchorCtr="0" forceAA="0" compatLnSpc="1">
              <a:prstTxWarp prst="textNoShape">
                <a:avLst/>
              </a:prstTxWarp>
              <a:noAutofit/>
            </a:bodyPr>
            <a:lstStyle/>
            <a:p>
              <a:pPr marL="87313">
                <a:spcBef>
                  <a:spcPts val="600"/>
                </a:spcBef>
              </a:pPr>
              <a:r>
                <a:rPr lang="en-GB" sz="1200" b="1"/>
                <a:t>Emissions policies</a:t>
              </a:r>
            </a:p>
          </p:txBody>
        </p:sp>
        <p:sp>
          <p:nvSpPr>
            <p:cNvPr id="86" name="Isosceles Triangle 85">
              <a:extLst>
                <a:ext uri="{FF2B5EF4-FFF2-40B4-BE49-F238E27FC236}">
                  <a16:creationId xmlns:a16="http://schemas.microsoft.com/office/drawing/2014/main" id="{AE9FFAFA-A0FD-F25E-86DC-E88F239A6434}"/>
                </a:ext>
              </a:extLst>
            </p:cNvPr>
            <p:cNvSpPr/>
            <p:nvPr/>
          </p:nvSpPr>
          <p:spPr>
            <a:xfrm rot="5400000">
              <a:off x="324468" y="1295841"/>
              <a:ext cx="393677" cy="354742"/>
            </a:xfrm>
            <a:prstGeom prst="triangle">
              <a:avLst>
                <a:gd name="adj" fmla="val 54212"/>
              </a:avLst>
            </a:prstGeom>
            <a:solidFill>
              <a:schemeClr val="accent1"/>
            </a:solidFill>
            <a:ln w="190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A</a:t>
              </a:r>
            </a:p>
          </p:txBody>
        </p:sp>
      </p:grpSp>
      <p:sp>
        <p:nvSpPr>
          <p:cNvPr id="87" name="TextBox 86">
            <a:extLst>
              <a:ext uri="{FF2B5EF4-FFF2-40B4-BE49-F238E27FC236}">
                <a16:creationId xmlns:a16="http://schemas.microsoft.com/office/drawing/2014/main" id="{93140267-1CE4-A2F9-162B-506E228675C7}"/>
              </a:ext>
            </a:extLst>
          </p:cNvPr>
          <p:cNvSpPr txBox="1"/>
          <p:nvPr/>
        </p:nvSpPr>
        <p:spPr>
          <a:xfrm>
            <a:off x="706073" y="1880291"/>
            <a:ext cx="2508765" cy="1923604"/>
          </a:xfrm>
          <a:prstGeom prst="rect">
            <a:avLst/>
          </a:prstGeom>
          <a:noFill/>
        </p:spPr>
        <p:txBody>
          <a:bodyPr wrap="square" lIns="0" tIns="0" rIns="0" bIns="0" rtlCol="0">
            <a:spAutoFit/>
          </a:bodyPr>
          <a:lstStyle/>
          <a:p>
            <a:pPr marL="182880" indent="-182880">
              <a:spcBef>
                <a:spcPts val="600"/>
              </a:spcBef>
              <a:buFont typeface="Wingdings" panose="05000000000000000000" pitchFamily="2" charset="2"/>
              <a:buChar char="§"/>
            </a:pPr>
            <a:r>
              <a:rPr lang="en-GB" sz="1200"/>
              <a:t>Country targets for variable renewables buildout influences the evolution of flexibility needs on the system and thus opportunities for batteries.</a:t>
            </a:r>
          </a:p>
          <a:p>
            <a:pPr marL="182880" indent="-182880">
              <a:spcBef>
                <a:spcPts val="600"/>
              </a:spcBef>
              <a:buFont typeface="Wingdings" panose="05000000000000000000" pitchFamily="2" charset="2"/>
              <a:buChar char="§"/>
            </a:pPr>
            <a:r>
              <a:rPr lang="en-GB" sz="1200"/>
              <a:t>Policy ambition around phasing out thermal capacity which are conventional providers of firm capacity and system services also influences system flexibility needs.</a:t>
            </a:r>
          </a:p>
        </p:txBody>
      </p:sp>
      <p:grpSp>
        <p:nvGrpSpPr>
          <p:cNvPr id="90" name="Group 89">
            <a:extLst>
              <a:ext uri="{FF2B5EF4-FFF2-40B4-BE49-F238E27FC236}">
                <a16:creationId xmlns:a16="http://schemas.microsoft.com/office/drawing/2014/main" id="{E1D643B3-EC7F-F20A-319A-2DFB47155AA7}"/>
              </a:ext>
            </a:extLst>
          </p:cNvPr>
          <p:cNvGrpSpPr/>
          <p:nvPr/>
        </p:nvGrpSpPr>
        <p:grpSpPr>
          <a:xfrm>
            <a:off x="3590512" y="1267568"/>
            <a:ext cx="2431760" cy="412925"/>
            <a:chOff x="341296" y="1276373"/>
            <a:chExt cx="2557366" cy="412925"/>
          </a:xfrm>
        </p:grpSpPr>
        <p:sp>
          <p:nvSpPr>
            <p:cNvPr id="91" name="Rounded Rectangle 57">
              <a:extLst>
                <a:ext uri="{FF2B5EF4-FFF2-40B4-BE49-F238E27FC236}">
                  <a16:creationId xmlns:a16="http://schemas.microsoft.com/office/drawing/2014/main" id="{7F9FF9D2-BD29-3D0F-28C9-43F8E50DA99D}"/>
                </a:ext>
              </a:extLst>
            </p:cNvPr>
            <p:cNvSpPr/>
            <p:nvPr/>
          </p:nvSpPr>
          <p:spPr>
            <a:xfrm>
              <a:off x="341296" y="1295283"/>
              <a:ext cx="2557366" cy="394015"/>
            </a:xfrm>
            <a:prstGeom prst="rect">
              <a:avLst/>
            </a:prstGeom>
            <a:solidFill>
              <a:schemeClr val="tx2">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24000" tIns="72000" rIns="72000" bIns="72000" numCol="1" spcCol="0" rtlCol="0" fromWordArt="0" anchor="ctr" anchorCtr="0" forceAA="0" compatLnSpc="1">
              <a:prstTxWarp prst="textNoShape">
                <a:avLst/>
              </a:prstTxWarp>
              <a:noAutofit/>
            </a:bodyPr>
            <a:lstStyle/>
            <a:p>
              <a:pPr marL="87313">
                <a:spcBef>
                  <a:spcPts val="600"/>
                </a:spcBef>
              </a:pPr>
              <a:r>
                <a:rPr lang="en-GB" sz="1200" b="1"/>
                <a:t>Policy strategies and targets for battery storage</a:t>
              </a:r>
            </a:p>
          </p:txBody>
        </p:sp>
        <p:sp>
          <p:nvSpPr>
            <p:cNvPr id="92" name="Isosceles Triangle 91">
              <a:extLst>
                <a:ext uri="{FF2B5EF4-FFF2-40B4-BE49-F238E27FC236}">
                  <a16:creationId xmlns:a16="http://schemas.microsoft.com/office/drawing/2014/main" id="{2B12DEDF-286E-B6EA-E079-CE8FB80C8AAB}"/>
                </a:ext>
              </a:extLst>
            </p:cNvPr>
            <p:cNvSpPr/>
            <p:nvPr/>
          </p:nvSpPr>
          <p:spPr>
            <a:xfrm rot="5400000">
              <a:off x="324468" y="1295841"/>
              <a:ext cx="393677" cy="354742"/>
            </a:xfrm>
            <a:prstGeom prst="triangle">
              <a:avLst>
                <a:gd name="adj" fmla="val 54212"/>
              </a:avLst>
            </a:prstGeom>
            <a:solidFill>
              <a:schemeClr val="accent2"/>
            </a:solidFill>
            <a:ln w="190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B</a:t>
              </a:r>
            </a:p>
          </p:txBody>
        </p:sp>
      </p:grpSp>
      <p:sp>
        <p:nvSpPr>
          <p:cNvPr id="93" name="TextBox 92">
            <a:extLst>
              <a:ext uri="{FF2B5EF4-FFF2-40B4-BE49-F238E27FC236}">
                <a16:creationId xmlns:a16="http://schemas.microsoft.com/office/drawing/2014/main" id="{B92F6810-01C0-FA05-4D04-B44BC76A5617}"/>
              </a:ext>
            </a:extLst>
          </p:cNvPr>
          <p:cNvSpPr txBox="1"/>
          <p:nvPr/>
        </p:nvSpPr>
        <p:spPr>
          <a:xfrm>
            <a:off x="3590840" y="1880291"/>
            <a:ext cx="2431760" cy="1369606"/>
          </a:xfrm>
          <a:prstGeom prst="rect">
            <a:avLst/>
          </a:prstGeom>
          <a:noFill/>
        </p:spPr>
        <p:txBody>
          <a:bodyPr wrap="square" lIns="0" tIns="0" rIns="0" bIns="0" rtlCol="0">
            <a:spAutoFit/>
          </a:bodyPr>
          <a:lstStyle/>
          <a:p>
            <a:pPr marL="182880" indent="-182880">
              <a:spcBef>
                <a:spcPts val="600"/>
              </a:spcBef>
              <a:buFont typeface="Wingdings" panose="05000000000000000000" pitchFamily="2" charset="2"/>
              <a:buChar char="§"/>
            </a:pPr>
            <a:r>
              <a:rPr lang="en-GB" sz="1200"/>
              <a:t>Country policies regarding energy storage shape the development of their systems and influences buildout.</a:t>
            </a:r>
          </a:p>
          <a:p>
            <a:pPr marL="182880" indent="-182880">
              <a:spcBef>
                <a:spcPts val="600"/>
              </a:spcBef>
              <a:buFont typeface="Wingdings" panose="05000000000000000000" pitchFamily="2" charset="2"/>
              <a:buChar char="§"/>
            </a:pPr>
            <a:r>
              <a:rPr lang="en-GB" sz="1200"/>
              <a:t>It indicates government support and commitments to capacity deployment</a:t>
            </a:r>
          </a:p>
        </p:txBody>
      </p:sp>
      <p:sp>
        <p:nvSpPr>
          <p:cNvPr id="94" name="TextBox 93">
            <a:extLst>
              <a:ext uri="{FF2B5EF4-FFF2-40B4-BE49-F238E27FC236}">
                <a16:creationId xmlns:a16="http://schemas.microsoft.com/office/drawing/2014/main" id="{D360F21C-3724-F09D-8A73-F874A61165D1}"/>
              </a:ext>
            </a:extLst>
          </p:cNvPr>
          <p:cNvSpPr txBox="1"/>
          <p:nvPr/>
        </p:nvSpPr>
        <p:spPr>
          <a:xfrm>
            <a:off x="3590840" y="4157048"/>
            <a:ext cx="2431760" cy="1631216"/>
          </a:xfrm>
          <a:prstGeom prst="rect">
            <a:avLst/>
          </a:prstGeom>
          <a:noFill/>
        </p:spPr>
        <p:txBody>
          <a:bodyPr wrap="square" lIns="0" tIns="0" rIns="0" bIns="0" rtlCol="0">
            <a:spAutoFit/>
          </a:bodyPr>
          <a:lstStyle/>
          <a:p>
            <a:pPr marL="182880" indent="-182880">
              <a:spcBef>
                <a:spcPts val="600"/>
              </a:spcBef>
              <a:buFont typeface="Wingdings" panose="05000000000000000000" pitchFamily="2" charset="2"/>
              <a:buChar char="§"/>
            </a:pPr>
            <a:r>
              <a:rPr lang="en-GB" sz="1200"/>
              <a:t>Establishing policies, strategies and targets for energy storage deployment drives investor confidence.</a:t>
            </a:r>
          </a:p>
          <a:p>
            <a:pPr marL="182880" indent="-182880">
              <a:spcBef>
                <a:spcPts val="600"/>
              </a:spcBef>
              <a:buFont typeface="Wingdings" panose="05000000000000000000" pitchFamily="2" charset="2"/>
              <a:buChar char="§"/>
            </a:pPr>
            <a:r>
              <a:rPr lang="en-GB" sz="1200"/>
              <a:t>Clear policy in support of flexible assets results in greater buildout of these assets.</a:t>
            </a:r>
          </a:p>
          <a:p>
            <a:pPr marL="182880" indent="-182880">
              <a:spcBef>
                <a:spcPts val="600"/>
              </a:spcBef>
              <a:buFont typeface="Wingdings" panose="05000000000000000000" pitchFamily="2" charset="2"/>
              <a:buChar char="§"/>
            </a:pPr>
            <a:endParaRPr lang="en-GB" sz="1200"/>
          </a:p>
        </p:txBody>
      </p:sp>
      <p:grpSp>
        <p:nvGrpSpPr>
          <p:cNvPr id="95" name="Group 94">
            <a:extLst>
              <a:ext uri="{FF2B5EF4-FFF2-40B4-BE49-F238E27FC236}">
                <a16:creationId xmlns:a16="http://schemas.microsoft.com/office/drawing/2014/main" id="{6C219D42-01BC-911C-27ED-16BD79E147E8}"/>
              </a:ext>
            </a:extLst>
          </p:cNvPr>
          <p:cNvGrpSpPr/>
          <p:nvPr/>
        </p:nvGrpSpPr>
        <p:grpSpPr>
          <a:xfrm>
            <a:off x="6484576" y="1267568"/>
            <a:ext cx="2431760" cy="412925"/>
            <a:chOff x="341296" y="1276373"/>
            <a:chExt cx="2557366" cy="412925"/>
          </a:xfrm>
        </p:grpSpPr>
        <p:sp>
          <p:nvSpPr>
            <p:cNvPr id="96" name="Rounded Rectangle 57">
              <a:extLst>
                <a:ext uri="{FF2B5EF4-FFF2-40B4-BE49-F238E27FC236}">
                  <a16:creationId xmlns:a16="http://schemas.microsoft.com/office/drawing/2014/main" id="{8FF1AD47-7CA6-1E64-9B77-73FD7D3F2919}"/>
                </a:ext>
              </a:extLst>
            </p:cNvPr>
            <p:cNvSpPr/>
            <p:nvPr/>
          </p:nvSpPr>
          <p:spPr>
            <a:xfrm>
              <a:off x="341296" y="1295283"/>
              <a:ext cx="2557366" cy="394015"/>
            </a:xfrm>
            <a:prstGeom prst="rect">
              <a:avLst/>
            </a:prstGeom>
            <a:solidFill>
              <a:schemeClr val="tx2">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24000" tIns="72000" rIns="72000" bIns="72000" numCol="1" spcCol="0" rtlCol="0" fromWordArt="0" anchor="ctr" anchorCtr="0" forceAA="0" compatLnSpc="1">
              <a:prstTxWarp prst="textNoShape">
                <a:avLst/>
              </a:prstTxWarp>
              <a:noAutofit/>
            </a:bodyPr>
            <a:lstStyle/>
            <a:p>
              <a:pPr marL="88900">
                <a:spcBef>
                  <a:spcPts val="600"/>
                </a:spcBef>
                <a:buFont typeface="Wingdings" panose="05000000000000000000" pitchFamily="2" charset="2"/>
                <a:buNone/>
              </a:pPr>
              <a:r>
                <a:rPr lang="en-GB" sz="1200" b="1"/>
                <a:t>Availability and stack-ability of revenue streams</a:t>
              </a:r>
            </a:p>
          </p:txBody>
        </p:sp>
        <p:sp>
          <p:nvSpPr>
            <p:cNvPr id="97" name="Isosceles Triangle 96">
              <a:extLst>
                <a:ext uri="{FF2B5EF4-FFF2-40B4-BE49-F238E27FC236}">
                  <a16:creationId xmlns:a16="http://schemas.microsoft.com/office/drawing/2014/main" id="{A21B57CE-6039-B647-8554-A56C93AD7874}"/>
                </a:ext>
              </a:extLst>
            </p:cNvPr>
            <p:cNvSpPr/>
            <p:nvPr/>
          </p:nvSpPr>
          <p:spPr>
            <a:xfrm rot="5400000">
              <a:off x="324468" y="1295841"/>
              <a:ext cx="393677" cy="354742"/>
            </a:xfrm>
            <a:prstGeom prst="triangle">
              <a:avLst>
                <a:gd name="adj" fmla="val 54212"/>
              </a:avLst>
            </a:prstGeom>
            <a:solidFill>
              <a:schemeClr val="accent3"/>
            </a:solidFill>
            <a:ln w="190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C</a:t>
              </a:r>
            </a:p>
          </p:txBody>
        </p:sp>
      </p:grpSp>
      <p:grpSp>
        <p:nvGrpSpPr>
          <p:cNvPr id="98" name="Group 97">
            <a:extLst>
              <a:ext uri="{FF2B5EF4-FFF2-40B4-BE49-F238E27FC236}">
                <a16:creationId xmlns:a16="http://schemas.microsoft.com/office/drawing/2014/main" id="{90F2847E-2EC6-A5AD-7901-5ABCBE185F83}"/>
              </a:ext>
            </a:extLst>
          </p:cNvPr>
          <p:cNvGrpSpPr/>
          <p:nvPr/>
        </p:nvGrpSpPr>
        <p:grpSpPr>
          <a:xfrm>
            <a:off x="9378640" y="1267568"/>
            <a:ext cx="2431760" cy="412925"/>
            <a:chOff x="341296" y="1276373"/>
            <a:chExt cx="2557366" cy="412925"/>
          </a:xfrm>
        </p:grpSpPr>
        <p:sp>
          <p:nvSpPr>
            <p:cNvPr id="99" name="Rounded Rectangle 57">
              <a:extLst>
                <a:ext uri="{FF2B5EF4-FFF2-40B4-BE49-F238E27FC236}">
                  <a16:creationId xmlns:a16="http://schemas.microsoft.com/office/drawing/2014/main" id="{2DE1EBE1-344E-2A5F-AE0E-81171989ADA8}"/>
                </a:ext>
              </a:extLst>
            </p:cNvPr>
            <p:cNvSpPr/>
            <p:nvPr/>
          </p:nvSpPr>
          <p:spPr>
            <a:xfrm>
              <a:off x="341296" y="1295283"/>
              <a:ext cx="2557366" cy="394015"/>
            </a:xfrm>
            <a:prstGeom prst="rect">
              <a:avLst/>
            </a:prstGeom>
            <a:solidFill>
              <a:schemeClr val="tx2">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24000" tIns="72000" rIns="72000" bIns="72000" numCol="1" spcCol="0" rtlCol="0" fromWordArt="0" anchor="ctr" anchorCtr="0" forceAA="0" compatLnSpc="1">
              <a:prstTxWarp prst="textNoShape">
                <a:avLst/>
              </a:prstTxWarp>
              <a:noAutofit/>
            </a:bodyPr>
            <a:lstStyle/>
            <a:p>
              <a:pPr marL="87313">
                <a:spcBef>
                  <a:spcPts val="600"/>
                </a:spcBef>
              </a:pPr>
              <a:r>
                <a:rPr lang="en-GB" sz="1200" b="1"/>
                <a:t>Regulatory risks</a:t>
              </a:r>
            </a:p>
          </p:txBody>
        </p:sp>
        <p:sp>
          <p:nvSpPr>
            <p:cNvPr id="100" name="Isosceles Triangle 99">
              <a:extLst>
                <a:ext uri="{FF2B5EF4-FFF2-40B4-BE49-F238E27FC236}">
                  <a16:creationId xmlns:a16="http://schemas.microsoft.com/office/drawing/2014/main" id="{3674B4C1-33A0-1763-3A4C-CB1C7D966747}"/>
                </a:ext>
              </a:extLst>
            </p:cNvPr>
            <p:cNvSpPr/>
            <p:nvPr/>
          </p:nvSpPr>
          <p:spPr>
            <a:xfrm rot="5400000">
              <a:off x="324468" y="1295841"/>
              <a:ext cx="393677" cy="354742"/>
            </a:xfrm>
            <a:prstGeom prst="triangle">
              <a:avLst>
                <a:gd name="adj" fmla="val 54212"/>
              </a:avLst>
            </a:prstGeom>
            <a:solidFill>
              <a:schemeClr val="accent4"/>
            </a:solidFill>
            <a:ln w="190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D</a:t>
              </a:r>
            </a:p>
          </p:txBody>
        </p:sp>
      </p:grpSp>
      <p:sp>
        <p:nvSpPr>
          <p:cNvPr id="101" name="TextBox 100">
            <a:extLst>
              <a:ext uri="{FF2B5EF4-FFF2-40B4-BE49-F238E27FC236}">
                <a16:creationId xmlns:a16="http://schemas.microsoft.com/office/drawing/2014/main" id="{B595F640-829D-070F-D54C-D461F571AA16}"/>
              </a:ext>
            </a:extLst>
          </p:cNvPr>
          <p:cNvSpPr txBox="1"/>
          <p:nvPr/>
        </p:nvSpPr>
        <p:spPr>
          <a:xfrm>
            <a:off x="9378640" y="1880291"/>
            <a:ext cx="2431760" cy="1738938"/>
          </a:xfrm>
          <a:prstGeom prst="rect">
            <a:avLst/>
          </a:prstGeom>
          <a:noFill/>
        </p:spPr>
        <p:txBody>
          <a:bodyPr wrap="square" lIns="0" tIns="0" rIns="0" bIns="0" rtlCol="0">
            <a:spAutoFit/>
          </a:bodyPr>
          <a:lstStyle/>
          <a:p>
            <a:pPr marL="182880" indent="-182880">
              <a:spcBef>
                <a:spcPts val="600"/>
              </a:spcBef>
              <a:buFont typeface="Wingdings" panose="05000000000000000000" pitchFamily="2" charset="2"/>
              <a:buChar char="§"/>
            </a:pPr>
            <a:r>
              <a:rPr lang="en-GB" sz="1200"/>
              <a:t>Permitting and grid connection rules for battery assets have a significant impact on deployment, clear and long-term regulatory framework required.</a:t>
            </a:r>
          </a:p>
          <a:p>
            <a:pPr marL="182880" indent="-182880">
              <a:spcBef>
                <a:spcPts val="600"/>
              </a:spcBef>
              <a:buFont typeface="Wingdings" panose="05000000000000000000" pitchFamily="2" charset="2"/>
              <a:buChar char="§"/>
            </a:pPr>
            <a:r>
              <a:rPr lang="en-GB" sz="1200"/>
              <a:t>Regulation around aggregation of distributed assets plays a key role in the deployment of battery storage.</a:t>
            </a:r>
          </a:p>
        </p:txBody>
      </p:sp>
      <p:sp>
        <p:nvSpPr>
          <p:cNvPr id="102" name="TextBox 101">
            <a:extLst>
              <a:ext uri="{FF2B5EF4-FFF2-40B4-BE49-F238E27FC236}">
                <a16:creationId xmlns:a16="http://schemas.microsoft.com/office/drawing/2014/main" id="{212A1C8A-00C3-78FB-41B1-B85B9E694C23}"/>
              </a:ext>
            </a:extLst>
          </p:cNvPr>
          <p:cNvSpPr txBox="1"/>
          <p:nvPr/>
        </p:nvSpPr>
        <p:spPr>
          <a:xfrm>
            <a:off x="9378640" y="4213962"/>
            <a:ext cx="2303999" cy="1923604"/>
          </a:xfrm>
          <a:prstGeom prst="rect">
            <a:avLst/>
          </a:prstGeom>
          <a:noFill/>
        </p:spPr>
        <p:txBody>
          <a:bodyPr wrap="square" lIns="0" tIns="0" rIns="0" bIns="0" rtlCol="0">
            <a:spAutoFit/>
          </a:bodyPr>
          <a:lstStyle/>
          <a:p>
            <a:pPr marL="182880" indent="-182880" algn="l">
              <a:spcBef>
                <a:spcPts val="600"/>
              </a:spcBef>
              <a:buFont typeface="Wingdings" panose="05000000000000000000" pitchFamily="2" charset="2"/>
              <a:buChar char="§"/>
            </a:pPr>
            <a:r>
              <a:rPr lang="en-GB" sz="1200"/>
              <a:t>Availability of grid connections and reasonable charges serve as one less barrier for battery storage assets.</a:t>
            </a:r>
          </a:p>
          <a:p>
            <a:pPr marL="182880" indent="-182880">
              <a:spcBef>
                <a:spcPts val="600"/>
              </a:spcBef>
              <a:buFont typeface="Wingdings" panose="05000000000000000000" pitchFamily="2" charset="2"/>
              <a:buChar char="§"/>
            </a:pPr>
            <a:r>
              <a:rPr lang="en-GB" sz="1200"/>
              <a:t>Aggregated distributed assets create a sizeable capacity that becomes eligible to trade in participating power markets, competing with grid scale batteries.</a:t>
            </a:r>
          </a:p>
        </p:txBody>
      </p:sp>
      <p:sp>
        <p:nvSpPr>
          <p:cNvPr id="103" name="TextBox 102">
            <a:extLst>
              <a:ext uri="{FF2B5EF4-FFF2-40B4-BE49-F238E27FC236}">
                <a16:creationId xmlns:a16="http://schemas.microsoft.com/office/drawing/2014/main" id="{869F1742-07E0-9A8B-6E9F-600AD1F0F225}"/>
              </a:ext>
            </a:extLst>
          </p:cNvPr>
          <p:cNvSpPr txBox="1"/>
          <p:nvPr/>
        </p:nvSpPr>
        <p:spPr>
          <a:xfrm>
            <a:off x="6500495" y="1880291"/>
            <a:ext cx="2415841" cy="1000274"/>
          </a:xfrm>
          <a:prstGeom prst="rect">
            <a:avLst/>
          </a:prstGeom>
          <a:noFill/>
        </p:spPr>
        <p:txBody>
          <a:bodyPr wrap="square" lIns="0" tIns="0" rIns="0" bIns="0" rtlCol="0">
            <a:spAutoFit/>
          </a:bodyPr>
          <a:lstStyle/>
          <a:p>
            <a:pPr marL="182880" indent="-182880" algn="l">
              <a:spcBef>
                <a:spcPts val="600"/>
              </a:spcBef>
              <a:buFont typeface="Wingdings" panose="05000000000000000000" pitchFamily="2" charset="2"/>
              <a:buChar char="§"/>
            </a:pPr>
            <a:r>
              <a:rPr lang="en-GB" sz="1200"/>
              <a:t>Indicates the availability of diverse revenue streams </a:t>
            </a:r>
          </a:p>
          <a:p>
            <a:pPr marL="182880" indent="-182880" algn="l">
              <a:spcBef>
                <a:spcPts val="600"/>
              </a:spcBef>
              <a:buFont typeface="Wingdings" panose="05000000000000000000" pitchFamily="2" charset="2"/>
              <a:buChar char="§"/>
            </a:pPr>
            <a:r>
              <a:rPr lang="en-GB" sz="1200"/>
              <a:t>Highlights the stack-ability of the revenues  streams as enabled by policy and regulation</a:t>
            </a:r>
          </a:p>
        </p:txBody>
      </p:sp>
      <p:sp>
        <p:nvSpPr>
          <p:cNvPr id="104" name="TextBox 103">
            <a:extLst>
              <a:ext uri="{FF2B5EF4-FFF2-40B4-BE49-F238E27FC236}">
                <a16:creationId xmlns:a16="http://schemas.microsoft.com/office/drawing/2014/main" id="{DEE7541C-6821-8422-92FB-69FD8B619187}"/>
              </a:ext>
            </a:extLst>
          </p:cNvPr>
          <p:cNvSpPr txBox="1"/>
          <p:nvPr/>
        </p:nvSpPr>
        <p:spPr>
          <a:xfrm>
            <a:off x="6500495" y="4223437"/>
            <a:ext cx="2415841" cy="1738938"/>
          </a:xfrm>
          <a:prstGeom prst="rect">
            <a:avLst/>
          </a:prstGeom>
          <a:noFill/>
        </p:spPr>
        <p:txBody>
          <a:bodyPr wrap="square" lIns="0" tIns="0" rIns="0" bIns="0" rtlCol="0">
            <a:spAutoFit/>
          </a:bodyPr>
          <a:lstStyle/>
          <a:p>
            <a:pPr marL="182880" indent="-182880" algn="l">
              <a:spcBef>
                <a:spcPts val="600"/>
              </a:spcBef>
              <a:buFont typeface="Wingdings" panose="05000000000000000000" pitchFamily="2" charset="2"/>
              <a:buChar char="§"/>
            </a:pPr>
            <a:r>
              <a:rPr lang="en-GB" sz="1200"/>
              <a:t>Ancillary services in a country and the ability of battery storage assets to participate is a key driver of buildout.</a:t>
            </a:r>
          </a:p>
          <a:p>
            <a:pPr marL="182880" indent="-182880" algn="l">
              <a:spcBef>
                <a:spcPts val="600"/>
              </a:spcBef>
              <a:buFont typeface="Wingdings" panose="05000000000000000000" pitchFamily="2" charset="2"/>
              <a:buChar char="§"/>
            </a:pPr>
            <a:r>
              <a:rPr lang="en-GB" sz="1200"/>
              <a:t>Different capacity mechanisms are in place across Europe where batteries are allowed to participate with a derating factor creating additional revenue.</a:t>
            </a:r>
          </a:p>
        </p:txBody>
      </p:sp>
      <p:sp>
        <p:nvSpPr>
          <p:cNvPr id="105" name="TextBox 104">
            <a:extLst>
              <a:ext uri="{FF2B5EF4-FFF2-40B4-BE49-F238E27FC236}">
                <a16:creationId xmlns:a16="http://schemas.microsoft.com/office/drawing/2014/main" id="{342D8359-5D8F-ADC6-896D-E7EAD4FF6404}"/>
              </a:ext>
            </a:extLst>
          </p:cNvPr>
          <p:cNvSpPr txBox="1"/>
          <p:nvPr/>
        </p:nvSpPr>
        <p:spPr>
          <a:xfrm>
            <a:off x="718562" y="4157048"/>
            <a:ext cx="2394383" cy="1923604"/>
          </a:xfrm>
          <a:prstGeom prst="rect">
            <a:avLst/>
          </a:prstGeom>
          <a:noFill/>
        </p:spPr>
        <p:txBody>
          <a:bodyPr wrap="square" lIns="0" tIns="0" rIns="0" bIns="0" rtlCol="0">
            <a:spAutoFit/>
          </a:bodyPr>
          <a:lstStyle/>
          <a:p>
            <a:pPr marL="182880" indent="-182880">
              <a:spcAft>
                <a:spcPts val="600"/>
              </a:spcAft>
              <a:buFont typeface="Wingdings" panose="05000000000000000000" pitchFamily="2" charset="2"/>
              <a:buChar char="§"/>
            </a:pPr>
            <a:r>
              <a:rPr lang="en-GB" sz="1200"/>
              <a:t>High buildout of variable renewables necessitates the buildout of flexible capacities including battery storage.</a:t>
            </a:r>
          </a:p>
          <a:p>
            <a:pPr marL="182880" indent="-182880" algn="l">
              <a:spcAft>
                <a:spcPts val="600"/>
              </a:spcAft>
              <a:buFont typeface="Wingdings" panose="05000000000000000000" pitchFamily="2" charset="2"/>
              <a:buChar char="§"/>
            </a:pPr>
            <a:r>
              <a:rPr lang="en-GB" sz="1200"/>
              <a:t>Phase out of thermal generation capacity creates a deficit in firm capacity and grid services resulting in a higher requirement for low carbon flexible capacities including battery storage.</a:t>
            </a:r>
          </a:p>
        </p:txBody>
      </p:sp>
      <p:sp>
        <p:nvSpPr>
          <p:cNvPr id="3" name="Oval 2">
            <a:extLst>
              <a:ext uri="{FF2B5EF4-FFF2-40B4-BE49-F238E27FC236}">
                <a16:creationId xmlns:a16="http://schemas.microsoft.com/office/drawing/2014/main" id="{8695225C-310E-BD12-9F88-3766D3F2B54B}"/>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6" name="Oval 5">
            <a:extLst>
              <a:ext uri="{FF2B5EF4-FFF2-40B4-BE49-F238E27FC236}">
                <a16:creationId xmlns:a16="http://schemas.microsoft.com/office/drawing/2014/main" id="{36046ED7-735B-0450-444D-E3A615DFF603}"/>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6519309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0" name="Object 159" hidden="1">
            <a:extLst>
              <a:ext uri="{FF2B5EF4-FFF2-40B4-BE49-F238E27FC236}">
                <a16:creationId xmlns:a16="http://schemas.microsoft.com/office/drawing/2014/main" id="{1D08DD09-5D21-46DF-876B-40AFE9D6BF74}"/>
              </a:ext>
            </a:extLst>
          </p:cNvPr>
          <p:cNvGraphicFramePr>
            <a:graphicFrameLocks noChangeAspect="1"/>
          </p:cNvGraphicFramePr>
          <p:nvPr>
            <p:custDataLst>
              <p:tags r:id="rId1"/>
            </p:custDataLst>
            <p:extLst>
              <p:ext uri="{D42A27DB-BD31-4B8C-83A1-F6EECF244321}">
                <p14:modId xmlns:p14="http://schemas.microsoft.com/office/powerpoint/2010/main" val="3627230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3" imgW="395" imgH="394" progId="TCLayout.ActiveDocument.1">
                  <p:embed/>
                </p:oleObj>
              </mc:Choice>
              <mc:Fallback>
                <p:oleObj name="think-cell Slide" r:id="rId93" imgW="395" imgH="394" progId="TCLayout.ActiveDocument.1">
                  <p:embed/>
                  <p:pic>
                    <p:nvPicPr>
                      <p:cNvPr id="160" name="Object 159" hidden="1">
                        <a:extLst>
                          <a:ext uri="{FF2B5EF4-FFF2-40B4-BE49-F238E27FC236}">
                            <a16:creationId xmlns:a16="http://schemas.microsoft.com/office/drawing/2014/main" id="{1D08DD09-5D21-46DF-876B-40AFE9D6BF74}"/>
                          </a:ext>
                        </a:extLst>
                      </p:cNvPr>
                      <p:cNvPicPr/>
                      <p:nvPr/>
                    </p:nvPicPr>
                    <p:blipFill>
                      <a:blip r:embed="rId94"/>
                      <a:stretch>
                        <a:fillRect/>
                      </a:stretch>
                    </p:blipFill>
                    <p:spPr>
                      <a:xfrm>
                        <a:off x="1588" y="1588"/>
                        <a:ext cx="1588" cy="1588"/>
                      </a:xfrm>
                      <a:prstGeom prst="rect">
                        <a:avLst/>
                      </a:prstGeom>
                    </p:spPr>
                  </p:pic>
                </p:oleObj>
              </mc:Fallback>
            </mc:AlternateContent>
          </a:graphicData>
        </a:graphic>
      </p:graphicFrame>
      <p:graphicFrame>
        <p:nvGraphicFramePr>
          <p:cNvPr id="451" name="Chart 450">
            <a:extLst>
              <a:ext uri="{FF2B5EF4-FFF2-40B4-BE49-F238E27FC236}">
                <a16:creationId xmlns:a16="http://schemas.microsoft.com/office/drawing/2014/main" id="{AFEC32A2-3C79-AF3E-33E9-48E17134686F}"/>
              </a:ext>
            </a:extLst>
          </p:cNvPr>
          <p:cNvGraphicFramePr/>
          <p:nvPr>
            <p:custDataLst>
              <p:tags r:id="rId2"/>
            </p:custDataLst>
            <p:extLst>
              <p:ext uri="{D42A27DB-BD31-4B8C-83A1-F6EECF244321}">
                <p14:modId xmlns:p14="http://schemas.microsoft.com/office/powerpoint/2010/main" val="2123556351"/>
              </p:ext>
            </p:extLst>
          </p:nvPr>
        </p:nvGraphicFramePr>
        <p:xfrm>
          <a:off x="2089150" y="3094038"/>
          <a:ext cx="9804400" cy="2470150"/>
        </p:xfrm>
        <a:graphic>
          <a:graphicData uri="http://schemas.openxmlformats.org/drawingml/2006/chart">
            <c:chart xmlns:c="http://schemas.openxmlformats.org/drawingml/2006/chart" xmlns:r="http://schemas.openxmlformats.org/officeDocument/2006/relationships" r:id="rId95"/>
          </a:graphicData>
        </a:graphic>
      </p:graphicFrame>
      <p:cxnSp>
        <p:nvCxnSpPr>
          <p:cNvPr id="96" name="Straight Connector 95">
            <a:extLst>
              <a:ext uri="{FF2B5EF4-FFF2-40B4-BE49-F238E27FC236}">
                <a16:creationId xmlns:a16="http://schemas.microsoft.com/office/drawing/2014/main" id="{E1832A34-61C3-596B-8EB3-EDE1068CEE87}"/>
              </a:ext>
            </a:extLst>
          </p:cNvPr>
          <p:cNvCxnSpPr/>
          <p:nvPr>
            <p:custDataLst>
              <p:tags r:id="rId3"/>
            </p:custDataLst>
          </p:nvPr>
        </p:nvCxnSpPr>
        <p:spPr bwMode="auto">
          <a:xfrm>
            <a:off x="11096625" y="4224338"/>
            <a:ext cx="0" cy="1252538"/>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86C1D6F6-BA9A-A016-95A5-DFE9E737D202}"/>
              </a:ext>
            </a:extLst>
          </p:cNvPr>
          <p:cNvCxnSpPr/>
          <p:nvPr>
            <p:custDataLst>
              <p:tags r:id="rId4"/>
            </p:custDataLst>
          </p:nvPr>
        </p:nvCxnSpPr>
        <p:spPr bwMode="auto">
          <a:xfrm>
            <a:off x="11320463" y="4224338"/>
            <a:ext cx="0" cy="1252538"/>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8" name="Rectangle 97">
            <a:extLst>
              <a:ext uri="{FF2B5EF4-FFF2-40B4-BE49-F238E27FC236}">
                <a16:creationId xmlns:a16="http://schemas.microsoft.com/office/drawing/2014/main" id="{BE10EF6D-701E-A6E0-D49C-B9FED39BDC38}"/>
              </a:ext>
            </a:extLst>
          </p:cNvPr>
          <p:cNvSpPr/>
          <p:nvPr>
            <p:custDataLst>
              <p:tags r:id="rId5"/>
            </p:custDataLst>
          </p:nvPr>
        </p:nvSpPr>
        <p:spPr bwMode="auto">
          <a:xfrm>
            <a:off x="11096625" y="3176588"/>
            <a:ext cx="223838" cy="1047750"/>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32" name="Straight Connector 31">
            <a:extLst>
              <a:ext uri="{FF2B5EF4-FFF2-40B4-BE49-F238E27FC236}">
                <a16:creationId xmlns:a16="http://schemas.microsoft.com/office/drawing/2014/main" id="{327BC332-DE43-B740-F5E8-E40732A55AD4}"/>
              </a:ext>
            </a:extLst>
          </p:cNvPr>
          <p:cNvCxnSpPr/>
          <p:nvPr>
            <p:custDataLst>
              <p:tags r:id="rId6"/>
            </p:custDataLst>
          </p:nvPr>
        </p:nvCxnSpPr>
        <p:spPr bwMode="auto">
          <a:xfrm>
            <a:off x="10517188" y="4625975"/>
            <a:ext cx="0" cy="85090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F9C010F-57E3-5FD5-74D2-51031CDECCBD}"/>
              </a:ext>
            </a:extLst>
          </p:cNvPr>
          <p:cNvCxnSpPr/>
          <p:nvPr>
            <p:custDataLst>
              <p:tags r:id="rId7"/>
            </p:custDataLst>
          </p:nvPr>
        </p:nvCxnSpPr>
        <p:spPr bwMode="auto">
          <a:xfrm>
            <a:off x="10293350" y="4625975"/>
            <a:ext cx="0" cy="85090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8622B6B-2D34-09D7-63B9-918995B99519}"/>
              </a:ext>
            </a:extLst>
          </p:cNvPr>
          <p:cNvCxnSpPr/>
          <p:nvPr>
            <p:custDataLst>
              <p:tags r:id="rId8"/>
            </p:custDataLst>
          </p:nvPr>
        </p:nvCxnSpPr>
        <p:spPr bwMode="auto">
          <a:xfrm>
            <a:off x="10517188" y="3835400"/>
            <a:ext cx="0" cy="790575"/>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D21206E8-BD74-B3FD-2AF1-20C5410075C4}"/>
              </a:ext>
            </a:extLst>
          </p:cNvPr>
          <p:cNvCxnSpPr/>
          <p:nvPr>
            <p:custDataLst>
              <p:tags r:id="rId9"/>
            </p:custDataLst>
          </p:nvPr>
        </p:nvCxnSpPr>
        <p:spPr bwMode="auto">
          <a:xfrm>
            <a:off x="10293350" y="3835400"/>
            <a:ext cx="0" cy="790575"/>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61DEFF63-8BC6-B6CD-31AB-5D19E1C3190C}"/>
              </a:ext>
            </a:extLst>
          </p:cNvPr>
          <p:cNvCxnSpPr/>
          <p:nvPr>
            <p:custDataLst>
              <p:tags r:id="rId10"/>
            </p:custDataLst>
          </p:nvPr>
        </p:nvCxnSpPr>
        <p:spPr bwMode="auto">
          <a:xfrm>
            <a:off x="10293350" y="4625975"/>
            <a:ext cx="223838"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Rectangle 101">
            <a:extLst>
              <a:ext uri="{FF2B5EF4-FFF2-40B4-BE49-F238E27FC236}">
                <a16:creationId xmlns:a16="http://schemas.microsoft.com/office/drawing/2014/main" id="{B05B1EC3-F4EE-EA25-7C90-AED849351BB7}"/>
              </a:ext>
            </a:extLst>
          </p:cNvPr>
          <p:cNvSpPr/>
          <p:nvPr>
            <p:custDataLst>
              <p:tags r:id="rId11"/>
            </p:custDataLst>
          </p:nvPr>
        </p:nvSpPr>
        <p:spPr bwMode="auto">
          <a:xfrm>
            <a:off x="10293350" y="3176588"/>
            <a:ext cx="223838" cy="658813"/>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481" name="Straight Connector 480">
            <a:extLst>
              <a:ext uri="{FF2B5EF4-FFF2-40B4-BE49-F238E27FC236}">
                <a16:creationId xmlns:a16="http://schemas.microsoft.com/office/drawing/2014/main" id="{CE39069F-1D01-A41B-F66B-9CA76F50CFCE}"/>
              </a:ext>
            </a:extLst>
          </p:cNvPr>
          <p:cNvCxnSpPr/>
          <p:nvPr>
            <p:custDataLst>
              <p:tags r:id="rId12"/>
            </p:custDataLst>
          </p:nvPr>
        </p:nvCxnSpPr>
        <p:spPr bwMode="auto">
          <a:xfrm>
            <a:off x="9713913" y="3835400"/>
            <a:ext cx="0" cy="1641475"/>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479">
            <a:extLst>
              <a:ext uri="{FF2B5EF4-FFF2-40B4-BE49-F238E27FC236}">
                <a16:creationId xmlns:a16="http://schemas.microsoft.com/office/drawing/2014/main" id="{B7EC5DE8-3FA0-2A79-ACC4-F34E295877D7}"/>
              </a:ext>
            </a:extLst>
          </p:cNvPr>
          <p:cNvCxnSpPr/>
          <p:nvPr>
            <p:custDataLst>
              <p:tags r:id="rId13"/>
            </p:custDataLst>
          </p:nvPr>
        </p:nvCxnSpPr>
        <p:spPr bwMode="auto">
          <a:xfrm>
            <a:off x="9490075" y="3835400"/>
            <a:ext cx="0" cy="1641475"/>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2" name="Rectangle 481">
            <a:extLst>
              <a:ext uri="{FF2B5EF4-FFF2-40B4-BE49-F238E27FC236}">
                <a16:creationId xmlns:a16="http://schemas.microsoft.com/office/drawing/2014/main" id="{D3A71D90-199C-7991-8414-224FF511D3C5}"/>
              </a:ext>
            </a:extLst>
          </p:cNvPr>
          <p:cNvSpPr/>
          <p:nvPr>
            <p:custDataLst>
              <p:tags r:id="rId14"/>
            </p:custDataLst>
          </p:nvPr>
        </p:nvSpPr>
        <p:spPr bwMode="auto">
          <a:xfrm>
            <a:off x="9490075" y="3176588"/>
            <a:ext cx="223838" cy="658813"/>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359" name="Straight Connector 358">
            <a:extLst>
              <a:ext uri="{FF2B5EF4-FFF2-40B4-BE49-F238E27FC236}">
                <a16:creationId xmlns:a16="http://schemas.microsoft.com/office/drawing/2014/main" id="{C2BB46ED-D5CF-79A8-CCDA-DC02AA185B8E}"/>
              </a:ext>
            </a:extLst>
          </p:cNvPr>
          <p:cNvCxnSpPr/>
          <p:nvPr>
            <p:custDataLst>
              <p:tags r:id="rId15"/>
            </p:custDataLst>
          </p:nvPr>
        </p:nvCxnSpPr>
        <p:spPr bwMode="auto">
          <a:xfrm>
            <a:off x="8107363" y="4068763"/>
            <a:ext cx="0" cy="1408113"/>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5B83BB1B-4248-73C1-EC39-07B6514657DA}"/>
              </a:ext>
            </a:extLst>
          </p:cNvPr>
          <p:cNvCxnSpPr/>
          <p:nvPr>
            <p:custDataLst>
              <p:tags r:id="rId16"/>
            </p:custDataLst>
          </p:nvPr>
        </p:nvCxnSpPr>
        <p:spPr bwMode="auto">
          <a:xfrm>
            <a:off x="7883524" y="4068763"/>
            <a:ext cx="223838"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05A72AA6-5003-B97D-6C54-8FC94A2A1BF1}"/>
              </a:ext>
            </a:extLst>
          </p:cNvPr>
          <p:cNvCxnSpPr/>
          <p:nvPr>
            <p:custDataLst>
              <p:tags r:id="rId17"/>
            </p:custDataLst>
          </p:nvPr>
        </p:nvCxnSpPr>
        <p:spPr bwMode="auto">
          <a:xfrm>
            <a:off x="7883525" y="4068763"/>
            <a:ext cx="0" cy="1408113"/>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9" name="Rectangle 118">
            <a:extLst>
              <a:ext uri="{FF2B5EF4-FFF2-40B4-BE49-F238E27FC236}">
                <a16:creationId xmlns:a16="http://schemas.microsoft.com/office/drawing/2014/main" id="{9E4458ED-97CB-B167-5640-C29F2942F7C7}"/>
              </a:ext>
            </a:extLst>
          </p:cNvPr>
          <p:cNvSpPr/>
          <p:nvPr>
            <p:custDataLst>
              <p:tags r:id="rId18"/>
            </p:custDataLst>
          </p:nvPr>
        </p:nvSpPr>
        <p:spPr bwMode="auto">
          <a:xfrm>
            <a:off x="7883525" y="3176588"/>
            <a:ext cx="223838" cy="176213"/>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360" name="Straight Connector 359">
            <a:extLst>
              <a:ext uri="{FF2B5EF4-FFF2-40B4-BE49-F238E27FC236}">
                <a16:creationId xmlns:a16="http://schemas.microsoft.com/office/drawing/2014/main" id="{3C126940-45F7-0642-EB41-4CFB2C9B6F11}"/>
              </a:ext>
            </a:extLst>
          </p:cNvPr>
          <p:cNvCxnSpPr/>
          <p:nvPr>
            <p:custDataLst>
              <p:tags r:id="rId19"/>
            </p:custDataLst>
          </p:nvPr>
        </p:nvCxnSpPr>
        <p:spPr bwMode="auto">
          <a:xfrm>
            <a:off x="7481888" y="4335463"/>
            <a:ext cx="0" cy="1141413"/>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A63C4A0C-626A-324B-E6C7-A3E24CF93F22}"/>
              </a:ext>
            </a:extLst>
          </p:cNvPr>
          <p:cNvCxnSpPr/>
          <p:nvPr>
            <p:custDataLst>
              <p:tags r:id="rId20"/>
            </p:custDataLst>
          </p:nvPr>
        </p:nvCxnSpPr>
        <p:spPr bwMode="auto">
          <a:xfrm>
            <a:off x="7705725" y="4335463"/>
            <a:ext cx="0" cy="1141413"/>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6BAF3DFB-8496-FED0-392D-1BC4BD6F109E}"/>
              </a:ext>
            </a:extLst>
          </p:cNvPr>
          <p:cNvCxnSpPr/>
          <p:nvPr>
            <p:custDataLst>
              <p:tags r:id="rId21"/>
            </p:custDataLst>
          </p:nvPr>
        </p:nvCxnSpPr>
        <p:spPr bwMode="auto">
          <a:xfrm>
            <a:off x="7481888" y="3662363"/>
            <a:ext cx="0" cy="67310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9EEE5E6F-BBF4-7794-996F-6889C95F95FE}"/>
              </a:ext>
            </a:extLst>
          </p:cNvPr>
          <p:cNvCxnSpPr/>
          <p:nvPr>
            <p:custDataLst>
              <p:tags r:id="rId22"/>
            </p:custDataLst>
          </p:nvPr>
        </p:nvCxnSpPr>
        <p:spPr bwMode="auto">
          <a:xfrm>
            <a:off x="7481888" y="4335463"/>
            <a:ext cx="223837"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930C2D65-55F8-74C1-FD6C-C3B2886E4B0A}"/>
              </a:ext>
            </a:extLst>
          </p:cNvPr>
          <p:cNvCxnSpPr/>
          <p:nvPr>
            <p:custDataLst>
              <p:tags r:id="rId23"/>
            </p:custDataLst>
          </p:nvPr>
        </p:nvCxnSpPr>
        <p:spPr bwMode="auto">
          <a:xfrm>
            <a:off x="7705725" y="3662363"/>
            <a:ext cx="0" cy="67310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5" name="Rectangle 64">
            <a:extLst>
              <a:ext uri="{FF2B5EF4-FFF2-40B4-BE49-F238E27FC236}">
                <a16:creationId xmlns:a16="http://schemas.microsoft.com/office/drawing/2014/main" id="{2632ACED-7800-43E3-8CFE-333DA5BEC17B}"/>
              </a:ext>
            </a:extLst>
          </p:cNvPr>
          <p:cNvSpPr/>
          <p:nvPr>
            <p:custDataLst>
              <p:tags r:id="rId24"/>
            </p:custDataLst>
          </p:nvPr>
        </p:nvSpPr>
        <p:spPr bwMode="auto">
          <a:xfrm>
            <a:off x="7481888" y="3176588"/>
            <a:ext cx="223838" cy="485775"/>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cxnSp>
        <p:nvCxnSpPr>
          <p:cNvPr id="457" name="Straight Connector 456">
            <a:extLst>
              <a:ext uri="{FF2B5EF4-FFF2-40B4-BE49-F238E27FC236}">
                <a16:creationId xmlns:a16="http://schemas.microsoft.com/office/drawing/2014/main" id="{D30488FD-750A-FB56-3F22-19A988188CE5}"/>
              </a:ext>
            </a:extLst>
          </p:cNvPr>
          <p:cNvCxnSpPr/>
          <p:nvPr>
            <p:custDataLst>
              <p:tags r:id="rId25"/>
            </p:custDataLst>
          </p:nvPr>
        </p:nvCxnSpPr>
        <p:spPr bwMode="auto">
          <a:xfrm>
            <a:off x="7080250" y="4573588"/>
            <a:ext cx="223838"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457">
            <a:extLst>
              <a:ext uri="{FF2B5EF4-FFF2-40B4-BE49-F238E27FC236}">
                <a16:creationId xmlns:a16="http://schemas.microsoft.com/office/drawing/2014/main" id="{CA310491-0572-65B1-2D43-FC2D97244B87}"/>
              </a:ext>
            </a:extLst>
          </p:cNvPr>
          <p:cNvCxnSpPr/>
          <p:nvPr>
            <p:custDataLst>
              <p:tags r:id="rId26"/>
            </p:custDataLst>
          </p:nvPr>
        </p:nvCxnSpPr>
        <p:spPr bwMode="auto">
          <a:xfrm>
            <a:off x="7080250" y="3760788"/>
            <a:ext cx="0" cy="81280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458">
            <a:extLst>
              <a:ext uri="{FF2B5EF4-FFF2-40B4-BE49-F238E27FC236}">
                <a16:creationId xmlns:a16="http://schemas.microsoft.com/office/drawing/2014/main" id="{BD3355AC-ECA7-E5D4-4329-46B9DD4C24C5}"/>
              </a:ext>
            </a:extLst>
          </p:cNvPr>
          <p:cNvCxnSpPr/>
          <p:nvPr>
            <p:custDataLst>
              <p:tags r:id="rId27"/>
            </p:custDataLst>
          </p:nvPr>
        </p:nvCxnSpPr>
        <p:spPr bwMode="auto">
          <a:xfrm>
            <a:off x="7304088" y="3760788"/>
            <a:ext cx="0" cy="81280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0" name="Rectangle 459">
            <a:extLst>
              <a:ext uri="{FF2B5EF4-FFF2-40B4-BE49-F238E27FC236}">
                <a16:creationId xmlns:a16="http://schemas.microsoft.com/office/drawing/2014/main" id="{5192F53C-6CB0-027B-5108-D7887F968A74}"/>
              </a:ext>
            </a:extLst>
          </p:cNvPr>
          <p:cNvSpPr/>
          <p:nvPr>
            <p:custDataLst>
              <p:tags r:id="rId28"/>
            </p:custDataLst>
          </p:nvPr>
        </p:nvSpPr>
        <p:spPr bwMode="auto">
          <a:xfrm>
            <a:off x="7080250" y="3176588"/>
            <a:ext cx="223838" cy="584200"/>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452" name="Straight Connector 451">
            <a:extLst>
              <a:ext uri="{FF2B5EF4-FFF2-40B4-BE49-F238E27FC236}">
                <a16:creationId xmlns:a16="http://schemas.microsoft.com/office/drawing/2014/main" id="{C6A4DD26-71BA-9292-E34E-8A546FB6ADAE}"/>
              </a:ext>
            </a:extLst>
          </p:cNvPr>
          <p:cNvCxnSpPr/>
          <p:nvPr>
            <p:custDataLst>
              <p:tags r:id="rId29"/>
            </p:custDataLst>
          </p:nvPr>
        </p:nvCxnSpPr>
        <p:spPr bwMode="auto">
          <a:xfrm>
            <a:off x="5473700" y="3667125"/>
            <a:ext cx="223838"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DD101266-F0D0-3FD2-77EC-D7C85A3B2574}"/>
              </a:ext>
            </a:extLst>
          </p:cNvPr>
          <p:cNvCxnSpPr/>
          <p:nvPr>
            <p:custDataLst>
              <p:tags r:id="rId30"/>
            </p:custDataLst>
          </p:nvPr>
        </p:nvCxnSpPr>
        <p:spPr bwMode="auto">
          <a:xfrm>
            <a:off x="5473700" y="3217863"/>
            <a:ext cx="0" cy="449263"/>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FA593BD5-7E94-A37A-B0AE-090CE5EC3553}"/>
              </a:ext>
            </a:extLst>
          </p:cNvPr>
          <p:cNvCxnSpPr/>
          <p:nvPr>
            <p:custDataLst>
              <p:tags r:id="rId31"/>
            </p:custDataLst>
          </p:nvPr>
        </p:nvCxnSpPr>
        <p:spPr bwMode="auto">
          <a:xfrm>
            <a:off x="5697538" y="3217863"/>
            <a:ext cx="0" cy="449263"/>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2" name="Rectangle 121">
            <a:extLst>
              <a:ext uri="{FF2B5EF4-FFF2-40B4-BE49-F238E27FC236}">
                <a16:creationId xmlns:a16="http://schemas.microsoft.com/office/drawing/2014/main" id="{06DF952D-FF46-2D6B-E1BC-268E65ABF9F9}"/>
              </a:ext>
            </a:extLst>
          </p:cNvPr>
          <p:cNvSpPr/>
          <p:nvPr>
            <p:custDataLst>
              <p:tags r:id="rId32"/>
            </p:custDataLst>
          </p:nvPr>
        </p:nvSpPr>
        <p:spPr bwMode="auto">
          <a:xfrm>
            <a:off x="5473700" y="3176588"/>
            <a:ext cx="223838" cy="41275"/>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42" name="Straight Connector 41">
            <a:extLst>
              <a:ext uri="{FF2B5EF4-FFF2-40B4-BE49-F238E27FC236}">
                <a16:creationId xmlns:a16="http://schemas.microsoft.com/office/drawing/2014/main" id="{6755D5DE-BB82-4C3A-925A-7E360E55A25B}"/>
              </a:ext>
            </a:extLst>
          </p:cNvPr>
          <p:cNvCxnSpPr/>
          <p:nvPr>
            <p:custDataLst>
              <p:tags r:id="rId33"/>
            </p:custDataLst>
          </p:nvPr>
        </p:nvCxnSpPr>
        <p:spPr bwMode="auto">
          <a:xfrm>
            <a:off x="5072063" y="4157663"/>
            <a:ext cx="0" cy="1319213"/>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56A6CCC3-3114-4627-BFF1-F4ED4F4A4FCD}"/>
              </a:ext>
            </a:extLst>
          </p:cNvPr>
          <p:cNvCxnSpPr/>
          <p:nvPr>
            <p:custDataLst>
              <p:tags r:id="rId34"/>
            </p:custDataLst>
          </p:nvPr>
        </p:nvCxnSpPr>
        <p:spPr bwMode="auto">
          <a:xfrm>
            <a:off x="5295900" y="4157663"/>
            <a:ext cx="0" cy="1319213"/>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CFCADE44-88EB-45B2-92B3-2379337B6835}"/>
              </a:ext>
            </a:extLst>
          </p:cNvPr>
          <p:cNvCxnSpPr/>
          <p:nvPr>
            <p:custDataLst>
              <p:tags r:id="rId35"/>
            </p:custDataLst>
          </p:nvPr>
        </p:nvCxnSpPr>
        <p:spPr bwMode="auto">
          <a:xfrm>
            <a:off x="5072063" y="4157663"/>
            <a:ext cx="223838"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AD0C58B8-5FFC-4338-8272-ECA60B4F5C90}"/>
              </a:ext>
            </a:extLst>
          </p:cNvPr>
          <p:cNvCxnSpPr/>
          <p:nvPr>
            <p:custDataLst>
              <p:tags r:id="rId36"/>
            </p:custDataLst>
          </p:nvPr>
        </p:nvCxnSpPr>
        <p:spPr bwMode="auto">
          <a:xfrm>
            <a:off x="5072063" y="3470275"/>
            <a:ext cx="0" cy="687388"/>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C9619D9-110D-403D-8202-06A45FEFD85F}"/>
              </a:ext>
            </a:extLst>
          </p:cNvPr>
          <p:cNvCxnSpPr/>
          <p:nvPr>
            <p:custDataLst>
              <p:tags r:id="rId37"/>
            </p:custDataLst>
          </p:nvPr>
        </p:nvCxnSpPr>
        <p:spPr bwMode="auto">
          <a:xfrm>
            <a:off x="5295900" y="3470275"/>
            <a:ext cx="0" cy="687388"/>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7" name="Rectangle 296">
            <a:extLst>
              <a:ext uri="{FF2B5EF4-FFF2-40B4-BE49-F238E27FC236}">
                <a16:creationId xmlns:a16="http://schemas.microsoft.com/office/drawing/2014/main" id="{A385C16B-B332-BCFC-6064-775A79ABF49C}"/>
              </a:ext>
            </a:extLst>
          </p:cNvPr>
          <p:cNvSpPr/>
          <p:nvPr>
            <p:custDataLst>
              <p:tags r:id="rId38"/>
            </p:custDataLst>
          </p:nvPr>
        </p:nvSpPr>
        <p:spPr bwMode="auto">
          <a:xfrm>
            <a:off x="5072063" y="3176588"/>
            <a:ext cx="223838" cy="293688"/>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445" name="Straight Connector 444">
            <a:extLst>
              <a:ext uri="{FF2B5EF4-FFF2-40B4-BE49-F238E27FC236}">
                <a16:creationId xmlns:a16="http://schemas.microsoft.com/office/drawing/2014/main" id="{B60FB744-70B0-03BD-1D05-19A9631EFA60}"/>
              </a:ext>
            </a:extLst>
          </p:cNvPr>
          <p:cNvCxnSpPr/>
          <p:nvPr>
            <p:custDataLst>
              <p:tags r:id="rId39"/>
            </p:custDataLst>
          </p:nvPr>
        </p:nvCxnSpPr>
        <p:spPr bwMode="auto">
          <a:xfrm>
            <a:off x="4670425" y="4298950"/>
            <a:ext cx="223838"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01F283A1-4B05-5824-9B21-0FBAD32A0B96}"/>
              </a:ext>
            </a:extLst>
          </p:cNvPr>
          <p:cNvCxnSpPr/>
          <p:nvPr>
            <p:custDataLst>
              <p:tags r:id="rId40"/>
            </p:custDataLst>
          </p:nvPr>
        </p:nvCxnSpPr>
        <p:spPr bwMode="auto">
          <a:xfrm>
            <a:off x="4670425" y="3330575"/>
            <a:ext cx="0" cy="968375"/>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446">
            <a:extLst>
              <a:ext uri="{FF2B5EF4-FFF2-40B4-BE49-F238E27FC236}">
                <a16:creationId xmlns:a16="http://schemas.microsoft.com/office/drawing/2014/main" id="{959E62EB-5431-ECF0-40C9-3E697A846AA6}"/>
              </a:ext>
            </a:extLst>
          </p:cNvPr>
          <p:cNvCxnSpPr/>
          <p:nvPr>
            <p:custDataLst>
              <p:tags r:id="rId41"/>
            </p:custDataLst>
          </p:nvPr>
        </p:nvCxnSpPr>
        <p:spPr bwMode="auto">
          <a:xfrm>
            <a:off x="4894263" y="3330575"/>
            <a:ext cx="0" cy="968375"/>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Rectangle 59">
            <a:extLst>
              <a:ext uri="{FF2B5EF4-FFF2-40B4-BE49-F238E27FC236}">
                <a16:creationId xmlns:a16="http://schemas.microsoft.com/office/drawing/2014/main" id="{DF2394DC-64E5-82CF-6769-E3128210E3B0}"/>
              </a:ext>
            </a:extLst>
          </p:cNvPr>
          <p:cNvSpPr/>
          <p:nvPr>
            <p:custDataLst>
              <p:tags r:id="rId42"/>
            </p:custDataLst>
          </p:nvPr>
        </p:nvSpPr>
        <p:spPr bwMode="auto">
          <a:xfrm>
            <a:off x="4670425" y="3176588"/>
            <a:ext cx="223838" cy="153988"/>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442" name="Straight Connector 441">
            <a:extLst>
              <a:ext uri="{FF2B5EF4-FFF2-40B4-BE49-F238E27FC236}">
                <a16:creationId xmlns:a16="http://schemas.microsoft.com/office/drawing/2014/main" id="{5AB2D8B6-E904-5DB1-3F5A-5D6DA4E8135A}"/>
              </a:ext>
            </a:extLst>
          </p:cNvPr>
          <p:cNvCxnSpPr/>
          <p:nvPr>
            <p:custDataLst>
              <p:tags r:id="rId43"/>
            </p:custDataLst>
          </p:nvPr>
        </p:nvCxnSpPr>
        <p:spPr bwMode="auto">
          <a:xfrm>
            <a:off x="4492625" y="4102100"/>
            <a:ext cx="0" cy="1374775"/>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24ACE629-3A70-BF2C-BC7E-1ECF8C8F0233}"/>
              </a:ext>
            </a:extLst>
          </p:cNvPr>
          <p:cNvCxnSpPr/>
          <p:nvPr>
            <p:custDataLst>
              <p:tags r:id="rId44"/>
            </p:custDataLst>
          </p:nvPr>
        </p:nvCxnSpPr>
        <p:spPr bwMode="auto">
          <a:xfrm>
            <a:off x="4268788" y="4102100"/>
            <a:ext cx="0" cy="1374775"/>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FF10A7AE-DBC5-6F31-0E7A-CD3418C43BE9}"/>
              </a:ext>
            </a:extLst>
          </p:cNvPr>
          <p:cNvCxnSpPr/>
          <p:nvPr>
            <p:custDataLst>
              <p:tags r:id="rId45"/>
            </p:custDataLst>
          </p:nvPr>
        </p:nvCxnSpPr>
        <p:spPr bwMode="auto">
          <a:xfrm>
            <a:off x="4492625" y="3530600"/>
            <a:ext cx="0" cy="57150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E12BA58B-A383-049B-4E47-F49F75941781}"/>
              </a:ext>
            </a:extLst>
          </p:cNvPr>
          <p:cNvCxnSpPr/>
          <p:nvPr>
            <p:custDataLst>
              <p:tags r:id="rId46"/>
            </p:custDataLst>
          </p:nvPr>
        </p:nvCxnSpPr>
        <p:spPr bwMode="auto">
          <a:xfrm>
            <a:off x="4268788" y="3530600"/>
            <a:ext cx="0" cy="57150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AC4B6A10-0B36-52D0-2976-CC486C317C31}"/>
              </a:ext>
            </a:extLst>
          </p:cNvPr>
          <p:cNvCxnSpPr/>
          <p:nvPr>
            <p:custDataLst>
              <p:tags r:id="rId47"/>
            </p:custDataLst>
          </p:nvPr>
        </p:nvCxnSpPr>
        <p:spPr bwMode="auto">
          <a:xfrm>
            <a:off x="4268788" y="4102100"/>
            <a:ext cx="223838"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3" name="Rectangle 342">
            <a:extLst>
              <a:ext uri="{FF2B5EF4-FFF2-40B4-BE49-F238E27FC236}">
                <a16:creationId xmlns:a16="http://schemas.microsoft.com/office/drawing/2014/main" id="{AFCAA500-DC3D-347D-7984-75FA6A47B673}"/>
              </a:ext>
            </a:extLst>
          </p:cNvPr>
          <p:cNvSpPr/>
          <p:nvPr>
            <p:custDataLst>
              <p:tags r:id="rId48"/>
            </p:custDataLst>
          </p:nvPr>
        </p:nvSpPr>
        <p:spPr bwMode="auto">
          <a:xfrm>
            <a:off x="4268788" y="3176588"/>
            <a:ext cx="223838" cy="354013"/>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131" name="Straight Connector 130">
            <a:extLst>
              <a:ext uri="{FF2B5EF4-FFF2-40B4-BE49-F238E27FC236}">
                <a16:creationId xmlns:a16="http://schemas.microsoft.com/office/drawing/2014/main" id="{3E1E4D1B-3510-AFEC-7072-3F8F2CA1039E}"/>
              </a:ext>
            </a:extLst>
          </p:cNvPr>
          <p:cNvCxnSpPr/>
          <p:nvPr>
            <p:custDataLst>
              <p:tags r:id="rId49"/>
            </p:custDataLst>
          </p:nvPr>
        </p:nvCxnSpPr>
        <p:spPr bwMode="auto">
          <a:xfrm>
            <a:off x="3689350" y="3773488"/>
            <a:ext cx="0" cy="1703388"/>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26FD6B43-F31E-97FC-73E3-156CC45AAB2B}"/>
              </a:ext>
            </a:extLst>
          </p:cNvPr>
          <p:cNvCxnSpPr/>
          <p:nvPr>
            <p:custDataLst>
              <p:tags r:id="rId50"/>
            </p:custDataLst>
          </p:nvPr>
        </p:nvCxnSpPr>
        <p:spPr bwMode="auto">
          <a:xfrm>
            <a:off x="3465513" y="3773488"/>
            <a:ext cx="0" cy="1703388"/>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5E627949-2ABD-17AD-8B56-F98D239A183E}"/>
              </a:ext>
            </a:extLst>
          </p:cNvPr>
          <p:cNvCxnSpPr/>
          <p:nvPr>
            <p:custDataLst>
              <p:tags r:id="rId51"/>
            </p:custDataLst>
          </p:nvPr>
        </p:nvCxnSpPr>
        <p:spPr bwMode="auto">
          <a:xfrm>
            <a:off x="3465513" y="3773488"/>
            <a:ext cx="223838"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 Placeholder 19">
            <a:extLst>
              <a:ext uri="{FF2B5EF4-FFF2-40B4-BE49-F238E27FC236}">
                <a16:creationId xmlns:a16="http://schemas.microsoft.com/office/drawing/2014/main" id="{9F9869AF-B0F6-4E89-B216-4EC18C7334C2}"/>
              </a:ext>
            </a:extLst>
          </p:cNvPr>
          <p:cNvSpPr>
            <a:spLocks noGrp="1"/>
          </p:cNvSpPr>
          <p:nvPr>
            <p:custDataLst>
              <p:tags r:id="rId52"/>
            </p:custDataLst>
          </p:nvPr>
        </p:nvSpPr>
        <p:spPr bwMode="auto">
          <a:xfrm>
            <a:off x="2089150" y="5532438"/>
            <a:ext cx="5667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E55514C3-94A8-429E-8906-8B31CCA693C7}" type="datetime'''''''''''''''Cou''''''''''''''nt''r''''y'''''''' ''''''X''X'">
              <a:rPr lang="en-GB" altLang="en-US" smtClean="0">
                <a:effectLst/>
              </a:rPr>
              <a:pPr lvl="0" algn="ctr">
                <a:spcBef>
                  <a:spcPct val="0"/>
                </a:spcBef>
                <a:spcAft>
                  <a:spcPct val="0"/>
                </a:spcAft>
              </a:pPr>
              <a:t>Country XX</a:t>
            </a:fld>
            <a:endParaRPr lang="en-GB"/>
          </a:p>
        </p:txBody>
      </p:sp>
      <p:sp>
        <p:nvSpPr>
          <p:cNvPr id="28" name="Text Placeholder 19">
            <a:extLst>
              <a:ext uri="{FF2B5EF4-FFF2-40B4-BE49-F238E27FC236}">
                <a16:creationId xmlns:a16="http://schemas.microsoft.com/office/drawing/2014/main" id="{9F9869AF-B0F6-4E89-B216-4EC18C7334C2}"/>
              </a:ext>
            </a:extLst>
          </p:cNvPr>
          <p:cNvSpPr>
            <a:spLocks noGrp="1"/>
          </p:cNvSpPr>
          <p:nvPr>
            <p:custDataLst>
              <p:tags r:id="rId53"/>
            </p:custDataLst>
          </p:nvPr>
        </p:nvSpPr>
        <p:spPr bwMode="auto">
          <a:xfrm>
            <a:off x="2711451"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a:t>
            </a:r>
            <a:endParaRPr lang="en-GB"/>
          </a:p>
        </p:txBody>
      </p:sp>
      <p:sp>
        <p:nvSpPr>
          <p:cNvPr id="29" name="Text Placeholder 19">
            <a:extLst>
              <a:ext uri="{FF2B5EF4-FFF2-40B4-BE49-F238E27FC236}">
                <a16:creationId xmlns:a16="http://schemas.microsoft.com/office/drawing/2014/main" id="{9F9869AF-B0F6-4E89-B216-4EC18C7334C2}"/>
              </a:ext>
            </a:extLst>
          </p:cNvPr>
          <p:cNvSpPr>
            <a:spLocks noGrp="1"/>
          </p:cNvSpPr>
          <p:nvPr>
            <p:custDataLst>
              <p:tags r:id="rId54"/>
            </p:custDataLst>
          </p:nvPr>
        </p:nvSpPr>
        <p:spPr bwMode="auto">
          <a:xfrm>
            <a:off x="3113088"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322E0AB1-AFE1-4A74-A69A-30D8CB67E5BF}" type="datetime'''''''''''''''''''''…'''''''''''''''''''''''''''">
              <a:rPr lang="en-GB" altLang="en-US" smtClean="0">
                <a:effectLst/>
              </a:rPr>
              <a:pPr lvl="0" algn="ctr">
                <a:spcBef>
                  <a:spcPct val="0"/>
                </a:spcBef>
                <a:spcAft>
                  <a:spcPct val="0"/>
                </a:spcAft>
              </a:pPr>
              <a:t>…</a:t>
            </a:fld>
            <a:endParaRPr lang="en-GB"/>
          </a:p>
        </p:txBody>
      </p:sp>
      <p:sp>
        <p:nvSpPr>
          <p:cNvPr id="30" name="Text Placeholder 19">
            <a:extLst>
              <a:ext uri="{FF2B5EF4-FFF2-40B4-BE49-F238E27FC236}">
                <a16:creationId xmlns:a16="http://schemas.microsoft.com/office/drawing/2014/main" id="{9F9869AF-B0F6-4E89-B216-4EC18C7334C2}"/>
              </a:ext>
            </a:extLst>
          </p:cNvPr>
          <p:cNvSpPr>
            <a:spLocks noGrp="1"/>
          </p:cNvSpPr>
          <p:nvPr>
            <p:custDataLst>
              <p:tags r:id="rId55"/>
            </p:custDataLst>
          </p:nvPr>
        </p:nvSpPr>
        <p:spPr bwMode="auto">
          <a:xfrm>
            <a:off x="3514725"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DB9E786A-9942-4FE4-9AA6-D943FCDCF3B3}" type="datetime'''''''''''''''''''''''''''''''''''''''''…'''">
              <a:rPr lang="en-GB" altLang="en-US" smtClean="0">
                <a:effectLst/>
              </a:rPr>
              <a:pPr lvl="0" algn="ctr">
                <a:spcBef>
                  <a:spcPct val="0"/>
                </a:spcBef>
                <a:spcAft>
                  <a:spcPct val="0"/>
                </a:spcAft>
              </a:pPr>
              <a:t>…</a:t>
            </a:fld>
            <a:endParaRPr lang="en-GB"/>
          </a:p>
        </p:txBody>
      </p:sp>
      <p:sp>
        <p:nvSpPr>
          <p:cNvPr id="33" name="Text Placeholder 19">
            <a:extLst>
              <a:ext uri="{FF2B5EF4-FFF2-40B4-BE49-F238E27FC236}">
                <a16:creationId xmlns:a16="http://schemas.microsoft.com/office/drawing/2014/main" id="{9F9869AF-B0F6-4E89-B216-4EC18C7334C2}"/>
              </a:ext>
            </a:extLst>
          </p:cNvPr>
          <p:cNvSpPr>
            <a:spLocks noGrp="1"/>
          </p:cNvSpPr>
          <p:nvPr>
            <p:custDataLst>
              <p:tags r:id="rId56"/>
            </p:custDataLst>
          </p:nvPr>
        </p:nvSpPr>
        <p:spPr bwMode="auto">
          <a:xfrm>
            <a:off x="3916363"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F1F9B16C-C88D-42B2-9385-63903FB7BBA8}" type="datetime'''''''''''''''''''''''''''''…'''''''''''''''''''''''''''''''">
              <a:rPr lang="en-GB" altLang="en-US" smtClean="0">
                <a:effectLst/>
              </a:rPr>
              <a:pPr lvl="0" algn="ctr">
                <a:spcBef>
                  <a:spcPct val="0"/>
                </a:spcBef>
                <a:spcAft>
                  <a:spcPct val="0"/>
                </a:spcAft>
              </a:pPr>
              <a:t>…</a:t>
            </a:fld>
            <a:endParaRPr lang="en-GB"/>
          </a:p>
        </p:txBody>
      </p:sp>
      <p:sp>
        <p:nvSpPr>
          <p:cNvPr id="34" name="Text Placeholder 19">
            <a:extLst>
              <a:ext uri="{FF2B5EF4-FFF2-40B4-BE49-F238E27FC236}">
                <a16:creationId xmlns:a16="http://schemas.microsoft.com/office/drawing/2014/main" id="{9F9869AF-B0F6-4E89-B216-4EC18C7334C2}"/>
              </a:ext>
            </a:extLst>
          </p:cNvPr>
          <p:cNvSpPr>
            <a:spLocks noGrp="1"/>
          </p:cNvSpPr>
          <p:nvPr>
            <p:custDataLst>
              <p:tags r:id="rId57"/>
            </p:custDataLst>
          </p:nvPr>
        </p:nvSpPr>
        <p:spPr bwMode="auto">
          <a:xfrm>
            <a:off x="4318000"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E0C28DDF-50BA-4F95-A3F2-58FA62704880}" type="datetime'''…'''">
              <a:rPr lang="en-GB" altLang="en-US" smtClean="0">
                <a:effectLst/>
              </a:rPr>
              <a:pPr lvl="0" algn="ctr">
                <a:spcBef>
                  <a:spcPct val="0"/>
                </a:spcBef>
                <a:spcAft>
                  <a:spcPct val="0"/>
                </a:spcAft>
              </a:pPr>
              <a:t>…</a:t>
            </a:fld>
            <a:endParaRPr lang="en-GB"/>
          </a:p>
        </p:txBody>
      </p:sp>
      <p:sp>
        <p:nvSpPr>
          <p:cNvPr id="36" name="Text Placeholder 19">
            <a:extLst>
              <a:ext uri="{FF2B5EF4-FFF2-40B4-BE49-F238E27FC236}">
                <a16:creationId xmlns:a16="http://schemas.microsoft.com/office/drawing/2014/main" id="{9F9869AF-B0F6-4E89-B216-4EC18C7334C2}"/>
              </a:ext>
            </a:extLst>
          </p:cNvPr>
          <p:cNvSpPr>
            <a:spLocks noGrp="1"/>
          </p:cNvSpPr>
          <p:nvPr>
            <p:custDataLst>
              <p:tags r:id="rId58"/>
            </p:custDataLst>
          </p:nvPr>
        </p:nvSpPr>
        <p:spPr bwMode="auto">
          <a:xfrm>
            <a:off x="5121275"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7A75EA26-E846-491E-821B-5E5D4F483A56}" type="datetime'''''''''''…'''''''''''''''''''''''''''''''''">
              <a:rPr lang="en-GB" altLang="en-US" smtClean="0">
                <a:effectLst/>
              </a:rPr>
              <a:pPr lvl="0" algn="ctr">
                <a:spcBef>
                  <a:spcPct val="0"/>
                </a:spcBef>
                <a:spcAft>
                  <a:spcPct val="0"/>
                </a:spcAft>
              </a:pPr>
              <a:t>…</a:t>
            </a:fld>
            <a:endParaRPr lang="en-GB"/>
          </a:p>
        </p:txBody>
      </p:sp>
      <p:sp>
        <p:nvSpPr>
          <p:cNvPr id="38" name="Text Placeholder 19">
            <a:extLst>
              <a:ext uri="{FF2B5EF4-FFF2-40B4-BE49-F238E27FC236}">
                <a16:creationId xmlns:a16="http://schemas.microsoft.com/office/drawing/2014/main" id="{9F9869AF-B0F6-4E89-B216-4EC18C7334C2}"/>
              </a:ext>
            </a:extLst>
          </p:cNvPr>
          <p:cNvSpPr>
            <a:spLocks noGrp="1"/>
          </p:cNvSpPr>
          <p:nvPr>
            <p:custDataLst>
              <p:tags r:id="rId59"/>
            </p:custDataLst>
          </p:nvPr>
        </p:nvSpPr>
        <p:spPr bwMode="auto">
          <a:xfrm>
            <a:off x="5522913"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1EB1D2B9-3963-42E1-8EE6-66C628E57E17}" type="datetime'''…'''''''''''''''''''''''''''''''''''''''''''''''''''">
              <a:rPr lang="en-GB" altLang="en-US" smtClean="0">
                <a:effectLst/>
              </a:rPr>
              <a:pPr lvl="0" algn="ctr">
                <a:spcBef>
                  <a:spcPct val="0"/>
                </a:spcBef>
                <a:spcAft>
                  <a:spcPct val="0"/>
                </a:spcAft>
              </a:pPr>
              <a:t>…</a:t>
            </a:fld>
            <a:endParaRPr lang="en-GB"/>
          </a:p>
        </p:txBody>
      </p:sp>
      <p:sp>
        <p:nvSpPr>
          <p:cNvPr id="39" name="Text Placeholder 19">
            <a:extLst>
              <a:ext uri="{FF2B5EF4-FFF2-40B4-BE49-F238E27FC236}">
                <a16:creationId xmlns:a16="http://schemas.microsoft.com/office/drawing/2014/main" id="{9F9869AF-B0F6-4E89-B216-4EC18C7334C2}"/>
              </a:ext>
            </a:extLst>
          </p:cNvPr>
          <p:cNvSpPr>
            <a:spLocks noGrp="1"/>
          </p:cNvSpPr>
          <p:nvPr>
            <p:custDataLst>
              <p:tags r:id="rId60"/>
            </p:custDataLst>
          </p:nvPr>
        </p:nvSpPr>
        <p:spPr bwMode="auto">
          <a:xfrm>
            <a:off x="5924550"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ADA594A5-F48E-4D8E-A0E1-ADE1AD7DE017}" type="datetime'''''''''''''''''''''''''''''''…'''''">
              <a:rPr lang="en-GB" altLang="en-US" smtClean="0">
                <a:effectLst/>
              </a:rPr>
              <a:pPr lvl="0" algn="ctr">
                <a:spcBef>
                  <a:spcPct val="0"/>
                </a:spcBef>
                <a:spcAft>
                  <a:spcPct val="0"/>
                </a:spcAft>
              </a:pPr>
              <a:t>…</a:t>
            </a:fld>
            <a:endParaRPr lang="en-GB"/>
          </a:p>
        </p:txBody>
      </p:sp>
      <p:sp>
        <p:nvSpPr>
          <p:cNvPr id="41" name="Text Placeholder 19">
            <a:extLst>
              <a:ext uri="{FF2B5EF4-FFF2-40B4-BE49-F238E27FC236}">
                <a16:creationId xmlns:a16="http://schemas.microsoft.com/office/drawing/2014/main" id="{9F9869AF-B0F6-4E89-B216-4EC18C7334C2}"/>
              </a:ext>
            </a:extLst>
          </p:cNvPr>
          <p:cNvSpPr>
            <a:spLocks noGrp="1"/>
          </p:cNvSpPr>
          <p:nvPr>
            <p:custDataLst>
              <p:tags r:id="rId61"/>
            </p:custDataLst>
          </p:nvPr>
        </p:nvSpPr>
        <p:spPr bwMode="auto">
          <a:xfrm>
            <a:off x="6326188"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08AE028F-B750-4880-AF9D-795C640727C8}" type="datetime'''''…'''''">
              <a:rPr lang="en-GB" altLang="en-US" smtClean="0">
                <a:effectLst/>
              </a:rPr>
              <a:pPr lvl="0" algn="ctr">
                <a:spcBef>
                  <a:spcPct val="0"/>
                </a:spcBef>
                <a:spcAft>
                  <a:spcPct val="0"/>
                </a:spcAft>
              </a:pPr>
              <a:t>…</a:t>
            </a:fld>
            <a:endParaRPr lang="en-GB"/>
          </a:p>
        </p:txBody>
      </p:sp>
      <p:sp>
        <p:nvSpPr>
          <p:cNvPr id="45" name="Text Placeholder 19">
            <a:extLst>
              <a:ext uri="{FF2B5EF4-FFF2-40B4-BE49-F238E27FC236}">
                <a16:creationId xmlns:a16="http://schemas.microsoft.com/office/drawing/2014/main" id="{9F9869AF-B0F6-4E89-B216-4EC18C7334C2}"/>
              </a:ext>
            </a:extLst>
          </p:cNvPr>
          <p:cNvSpPr>
            <a:spLocks noGrp="1"/>
          </p:cNvSpPr>
          <p:nvPr>
            <p:custDataLst>
              <p:tags r:id="rId62"/>
            </p:custDataLst>
          </p:nvPr>
        </p:nvSpPr>
        <p:spPr bwMode="auto">
          <a:xfrm>
            <a:off x="6727825"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3C830DD9-15F9-4A9F-8B52-D6E6BD28679C}" type="datetime'''''''''''''''''''''''''''''''''''''''…'">
              <a:rPr lang="en-GB" altLang="en-US" smtClean="0">
                <a:effectLst/>
              </a:rPr>
              <a:pPr lvl="0" algn="ctr">
                <a:spcBef>
                  <a:spcPct val="0"/>
                </a:spcBef>
                <a:spcAft>
                  <a:spcPct val="0"/>
                </a:spcAft>
              </a:pPr>
              <a:t>…</a:t>
            </a:fld>
            <a:endParaRPr lang="en-GB"/>
          </a:p>
        </p:txBody>
      </p:sp>
      <p:sp>
        <p:nvSpPr>
          <p:cNvPr id="47" name="Text Placeholder 19">
            <a:extLst>
              <a:ext uri="{FF2B5EF4-FFF2-40B4-BE49-F238E27FC236}">
                <a16:creationId xmlns:a16="http://schemas.microsoft.com/office/drawing/2014/main" id="{9F9869AF-B0F6-4E89-B216-4EC18C7334C2}"/>
              </a:ext>
            </a:extLst>
          </p:cNvPr>
          <p:cNvSpPr>
            <a:spLocks noGrp="1"/>
          </p:cNvSpPr>
          <p:nvPr>
            <p:custDataLst>
              <p:tags r:id="rId63"/>
            </p:custDataLst>
          </p:nvPr>
        </p:nvSpPr>
        <p:spPr bwMode="auto">
          <a:xfrm>
            <a:off x="7129463"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F5B29895-A52D-4AB7-B534-48A5E37770C2}" type="datetime'''''''''''''''''''…'''''''''''''''''''''''''''''''''''''">
              <a:rPr lang="en-GB" altLang="en-US" smtClean="0">
                <a:effectLst/>
              </a:rPr>
              <a:pPr lvl="0" algn="ctr">
                <a:spcBef>
                  <a:spcPct val="0"/>
                </a:spcBef>
                <a:spcAft>
                  <a:spcPct val="0"/>
                </a:spcAft>
              </a:pPr>
              <a:t>…</a:t>
            </a:fld>
            <a:endParaRPr lang="en-GB"/>
          </a:p>
        </p:txBody>
      </p:sp>
      <p:sp>
        <p:nvSpPr>
          <p:cNvPr id="48" name="Text Placeholder 19">
            <a:extLst>
              <a:ext uri="{FF2B5EF4-FFF2-40B4-BE49-F238E27FC236}">
                <a16:creationId xmlns:a16="http://schemas.microsoft.com/office/drawing/2014/main" id="{9F9869AF-B0F6-4E89-B216-4EC18C7334C2}"/>
              </a:ext>
            </a:extLst>
          </p:cNvPr>
          <p:cNvSpPr>
            <a:spLocks noGrp="1"/>
          </p:cNvSpPr>
          <p:nvPr>
            <p:custDataLst>
              <p:tags r:id="rId64"/>
            </p:custDataLst>
          </p:nvPr>
        </p:nvSpPr>
        <p:spPr bwMode="auto">
          <a:xfrm>
            <a:off x="7531100"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D1262595-C4C3-4FFF-888F-FECC12BF5340}" type="datetime'''…'''''''''''''''''''''">
              <a:rPr lang="en-GB" altLang="en-US" smtClean="0">
                <a:effectLst/>
              </a:rPr>
              <a:pPr lvl="0" algn="ctr">
                <a:spcBef>
                  <a:spcPct val="0"/>
                </a:spcBef>
                <a:spcAft>
                  <a:spcPct val="0"/>
                </a:spcAft>
              </a:pPr>
              <a:t>…</a:t>
            </a:fld>
            <a:endParaRPr lang="en-GB"/>
          </a:p>
        </p:txBody>
      </p:sp>
      <p:sp>
        <p:nvSpPr>
          <p:cNvPr id="49" name="Text Placeholder 19">
            <a:extLst>
              <a:ext uri="{FF2B5EF4-FFF2-40B4-BE49-F238E27FC236}">
                <a16:creationId xmlns:a16="http://schemas.microsoft.com/office/drawing/2014/main" id="{9F9869AF-B0F6-4E89-B216-4EC18C7334C2}"/>
              </a:ext>
            </a:extLst>
          </p:cNvPr>
          <p:cNvSpPr>
            <a:spLocks noGrp="1"/>
          </p:cNvSpPr>
          <p:nvPr>
            <p:custDataLst>
              <p:tags r:id="rId65"/>
            </p:custDataLst>
          </p:nvPr>
        </p:nvSpPr>
        <p:spPr bwMode="auto">
          <a:xfrm>
            <a:off x="7932738"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F1843B1A-6352-4176-B929-68EBD6893134}" type="datetime'''''''''''''''''''''''''''…'''">
              <a:rPr lang="en-GB" altLang="en-US" smtClean="0">
                <a:effectLst/>
              </a:rPr>
              <a:pPr lvl="0" algn="ctr">
                <a:spcBef>
                  <a:spcPct val="0"/>
                </a:spcBef>
                <a:spcAft>
                  <a:spcPct val="0"/>
                </a:spcAft>
              </a:pPr>
              <a:t>…</a:t>
            </a:fld>
            <a:endParaRPr lang="en-GB"/>
          </a:p>
        </p:txBody>
      </p:sp>
      <p:sp>
        <p:nvSpPr>
          <p:cNvPr id="35" name="Text Placeholder 19">
            <a:extLst>
              <a:ext uri="{FF2B5EF4-FFF2-40B4-BE49-F238E27FC236}">
                <a16:creationId xmlns:a16="http://schemas.microsoft.com/office/drawing/2014/main" id="{9F9869AF-B0F6-4E89-B216-4EC18C7334C2}"/>
              </a:ext>
            </a:extLst>
          </p:cNvPr>
          <p:cNvSpPr>
            <a:spLocks noGrp="1"/>
          </p:cNvSpPr>
          <p:nvPr>
            <p:custDataLst>
              <p:tags r:id="rId66"/>
            </p:custDataLst>
          </p:nvPr>
        </p:nvSpPr>
        <p:spPr bwMode="auto">
          <a:xfrm>
            <a:off x="4719638"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5FC0AC0-8621-47FE-800A-20AB774293C8}" type="datetime'''''''''''''''''''''''''''''''''''''''''''''''''''''…'''''''">
              <a:rPr lang="en-GB" altLang="en-US" smtClean="0">
                <a:effectLst/>
              </a:rPr>
              <a:pPr lvl="0" algn="ctr">
                <a:spcBef>
                  <a:spcPct val="0"/>
                </a:spcBef>
                <a:spcAft>
                  <a:spcPct val="0"/>
                </a:spcAft>
              </a:pPr>
              <a:t>…</a:t>
            </a:fld>
            <a:endParaRPr lang="en-GB"/>
          </a:p>
        </p:txBody>
      </p:sp>
      <p:sp>
        <p:nvSpPr>
          <p:cNvPr id="52" name="Text Placeholder 19">
            <a:extLst>
              <a:ext uri="{FF2B5EF4-FFF2-40B4-BE49-F238E27FC236}">
                <a16:creationId xmlns:a16="http://schemas.microsoft.com/office/drawing/2014/main" id="{9F9869AF-B0F6-4E89-B216-4EC18C7334C2}"/>
              </a:ext>
            </a:extLst>
          </p:cNvPr>
          <p:cNvSpPr>
            <a:spLocks noGrp="1"/>
          </p:cNvSpPr>
          <p:nvPr>
            <p:custDataLst>
              <p:tags r:id="rId67"/>
            </p:custDataLst>
          </p:nvPr>
        </p:nvSpPr>
        <p:spPr bwMode="auto">
          <a:xfrm>
            <a:off x="8736013"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C759FAF-3F86-45AD-BD70-9E24FE69AE5C}" type="datetime'''''''''''''''''''''''''''''''''''''''''…'">
              <a:rPr lang="en-GB" altLang="en-US" smtClean="0">
                <a:effectLst/>
              </a:rPr>
              <a:pPr lvl="0" algn="ctr">
                <a:spcBef>
                  <a:spcPct val="0"/>
                </a:spcBef>
                <a:spcAft>
                  <a:spcPct val="0"/>
                </a:spcAft>
              </a:pPr>
              <a:t>…</a:t>
            </a:fld>
            <a:endParaRPr lang="en-GB"/>
          </a:p>
        </p:txBody>
      </p:sp>
      <p:sp>
        <p:nvSpPr>
          <p:cNvPr id="53" name="Text Placeholder 19">
            <a:extLst>
              <a:ext uri="{FF2B5EF4-FFF2-40B4-BE49-F238E27FC236}">
                <a16:creationId xmlns:a16="http://schemas.microsoft.com/office/drawing/2014/main" id="{9F9869AF-B0F6-4E89-B216-4EC18C7334C2}"/>
              </a:ext>
            </a:extLst>
          </p:cNvPr>
          <p:cNvSpPr>
            <a:spLocks noGrp="1"/>
          </p:cNvSpPr>
          <p:nvPr>
            <p:custDataLst>
              <p:tags r:id="rId68"/>
            </p:custDataLst>
          </p:nvPr>
        </p:nvSpPr>
        <p:spPr bwMode="auto">
          <a:xfrm>
            <a:off x="9137650"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A264ED52-A8FC-4D68-B083-61B10FE2E7DA}" type="datetime'''''''''''''''''''''''''''''''''''''''…'''''">
              <a:rPr lang="en-GB" altLang="en-US" smtClean="0">
                <a:effectLst/>
              </a:rPr>
              <a:pPr lvl="0" algn="ctr">
                <a:spcBef>
                  <a:spcPct val="0"/>
                </a:spcBef>
                <a:spcAft>
                  <a:spcPct val="0"/>
                </a:spcAft>
              </a:pPr>
              <a:t>…</a:t>
            </a:fld>
            <a:endParaRPr lang="en-GB"/>
          </a:p>
        </p:txBody>
      </p:sp>
      <p:sp>
        <p:nvSpPr>
          <p:cNvPr id="54" name="Text Placeholder 19">
            <a:extLst>
              <a:ext uri="{FF2B5EF4-FFF2-40B4-BE49-F238E27FC236}">
                <a16:creationId xmlns:a16="http://schemas.microsoft.com/office/drawing/2014/main" id="{9F9869AF-B0F6-4E89-B216-4EC18C7334C2}"/>
              </a:ext>
            </a:extLst>
          </p:cNvPr>
          <p:cNvSpPr>
            <a:spLocks noGrp="1"/>
          </p:cNvSpPr>
          <p:nvPr>
            <p:custDataLst>
              <p:tags r:id="rId69"/>
            </p:custDataLst>
          </p:nvPr>
        </p:nvSpPr>
        <p:spPr bwMode="auto">
          <a:xfrm>
            <a:off x="9539288"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9235167F-C2B5-4C56-A4C9-F58E74A6B90A}" type="datetime'''''''''''''''''''''…'''''''''''''''''''">
              <a:rPr lang="en-GB" altLang="en-US" smtClean="0">
                <a:effectLst/>
              </a:rPr>
              <a:pPr lvl="0" algn="ctr">
                <a:spcBef>
                  <a:spcPct val="0"/>
                </a:spcBef>
                <a:spcAft>
                  <a:spcPct val="0"/>
                </a:spcAft>
              </a:pPr>
              <a:t>…</a:t>
            </a:fld>
            <a:endParaRPr lang="en-GB"/>
          </a:p>
        </p:txBody>
      </p:sp>
      <p:sp>
        <p:nvSpPr>
          <p:cNvPr id="55" name="Text Placeholder 19">
            <a:extLst>
              <a:ext uri="{FF2B5EF4-FFF2-40B4-BE49-F238E27FC236}">
                <a16:creationId xmlns:a16="http://schemas.microsoft.com/office/drawing/2014/main" id="{9F9869AF-B0F6-4E89-B216-4EC18C7334C2}"/>
              </a:ext>
            </a:extLst>
          </p:cNvPr>
          <p:cNvSpPr>
            <a:spLocks noGrp="1"/>
          </p:cNvSpPr>
          <p:nvPr>
            <p:custDataLst>
              <p:tags r:id="rId70"/>
            </p:custDataLst>
          </p:nvPr>
        </p:nvSpPr>
        <p:spPr bwMode="auto">
          <a:xfrm>
            <a:off x="9940925"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EC82C8F1-2B17-4FCD-B12D-6112AD7CE281}" type="datetime'''…'''''''''''">
              <a:rPr lang="en-GB" altLang="en-US" smtClean="0">
                <a:effectLst/>
              </a:rPr>
              <a:pPr lvl="0" algn="ctr">
                <a:spcBef>
                  <a:spcPct val="0"/>
                </a:spcBef>
                <a:spcAft>
                  <a:spcPct val="0"/>
                </a:spcAft>
              </a:pPr>
              <a:t>…</a:t>
            </a:fld>
            <a:endParaRPr lang="en-GB"/>
          </a:p>
        </p:txBody>
      </p:sp>
      <p:sp>
        <p:nvSpPr>
          <p:cNvPr id="56" name="Text Placeholder 19">
            <a:extLst>
              <a:ext uri="{FF2B5EF4-FFF2-40B4-BE49-F238E27FC236}">
                <a16:creationId xmlns:a16="http://schemas.microsoft.com/office/drawing/2014/main" id="{9F9869AF-B0F6-4E89-B216-4EC18C7334C2}"/>
              </a:ext>
            </a:extLst>
          </p:cNvPr>
          <p:cNvSpPr>
            <a:spLocks noGrp="1"/>
          </p:cNvSpPr>
          <p:nvPr>
            <p:custDataLst>
              <p:tags r:id="rId71"/>
            </p:custDataLst>
          </p:nvPr>
        </p:nvSpPr>
        <p:spPr bwMode="auto">
          <a:xfrm>
            <a:off x="10342563"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6F00B7C-E4D7-4942-B4BF-F9583378A4BD}" type="datetime'''''''''''''''''''''''…'''''''''''''''''''''''''''''''">
              <a:rPr lang="en-GB" altLang="en-US" smtClean="0">
                <a:effectLst/>
              </a:rPr>
              <a:pPr lvl="0" algn="ctr">
                <a:spcBef>
                  <a:spcPct val="0"/>
                </a:spcBef>
                <a:spcAft>
                  <a:spcPct val="0"/>
                </a:spcAft>
              </a:pPr>
              <a:t>…</a:t>
            </a:fld>
            <a:endParaRPr lang="en-GB"/>
          </a:p>
        </p:txBody>
      </p:sp>
      <p:sp>
        <p:nvSpPr>
          <p:cNvPr id="57" name="Text Placeholder 19">
            <a:extLst>
              <a:ext uri="{FF2B5EF4-FFF2-40B4-BE49-F238E27FC236}">
                <a16:creationId xmlns:a16="http://schemas.microsoft.com/office/drawing/2014/main" id="{9F9869AF-B0F6-4E89-B216-4EC18C7334C2}"/>
              </a:ext>
            </a:extLst>
          </p:cNvPr>
          <p:cNvSpPr>
            <a:spLocks noGrp="1"/>
          </p:cNvSpPr>
          <p:nvPr>
            <p:custDataLst>
              <p:tags r:id="rId72"/>
            </p:custDataLst>
          </p:nvPr>
        </p:nvSpPr>
        <p:spPr bwMode="auto">
          <a:xfrm>
            <a:off x="10744200"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E0CA0903-26EE-4343-8978-5B70FB380832}" type="datetime'''''''''''''''''…'''''''''''''''''''''''''''''''''''''''''''">
              <a:rPr lang="en-GB" altLang="en-US" smtClean="0">
                <a:effectLst/>
              </a:rPr>
              <a:pPr lvl="0" algn="ctr">
                <a:spcBef>
                  <a:spcPct val="0"/>
                </a:spcBef>
                <a:spcAft>
                  <a:spcPct val="0"/>
                </a:spcAft>
              </a:pPr>
              <a:t>…</a:t>
            </a:fld>
            <a:endParaRPr lang="en-GB"/>
          </a:p>
        </p:txBody>
      </p:sp>
      <p:sp>
        <p:nvSpPr>
          <p:cNvPr id="58" name="Text Placeholder 19">
            <a:extLst>
              <a:ext uri="{FF2B5EF4-FFF2-40B4-BE49-F238E27FC236}">
                <a16:creationId xmlns:a16="http://schemas.microsoft.com/office/drawing/2014/main" id="{9F9869AF-B0F6-4E89-B216-4EC18C7334C2}"/>
              </a:ext>
            </a:extLst>
          </p:cNvPr>
          <p:cNvSpPr>
            <a:spLocks noGrp="1"/>
          </p:cNvSpPr>
          <p:nvPr>
            <p:custDataLst>
              <p:tags r:id="rId73"/>
            </p:custDataLst>
          </p:nvPr>
        </p:nvSpPr>
        <p:spPr bwMode="auto">
          <a:xfrm>
            <a:off x="11145838"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06563748-188F-411D-ACF7-C76BF5BFD572}" type="datetime'''''''''''''…'''''''''">
              <a:rPr lang="en-GB" altLang="en-US" smtClean="0">
                <a:effectLst/>
              </a:rPr>
              <a:pPr lvl="0" algn="ctr">
                <a:spcBef>
                  <a:spcPct val="0"/>
                </a:spcBef>
                <a:spcAft>
                  <a:spcPct val="0"/>
                </a:spcAft>
              </a:pPr>
              <a:t>…</a:t>
            </a:fld>
            <a:endParaRPr lang="en-GB"/>
          </a:p>
        </p:txBody>
      </p:sp>
      <p:sp>
        <p:nvSpPr>
          <p:cNvPr id="59" name="Text Placeholder 19">
            <a:extLst>
              <a:ext uri="{FF2B5EF4-FFF2-40B4-BE49-F238E27FC236}">
                <a16:creationId xmlns:a16="http://schemas.microsoft.com/office/drawing/2014/main" id="{9F9869AF-B0F6-4E89-B216-4EC18C7334C2}"/>
              </a:ext>
            </a:extLst>
          </p:cNvPr>
          <p:cNvSpPr>
            <a:spLocks noGrp="1"/>
          </p:cNvSpPr>
          <p:nvPr>
            <p:custDataLst>
              <p:tags r:id="rId74"/>
            </p:custDataLst>
          </p:nvPr>
        </p:nvSpPr>
        <p:spPr bwMode="auto">
          <a:xfrm>
            <a:off x="11547475"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19F113DA-655D-43BF-B153-FF730E1CA88E}" type="datetime'''''''''''''''''''''''…'''''''''''''''''''''">
              <a:rPr lang="en-GB" altLang="en-US" smtClean="0">
                <a:effectLst/>
              </a:rPr>
              <a:pPr lvl="0" algn="ctr">
                <a:spcBef>
                  <a:spcPct val="0"/>
                </a:spcBef>
                <a:spcAft>
                  <a:spcPct val="0"/>
                </a:spcAft>
              </a:pPr>
              <a:t>…</a:t>
            </a:fld>
            <a:endParaRPr lang="en-GB"/>
          </a:p>
        </p:txBody>
      </p:sp>
      <p:sp>
        <p:nvSpPr>
          <p:cNvPr id="51" name="Text Placeholder 19">
            <a:extLst>
              <a:ext uri="{FF2B5EF4-FFF2-40B4-BE49-F238E27FC236}">
                <a16:creationId xmlns:a16="http://schemas.microsoft.com/office/drawing/2014/main" id="{9F9869AF-B0F6-4E89-B216-4EC18C7334C2}"/>
              </a:ext>
            </a:extLst>
          </p:cNvPr>
          <p:cNvSpPr>
            <a:spLocks noGrp="1"/>
          </p:cNvSpPr>
          <p:nvPr>
            <p:custDataLst>
              <p:tags r:id="rId75"/>
            </p:custDataLst>
          </p:nvPr>
        </p:nvSpPr>
        <p:spPr bwMode="auto">
          <a:xfrm>
            <a:off x="8334375" y="5532438"/>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DA7B237B-AF0C-4D06-AB3E-E897A695A87D}" type="datetime'''''''''''''''''''…'''''''''''''''''''''''''''">
              <a:rPr lang="en-GB" altLang="en-US" smtClean="0">
                <a:effectLst/>
              </a:rPr>
              <a:pPr lvl="0" algn="ctr">
                <a:spcBef>
                  <a:spcPct val="0"/>
                </a:spcBef>
                <a:spcAft>
                  <a:spcPct val="0"/>
                </a:spcAft>
              </a:pPr>
              <a:t>…</a:t>
            </a:fld>
            <a:endParaRPr lang="en-GB"/>
          </a:p>
        </p:txBody>
      </p:sp>
      <p:sp>
        <p:nvSpPr>
          <p:cNvPr id="3" name="Title 2">
            <a:extLst>
              <a:ext uri="{FF2B5EF4-FFF2-40B4-BE49-F238E27FC236}">
                <a16:creationId xmlns:a16="http://schemas.microsoft.com/office/drawing/2014/main" id="{F9B2EBFA-26EB-4D20-8969-3608BB49BCD0}"/>
              </a:ext>
            </a:extLst>
          </p:cNvPr>
          <p:cNvSpPr>
            <a:spLocks noGrp="1"/>
          </p:cNvSpPr>
          <p:nvPr>
            <p:ph type="title"/>
          </p:nvPr>
        </p:nvSpPr>
        <p:spPr/>
        <p:txBody>
          <a:bodyPr vert="horz"/>
          <a:lstStyle/>
          <a:p>
            <a:r>
              <a:rPr lang="en-GB"/>
              <a:t>Across Europe, many countries have set ambitious renewables targets, driving increased requirements for batteries</a:t>
            </a:r>
          </a:p>
        </p:txBody>
      </p:sp>
      <p:sp>
        <p:nvSpPr>
          <p:cNvPr id="430" name="Text Placeholder 429">
            <a:extLst>
              <a:ext uri="{FF2B5EF4-FFF2-40B4-BE49-F238E27FC236}">
                <a16:creationId xmlns:a16="http://schemas.microsoft.com/office/drawing/2014/main" id="{1CB0E219-B91D-47E3-A33E-340A6069BB26}"/>
              </a:ext>
            </a:extLst>
          </p:cNvPr>
          <p:cNvSpPr>
            <a:spLocks noGrp="1"/>
          </p:cNvSpPr>
          <p:nvPr>
            <p:ph type="body" sz="quarter" idx="32"/>
          </p:nvPr>
        </p:nvSpPr>
        <p:spPr>
          <a:xfrm>
            <a:off x="387121" y="6645275"/>
            <a:ext cx="11428800" cy="110800"/>
          </a:xfrm>
        </p:spPr>
        <p:txBody>
          <a:bodyPr/>
          <a:lstStyle/>
          <a:p>
            <a:r>
              <a:rPr lang="en-GB"/>
              <a:t>Sources: Aurora Energy Research, European Commission, RTE, Nordic TSO, NECPs, National energy strategies</a:t>
            </a:r>
          </a:p>
        </p:txBody>
      </p:sp>
      <p:sp>
        <p:nvSpPr>
          <p:cNvPr id="46" name="Rectangle 45">
            <a:extLst>
              <a:ext uri="{FF2B5EF4-FFF2-40B4-BE49-F238E27FC236}">
                <a16:creationId xmlns:a16="http://schemas.microsoft.com/office/drawing/2014/main" id="{89B78A6D-5F99-43AF-8B46-3ED8AD641098}"/>
              </a:ext>
            </a:extLst>
          </p:cNvPr>
          <p:cNvSpPr/>
          <p:nvPr>
            <p:custDataLst>
              <p:tags r:id="rId76"/>
            </p:custDataLst>
          </p:nvPr>
        </p:nvSpPr>
        <p:spPr bwMode="auto">
          <a:xfrm>
            <a:off x="4148138" y="6242050"/>
            <a:ext cx="179388" cy="133350"/>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196" name="Text Placeholder 19">
            <a:extLst>
              <a:ext uri="{FF2B5EF4-FFF2-40B4-BE49-F238E27FC236}">
                <a16:creationId xmlns:a16="http://schemas.microsoft.com/office/drawing/2014/main" id="{F1918998-665F-4775-B21F-6D97D879015E}"/>
              </a:ext>
            </a:extLst>
          </p:cNvPr>
          <p:cNvSpPr>
            <a:spLocks noGrp="1"/>
          </p:cNvSpPr>
          <p:nvPr>
            <p:custDataLst>
              <p:tags r:id="rId77"/>
            </p:custDataLst>
          </p:nvPr>
        </p:nvSpPr>
        <p:spPr bwMode="auto">
          <a:xfrm>
            <a:off x="4378325" y="6237288"/>
            <a:ext cx="5635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B92899C8-3B52-4D45-A84E-6E688F825FA1}" type="datetime'''''''''''E''''''s''t''''''i''''''ma''''''''''t''ed'''''">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Estimated</a:t>
            </a:fld>
            <a:endParaRPr kumimoji="0" lang="en-GB" sz="1000" b="0" i="0" u="none" strike="noStrike" kern="1200" cap="none" spc="0" normalizeH="0" baseline="30000" noProof="0">
              <a:ln>
                <a:noFill/>
              </a:ln>
              <a:solidFill>
                <a:srgbClr val="3C3C3B"/>
              </a:solidFill>
              <a:effectLst/>
              <a:uLnTx/>
              <a:uFillTx/>
              <a:latin typeface="Lato"/>
              <a:sym typeface="Lato" panose="020F0502020204030203" pitchFamily="34" charset="0"/>
            </a:endParaRPr>
          </a:p>
        </p:txBody>
      </p:sp>
      <p:sp>
        <p:nvSpPr>
          <p:cNvPr id="11" name="Text Placeholder 13">
            <a:extLst>
              <a:ext uri="{FF2B5EF4-FFF2-40B4-BE49-F238E27FC236}">
                <a16:creationId xmlns:a16="http://schemas.microsoft.com/office/drawing/2014/main" id="{12EDC7ED-258D-9F97-F101-0BE273B0CB1F}"/>
              </a:ext>
            </a:extLst>
          </p:cNvPr>
          <p:cNvSpPr txBox="1">
            <a:spLocks/>
          </p:cNvSpPr>
          <p:nvPr/>
        </p:nvSpPr>
        <p:spPr>
          <a:xfrm>
            <a:off x="381599" y="79401"/>
            <a:ext cx="599875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500" indent="-444500"/>
            <a:r>
              <a:rPr lang="en-GB"/>
              <a:t>	Policy and regulatory environment - </a:t>
            </a:r>
            <a:r>
              <a:rPr lang="en-GB" sz="1200"/>
              <a:t>Battery storage policies, targets and subsidies </a:t>
            </a:r>
          </a:p>
        </p:txBody>
      </p:sp>
      <p:sp>
        <p:nvSpPr>
          <p:cNvPr id="37" name="Oval 36">
            <a:extLst>
              <a:ext uri="{FF2B5EF4-FFF2-40B4-BE49-F238E27FC236}">
                <a16:creationId xmlns:a16="http://schemas.microsoft.com/office/drawing/2014/main" id="{99621C79-CDAB-FD08-208F-F698E3DEA541}"/>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40" name="Oval 39">
            <a:extLst>
              <a:ext uri="{FF2B5EF4-FFF2-40B4-BE49-F238E27FC236}">
                <a16:creationId xmlns:a16="http://schemas.microsoft.com/office/drawing/2014/main" id="{17E72145-EF11-3DDB-8CA1-0C24C4538974}"/>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34" name="TextBox 133">
            <a:extLst>
              <a:ext uri="{FF2B5EF4-FFF2-40B4-BE49-F238E27FC236}">
                <a16:creationId xmlns:a16="http://schemas.microsoft.com/office/drawing/2014/main" id="{0D4A0ACD-E049-D154-1DBA-88DA5BF29221}"/>
              </a:ext>
            </a:extLst>
          </p:cNvPr>
          <p:cNvSpPr txBox="1"/>
          <p:nvPr/>
        </p:nvSpPr>
        <p:spPr>
          <a:xfrm>
            <a:off x="227204" y="4440238"/>
            <a:ext cx="65"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7" name="Text Placeholder 427">
            <a:extLst>
              <a:ext uri="{FF2B5EF4-FFF2-40B4-BE49-F238E27FC236}">
                <a16:creationId xmlns:a16="http://schemas.microsoft.com/office/drawing/2014/main" id="{F9C7AA7C-832F-543F-466D-3FD523F8F460}"/>
              </a:ext>
            </a:extLst>
          </p:cNvPr>
          <p:cNvSpPr txBox="1">
            <a:spLocks/>
          </p:cNvSpPr>
          <p:nvPr/>
        </p:nvSpPr>
        <p:spPr>
          <a:xfrm>
            <a:off x="293300" y="1654929"/>
            <a:ext cx="11428800" cy="461665"/>
          </a:xfrm>
          <a:prstGeom prst="rect">
            <a:avLst/>
          </a:prstGeom>
        </p:spPr>
        <p:txBody>
          <a:bodyPr>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Target RES installed capacity by 2030</a:t>
            </a:r>
            <a:b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br>
            <a:r>
              <a:rPr kumimoji="0" lang="en-GB" sz="1200" b="0" i="0" u="none" strike="noStrike" kern="1200" cap="none" spc="0" normalizeH="0" baseline="0" noProof="0">
                <a:ln>
                  <a:noFill/>
                </a:ln>
                <a:solidFill>
                  <a:srgbClr val="838383"/>
                </a:solidFill>
                <a:effectLst/>
                <a:uLnTx/>
                <a:uFillTx/>
                <a:latin typeface="Lato"/>
                <a:sym typeface="Lato" panose="020F0502020204030203" pitchFamily="34" charset="0"/>
              </a:rPr>
              <a:t>GW</a:t>
            </a:r>
          </a:p>
        </p:txBody>
      </p:sp>
      <p:sp>
        <p:nvSpPr>
          <p:cNvPr id="2" name="Flowchart: Terminator 1">
            <a:extLst>
              <a:ext uri="{FF2B5EF4-FFF2-40B4-BE49-F238E27FC236}">
                <a16:creationId xmlns:a16="http://schemas.microsoft.com/office/drawing/2014/main" id="{7CF5948D-11E8-826F-57A0-36E0E0411087}"/>
              </a:ext>
            </a:extLst>
          </p:cNvPr>
          <p:cNvSpPr/>
          <p:nvPr/>
        </p:nvSpPr>
        <p:spPr>
          <a:xfrm>
            <a:off x="8726388" y="6279494"/>
            <a:ext cx="432000" cy="147600"/>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XX</a:t>
            </a:r>
          </a:p>
        </p:txBody>
      </p:sp>
      <p:sp>
        <p:nvSpPr>
          <p:cNvPr id="4" name="TextBox 3">
            <a:extLst>
              <a:ext uri="{FF2B5EF4-FFF2-40B4-BE49-F238E27FC236}">
                <a16:creationId xmlns:a16="http://schemas.microsoft.com/office/drawing/2014/main" id="{49458370-2DC4-69BF-F2C8-7AC61385262A}"/>
              </a:ext>
            </a:extLst>
          </p:cNvPr>
          <p:cNvSpPr txBox="1"/>
          <p:nvPr/>
        </p:nvSpPr>
        <p:spPr>
          <a:xfrm>
            <a:off x="9210041" y="6276974"/>
            <a:ext cx="273094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Targets relative to 2023 installed capacity (GW)</a:t>
            </a:r>
          </a:p>
        </p:txBody>
      </p:sp>
      <p:sp>
        <p:nvSpPr>
          <p:cNvPr id="5" name="Flowchart: Terminator 4">
            <a:extLst>
              <a:ext uri="{FF2B5EF4-FFF2-40B4-BE49-F238E27FC236}">
                <a16:creationId xmlns:a16="http://schemas.microsoft.com/office/drawing/2014/main" id="{169F13F6-1777-4326-3798-640DA1459979}"/>
              </a:ext>
            </a:extLst>
          </p:cNvPr>
          <p:cNvSpPr/>
          <p:nvPr/>
        </p:nvSpPr>
        <p:spPr>
          <a:xfrm>
            <a:off x="1075766"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sp>
        <p:nvSpPr>
          <p:cNvPr id="8" name="Flowchart: Terminator 7">
            <a:extLst>
              <a:ext uri="{FF2B5EF4-FFF2-40B4-BE49-F238E27FC236}">
                <a16:creationId xmlns:a16="http://schemas.microsoft.com/office/drawing/2014/main" id="{64BED892-2285-D885-3652-9FC542FA0449}"/>
              </a:ext>
            </a:extLst>
          </p:cNvPr>
          <p:cNvSpPr/>
          <p:nvPr/>
        </p:nvSpPr>
        <p:spPr>
          <a:xfrm>
            <a:off x="3791685" y="5966713"/>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9" name="Flowchart: Terminator 8">
            <a:extLst>
              <a:ext uri="{FF2B5EF4-FFF2-40B4-BE49-F238E27FC236}">
                <a16:creationId xmlns:a16="http://schemas.microsoft.com/office/drawing/2014/main" id="{96B2F68C-E19D-C4BD-1EA7-0F5E37382D1E}"/>
              </a:ext>
            </a:extLst>
          </p:cNvPr>
          <p:cNvSpPr/>
          <p:nvPr/>
        </p:nvSpPr>
        <p:spPr>
          <a:xfrm>
            <a:off x="2603433"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16" name="Flowchart: Terminator 15">
            <a:extLst>
              <a:ext uri="{FF2B5EF4-FFF2-40B4-BE49-F238E27FC236}">
                <a16:creationId xmlns:a16="http://schemas.microsoft.com/office/drawing/2014/main" id="{1A6AA4DF-3A76-032A-4A69-ED0733AD2785}"/>
              </a:ext>
            </a:extLst>
          </p:cNvPr>
          <p:cNvSpPr/>
          <p:nvPr/>
        </p:nvSpPr>
        <p:spPr>
          <a:xfrm>
            <a:off x="3005835"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18" name="Flowchart: Terminator 17">
            <a:extLst>
              <a:ext uri="{FF2B5EF4-FFF2-40B4-BE49-F238E27FC236}">
                <a16:creationId xmlns:a16="http://schemas.microsoft.com/office/drawing/2014/main" id="{8659AB2E-6E37-7994-FAD5-1C6B9DA4CB69}"/>
              </a:ext>
            </a:extLst>
          </p:cNvPr>
          <p:cNvSpPr/>
          <p:nvPr/>
        </p:nvSpPr>
        <p:spPr>
          <a:xfrm>
            <a:off x="3398394"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50" name="Flowchart: Terminator 49">
            <a:extLst>
              <a:ext uri="{FF2B5EF4-FFF2-40B4-BE49-F238E27FC236}">
                <a16:creationId xmlns:a16="http://schemas.microsoft.com/office/drawing/2014/main" id="{4B3B2336-0A3B-5A18-DA5D-7B144D4F6BD7}"/>
              </a:ext>
            </a:extLst>
          </p:cNvPr>
          <p:cNvSpPr/>
          <p:nvPr/>
        </p:nvSpPr>
        <p:spPr>
          <a:xfrm>
            <a:off x="2193366"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graphicFrame>
        <p:nvGraphicFramePr>
          <p:cNvPr id="75" name="Chart 74">
            <a:extLst>
              <a:ext uri="{FF2B5EF4-FFF2-40B4-BE49-F238E27FC236}">
                <a16:creationId xmlns:a16="http://schemas.microsoft.com/office/drawing/2014/main" id="{DFB5DF4F-28AB-8946-62D1-7B43B567252E}"/>
              </a:ext>
            </a:extLst>
          </p:cNvPr>
          <p:cNvGraphicFramePr/>
          <p:nvPr>
            <p:custDataLst>
              <p:tags r:id="rId78"/>
            </p:custDataLst>
            <p:extLst>
              <p:ext uri="{D42A27DB-BD31-4B8C-83A1-F6EECF244321}">
                <p14:modId xmlns:p14="http://schemas.microsoft.com/office/powerpoint/2010/main" val="4122928870"/>
              </p:ext>
            </p:extLst>
          </p:nvPr>
        </p:nvGraphicFramePr>
        <p:xfrm>
          <a:off x="-2401888" y="2170113"/>
          <a:ext cx="725487" cy="3622675"/>
        </p:xfrm>
        <a:graphic>
          <a:graphicData uri="http://schemas.openxmlformats.org/drawingml/2006/chart">
            <c:chart xmlns:c="http://schemas.openxmlformats.org/drawingml/2006/chart" xmlns:r="http://schemas.openxmlformats.org/officeDocument/2006/relationships" r:id="rId96"/>
          </a:graphicData>
        </a:graphic>
      </p:graphicFrame>
      <p:sp>
        <p:nvSpPr>
          <p:cNvPr id="455" name="Rectangle 454">
            <a:extLst>
              <a:ext uri="{FF2B5EF4-FFF2-40B4-BE49-F238E27FC236}">
                <a16:creationId xmlns:a16="http://schemas.microsoft.com/office/drawing/2014/main" id="{1A8C7738-B637-A260-5AA8-1A94AA55AC2A}"/>
              </a:ext>
            </a:extLst>
          </p:cNvPr>
          <p:cNvSpPr/>
          <p:nvPr>
            <p:custDataLst>
              <p:tags r:id="rId79"/>
            </p:custDataLst>
          </p:nvPr>
        </p:nvSpPr>
        <p:spPr bwMode="auto">
          <a:xfrm>
            <a:off x="431800" y="6242050"/>
            <a:ext cx="179388" cy="133350"/>
          </a:xfrm>
          <a:prstGeom prst="rect">
            <a:avLst/>
          </a:prstGeom>
          <a:solidFill>
            <a:srgbClr val="A6B727"/>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56" name="Rectangle 455">
            <a:extLst>
              <a:ext uri="{FF2B5EF4-FFF2-40B4-BE49-F238E27FC236}">
                <a16:creationId xmlns:a16="http://schemas.microsoft.com/office/drawing/2014/main" id="{0913A9F6-EB7E-7568-2AD2-DF67FCFE694E}"/>
              </a:ext>
            </a:extLst>
          </p:cNvPr>
          <p:cNvSpPr/>
          <p:nvPr>
            <p:custDataLst>
              <p:tags r:id="rId80"/>
            </p:custDataLst>
          </p:nvPr>
        </p:nvSpPr>
        <p:spPr bwMode="auto">
          <a:xfrm>
            <a:off x="1235075" y="6242050"/>
            <a:ext cx="179388" cy="133350"/>
          </a:xfrm>
          <a:prstGeom prst="rect">
            <a:avLst/>
          </a:prstGeom>
          <a:solidFill>
            <a:srgbClr val="9DB1CF"/>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61" name="Rectangle 460">
            <a:extLst>
              <a:ext uri="{FF2B5EF4-FFF2-40B4-BE49-F238E27FC236}">
                <a16:creationId xmlns:a16="http://schemas.microsoft.com/office/drawing/2014/main" id="{EB91176D-A0DD-1AAE-9609-EFDDB7EECF7B}"/>
              </a:ext>
            </a:extLst>
          </p:cNvPr>
          <p:cNvSpPr/>
          <p:nvPr>
            <p:custDataLst>
              <p:tags r:id="rId81"/>
            </p:custDataLst>
          </p:nvPr>
        </p:nvSpPr>
        <p:spPr bwMode="auto">
          <a:xfrm>
            <a:off x="2344738" y="6242050"/>
            <a:ext cx="179388" cy="133350"/>
          </a:xfrm>
          <a:prstGeom prst="rect">
            <a:avLst/>
          </a:prstGeom>
          <a:solidFill>
            <a:srgbClr val="6F8DB9"/>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76" name="Rectangle 475">
            <a:extLst>
              <a:ext uri="{FF2B5EF4-FFF2-40B4-BE49-F238E27FC236}">
                <a16:creationId xmlns:a16="http://schemas.microsoft.com/office/drawing/2014/main" id="{B99DC642-2881-521F-C68A-9A36344AFB11}"/>
              </a:ext>
            </a:extLst>
          </p:cNvPr>
          <p:cNvSpPr/>
          <p:nvPr>
            <p:custDataLst>
              <p:tags r:id="rId82"/>
            </p:custDataLst>
          </p:nvPr>
        </p:nvSpPr>
        <p:spPr bwMode="auto">
          <a:xfrm>
            <a:off x="3470274" y="6242050"/>
            <a:ext cx="179388" cy="133350"/>
          </a:xfrm>
          <a:prstGeom prst="rect">
            <a:avLst/>
          </a:prstGeom>
          <a:solidFill>
            <a:srgbClr val="657D1A"/>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62" name="Text Placeholder 19">
            <a:extLst>
              <a:ext uri="{FF2B5EF4-FFF2-40B4-BE49-F238E27FC236}">
                <a16:creationId xmlns:a16="http://schemas.microsoft.com/office/drawing/2014/main" id="{8786EA41-B36C-DC50-4EEC-D6EAFC3FE49D}"/>
              </a:ext>
            </a:extLst>
          </p:cNvPr>
          <p:cNvSpPr>
            <a:spLocks noGrp="1"/>
          </p:cNvSpPr>
          <p:nvPr>
            <p:custDataLst>
              <p:tags r:id="rId83"/>
            </p:custDataLst>
          </p:nvPr>
        </p:nvSpPr>
        <p:spPr bwMode="auto">
          <a:xfrm>
            <a:off x="661988" y="6237288"/>
            <a:ext cx="471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52959C51-6349-4ED5-9FB3-E2AF34762525}" type="datetime'''''S''o''''''l''''ar'''' PV'''''''''''''''''''''">
              <a:rPr lang="en-GB" altLang="en-US" sz="1000" smtClean="0">
                <a:solidFill>
                  <a:srgbClr val="3C3C3B"/>
                </a:solidFill>
                <a:ea typeface="+mn-ea"/>
                <a:cs typeface="+mn-cs"/>
              </a:rPr>
              <a:pPr lvl="0">
                <a:spcBef>
                  <a:spcPct val="0"/>
                </a:spcBef>
                <a:spcAft>
                  <a:spcPct val="0"/>
                </a:spcAft>
                <a:defRPr/>
              </a:pPr>
              <a:t>Solar PV</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466" name="Text Placeholder 19">
            <a:extLst>
              <a:ext uri="{FF2B5EF4-FFF2-40B4-BE49-F238E27FC236}">
                <a16:creationId xmlns:a16="http://schemas.microsoft.com/office/drawing/2014/main" id="{AD3BD755-D9BD-6BA4-6329-68CA3C19486B}"/>
              </a:ext>
            </a:extLst>
          </p:cNvPr>
          <p:cNvSpPr>
            <a:spLocks noGrp="1"/>
          </p:cNvSpPr>
          <p:nvPr>
            <p:custDataLst>
              <p:tags r:id="rId84"/>
            </p:custDataLst>
          </p:nvPr>
        </p:nvSpPr>
        <p:spPr bwMode="auto">
          <a:xfrm>
            <a:off x="1465263" y="6237288"/>
            <a:ext cx="777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84219EFA-23FC-4C2D-BA93-D8611553AA0C}" type="datetime'O''nsho''''''r''''''''''''''''''''''e ''''''w''i''n''d'''''''">
              <a:rPr lang="en-GB" altLang="en-US" sz="1000" smtClean="0">
                <a:solidFill>
                  <a:srgbClr val="3C3C3B"/>
                </a:solidFill>
                <a:ea typeface="+mn-ea"/>
                <a:cs typeface="+mn-cs"/>
              </a:rPr>
              <a:pPr lvl="0">
                <a:spcBef>
                  <a:spcPct val="0"/>
                </a:spcBef>
                <a:spcAft>
                  <a:spcPct val="0"/>
                </a:spcAft>
                <a:defRPr/>
              </a:pPr>
              <a:t>Onshore wind</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467" name="Text Placeholder 19">
            <a:extLst>
              <a:ext uri="{FF2B5EF4-FFF2-40B4-BE49-F238E27FC236}">
                <a16:creationId xmlns:a16="http://schemas.microsoft.com/office/drawing/2014/main" id="{FFC8F1B2-79B5-8A35-D36A-FDCDEA81F5BF}"/>
              </a:ext>
            </a:extLst>
          </p:cNvPr>
          <p:cNvSpPr>
            <a:spLocks noGrp="1"/>
          </p:cNvSpPr>
          <p:nvPr>
            <p:custDataLst>
              <p:tags r:id="rId85"/>
            </p:custDataLst>
          </p:nvPr>
        </p:nvSpPr>
        <p:spPr bwMode="auto">
          <a:xfrm>
            <a:off x="2574925" y="6237288"/>
            <a:ext cx="793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313DC132-C4E6-43C6-97CF-CC5366D73105}" type="datetime'Of''''''''''fs''''ho''''r''e'' ''''''''''w''''''i''n''''d'''''">
              <a:rPr lang="en-GB" altLang="en-US" sz="1000" smtClean="0">
                <a:solidFill>
                  <a:srgbClr val="3C3C3B"/>
                </a:solidFill>
                <a:ea typeface="+mn-ea"/>
                <a:cs typeface="+mn-cs"/>
              </a:rPr>
              <a:pPr lvl="0">
                <a:spcBef>
                  <a:spcPct val="0"/>
                </a:spcBef>
                <a:spcAft>
                  <a:spcPct val="0"/>
                </a:spcAft>
                <a:defRPr/>
              </a:pPr>
              <a:t>Offshore wind</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sp>
        <p:nvSpPr>
          <p:cNvPr id="472" name="Text Placeholder 19">
            <a:extLst>
              <a:ext uri="{FF2B5EF4-FFF2-40B4-BE49-F238E27FC236}">
                <a16:creationId xmlns:a16="http://schemas.microsoft.com/office/drawing/2014/main" id="{35ABFF36-724A-FB06-56C2-F67B158B07E8}"/>
              </a:ext>
            </a:extLst>
          </p:cNvPr>
          <p:cNvSpPr>
            <a:spLocks noGrp="1"/>
          </p:cNvSpPr>
          <p:nvPr>
            <p:custDataLst>
              <p:tags r:id="rId86"/>
            </p:custDataLst>
          </p:nvPr>
        </p:nvSpPr>
        <p:spPr bwMode="auto">
          <a:xfrm>
            <a:off x="3700463" y="6237288"/>
            <a:ext cx="336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03DDBB3C-7806-43C7-9F4C-EBBA94AFC478}" type="datetime'''''''O''''''t''''''''''''''''''''h''e''''r'''''''">
              <a:rPr lang="en-GB" altLang="en-US" sz="1000" smtClean="0">
                <a:solidFill>
                  <a:srgbClr val="3C3C3B"/>
                </a:solidFill>
                <a:ea typeface="+mn-ea"/>
                <a:cs typeface="+mn-cs"/>
              </a:rPr>
              <a:pPr lvl="0">
                <a:spcBef>
                  <a:spcPct val="0"/>
                </a:spcBef>
                <a:spcAft>
                  <a:spcPct val="0"/>
                </a:spcAft>
                <a:defRPr/>
              </a:pPr>
              <a:t>Other</a:t>
            </a:fld>
            <a:endParaRPr kumimoji="0" lang="en-GB" sz="1000" b="0" i="0" strike="noStrike" kern="1200" cap="none" spc="0" normalizeH="0" baseline="0" noProof="0">
              <a:ln>
                <a:noFill/>
              </a:ln>
              <a:solidFill>
                <a:srgbClr val="3C3C3B"/>
              </a:solidFill>
              <a:effectLst/>
              <a:uLnTx/>
              <a:uFillTx/>
              <a:ea typeface="+mn-ea"/>
              <a:cs typeface="+mn-cs"/>
              <a:sym typeface="Lato" panose="020F0502020204030203" pitchFamily="34" charset="0"/>
            </a:endParaRPr>
          </a:p>
        </p:txBody>
      </p:sp>
      <p:graphicFrame>
        <p:nvGraphicFramePr>
          <p:cNvPr id="7" name="Chart 6">
            <a:extLst>
              <a:ext uri="{FF2B5EF4-FFF2-40B4-BE49-F238E27FC236}">
                <a16:creationId xmlns:a16="http://schemas.microsoft.com/office/drawing/2014/main" id="{91286155-E8A8-41D7-F1EA-CA73A141BB23}"/>
              </a:ext>
            </a:extLst>
          </p:cNvPr>
          <p:cNvGraphicFramePr/>
          <p:nvPr>
            <p:custDataLst>
              <p:tags r:id="rId87"/>
            </p:custDataLst>
            <p:extLst>
              <p:ext uri="{D42A27DB-BD31-4B8C-83A1-F6EECF244321}">
                <p14:modId xmlns:p14="http://schemas.microsoft.com/office/powerpoint/2010/main" val="1310858145"/>
              </p:ext>
            </p:extLst>
          </p:nvPr>
        </p:nvGraphicFramePr>
        <p:xfrm>
          <a:off x="900113" y="2170113"/>
          <a:ext cx="725487" cy="3622675"/>
        </p:xfrm>
        <a:graphic>
          <a:graphicData uri="http://schemas.openxmlformats.org/drawingml/2006/chart">
            <c:chart xmlns:c="http://schemas.openxmlformats.org/drawingml/2006/chart" xmlns:r="http://schemas.openxmlformats.org/officeDocument/2006/relationships" r:id="rId97"/>
          </a:graphicData>
        </a:graphic>
      </p:graphicFrame>
      <p:sp>
        <p:nvSpPr>
          <p:cNvPr id="603" name="Rectangle 602">
            <a:extLst>
              <a:ext uri="{FF2B5EF4-FFF2-40B4-BE49-F238E27FC236}">
                <a16:creationId xmlns:a16="http://schemas.microsoft.com/office/drawing/2014/main" id="{C9D927AD-AE32-CCB5-AA15-8C3C4A7E3DE6}"/>
              </a:ext>
            </a:extLst>
          </p:cNvPr>
          <p:cNvSpPr/>
          <p:nvPr>
            <p:custDataLst>
              <p:tags r:id="rId88"/>
            </p:custDataLst>
          </p:nvPr>
        </p:nvSpPr>
        <p:spPr bwMode="auto">
          <a:xfrm>
            <a:off x="1106488" y="3074988"/>
            <a:ext cx="312737" cy="1060450"/>
          </a:xfrm>
          <a:prstGeom prst="rect">
            <a:avLst/>
          </a:prstGeom>
          <a:noFill/>
          <a:ln w="95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76" name="Text Placeholder 19">
            <a:extLst>
              <a:ext uri="{FF2B5EF4-FFF2-40B4-BE49-F238E27FC236}">
                <a16:creationId xmlns:a16="http://schemas.microsoft.com/office/drawing/2014/main" id="{AA83BC90-ECC3-3BE7-0403-2E19E38975DB}"/>
              </a:ext>
            </a:extLst>
          </p:cNvPr>
          <p:cNvSpPr>
            <a:spLocks noGrp="1"/>
          </p:cNvSpPr>
          <p:nvPr>
            <p:custDataLst>
              <p:tags r:id="rId89"/>
            </p:custDataLst>
          </p:nvPr>
        </p:nvSpPr>
        <p:spPr bwMode="auto">
          <a:xfrm>
            <a:off x="1155700" y="576103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defRPr/>
            </a:pPr>
            <a:fld id="{89527F02-903C-435C-941D-56F36512BAB2}" type="datetime'''''EU'''''''''''''''''''''''''''''''''''''">
              <a:rPr lang="en-GB" altLang="en-US" smtClean="0">
                <a:solidFill>
                  <a:srgbClr val="3C3C3B"/>
                </a:solidFill>
              </a:rPr>
              <a:pPr lvl="0" algn="ctr">
                <a:spcBef>
                  <a:spcPct val="0"/>
                </a:spcBef>
                <a:spcAft>
                  <a:spcPct val="0"/>
                </a:spcAft>
                <a:defRPr/>
              </a:pPr>
              <a:t>EU</a:t>
            </a:fld>
            <a:endParaRPr kumimoji="0" lang="en-GB" sz="1200" b="0" i="0" u="none" strike="noStrike" kern="1200" cap="none" spc="0" normalizeH="0" baseline="30000" noProof="0">
              <a:ln>
                <a:noFill/>
              </a:ln>
              <a:solidFill>
                <a:srgbClr val="3C3C3B"/>
              </a:solidFill>
              <a:effectLst/>
              <a:uLnTx/>
              <a:uFillTx/>
              <a:latin typeface="Lato"/>
              <a:sym typeface="Lato" panose="020F0502020204030203" pitchFamily="34" charset="0"/>
            </a:endParaRPr>
          </a:p>
        </p:txBody>
      </p:sp>
      <p:sp>
        <p:nvSpPr>
          <p:cNvPr id="470" name="Flowchart: Terminator 469">
            <a:extLst>
              <a:ext uri="{FF2B5EF4-FFF2-40B4-BE49-F238E27FC236}">
                <a16:creationId xmlns:a16="http://schemas.microsoft.com/office/drawing/2014/main" id="{A0FC282C-0970-E6D4-712A-0865A116B011}"/>
              </a:ext>
            </a:extLst>
          </p:cNvPr>
          <p:cNvSpPr/>
          <p:nvPr/>
        </p:nvSpPr>
        <p:spPr>
          <a:xfrm>
            <a:off x="5789613" y="5966713"/>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71" name="Flowchart: Terminator 470">
            <a:extLst>
              <a:ext uri="{FF2B5EF4-FFF2-40B4-BE49-F238E27FC236}">
                <a16:creationId xmlns:a16="http://schemas.microsoft.com/office/drawing/2014/main" id="{54FFED71-9F52-97E3-A5AF-724F00B62C08}"/>
              </a:ext>
            </a:extLst>
          </p:cNvPr>
          <p:cNvSpPr/>
          <p:nvPr/>
        </p:nvSpPr>
        <p:spPr>
          <a:xfrm>
            <a:off x="4601361"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73" name="Flowchart: Terminator 472">
            <a:extLst>
              <a:ext uri="{FF2B5EF4-FFF2-40B4-BE49-F238E27FC236}">
                <a16:creationId xmlns:a16="http://schemas.microsoft.com/office/drawing/2014/main" id="{1A221E6F-4794-30DA-94DF-1D5CDA771CBF}"/>
              </a:ext>
            </a:extLst>
          </p:cNvPr>
          <p:cNvSpPr/>
          <p:nvPr/>
        </p:nvSpPr>
        <p:spPr>
          <a:xfrm>
            <a:off x="5003763"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75" name="Flowchart: Terminator 474">
            <a:extLst>
              <a:ext uri="{FF2B5EF4-FFF2-40B4-BE49-F238E27FC236}">
                <a16:creationId xmlns:a16="http://schemas.microsoft.com/office/drawing/2014/main" id="{C946724B-61A8-DD50-856A-CAD8A0354A3E}"/>
              </a:ext>
            </a:extLst>
          </p:cNvPr>
          <p:cNvSpPr/>
          <p:nvPr/>
        </p:nvSpPr>
        <p:spPr>
          <a:xfrm>
            <a:off x="5396322"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77" name="Flowchart: Terminator 476">
            <a:extLst>
              <a:ext uri="{FF2B5EF4-FFF2-40B4-BE49-F238E27FC236}">
                <a16:creationId xmlns:a16="http://schemas.microsoft.com/office/drawing/2014/main" id="{50524184-41B7-CC50-C474-DBAA2054A5EF}"/>
              </a:ext>
            </a:extLst>
          </p:cNvPr>
          <p:cNvSpPr/>
          <p:nvPr/>
        </p:nvSpPr>
        <p:spPr>
          <a:xfrm>
            <a:off x="4191294"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sp>
        <p:nvSpPr>
          <p:cNvPr id="478" name="Flowchart: Terminator 477">
            <a:extLst>
              <a:ext uri="{FF2B5EF4-FFF2-40B4-BE49-F238E27FC236}">
                <a16:creationId xmlns:a16="http://schemas.microsoft.com/office/drawing/2014/main" id="{C8CFC813-6AE1-10B4-4BB5-D0715D04F747}"/>
              </a:ext>
            </a:extLst>
          </p:cNvPr>
          <p:cNvSpPr/>
          <p:nvPr/>
        </p:nvSpPr>
        <p:spPr>
          <a:xfrm>
            <a:off x="7787541" y="5966713"/>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79" name="Flowchart: Terminator 478">
            <a:extLst>
              <a:ext uri="{FF2B5EF4-FFF2-40B4-BE49-F238E27FC236}">
                <a16:creationId xmlns:a16="http://schemas.microsoft.com/office/drawing/2014/main" id="{C1E0D95C-CCE2-1221-5E32-928132EDCA05}"/>
              </a:ext>
            </a:extLst>
          </p:cNvPr>
          <p:cNvSpPr/>
          <p:nvPr/>
        </p:nvSpPr>
        <p:spPr>
          <a:xfrm>
            <a:off x="6599289"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83" name="Flowchart: Terminator 482">
            <a:extLst>
              <a:ext uri="{FF2B5EF4-FFF2-40B4-BE49-F238E27FC236}">
                <a16:creationId xmlns:a16="http://schemas.microsoft.com/office/drawing/2014/main" id="{126264C1-8613-AEF0-4F55-95A35D615993}"/>
              </a:ext>
            </a:extLst>
          </p:cNvPr>
          <p:cNvSpPr/>
          <p:nvPr/>
        </p:nvSpPr>
        <p:spPr>
          <a:xfrm>
            <a:off x="7001691"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84" name="Flowchart: Terminator 483">
            <a:extLst>
              <a:ext uri="{FF2B5EF4-FFF2-40B4-BE49-F238E27FC236}">
                <a16:creationId xmlns:a16="http://schemas.microsoft.com/office/drawing/2014/main" id="{CB39E495-DD37-FC2C-EF17-AEE893015E94}"/>
              </a:ext>
            </a:extLst>
          </p:cNvPr>
          <p:cNvSpPr/>
          <p:nvPr/>
        </p:nvSpPr>
        <p:spPr>
          <a:xfrm>
            <a:off x="7394250"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85" name="Flowchart: Terminator 484">
            <a:extLst>
              <a:ext uri="{FF2B5EF4-FFF2-40B4-BE49-F238E27FC236}">
                <a16:creationId xmlns:a16="http://schemas.microsoft.com/office/drawing/2014/main" id="{4009226D-D1F9-E414-2A04-9AAF002B3FFF}"/>
              </a:ext>
            </a:extLst>
          </p:cNvPr>
          <p:cNvSpPr/>
          <p:nvPr/>
        </p:nvSpPr>
        <p:spPr>
          <a:xfrm>
            <a:off x="6189222"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sp>
        <p:nvSpPr>
          <p:cNvPr id="486" name="Flowchart: Terminator 485">
            <a:extLst>
              <a:ext uri="{FF2B5EF4-FFF2-40B4-BE49-F238E27FC236}">
                <a16:creationId xmlns:a16="http://schemas.microsoft.com/office/drawing/2014/main" id="{62CC2728-454F-A413-932F-DD24A41EA4B1}"/>
              </a:ext>
            </a:extLst>
          </p:cNvPr>
          <p:cNvSpPr/>
          <p:nvPr/>
        </p:nvSpPr>
        <p:spPr>
          <a:xfrm>
            <a:off x="8590899" y="5966713"/>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87" name="Flowchart: Terminator 486">
            <a:extLst>
              <a:ext uri="{FF2B5EF4-FFF2-40B4-BE49-F238E27FC236}">
                <a16:creationId xmlns:a16="http://schemas.microsoft.com/office/drawing/2014/main" id="{42084E81-45C1-2F43-C073-93F8C5F8D829}"/>
              </a:ext>
            </a:extLst>
          </p:cNvPr>
          <p:cNvSpPr/>
          <p:nvPr/>
        </p:nvSpPr>
        <p:spPr>
          <a:xfrm>
            <a:off x="8197608"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88" name="Flowchart: Terminator 487">
            <a:extLst>
              <a:ext uri="{FF2B5EF4-FFF2-40B4-BE49-F238E27FC236}">
                <a16:creationId xmlns:a16="http://schemas.microsoft.com/office/drawing/2014/main" id="{D979F086-1016-9434-1806-B9CB3D7FE35C}"/>
              </a:ext>
            </a:extLst>
          </p:cNvPr>
          <p:cNvSpPr/>
          <p:nvPr/>
        </p:nvSpPr>
        <p:spPr>
          <a:xfrm>
            <a:off x="10588827" y="5966713"/>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89" name="Flowchart: Terminator 488">
            <a:extLst>
              <a:ext uri="{FF2B5EF4-FFF2-40B4-BE49-F238E27FC236}">
                <a16:creationId xmlns:a16="http://schemas.microsoft.com/office/drawing/2014/main" id="{1CB00701-4DFB-8218-B079-6687729DC657}"/>
              </a:ext>
            </a:extLst>
          </p:cNvPr>
          <p:cNvSpPr/>
          <p:nvPr/>
        </p:nvSpPr>
        <p:spPr>
          <a:xfrm>
            <a:off x="9400575"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90" name="Flowchart: Terminator 489">
            <a:extLst>
              <a:ext uri="{FF2B5EF4-FFF2-40B4-BE49-F238E27FC236}">
                <a16:creationId xmlns:a16="http://schemas.microsoft.com/office/drawing/2014/main" id="{C2FA8A0B-2B5F-92C0-8C40-FD3E7F5E7998}"/>
              </a:ext>
            </a:extLst>
          </p:cNvPr>
          <p:cNvSpPr/>
          <p:nvPr/>
        </p:nvSpPr>
        <p:spPr>
          <a:xfrm>
            <a:off x="9802977"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91" name="Flowchart: Terminator 490">
            <a:extLst>
              <a:ext uri="{FF2B5EF4-FFF2-40B4-BE49-F238E27FC236}">
                <a16:creationId xmlns:a16="http://schemas.microsoft.com/office/drawing/2014/main" id="{065B90D1-208B-6241-570F-EBAB84DCA880}"/>
              </a:ext>
            </a:extLst>
          </p:cNvPr>
          <p:cNvSpPr/>
          <p:nvPr/>
        </p:nvSpPr>
        <p:spPr>
          <a:xfrm>
            <a:off x="10195536"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92" name="Flowchart: Terminator 491">
            <a:extLst>
              <a:ext uri="{FF2B5EF4-FFF2-40B4-BE49-F238E27FC236}">
                <a16:creationId xmlns:a16="http://schemas.microsoft.com/office/drawing/2014/main" id="{D85D8D50-62D3-3038-7FBC-CF10DF72ADCD}"/>
              </a:ext>
            </a:extLst>
          </p:cNvPr>
          <p:cNvSpPr/>
          <p:nvPr/>
        </p:nvSpPr>
        <p:spPr>
          <a:xfrm>
            <a:off x="8990508"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sp>
        <p:nvSpPr>
          <p:cNvPr id="493" name="Flowchart: Terminator 492">
            <a:extLst>
              <a:ext uri="{FF2B5EF4-FFF2-40B4-BE49-F238E27FC236}">
                <a16:creationId xmlns:a16="http://schemas.microsoft.com/office/drawing/2014/main" id="{442B9921-5D03-C6B4-11FB-F08CD6137B13}"/>
              </a:ext>
            </a:extLst>
          </p:cNvPr>
          <p:cNvSpPr/>
          <p:nvPr/>
        </p:nvSpPr>
        <p:spPr>
          <a:xfrm>
            <a:off x="11422802" y="5966713"/>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494" name="Flowchart: Terminator 493">
            <a:extLst>
              <a:ext uri="{FF2B5EF4-FFF2-40B4-BE49-F238E27FC236}">
                <a16:creationId xmlns:a16="http://schemas.microsoft.com/office/drawing/2014/main" id="{54CAEEAB-1712-60D2-D4FF-F0B40E82322E}"/>
              </a:ext>
            </a:extLst>
          </p:cNvPr>
          <p:cNvSpPr/>
          <p:nvPr/>
        </p:nvSpPr>
        <p:spPr>
          <a:xfrm>
            <a:off x="11029511" y="5965032"/>
            <a:ext cx="356717" cy="182562"/>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200">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Tree>
    <p:extLst>
      <p:ext uri="{BB962C8B-B14F-4D97-AF65-F5344CB8AC3E}">
        <p14:creationId xmlns:p14="http://schemas.microsoft.com/office/powerpoint/2010/main" val="2422862726"/>
      </p:ext>
    </p:extLst>
  </p:cSld>
  <p:clrMapOvr>
    <a:masterClrMapping/>
  </p:clrMapOvr>
  <p:extLst>
    <p:ext uri="{6950BFC3-D8DA-4A85-94F7-54DA5524770B}">
      <p188:commentRel xmlns:p188="http://schemas.microsoft.com/office/powerpoint/2018/8/main" r:id="rId92"/>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A6F1089B-8E76-4334-9EAF-98E148467824}"/>
              </a:ext>
            </a:extLst>
          </p:cNvPr>
          <p:cNvGraphicFramePr>
            <a:graphicFrameLocks noChangeAspect="1"/>
          </p:cNvGraphicFramePr>
          <p:nvPr>
            <p:custDataLst>
              <p:tags r:id="rId1"/>
            </p:custDataLst>
            <p:extLst>
              <p:ext uri="{D42A27DB-BD31-4B8C-83A1-F6EECF244321}">
                <p14:modId xmlns:p14="http://schemas.microsoft.com/office/powerpoint/2010/main" val="405330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3" name="Object 22" hidden="1">
                        <a:extLst>
                          <a:ext uri="{FF2B5EF4-FFF2-40B4-BE49-F238E27FC236}">
                            <a16:creationId xmlns:a16="http://schemas.microsoft.com/office/drawing/2014/main" id="{A6F1089B-8E76-4334-9EAF-98E1484678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7F0F7063-F0FC-4695-AC73-0DDC66625EBA}"/>
              </a:ext>
            </a:extLst>
          </p:cNvPr>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600"/>
              </a:spcBef>
              <a:spcAft>
                <a:spcPts val="0"/>
              </a:spcAft>
              <a:buClrTx/>
              <a:buSzTx/>
              <a:buFontTx/>
              <a:buNone/>
              <a:tabLst/>
              <a:defRPr/>
            </a:pPr>
            <a:endParaRPr kumimoji="0" lang="en-GB" sz="2200" b="1"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endParaRPr>
          </a:p>
        </p:txBody>
      </p:sp>
      <p:sp>
        <p:nvSpPr>
          <p:cNvPr id="2" name="Rectangle 1" hidden="1">
            <a:extLst>
              <a:ext uri="{FF2B5EF4-FFF2-40B4-BE49-F238E27FC236}">
                <a16:creationId xmlns:a16="http://schemas.microsoft.com/office/drawing/2014/main" id="{3A14936E-E32E-4623-BBCC-A960472C1CD1}"/>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600"/>
              </a:spcBef>
              <a:spcAft>
                <a:spcPts val="0"/>
              </a:spcAft>
              <a:buClrTx/>
              <a:buSzTx/>
              <a:buFontTx/>
              <a:buNone/>
              <a:tabLst/>
              <a:defRPr/>
            </a:pPr>
            <a:endParaRPr kumimoji="0" lang="en-GB" sz="2200" b="1"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endParaRPr>
          </a:p>
        </p:txBody>
      </p:sp>
      <p:sp>
        <p:nvSpPr>
          <p:cNvPr id="3" name="Text Placeholder 2">
            <a:extLst>
              <a:ext uri="{FF2B5EF4-FFF2-40B4-BE49-F238E27FC236}">
                <a16:creationId xmlns:a16="http://schemas.microsoft.com/office/drawing/2014/main" id="{2A09198A-83F0-4441-8C0D-8000DFF5E07F}"/>
              </a:ext>
            </a:extLst>
          </p:cNvPr>
          <p:cNvSpPr>
            <a:spLocks noGrp="1"/>
          </p:cNvSpPr>
          <p:nvPr>
            <p:ph type="body" sz="quarter" idx="22"/>
          </p:nvPr>
        </p:nvSpPr>
        <p:spPr>
          <a:xfrm>
            <a:off x="381001" y="6715169"/>
            <a:ext cx="2555187" cy="110800"/>
          </a:xfrm>
        </p:spPr>
        <p:txBody>
          <a:bodyPr/>
          <a:lstStyle/>
          <a:p>
            <a:r>
              <a:rPr lang="en-GB"/>
              <a:t>Sources: Aurora Energy Research, European Commission</a:t>
            </a:r>
          </a:p>
        </p:txBody>
      </p:sp>
      <p:sp>
        <p:nvSpPr>
          <p:cNvPr id="21" name="Title 20">
            <a:extLst>
              <a:ext uri="{FF2B5EF4-FFF2-40B4-BE49-F238E27FC236}">
                <a16:creationId xmlns:a16="http://schemas.microsoft.com/office/drawing/2014/main" id="{CCC21708-6972-4813-AA9B-6EEC902ACD90}"/>
              </a:ext>
            </a:extLst>
          </p:cNvPr>
          <p:cNvSpPr>
            <a:spLocks noGrp="1"/>
          </p:cNvSpPr>
          <p:nvPr>
            <p:ph type="title"/>
          </p:nvPr>
        </p:nvSpPr>
        <p:spPr/>
        <p:txBody>
          <a:bodyPr vert="horz"/>
          <a:lstStyle/>
          <a:p>
            <a:r>
              <a:rPr lang="en-GB"/>
              <a:t>Policy support for battery storage at the EU level is not yet mature, and recent developments focus more on the upstream value chain</a:t>
            </a:r>
            <a:endParaRPr lang="en-GB">
              <a:solidFill>
                <a:schemeClr val="tx1"/>
              </a:solidFill>
            </a:endParaRPr>
          </a:p>
        </p:txBody>
      </p:sp>
      <p:sp>
        <p:nvSpPr>
          <p:cNvPr id="22" name="Text Placeholder 21">
            <a:extLst>
              <a:ext uri="{FF2B5EF4-FFF2-40B4-BE49-F238E27FC236}">
                <a16:creationId xmlns:a16="http://schemas.microsoft.com/office/drawing/2014/main" id="{7366CBAF-D2B3-4848-A96F-B0453A15372E}"/>
              </a:ext>
            </a:extLst>
          </p:cNvPr>
          <p:cNvSpPr>
            <a:spLocks noGrp="1"/>
          </p:cNvSpPr>
          <p:nvPr>
            <p:ph type="body" sz="quarter" idx="32"/>
          </p:nvPr>
        </p:nvSpPr>
        <p:spPr/>
        <p:txBody>
          <a:bodyPr/>
          <a:lstStyle/>
          <a:p>
            <a:r>
              <a:rPr lang="en-GB"/>
              <a:t>1) EU Battery Regulation Amendment (Sustainable Batteries Regulation).  2) </a:t>
            </a:r>
            <a:r>
              <a:rPr lang="en-GB" u="sng">
                <a:hlinkClick r:id="rId8"/>
              </a:rPr>
              <a:t>Recommendations on energy storage.</a:t>
            </a:r>
            <a:endParaRPr lang="en-GB" u="sng">
              <a:highlight>
                <a:srgbClr val="FFFF00"/>
              </a:highlight>
            </a:endParaRPr>
          </a:p>
        </p:txBody>
      </p:sp>
      <p:sp>
        <p:nvSpPr>
          <p:cNvPr id="6" name="Text Placeholder 5">
            <a:extLst>
              <a:ext uri="{FF2B5EF4-FFF2-40B4-BE49-F238E27FC236}">
                <a16:creationId xmlns:a16="http://schemas.microsoft.com/office/drawing/2014/main" id="{9E1A2D4B-A91A-DDB8-51BC-B41314DB6924}"/>
              </a:ext>
            </a:extLst>
          </p:cNvPr>
          <p:cNvSpPr>
            <a:spLocks noGrp="1"/>
          </p:cNvSpPr>
          <p:nvPr>
            <p:ph type="body" sz="quarter" idx="43"/>
          </p:nvPr>
        </p:nvSpPr>
        <p:spPr>
          <a:xfrm>
            <a:off x="381599" y="79401"/>
            <a:ext cx="5949064" cy="184666"/>
          </a:xfrm>
        </p:spPr>
        <p:txBody>
          <a:bodyPr/>
          <a:lstStyle/>
          <a:p>
            <a:pPr marL="444500" indent="-444500"/>
            <a:r>
              <a:rPr lang="en-GB"/>
              <a:t>	Policy and regulatory environment - </a:t>
            </a:r>
            <a:r>
              <a:rPr lang="en-GB" sz="1200"/>
              <a:t>Battery storage policies, targets and subsidies </a:t>
            </a:r>
          </a:p>
        </p:txBody>
      </p:sp>
      <p:sp>
        <p:nvSpPr>
          <p:cNvPr id="74" name="Right Arrow 37">
            <a:extLst>
              <a:ext uri="{FF2B5EF4-FFF2-40B4-BE49-F238E27FC236}">
                <a16:creationId xmlns:a16="http://schemas.microsoft.com/office/drawing/2014/main" id="{BAD6B4C8-6A5D-30A1-E080-73A71296A45A}"/>
              </a:ext>
            </a:extLst>
          </p:cNvPr>
          <p:cNvSpPr>
            <a:spLocks/>
          </p:cNvSpPr>
          <p:nvPr/>
        </p:nvSpPr>
        <p:spPr>
          <a:xfrm>
            <a:off x="381001" y="1438315"/>
            <a:ext cx="11429398" cy="467853"/>
          </a:xfrm>
          <a:prstGeom prst="rightArrow">
            <a:avLst/>
          </a:prstGeom>
          <a:solidFill>
            <a:schemeClr val="accent6"/>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200" b="0"/>
          </a:p>
        </p:txBody>
      </p:sp>
      <p:grpSp>
        <p:nvGrpSpPr>
          <p:cNvPr id="26" name="Group 25">
            <a:extLst>
              <a:ext uri="{FF2B5EF4-FFF2-40B4-BE49-F238E27FC236}">
                <a16:creationId xmlns:a16="http://schemas.microsoft.com/office/drawing/2014/main" id="{3C9BEFB3-F7F9-4F52-8EDD-252973B2446D}"/>
              </a:ext>
            </a:extLst>
          </p:cNvPr>
          <p:cNvGrpSpPr/>
          <p:nvPr/>
        </p:nvGrpSpPr>
        <p:grpSpPr>
          <a:xfrm>
            <a:off x="419198" y="1403189"/>
            <a:ext cx="1751230" cy="4844146"/>
            <a:chOff x="2037016" y="1386533"/>
            <a:chExt cx="1751230" cy="4844146"/>
          </a:xfrm>
        </p:grpSpPr>
        <p:sp>
          <p:nvSpPr>
            <p:cNvPr id="114" name="Rectangle 113">
              <a:extLst>
                <a:ext uri="{FF2B5EF4-FFF2-40B4-BE49-F238E27FC236}">
                  <a16:creationId xmlns:a16="http://schemas.microsoft.com/office/drawing/2014/main" id="{0CAAF05A-A1D5-4328-A936-499CD3616803}"/>
                </a:ext>
              </a:extLst>
            </p:cNvPr>
            <p:cNvSpPr/>
            <p:nvPr/>
          </p:nvSpPr>
          <p:spPr>
            <a:xfrm>
              <a:off x="2037016" y="2519167"/>
              <a:ext cx="1751230" cy="3711512"/>
            </a:xfrm>
            <a:prstGeom prst="rect">
              <a:avLst/>
            </a:prstGeom>
            <a:noFill/>
            <a:ln w="190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880" indent="-182880" defTabSz="330200">
                <a:lnSpc>
                  <a:spcPct val="90000"/>
                </a:lnSpc>
                <a:spcAft>
                  <a:spcPts val="300"/>
                </a:spcAft>
                <a:buSzPct val="100000"/>
                <a:buFont typeface="Wingdings" panose="05000000000000000000" pitchFamily="2" charset="2"/>
                <a:buChar char="§"/>
              </a:pPr>
              <a:r>
                <a:rPr lang="en-GB" sz="1200" b="1"/>
                <a:t>TERRE</a:t>
              </a:r>
              <a:r>
                <a:rPr lang="en-GB" sz="1200"/>
                <a:t> project approved by ENTSO-E as an Implementation Project and to become the European platform for the exchange of balancing energy from replacement reserves</a:t>
              </a:r>
            </a:p>
            <a:p>
              <a:pPr marL="182880" indent="-182880" defTabSz="330200">
                <a:lnSpc>
                  <a:spcPct val="90000"/>
                </a:lnSpc>
                <a:spcAft>
                  <a:spcPts val="300"/>
                </a:spcAft>
                <a:buSzPct val="100000"/>
                <a:buFont typeface="Wingdings" panose="05000000000000000000" pitchFamily="2" charset="2"/>
                <a:buChar char="§"/>
              </a:pPr>
              <a:r>
                <a:rPr lang="en-GB" sz="1200"/>
                <a:t>International Grid Control Cooperation (IGCC) chosen by ENTSO-E as the implementation project to become the European Platform for the imbalance netting process</a:t>
              </a:r>
            </a:p>
            <a:p>
              <a:pPr marL="171450" indent="-171450" defTabSz="330200">
                <a:lnSpc>
                  <a:spcPct val="90000"/>
                </a:lnSpc>
                <a:spcAft>
                  <a:spcPts val="300"/>
                </a:spcAft>
                <a:buSzPct val="100000"/>
                <a:buFont typeface="Wingdings" panose="05000000000000000000" pitchFamily="2" charset="2"/>
                <a:buChar char="§"/>
              </a:pPr>
              <a:endParaRPr lang="en-GB" sz="1200">
                <a:solidFill>
                  <a:schemeClr val="tx1"/>
                </a:solidFill>
              </a:endParaRPr>
            </a:p>
          </p:txBody>
        </p:sp>
        <p:grpSp>
          <p:nvGrpSpPr>
            <p:cNvPr id="8" name="Group 7">
              <a:extLst>
                <a:ext uri="{FF2B5EF4-FFF2-40B4-BE49-F238E27FC236}">
                  <a16:creationId xmlns:a16="http://schemas.microsoft.com/office/drawing/2014/main" id="{2D04EAD0-8155-3D1C-A5BC-3AE2E0A5C999}"/>
                </a:ext>
              </a:extLst>
            </p:cNvPr>
            <p:cNvGrpSpPr/>
            <p:nvPr/>
          </p:nvGrpSpPr>
          <p:grpSpPr>
            <a:xfrm>
              <a:off x="2610818" y="1386533"/>
              <a:ext cx="536774" cy="1002352"/>
              <a:chOff x="3354904" y="1386533"/>
              <a:chExt cx="536774" cy="1002352"/>
            </a:xfrm>
          </p:grpSpPr>
          <p:sp>
            <p:nvSpPr>
              <p:cNvPr id="78" name="Oval 9">
                <a:extLst>
                  <a:ext uri="{FF2B5EF4-FFF2-40B4-BE49-F238E27FC236}">
                    <a16:creationId xmlns:a16="http://schemas.microsoft.com/office/drawing/2014/main" id="{0C31C936-CBEF-9647-CE93-79E336B3980D}"/>
                  </a:ext>
                </a:extLst>
              </p:cNvPr>
              <p:cNvSpPr/>
              <p:nvPr/>
            </p:nvSpPr>
            <p:spPr>
              <a:xfrm>
                <a:off x="3354904" y="1386533"/>
                <a:ext cx="536774" cy="536774"/>
              </a:xfrm>
              <a:prstGeom prst="ellipse">
                <a:avLst/>
              </a:prstGeom>
              <a:solidFill>
                <a:schemeClr val="accent1"/>
              </a:solidFill>
              <a:ln w="127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16</a:t>
                </a:r>
              </a:p>
            </p:txBody>
          </p:sp>
          <p:cxnSp>
            <p:nvCxnSpPr>
              <p:cNvPr id="79" name="Straight Connector 78">
                <a:extLst>
                  <a:ext uri="{FF2B5EF4-FFF2-40B4-BE49-F238E27FC236}">
                    <a16:creationId xmlns:a16="http://schemas.microsoft.com/office/drawing/2014/main" id="{8D2E7A11-ABDB-62EA-7399-8D5BC4AF3F66}"/>
                  </a:ext>
                </a:extLst>
              </p:cNvPr>
              <p:cNvCxnSpPr>
                <a:cxnSpLocks/>
              </p:cNvCxnSpPr>
              <p:nvPr/>
            </p:nvCxnSpPr>
            <p:spPr>
              <a:xfrm flipV="1">
                <a:off x="3618954" y="1923307"/>
                <a:ext cx="0" cy="465578"/>
              </a:xfrm>
              <a:prstGeom prst="line">
                <a:avLst/>
              </a:prstGeom>
              <a:solidFill>
                <a:schemeClr val="accent1"/>
              </a:solidFill>
              <a:ln w="19050">
                <a:solidFill>
                  <a:schemeClr val="accent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E63DD3F4-8A78-4F8C-A21A-4054972005FC}"/>
              </a:ext>
            </a:extLst>
          </p:cNvPr>
          <p:cNvGrpSpPr/>
          <p:nvPr/>
        </p:nvGrpSpPr>
        <p:grpSpPr>
          <a:xfrm>
            <a:off x="2278227" y="1403189"/>
            <a:ext cx="1563500" cy="4844146"/>
            <a:chOff x="4036327" y="1386533"/>
            <a:chExt cx="1563500" cy="4844146"/>
          </a:xfrm>
        </p:grpSpPr>
        <p:sp>
          <p:nvSpPr>
            <p:cNvPr id="124" name="Rectangle 123">
              <a:extLst>
                <a:ext uri="{FF2B5EF4-FFF2-40B4-BE49-F238E27FC236}">
                  <a16:creationId xmlns:a16="http://schemas.microsoft.com/office/drawing/2014/main" id="{522EB874-1529-452D-81D0-3D6801489637}"/>
                </a:ext>
              </a:extLst>
            </p:cNvPr>
            <p:cNvSpPr/>
            <p:nvPr/>
          </p:nvSpPr>
          <p:spPr>
            <a:xfrm>
              <a:off x="4036327" y="2519167"/>
              <a:ext cx="1563500" cy="3711512"/>
            </a:xfrm>
            <a:prstGeom prst="rect">
              <a:avLst/>
            </a:prstGeom>
            <a:noFill/>
            <a:ln w="190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330200">
                <a:lnSpc>
                  <a:spcPct val="90000"/>
                </a:lnSpc>
                <a:spcAft>
                  <a:spcPts val="300"/>
                </a:spcAft>
                <a:buSzPct val="100000"/>
              </a:pPr>
              <a:r>
                <a:rPr lang="en-GB" sz="1200" b="1"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uideline </a:t>
              </a:r>
              <a:r>
                <a:rPr lang="en-GB" sz="1200" b="1">
                  <a:solidFill>
                    <a:schemeClr val="tx1"/>
                  </a:solidFill>
                  <a:latin typeface="Lato" panose="020F0502020204030203" pitchFamily="34" charset="0"/>
                  <a:ea typeface="Lato" panose="020F0502020204030203" pitchFamily="34" charset="0"/>
                  <a:cs typeface="Lato" panose="020F0502020204030203" pitchFamily="34" charset="0"/>
                </a:rPr>
                <a:t>on Electricity Balancing (GL EB):</a:t>
              </a:r>
            </a:p>
            <a:p>
              <a:pPr marL="182880" indent="-182880" defTabSz="330200">
                <a:lnSpc>
                  <a:spcPct val="90000"/>
                </a:lnSpc>
                <a:spcAft>
                  <a:spcPts val="300"/>
                </a:spcAft>
                <a:buSzPct val="100000"/>
                <a:buFont typeface="Wingdings" panose="05000000000000000000" pitchFamily="2" charset="2"/>
                <a:buChar char="§"/>
              </a:pPr>
              <a:r>
                <a:rPr lang="en-GB" sz="1200">
                  <a:solidFill>
                    <a:schemeClr val="tx1"/>
                  </a:solidFill>
                </a:rPr>
                <a:t>Provided the introduction of platforms to enable the exchange of balancing energy from frequency restoration reserves and replacement reserves</a:t>
              </a:r>
            </a:p>
            <a:p>
              <a:pPr marL="182880" indent="-182880" defTabSz="330200">
                <a:lnSpc>
                  <a:spcPct val="90000"/>
                </a:lnSpc>
                <a:spcAft>
                  <a:spcPts val="300"/>
                </a:spcAft>
                <a:buSzPct val="100000"/>
                <a:buFont typeface="Wingdings" panose="05000000000000000000" pitchFamily="2" charset="2"/>
                <a:buChar char="§"/>
              </a:pPr>
              <a:r>
                <a:rPr lang="en-GB" sz="1200"/>
                <a:t>Memorandum of Understandings signed for </a:t>
              </a:r>
              <a:r>
                <a:rPr lang="en-GB" sz="1200">
                  <a:solidFill>
                    <a:schemeClr val="tx1"/>
                  </a:solidFill>
                </a:rPr>
                <a:t>PICASSO and MARI projects</a:t>
              </a:r>
            </a:p>
          </p:txBody>
        </p:sp>
        <p:grpSp>
          <p:nvGrpSpPr>
            <p:cNvPr id="10" name="Group 9">
              <a:extLst>
                <a:ext uri="{FF2B5EF4-FFF2-40B4-BE49-F238E27FC236}">
                  <a16:creationId xmlns:a16="http://schemas.microsoft.com/office/drawing/2014/main" id="{3BDB0B8E-B2E6-62A4-6856-AD3DD8A23C77}"/>
                </a:ext>
              </a:extLst>
            </p:cNvPr>
            <p:cNvGrpSpPr/>
            <p:nvPr/>
          </p:nvGrpSpPr>
          <p:grpSpPr>
            <a:xfrm>
              <a:off x="4516262" y="1386533"/>
              <a:ext cx="536774" cy="985213"/>
              <a:chOff x="5683324" y="1386533"/>
              <a:chExt cx="536774" cy="985213"/>
            </a:xfrm>
          </p:grpSpPr>
          <p:sp>
            <p:nvSpPr>
              <p:cNvPr id="80" name="Oval 9">
                <a:extLst>
                  <a:ext uri="{FF2B5EF4-FFF2-40B4-BE49-F238E27FC236}">
                    <a16:creationId xmlns:a16="http://schemas.microsoft.com/office/drawing/2014/main" id="{06C08262-897F-AC32-3E9B-F61DE7F070AE}"/>
                  </a:ext>
                </a:extLst>
              </p:cNvPr>
              <p:cNvSpPr/>
              <p:nvPr/>
            </p:nvSpPr>
            <p:spPr>
              <a:xfrm>
                <a:off x="5683324" y="1386533"/>
                <a:ext cx="536774" cy="536774"/>
              </a:xfrm>
              <a:prstGeom prst="ellipse">
                <a:avLst/>
              </a:prstGeom>
              <a:solidFill>
                <a:schemeClr val="accent1"/>
              </a:solidFill>
              <a:ln w="127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17</a:t>
                </a:r>
              </a:p>
            </p:txBody>
          </p:sp>
          <p:cxnSp>
            <p:nvCxnSpPr>
              <p:cNvPr id="81" name="Straight Connector 80">
                <a:extLst>
                  <a:ext uri="{FF2B5EF4-FFF2-40B4-BE49-F238E27FC236}">
                    <a16:creationId xmlns:a16="http://schemas.microsoft.com/office/drawing/2014/main" id="{900E14A0-5F95-A947-420A-444D922FCBC1}"/>
                  </a:ext>
                </a:extLst>
              </p:cNvPr>
              <p:cNvCxnSpPr>
                <a:cxnSpLocks/>
              </p:cNvCxnSpPr>
              <p:nvPr/>
            </p:nvCxnSpPr>
            <p:spPr>
              <a:xfrm flipV="1">
                <a:off x="5933197" y="1906168"/>
                <a:ext cx="0" cy="465578"/>
              </a:xfrm>
              <a:prstGeom prst="line">
                <a:avLst/>
              </a:prstGeom>
              <a:solidFill>
                <a:schemeClr val="accent1"/>
              </a:solidFill>
              <a:ln w="19050">
                <a:solidFill>
                  <a:schemeClr val="accent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grpSp>
      </p:grpSp>
      <p:grpSp>
        <p:nvGrpSpPr>
          <p:cNvPr id="30" name="Group 29">
            <a:extLst>
              <a:ext uri="{FF2B5EF4-FFF2-40B4-BE49-F238E27FC236}">
                <a16:creationId xmlns:a16="http://schemas.microsoft.com/office/drawing/2014/main" id="{79B60585-81B8-35FE-1F51-045C03E57870}"/>
              </a:ext>
            </a:extLst>
          </p:cNvPr>
          <p:cNvGrpSpPr/>
          <p:nvPr/>
        </p:nvGrpSpPr>
        <p:grpSpPr>
          <a:xfrm>
            <a:off x="3949526" y="1403189"/>
            <a:ext cx="1687452" cy="4844146"/>
            <a:chOff x="5604810" y="1386533"/>
            <a:chExt cx="1772225" cy="4844146"/>
          </a:xfrm>
        </p:grpSpPr>
        <p:sp>
          <p:nvSpPr>
            <p:cNvPr id="125" name="Rectangle 124">
              <a:extLst>
                <a:ext uri="{FF2B5EF4-FFF2-40B4-BE49-F238E27FC236}">
                  <a16:creationId xmlns:a16="http://schemas.microsoft.com/office/drawing/2014/main" id="{EF16B49C-486B-4821-8894-59D4466A6A22}"/>
                </a:ext>
              </a:extLst>
            </p:cNvPr>
            <p:cNvSpPr/>
            <p:nvPr/>
          </p:nvSpPr>
          <p:spPr>
            <a:xfrm>
              <a:off x="5604810" y="2519167"/>
              <a:ext cx="1772225" cy="3711512"/>
            </a:xfrm>
            <a:prstGeom prst="rect">
              <a:avLst/>
            </a:prstGeom>
            <a:noFill/>
            <a:ln w="190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330200">
                <a:lnSpc>
                  <a:spcPct val="90000"/>
                </a:lnSpc>
                <a:spcAft>
                  <a:spcPts val="300"/>
                </a:spcAft>
                <a:buSzPct val="100000"/>
              </a:pPr>
              <a:r>
                <a:rPr lang="en-GB" sz="1200" b="1"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lean Energy package</a:t>
              </a:r>
              <a:r>
                <a:rPr lang="en-GB" sz="1200" b="1">
                  <a:latin typeface="+mj-lt"/>
                </a:rPr>
                <a:t>:</a:t>
              </a:r>
            </a:p>
            <a:p>
              <a:pPr marL="182880" indent="-182880" defTabSz="330200">
                <a:lnSpc>
                  <a:spcPct val="90000"/>
                </a:lnSpc>
                <a:spcAft>
                  <a:spcPts val="300"/>
                </a:spcAft>
                <a:buSzPct val="100000"/>
                <a:buFont typeface="Wingdings" panose="05000000000000000000" pitchFamily="2" charset="2"/>
                <a:buChar char="§"/>
              </a:pPr>
              <a:r>
                <a:rPr lang="en-GB" sz="1200" b="0">
                  <a:latin typeface="+mn-lt"/>
                </a:rPr>
                <a:t>Rulebook introduced to achieve European Green Deal objectives</a:t>
              </a:r>
            </a:p>
            <a:p>
              <a:pPr marL="182880" indent="-182880" defTabSz="330200">
                <a:lnSpc>
                  <a:spcPct val="90000"/>
                </a:lnSpc>
                <a:spcAft>
                  <a:spcPts val="300"/>
                </a:spcAft>
                <a:buSzPct val="100000"/>
                <a:buFont typeface="Wingdings" panose="05000000000000000000" pitchFamily="2" charset="2"/>
                <a:buChar char="§"/>
              </a:pPr>
              <a:r>
                <a:rPr lang="en-GB" sz="1200" b="0">
                  <a:latin typeface="+mn-lt"/>
                </a:rPr>
                <a:t>Role of battery storage acknowledged for the first time as </a:t>
              </a:r>
              <a:r>
                <a:rPr lang="en-GB" sz="1200"/>
                <a:t>crucial for</a:t>
              </a:r>
              <a:r>
                <a:rPr lang="en-GB" sz="1200" b="0">
                  <a:latin typeface="+mn-lt"/>
                </a:rPr>
                <a:t> integrating renewables and enhancing energy security amongst others</a:t>
              </a:r>
            </a:p>
            <a:p>
              <a:pPr marL="182880" indent="-182880" defTabSz="330200">
                <a:lnSpc>
                  <a:spcPct val="90000"/>
                </a:lnSpc>
                <a:spcAft>
                  <a:spcPts val="300"/>
                </a:spcAft>
                <a:buSzPct val="100000"/>
                <a:buFont typeface="Wingdings" panose="05000000000000000000" pitchFamily="2" charset="2"/>
                <a:buChar char="§"/>
              </a:pPr>
              <a:r>
                <a:rPr lang="en-GB" sz="1200" b="0">
                  <a:latin typeface="+mn-lt"/>
                </a:rPr>
                <a:t>Included proposal to </a:t>
              </a:r>
              <a:r>
                <a:rPr lang="en-GB" sz="1200">
                  <a:latin typeface="+mn-lt"/>
                </a:rPr>
                <a:t>define a new regulatory framework to support batteries</a:t>
              </a:r>
              <a:endParaRPr lang="en-GB" sz="1200" b="0">
                <a:latin typeface="+mn-lt"/>
              </a:endParaRPr>
            </a:p>
          </p:txBody>
        </p:sp>
        <p:grpSp>
          <p:nvGrpSpPr>
            <p:cNvPr id="12" name="Group 11">
              <a:extLst>
                <a:ext uri="{FF2B5EF4-FFF2-40B4-BE49-F238E27FC236}">
                  <a16:creationId xmlns:a16="http://schemas.microsoft.com/office/drawing/2014/main" id="{8D3BB3DB-7733-75D2-ACD7-00C8B858B24A}"/>
                </a:ext>
              </a:extLst>
            </p:cNvPr>
            <p:cNvGrpSpPr/>
            <p:nvPr/>
          </p:nvGrpSpPr>
          <p:grpSpPr>
            <a:xfrm>
              <a:off x="6279914" y="1386533"/>
              <a:ext cx="536774" cy="1002352"/>
              <a:chOff x="7842063" y="1386533"/>
              <a:chExt cx="536774" cy="1002352"/>
            </a:xfrm>
          </p:grpSpPr>
          <p:sp>
            <p:nvSpPr>
              <p:cNvPr id="82" name="Oval 9">
                <a:extLst>
                  <a:ext uri="{FF2B5EF4-FFF2-40B4-BE49-F238E27FC236}">
                    <a16:creationId xmlns:a16="http://schemas.microsoft.com/office/drawing/2014/main" id="{4569DDA1-A7CD-0400-118E-297E22D50B1F}"/>
                  </a:ext>
                </a:extLst>
              </p:cNvPr>
              <p:cNvSpPr/>
              <p:nvPr/>
            </p:nvSpPr>
            <p:spPr>
              <a:xfrm>
                <a:off x="7842063" y="1386533"/>
                <a:ext cx="536774" cy="536774"/>
              </a:xfrm>
              <a:prstGeom prst="ellipse">
                <a:avLst/>
              </a:prstGeom>
              <a:solidFill>
                <a:schemeClr val="accent1"/>
              </a:solidFill>
              <a:ln w="127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18</a:t>
                </a:r>
              </a:p>
            </p:txBody>
          </p:sp>
          <p:cxnSp>
            <p:nvCxnSpPr>
              <p:cNvPr id="86" name="Straight Connector 85">
                <a:extLst>
                  <a:ext uri="{FF2B5EF4-FFF2-40B4-BE49-F238E27FC236}">
                    <a16:creationId xmlns:a16="http://schemas.microsoft.com/office/drawing/2014/main" id="{3C6FCCDF-B9DA-7B5B-0992-7994F74D4F7B}"/>
                  </a:ext>
                </a:extLst>
              </p:cNvPr>
              <p:cNvCxnSpPr>
                <a:cxnSpLocks/>
              </p:cNvCxnSpPr>
              <p:nvPr/>
            </p:nvCxnSpPr>
            <p:spPr>
              <a:xfrm flipV="1">
                <a:off x="8106113" y="1923307"/>
                <a:ext cx="0" cy="465578"/>
              </a:xfrm>
              <a:prstGeom prst="line">
                <a:avLst/>
              </a:prstGeom>
              <a:solidFill>
                <a:schemeClr val="accent1"/>
              </a:solidFill>
              <a:ln w="19050">
                <a:solidFill>
                  <a:schemeClr val="accent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grpSp>
      </p:grpSp>
      <p:grpSp>
        <p:nvGrpSpPr>
          <p:cNvPr id="31" name="Group 30">
            <a:extLst>
              <a:ext uri="{FF2B5EF4-FFF2-40B4-BE49-F238E27FC236}">
                <a16:creationId xmlns:a16="http://schemas.microsoft.com/office/drawing/2014/main" id="{F026ECD4-5247-CF2E-B4E9-A06626D88CBD}"/>
              </a:ext>
            </a:extLst>
          </p:cNvPr>
          <p:cNvGrpSpPr/>
          <p:nvPr/>
        </p:nvGrpSpPr>
        <p:grpSpPr>
          <a:xfrm>
            <a:off x="5743302" y="1403189"/>
            <a:ext cx="1989454" cy="4844146"/>
            <a:chOff x="7417892" y="1386533"/>
            <a:chExt cx="1989454" cy="4844146"/>
          </a:xfrm>
        </p:grpSpPr>
        <p:sp>
          <p:nvSpPr>
            <p:cNvPr id="126" name="Rectangle 125">
              <a:extLst>
                <a:ext uri="{FF2B5EF4-FFF2-40B4-BE49-F238E27FC236}">
                  <a16:creationId xmlns:a16="http://schemas.microsoft.com/office/drawing/2014/main" id="{50CD0CFE-CC29-4672-9D5C-180CA353F18A}"/>
                </a:ext>
              </a:extLst>
            </p:cNvPr>
            <p:cNvSpPr/>
            <p:nvPr/>
          </p:nvSpPr>
          <p:spPr>
            <a:xfrm>
              <a:off x="7417892" y="2519167"/>
              <a:ext cx="1989454" cy="3711512"/>
            </a:xfrm>
            <a:prstGeom prst="rect">
              <a:avLst/>
            </a:prstGeom>
            <a:noFill/>
            <a:ln w="190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330200">
                <a:lnSpc>
                  <a:spcPct val="90000"/>
                </a:lnSpc>
                <a:spcAft>
                  <a:spcPts val="300"/>
                </a:spcAft>
                <a:buSzPct val="100000"/>
              </a:pPr>
              <a:r>
                <a:rPr lang="en-GB" sz="1200" b="1"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newable Directive (RED III)</a:t>
              </a:r>
              <a:r>
                <a:rPr lang="en-GB" sz="1200" b="1">
                  <a:latin typeface="+mj-lt"/>
                </a:rPr>
                <a:t>:</a:t>
              </a:r>
            </a:p>
            <a:p>
              <a:pPr marL="182880" indent="-182880" defTabSz="330200">
                <a:lnSpc>
                  <a:spcPct val="90000"/>
                </a:lnSpc>
                <a:spcAft>
                  <a:spcPts val="300"/>
                </a:spcAft>
                <a:buSzPct val="100000"/>
                <a:buFont typeface="Wingdings" panose="05000000000000000000" pitchFamily="2" charset="2"/>
                <a:buChar char="§"/>
              </a:pPr>
              <a:r>
                <a:rPr lang="en-GB" sz="1200" b="0">
                  <a:latin typeface="+mn-lt"/>
                </a:rPr>
                <a:t>Stipulated that system operators cannot own or operate storage facilities to increase competition and ensure fair access to storage facilities for all market participants</a:t>
              </a:r>
            </a:p>
            <a:p>
              <a:pPr marL="182880" indent="-182880" defTabSz="330200">
                <a:lnSpc>
                  <a:spcPct val="90000"/>
                </a:lnSpc>
                <a:spcAft>
                  <a:spcPts val="300"/>
                </a:spcAft>
                <a:buSzPct val="100000"/>
                <a:buFont typeface="Wingdings" panose="05000000000000000000" pitchFamily="2" charset="2"/>
                <a:buChar char="§"/>
              </a:pPr>
              <a:r>
                <a:rPr lang="en-GB" sz="1200" b="0">
                  <a:latin typeface="+mn-lt"/>
                </a:rPr>
                <a:t>Prohibits discrimination of storage compared to other technologies</a:t>
              </a:r>
            </a:p>
            <a:p>
              <a:pPr defTabSz="330200">
                <a:lnSpc>
                  <a:spcPct val="90000"/>
                </a:lnSpc>
                <a:spcAft>
                  <a:spcPts val="300"/>
                </a:spcAft>
                <a:buSzPct val="100000"/>
              </a:pPr>
              <a:r>
                <a:rPr lang="en-GB" sz="1200" b="1"/>
                <a:t>Strategy for Energy System Integration: </a:t>
              </a:r>
            </a:p>
            <a:p>
              <a:pPr marL="182880" indent="-182880" defTabSz="330200">
                <a:lnSpc>
                  <a:spcPct val="90000"/>
                </a:lnSpc>
                <a:spcAft>
                  <a:spcPts val="300"/>
                </a:spcAft>
                <a:buSzPct val="100000"/>
                <a:buFont typeface="Wingdings" panose="05000000000000000000" pitchFamily="2" charset="2"/>
                <a:buChar char="§"/>
              </a:pPr>
              <a:r>
                <a:rPr lang="en-GB" sz="1200"/>
                <a:t>Stipulated that “double charging” of fees for using the grid should not be applied to energy storage</a:t>
              </a:r>
              <a:endParaRPr lang="en-GB" sz="1200">
                <a:solidFill>
                  <a:schemeClr val="tx1"/>
                </a:solidFill>
              </a:endParaRPr>
            </a:p>
          </p:txBody>
        </p:sp>
        <p:grpSp>
          <p:nvGrpSpPr>
            <p:cNvPr id="14" name="Group 13">
              <a:extLst>
                <a:ext uri="{FF2B5EF4-FFF2-40B4-BE49-F238E27FC236}">
                  <a16:creationId xmlns:a16="http://schemas.microsoft.com/office/drawing/2014/main" id="{1C227CC8-C0BF-0DF0-4C41-693C28EC2F9C}"/>
                </a:ext>
              </a:extLst>
            </p:cNvPr>
            <p:cNvGrpSpPr/>
            <p:nvPr/>
          </p:nvGrpSpPr>
          <p:grpSpPr>
            <a:xfrm>
              <a:off x="8240706" y="1386533"/>
              <a:ext cx="536774" cy="1002352"/>
              <a:chOff x="10142203" y="1386533"/>
              <a:chExt cx="536774" cy="1002352"/>
            </a:xfrm>
          </p:grpSpPr>
          <p:sp>
            <p:nvSpPr>
              <p:cNvPr id="87" name="Oval 9">
                <a:extLst>
                  <a:ext uri="{FF2B5EF4-FFF2-40B4-BE49-F238E27FC236}">
                    <a16:creationId xmlns:a16="http://schemas.microsoft.com/office/drawing/2014/main" id="{A4C7E0FA-C41A-71EF-308B-F9E98149E1F3}"/>
                  </a:ext>
                </a:extLst>
              </p:cNvPr>
              <p:cNvSpPr/>
              <p:nvPr/>
            </p:nvSpPr>
            <p:spPr>
              <a:xfrm>
                <a:off x="10142203" y="1386533"/>
                <a:ext cx="536774" cy="536774"/>
              </a:xfrm>
              <a:prstGeom prst="ellipse">
                <a:avLst/>
              </a:prstGeom>
              <a:solidFill>
                <a:schemeClr val="accent1"/>
              </a:solidFill>
              <a:ln w="127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20</a:t>
                </a:r>
              </a:p>
            </p:txBody>
          </p:sp>
          <p:cxnSp>
            <p:nvCxnSpPr>
              <p:cNvPr id="88" name="Straight Connector 87">
                <a:extLst>
                  <a:ext uri="{FF2B5EF4-FFF2-40B4-BE49-F238E27FC236}">
                    <a16:creationId xmlns:a16="http://schemas.microsoft.com/office/drawing/2014/main" id="{867ED8F7-B5B3-24C1-1E50-7C6378E51B76}"/>
                  </a:ext>
                </a:extLst>
              </p:cNvPr>
              <p:cNvCxnSpPr>
                <a:cxnSpLocks/>
              </p:cNvCxnSpPr>
              <p:nvPr/>
            </p:nvCxnSpPr>
            <p:spPr>
              <a:xfrm flipV="1">
                <a:off x="10406253" y="1923307"/>
                <a:ext cx="0" cy="465578"/>
              </a:xfrm>
              <a:prstGeom prst="line">
                <a:avLst/>
              </a:prstGeom>
              <a:solidFill>
                <a:schemeClr val="accent1"/>
              </a:solidFill>
              <a:ln w="19050">
                <a:solidFill>
                  <a:schemeClr val="accent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grpSp>
      </p:grpSp>
      <p:grpSp>
        <p:nvGrpSpPr>
          <p:cNvPr id="32" name="Group 31">
            <a:extLst>
              <a:ext uri="{FF2B5EF4-FFF2-40B4-BE49-F238E27FC236}">
                <a16:creationId xmlns:a16="http://schemas.microsoft.com/office/drawing/2014/main" id="{DC69BB19-25E7-53D9-5C46-BC5EF35DE93B}"/>
              </a:ext>
            </a:extLst>
          </p:cNvPr>
          <p:cNvGrpSpPr/>
          <p:nvPr/>
        </p:nvGrpSpPr>
        <p:grpSpPr>
          <a:xfrm>
            <a:off x="7846561" y="1403189"/>
            <a:ext cx="1620235" cy="4844146"/>
            <a:chOff x="9650778" y="1386533"/>
            <a:chExt cx="1390314" cy="4844146"/>
          </a:xfrm>
        </p:grpSpPr>
        <p:sp>
          <p:nvSpPr>
            <p:cNvPr id="17" name="Rectangle 16">
              <a:extLst>
                <a:ext uri="{FF2B5EF4-FFF2-40B4-BE49-F238E27FC236}">
                  <a16:creationId xmlns:a16="http://schemas.microsoft.com/office/drawing/2014/main" id="{8C07263D-9CA3-C365-D3B5-6B2508BC6B2D}"/>
                </a:ext>
              </a:extLst>
            </p:cNvPr>
            <p:cNvSpPr/>
            <p:nvPr/>
          </p:nvSpPr>
          <p:spPr>
            <a:xfrm>
              <a:off x="9650778" y="2519167"/>
              <a:ext cx="1390314" cy="3711512"/>
            </a:xfrm>
            <a:prstGeom prst="rect">
              <a:avLst/>
            </a:prstGeom>
            <a:noFill/>
            <a:ln w="190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330200">
                <a:lnSpc>
                  <a:spcPct val="90000"/>
                </a:lnSpc>
                <a:spcAft>
                  <a:spcPts val="300"/>
                </a:spcAft>
                <a:buSzPct val="100000"/>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ew regulation on design, production and recycling</a:t>
              </a:r>
              <a:r>
                <a:rPr lang="en-GB" sz="1200" b="1" baseline="300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200" b="1">
                <a:latin typeface="+mj-lt"/>
              </a:endParaRPr>
            </a:p>
            <a:p>
              <a:pPr marL="182880" indent="-182880" defTabSz="330200">
                <a:lnSpc>
                  <a:spcPct val="90000"/>
                </a:lnSpc>
                <a:spcAft>
                  <a:spcPts val="300"/>
                </a:spcAft>
                <a:buSzPct val="100000"/>
                <a:buFont typeface="Wingdings" panose="05000000000000000000" pitchFamily="2" charset="2"/>
                <a:buChar char="§"/>
              </a:pPr>
              <a:r>
                <a:rPr lang="en-GB" sz="1200" b="0">
                  <a:latin typeface="+mn-lt"/>
                </a:rPr>
                <a:t>Requirements for recycling at end of lifetime, recovery of minerals (especially lithium) and use of recycled minerals in manufacturing of new batteries</a:t>
              </a:r>
            </a:p>
            <a:p>
              <a:pPr marL="182880" indent="-182880" defTabSz="330200">
                <a:lnSpc>
                  <a:spcPct val="90000"/>
                </a:lnSpc>
                <a:spcAft>
                  <a:spcPts val="300"/>
                </a:spcAft>
                <a:buSzPct val="100000"/>
                <a:buFont typeface="Wingdings" panose="05000000000000000000" pitchFamily="2" charset="2"/>
                <a:buChar char="§"/>
              </a:pPr>
              <a:r>
                <a:rPr lang="en-GB" sz="1200" b="0">
                  <a:latin typeface="+mn-lt"/>
                </a:rPr>
                <a:t>Addresses</a:t>
              </a:r>
              <a:r>
                <a:rPr lang="en-GB" sz="1200"/>
                <a:t> environmental risks linked to batteries</a:t>
              </a:r>
            </a:p>
            <a:p>
              <a:pPr marL="171450" indent="-171450" defTabSz="330200">
                <a:lnSpc>
                  <a:spcPct val="90000"/>
                </a:lnSpc>
                <a:spcAft>
                  <a:spcPts val="300"/>
                </a:spcAft>
                <a:buSzPct val="100000"/>
                <a:buFont typeface="Wingdings" panose="05000000000000000000" pitchFamily="2" charset="2"/>
                <a:buChar char="§"/>
              </a:pPr>
              <a:endParaRPr lang="en-GB" sz="1200" b="0">
                <a:latin typeface="+mn-lt"/>
              </a:endParaRPr>
            </a:p>
          </p:txBody>
        </p:sp>
        <p:grpSp>
          <p:nvGrpSpPr>
            <p:cNvPr id="18" name="Group 17">
              <a:extLst>
                <a:ext uri="{FF2B5EF4-FFF2-40B4-BE49-F238E27FC236}">
                  <a16:creationId xmlns:a16="http://schemas.microsoft.com/office/drawing/2014/main" id="{ED0145AD-277C-90E9-C190-7871648D6EA2}"/>
                </a:ext>
              </a:extLst>
            </p:cNvPr>
            <p:cNvGrpSpPr/>
            <p:nvPr/>
          </p:nvGrpSpPr>
          <p:grpSpPr>
            <a:xfrm>
              <a:off x="10061680" y="1386533"/>
              <a:ext cx="460282" cy="1002352"/>
              <a:chOff x="10180449" y="1386533"/>
              <a:chExt cx="460282" cy="1002352"/>
            </a:xfrm>
          </p:grpSpPr>
          <p:sp>
            <p:nvSpPr>
              <p:cNvPr id="19" name="Oval 9">
                <a:extLst>
                  <a:ext uri="{FF2B5EF4-FFF2-40B4-BE49-F238E27FC236}">
                    <a16:creationId xmlns:a16="http://schemas.microsoft.com/office/drawing/2014/main" id="{328650A0-697F-DA78-3A14-D592C8D9F1C9}"/>
                  </a:ext>
                </a:extLst>
              </p:cNvPr>
              <p:cNvSpPr/>
              <p:nvPr/>
            </p:nvSpPr>
            <p:spPr>
              <a:xfrm>
                <a:off x="10180449" y="1386533"/>
                <a:ext cx="460282" cy="536774"/>
              </a:xfrm>
              <a:prstGeom prst="ellipse">
                <a:avLst/>
              </a:prstGeom>
              <a:solidFill>
                <a:schemeClr val="accent1"/>
              </a:solidFill>
              <a:ln w="127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22</a:t>
                </a:r>
              </a:p>
            </p:txBody>
          </p:sp>
          <p:cxnSp>
            <p:nvCxnSpPr>
              <p:cNvPr id="24" name="Straight Connector 23">
                <a:extLst>
                  <a:ext uri="{FF2B5EF4-FFF2-40B4-BE49-F238E27FC236}">
                    <a16:creationId xmlns:a16="http://schemas.microsoft.com/office/drawing/2014/main" id="{10700F03-1857-3F72-F10A-237FDB75F295}"/>
                  </a:ext>
                </a:extLst>
              </p:cNvPr>
              <p:cNvCxnSpPr>
                <a:cxnSpLocks/>
              </p:cNvCxnSpPr>
              <p:nvPr/>
            </p:nvCxnSpPr>
            <p:spPr>
              <a:xfrm flipV="1">
                <a:off x="10410590" y="1923307"/>
                <a:ext cx="0" cy="465578"/>
              </a:xfrm>
              <a:prstGeom prst="line">
                <a:avLst/>
              </a:prstGeom>
              <a:solidFill>
                <a:schemeClr val="accent1"/>
              </a:solidFill>
              <a:ln w="19050">
                <a:solidFill>
                  <a:schemeClr val="accent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C4A08875-3C52-C2A4-367C-925317F36EB1}"/>
              </a:ext>
            </a:extLst>
          </p:cNvPr>
          <p:cNvGrpSpPr/>
          <p:nvPr/>
        </p:nvGrpSpPr>
        <p:grpSpPr>
          <a:xfrm>
            <a:off x="9580601" y="1403189"/>
            <a:ext cx="2229799" cy="4844146"/>
            <a:chOff x="8478689" y="1386533"/>
            <a:chExt cx="2513026" cy="4844146"/>
          </a:xfrm>
        </p:grpSpPr>
        <p:sp>
          <p:nvSpPr>
            <p:cNvPr id="35" name="Rectangle 34">
              <a:extLst>
                <a:ext uri="{FF2B5EF4-FFF2-40B4-BE49-F238E27FC236}">
                  <a16:creationId xmlns:a16="http://schemas.microsoft.com/office/drawing/2014/main" id="{6228055B-8668-A70D-0471-E2682D6057B2}"/>
                </a:ext>
              </a:extLst>
            </p:cNvPr>
            <p:cNvSpPr/>
            <p:nvPr/>
          </p:nvSpPr>
          <p:spPr>
            <a:xfrm>
              <a:off x="8478689" y="2519167"/>
              <a:ext cx="2513026" cy="3711512"/>
            </a:xfrm>
            <a:prstGeom prst="rect">
              <a:avLst/>
            </a:prstGeom>
            <a:noFill/>
            <a:ln w="190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330200">
                <a:lnSpc>
                  <a:spcPct val="90000"/>
                </a:lnSpc>
                <a:spcAft>
                  <a:spcPts val="300"/>
                </a:spcAft>
                <a:buSzPct val="100000"/>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een Deal Industrial Plan:</a:t>
              </a:r>
              <a:endParaRPr lang="en-GB" sz="1200" b="1">
                <a:latin typeface="+mj-lt"/>
              </a:endParaRPr>
            </a:p>
            <a:p>
              <a:pPr marL="182880" indent="-182880" defTabSz="330200">
                <a:lnSpc>
                  <a:spcPct val="90000"/>
                </a:lnSpc>
                <a:spcAft>
                  <a:spcPts val="300"/>
                </a:spcAft>
                <a:buSzPct val="100000"/>
                <a:buFont typeface="Wingdings" panose="05000000000000000000" pitchFamily="2" charset="2"/>
                <a:buChar char="§"/>
              </a:pPr>
              <a:r>
                <a:rPr lang="en-GB" sz="1200" b="0">
                  <a:latin typeface="+mn-lt"/>
                </a:rPr>
                <a:t>Industrial strategy to support net-zero industry, including for batteries</a:t>
              </a:r>
            </a:p>
            <a:p>
              <a:pPr marL="182880" indent="-182880" defTabSz="330200">
                <a:lnSpc>
                  <a:spcPct val="90000"/>
                </a:lnSpc>
                <a:spcAft>
                  <a:spcPts val="300"/>
                </a:spcAft>
                <a:buSzPct val="100000"/>
                <a:buFont typeface="Wingdings" panose="05000000000000000000" pitchFamily="2" charset="2"/>
                <a:buChar char="§"/>
              </a:pPr>
              <a:r>
                <a:rPr lang="en-GB" sz="1200"/>
                <a:t>Propose to revise State aid rules to allow aid for the production of batteries and related critical raw materials</a:t>
              </a:r>
            </a:p>
            <a:p>
              <a:pPr defTabSz="330200">
                <a:lnSpc>
                  <a:spcPct val="90000"/>
                </a:lnSpc>
                <a:spcAft>
                  <a:spcPts val="300"/>
                </a:spcAft>
                <a:buSzPct val="100000"/>
              </a:pPr>
              <a:r>
                <a:rPr lang="en-GB" sz="1200" b="1"/>
                <a:t>Recommendations on energy storage</a:t>
              </a:r>
              <a:r>
                <a:rPr lang="en-GB" sz="1200" b="1" baseline="30000"/>
                <a:t>2</a:t>
              </a:r>
              <a:r>
                <a:rPr lang="en-GB" sz="1200" b="1"/>
                <a:t>: </a:t>
              </a:r>
              <a:endParaRPr lang="en-GB" sz="1200" b="1" i="1">
                <a:solidFill>
                  <a:schemeClr val="accent1"/>
                </a:solidFill>
                <a:highlight>
                  <a:srgbClr val="FFFF00"/>
                </a:highlight>
              </a:endParaRPr>
            </a:p>
            <a:p>
              <a:pPr marL="171450" indent="-171450" defTabSz="330200">
                <a:lnSpc>
                  <a:spcPct val="90000"/>
                </a:lnSpc>
                <a:spcAft>
                  <a:spcPts val="300"/>
                </a:spcAft>
                <a:buSzPct val="100000"/>
                <a:buFont typeface="Wingdings" panose="05000000000000000000" pitchFamily="2" charset="2"/>
                <a:buChar char="§"/>
              </a:pPr>
              <a:r>
                <a:rPr lang="en-GB" sz="1200"/>
                <a:t>Outlines recommended policies to promote energy storage, such as defining of flexibility needs in NECPs, identifying need for additional financing instruments or remunerated markets</a:t>
              </a:r>
              <a:r>
                <a:rPr lang="en-GB" sz="1200" baseline="30000"/>
                <a:t> </a:t>
              </a:r>
              <a:r>
                <a:rPr lang="en-GB" sz="1200"/>
                <a:t>and facilitating permit-granting procedures. </a:t>
              </a:r>
            </a:p>
            <a:p>
              <a:pPr marL="171450" indent="-171450" defTabSz="330200">
                <a:lnSpc>
                  <a:spcPct val="90000"/>
                </a:lnSpc>
                <a:spcAft>
                  <a:spcPts val="300"/>
                </a:spcAft>
                <a:buSzPct val="100000"/>
                <a:buFont typeface="Wingdings" panose="05000000000000000000" pitchFamily="2" charset="2"/>
                <a:buChar char="§"/>
              </a:pPr>
              <a:endParaRPr lang="en-GB" sz="1200" b="0">
                <a:latin typeface="+mn-lt"/>
              </a:endParaRPr>
            </a:p>
          </p:txBody>
        </p:sp>
        <p:grpSp>
          <p:nvGrpSpPr>
            <p:cNvPr id="36" name="Group 35">
              <a:extLst>
                <a:ext uri="{FF2B5EF4-FFF2-40B4-BE49-F238E27FC236}">
                  <a16:creationId xmlns:a16="http://schemas.microsoft.com/office/drawing/2014/main" id="{E3EF7AA5-4AB9-830F-9733-EC92EDD8450B}"/>
                </a:ext>
              </a:extLst>
            </p:cNvPr>
            <p:cNvGrpSpPr/>
            <p:nvPr/>
          </p:nvGrpSpPr>
          <p:grpSpPr>
            <a:xfrm>
              <a:off x="9422233" y="1386533"/>
              <a:ext cx="625939" cy="1002352"/>
              <a:chOff x="9541002" y="1386533"/>
              <a:chExt cx="625939" cy="1002352"/>
            </a:xfrm>
          </p:grpSpPr>
          <p:sp>
            <p:nvSpPr>
              <p:cNvPr id="37" name="Oval 9">
                <a:extLst>
                  <a:ext uri="{FF2B5EF4-FFF2-40B4-BE49-F238E27FC236}">
                    <a16:creationId xmlns:a16="http://schemas.microsoft.com/office/drawing/2014/main" id="{44411094-FB72-967B-97FF-82959B5392F6}"/>
                  </a:ext>
                </a:extLst>
              </p:cNvPr>
              <p:cNvSpPr/>
              <p:nvPr/>
            </p:nvSpPr>
            <p:spPr>
              <a:xfrm>
                <a:off x="9541002" y="1386533"/>
                <a:ext cx="625939" cy="536774"/>
              </a:xfrm>
              <a:prstGeom prst="ellipse">
                <a:avLst/>
              </a:prstGeom>
              <a:solidFill>
                <a:schemeClr val="accent1"/>
              </a:solidFill>
              <a:ln w="127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23</a:t>
                </a:r>
              </a:p>
            </p:txBody>
          </p:sp>
          <p:cxnSp>
            <p:nvCxnSpPr>
              <p:cNvPr id="38" name="Straight Connector 37">
                <a:extLst>
                  <a:ext uri="{FF2B5EF4-FFF2-40B4-BE49-F238E27FC236}">
                    <a16:creationId xmlns:a16="http://schemas.microsoft.com/office/drawing/2014/main" id="{61F3B566-B11F-0B75-B743-8E1D52CAAD6C}"/>
                  </a:ext>
                </a:extLst>
              </p:cNvPr>
              <p:cNvCxnSpPr>
                <a:cxnSpLocks/>
              </p:cNvCxnSpPr>
              <p:nvPr/>
            </p:nvCxnSpPr>
            <p:spPr>
              <a:xfrm flipV="1">
                <a:off x="9853971" y="1923307"/>
                <a:ext cx="0" cy="465578"/>
              </a:xfrm>
              <a:prstGeom prst="line">
                <a:avLst/>
              </a:prstGeom>
              <a:solidFill>
                <a:schemeClr val="accent1"/>
              </a:solidFill>
              <a:ln w="19050">
                <a:solidFill>
                  <a:schemeClr val="accent1"/>
                </a:solidFill>
                <a:headEnd type="oval" w="lg" len="lg"/>
                <a:tailEnd type="none" w="lg" len="lg"/>
              </a:ln>
            </p:spPr>
            <p:style>
              <a:lnRef idx="1">
                <a:schemeClr val="accent1"/>
              </a:lnRef>
              <a:fillRef idx="0">
                <a:schemeClr val="accent1"/>
              </a:fillRef>
              <a:effectRef idx="0">
                <a:schemeClr val="accent1"/>
              </a:effectRef>
              <a:fontRef idx="minor">
                <a:schemeClr val="tx1"/>
              </a:fontRef>
            </p:style>
          </p:cxnSp>
        </p:grpSp>
      </p:grpSp>
      <p:sp>
        <p:nvSpPr>
          <p:cNvPr id="45" name="Oval 44">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46" name="Oval 45">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Tree>
    <p:extLst>
      <p:ext uri="{BB962C8B-B14F-4D97-AF65-F5344CB8AC3E}">
        <p14:creationId xmlns:p14="http://schemas.microsoft.com/office/powerpoint/2010/main" val="712939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F4D111-C2F0-40B0-96CD-BC10C63FBD34}"/>
              </a:ext>
            </a:extLst>
          </p:cNvPr>
          <p:cNvGraphicFramePr>
            <a:graphicFrameLocks noChangeAspect="1"/>
          </p:cNvGraphicFramePr>
          <p:nvPr>
            <p:custDataLst>
              <p:tags r:id="rId1"/>
            </p:custDataLst>
            <p:extLst>
              <p:ext uri="{D42A27DB-BD31-4B8C-83A1-F6EECF244321}">
                <p14:modId xmlns:p14="http://schemas.microsoft.com/office/powerpoint/2010/main" val="980026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Object 6" hidden="1">
                        <a:extLst>
                          <a:ext uri="{FF2B5EF4-FFF2-40B4-BE49-F238E27FC236}">
                            <a16:creationId xmlns:a16="http://schemas.microsoft.com/office/drawing/2014/main" id="{01F4D111-C2F0-40B0-96CD-BC10C63FBD3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534" name="Group 533">
            <a:extLst>
              <a:ext uri="{FF2B5EF4-FFF2-40B4-BE49-F238E27FC236}">
                <a16:creationId xmlns:a16="http://schemas.microsoft.com/office/drawing/2014/main" id="{7CA32D0C-601F-6256-576E-2D0EBD2DF283}"/>
              </a:ext>
            </a:extLst>
          </p:cNvPr>
          <p:cNvGrpSpPr/>
          <p:nvPr/>
        </p:nvGrpSpPr>
        <p:grpSpPr>
          <a:xfrm>
            <a:off x="608046" y="57304"/>
            <a:ext cx="4945395" cy="6288009"/>
            <a:chOff x="3687668" y="229423"/>
            <a:chExt cx="4945395" cy="6288009"/>
          </a:xfrm>
          <a:solidFill>
            <a:schemeClr val="accent6">
              <a:lumMod val="20000"/>
              <a:lumOff val="80000"/>
            </a:schemeClr>
          </a:solidFill>
        </p:grpSpPr>
        <p:grpSp>
          <p:nvGrpSpPr>
            <p:cNvPr id="536" name="Group 535">
              <a:extLst>
                <a:ext uri="{FF2B5EF4-FFF2-40B4-BE49-F238E27FC236}">
                  <a16:creationId xmlns:a16="http://schemas.microsoft.com/office/drawing/2014/main" id="{5B5ABE58-37A3-AA56-09D3-9F7457EBABE3}"/>
                </a:ext>
              </a:extLst>
            </p:cNvPr>
            <p:cNvGrpSpPr/>
            <p:nvPr/>
          </p:nvGrpSpPr>
          <p:grpSpPr>
            <a:xfrm>
              <a:off x="3687668" y="350223"/>
              <a:ext cx="4945395" cy="6167209"/>
              <a:chOff x="3207998" y="1289216"/>
              <a:chExt cx="4029279" cy="5024756"/>
            </a:xfrm>
            <a:grpFill/>
          </p:grpSpPr>
          <p:sp>
            <p:nvSpPr>
              <p:cNvPr id="539" name="United Kingdom" descr="© INSCALE GmbH, 05.05.2010&#10;http://www.presentationload.com/">
                <a:extLst>
                  <a:ext uri="{FF2B5EF4-FFF2-40B4-BE49-F238E27FC236}">
                    <a16:creationId xmlns:a16="http://schemas.microsoft.com/office/drawing/2014/main" id="{EFAFC6F4-63DB-13A2-B489-BBE1F3266B26}"/>
                  </a:ext>
                </a:extLst>
              </p:cNvPr>
              <p:cNvSpPr/>
              <p:nvPr/>
            </p:nvSpPr>
            <p:spPr bwMode="gray">
              <a:xfrm>
                <a:off x="3516117" y="3250524"/>
                <a:ext cx="876958" cy="1250270"/>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0" name="Switzerland" descr="© INSCALE GmbH, 05.05.2010&#10;http://www.presentationload.com/">
                <a:extLst>
                  <a:ext uri="{FF2B5EF4-FFF2-40B4-BE49-F238E27FC236}">
                    <a16:creationId xmlns:a16="http://schemas.microsoft.com/office/drawing/2014/main" id="{9B3687EB-6EBE-5BB5-78E9-63E08EF6101C}"/>
                  </a:ext>
                </a:extLst>
              </p:cNvPr>
              <p:cNvSpPr/>
              <p:nvPr/>
            </p:nvSpPr>
            <p:spPr bwMode="gray">
              <a:xfrm>
                <a:off x="4772303" y="4743732"/>
                <a:ext cx="438483" cy="242947"/>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1" name="Sweden" descr="© INSCALE GmbH, 05.05.2010&#10;http://www.presentationload.com/">
                <a:extLst>
                  <a:ext uri="{FF2B5EF4-FFF2-40B4-BE49-F238E27FC236}">
                    <a16:creationId xmlns:a16="http://schemas.microsoft.com/office/drawing/2014/main" id="{BA1CD561-B222-8DA5-1074-3322FF219C7D}"/>
                  </a:ext>
                </a:extLst>
              </p:cNvPr>
              <p:cNvSpPr/>
              <p:nvPr/>
            </p:nvSpPr>
            <p:spPr bwMode="gray">
              <a:xfrm>
                <a:off x="5270039" y="2361713"/>
                <a:ext cx="1048801" cy="1499133"/>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2" name="Spain" descr="© INSCALE GmbH, 05.05.2010&#10;http://www.presentationload.com/">
                <a:extLst>
                  <a:ext uri="{FF2B5EF4-FFF2-40B4-BE49-F238E27FC236}">
                    <a16:creationId xmlns:a16="http://schemas.microsoft.com/office/drawing/2014/main" id="{7590DDCB-81D6-A190-B6BF-DBFC3CA40775}"/>
                  </a:ext>
                </a:extLst>
              </p:cNvPr>
              <p:cNvSpPr/>
              <p:nvPr/>
            </p:nvSpPr>
            <p:spPr bwMode="gray">
              <a:xfrm>
                <a:off x="3261322" y="5235544"/>
                <a:ext cx="1327292" cy="936219"/>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3" name="Slovenia" descr="© INSCALE GmbH, 05.05.2010&#10;http://www.presentationload.com/">
                <a:extLst>
                  <a:ext uri="{FF2B5EF4-FFF2-40B4-BE49-F238E27FC236}">
                    <a16:creationId xmlns:a16="http://schemas.microsoft.com/office/drawing/2014/main" id="{C2D182A6-1011-A124-F57C-E7F75DEBAA26}"/>
                  </a:ext>
                </a:extLst>
              </p:cNvPr>
              <p:cNvSpPr/>
              <p:nvPr/>
            </p:nvSpPr>
            <p:spPr bwMode="gray">
              <a:xfrm>
                <a:off x="5471495" y="4850388"/>
                <a:ext cx="319973" cy="183690"/>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4" name="Slovakia" descr="© INSCALE GmbH, 05.05.2010&#10;http://www.presentationload.com/">
                <a:extLst>
                  <a:ext uri="{FF2B5EF4-FFF2-40B4-BE49-F238E27FC236}">
                    <a16:creationId xmlns:a16="http://schemas.microsoft.com/office/drawing/2014/main" id="{53EFA7BC-F0EC-0775-62E0-C2F549EB3D8A}"/>
                  </a:ext>
                </a:extLst>
              </p:cNvPr>
              <p:cNvSpPr/>
              <p:nvPr/>
            </p:nvSpPr>
            <p:spPr bwMode="gray">
              <a:xfrm>
                <a:off x="5797394" y="4542266"/>
                <a:ext cx="539217" cy="219242"/>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5" name="Serbia" descr="© INSCALE GmbH, 05.05.2010&#10;http://www.presentationload.com/">
                <a:extLst>
                  <a:ext uri="{FF2B5EF4-FFF2-40B4-BE49-F238E27FC236}">
                    <a16:creationId xmlns:a16="http://schemas.microsoft.com/office/drawing/2014/main" id="{FF049850-721D-4F83-96C7-F3168218153A}"/>
                  </a:ext>
                </a:extLst>
              </p:cNvPr>
              <p:cNvSpPr/>
              <p:nvPr/>
            </p:nvSpPr>
            <p:spPr bwMode="gray">
              <a:xfrm>
                <a:off x="6004788" y="4945195"/>
                <a:ext cx="414778" cy="45476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6" name="Romania" descr="© INSCALE GmbH, 05.05.2010&#10;http://www.presentationload.com/">
                <a:extLst>
                  <a:ext uri="{FF2B5EF4-FFF2-40B4-BE49-F238E27FC236}">
                    <a16:creationId xmlns:a16="http://schemas.microsoft.com/office/drawing/2014/main" id="{83AF2E33-4B70-C1F1-5EB0-26629927C110}"/>
                  </a:ext>
                </a:extLst>
              </p:cNvPr>
              <p:cNvSpPr/>
              <p:nvPr/>
            </p:nvSpPr>
            <p:spPr bwMode="gray">
              <a:xfrm>
                <a:off x="6135147" y="4696332"/>
                <a:ext cx="930291" cy="556986"/>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7" name="Portugal" descr="© INSCALE GmbH, 05.05.2010&#10;http://www.presentationload.com/">
                <a:extLst>
                  <a:ext uri="{FF2B5EF4-FFF2-40B4-BE49-F238E27FC236}">
                    <a16:creationId xmlns:a16="http://schemas.microsoft.com/office/drawing/2014/main" id="{E2EE52FA-9987-EE64-6CC4-F03661166A7A}"/>
                  </a:ext>
                </a:extLst>
              </p:cNvPr>
              <p:cNvSpPr/>
              <p:nvPr/>
            </p:nvSpPr>
            <p:spPr bwMode="gray">
              <a:xfrm>
                <a:off x="3207998" y="5437004"/>
                <a:ext cx="343675" cy="622174"/>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8" name="Poland" descr="© INSCALE GmbH, 05.05.2010&#10;http://www.presentationload.com/">
                <a:extLst>
                  <a:ext uri="{FF2B5EF4-FFF2-40B4-BE49-F238E27FC236}">
                    <a16:creationId xmlns:a16="http://schemas.microsoft.com/office/drawing/2014/main" id="{DAE21062-366B-06BD-A30F-F8EC3E72B8D9}"/>
                  </a:ext>
                </a:extLst>
              </p:cNvPr>
              <p:cNvSpPr/>
              <p:nvPr/>
            </p:nvSpPr>
            <p:spPr bwMode="gray">
              <a:xfrm>
                <a:off x="5536679" y="3926024"/>
                <a:ext cx="948068" cy="681426"/>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49" name="Norway" descr="© INSCALE GmbH, 05.05.2010&#10;http://www.presentationload.com/">
                <a:extLst>
                  <a:ext uri="{FF2B5EF4-FFF2-40B4-BE49-F238E27FC236}">
                    <a16:creationId xmlns:a16="http://schemas.microsoft.com/office/drawing/2014/main" id="{CDAA3173-0033-085D-59A3-B2EA4EAF042F}"/>
                  </a:ext>
                </a:extLst>
              </p:cNvPr>
              <p:cNvSpPr/>
              <p:nvPr/>
            </p:nvSpPr>
            <p:spPr bwMode="gray">
              <a:xfrm>
                <a:off x="4736751" y="1289216"/>
                <a:ext cx="2062038" cy="2269436"/>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0" name="Netherlands" descr="© INSCALE GmbH, 05.05.2010&#10;http://www.presentationload.com/">
                <a:extLst>
                  <a:ext uri="{FF2B5EF4-FFF2-40B4-BE49-F238E27FC236}">
                    <a16:creationId xmlns:a16="http://schemas.microsoft.com/office/drawing/2014/main" id="{73B4DB10-D263-0226-080D-4C816B14D81C}"/>
                  </a:ext>
                </a:extLst>
              </p:cNvPr>
              <p:cNvSpPr/>
              <p:nvPr/>
            </p:nvSpPr>
            <p:spPr bwMode="gray">
              <a:xfrm>
                <a:off x="4499735" y="4086014"/>
                <a:ext cx="408853" cy="319970"/>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1" name="Montenegro" descr="© INSCALE GmbH, 05.05.2010&#10;http://www.presentationload.com/">
                <a:extLst>
                  <a:ext uri="{FF2B5EF4-FFF2-40B4-BE49-F238E27FC236}">
                    <a16:creationId xmlns:a16="http://schemas.microsoft.com/office/drawing/2014/main" id="{38EDAFD4-0935-CF12-4E58-C7BE3733BFDA}"/>
                  </a:ext>
                </a:extLst>
              </p:cNvPr>
              <p:cNvSpPr/>
              <p:nvPr/>
            </p:nvSpPr>
            <p:spPr bwMode="gray">
              <a:xfrm>
                <a:off x="5975158" y="5253322"/>
                <a:ext cx="171836" cy="207391"/>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2" name="Moldova" descr="© INSCALE GmbH, 05.05.2010&#10;http://www.presentationload.com/">
                <a:extLst>
                  <a:ext uri="{FF2B5EF4-FFF2-40B4-BE49-F238E27FC236}">
                    <a16:creationId xmlns:a16="http://schemas.microsoft.com/office/drawing/2014/main" id="{9B80C1AE-EAF0-53CF-5450-81FEE37FB06F}"/>
                  </a:ext>
                </a:extLst>
              </p:cNvPr>
              <p:cNvSpPr/>
              <p:nvPr/>
            </p:nvSpPr>
            <p:spPr bwMode="gray">
              <a:xfrm>
                <a:off x="6739536" y="4672623"/>
                <a:ext cx="325901" cy="361449"/>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3" name="Macedonia" descr="© INSCALE GmbH, 05.05.2010&#10;http://www.presentationload.com/">
                <a:extLst>
                  <a:ext uri="{FF2B5EF4-FFF2-40B4-BE49-F238E27FC236}">
                    <a16:creationId xmlns:a16="http://schemas.microsoft.com/office/drawing/2014/main" id="{E2DE9AAF-6F55-F907-396F-4C60A7CF5187}"/>
                  </a:ext>
                </a:extLst>
              </p:cNvPr>
              <p:cNvSpPr/>
              <p:nvPr/>
            </p:nvSpPr>
            <p:spPr bwMode="gray">
              <a:xfrm>
                <a:off x="6188471" y="5395529"/>
                <a:ext cx="248867" cy="195541"/>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4" name="Luxembourg" descr="© INSCALE GmbH, 05.05.2010&#10;http://www.presentationload.com/">
                <a:extLst>
                  <a:ext uri="{FF2B5EF4-FFF2-40B4-BE49-F238E27FC236}">
                    <a16:creationId xmlns:a16="http://schemas.microsoft.com/office/drawing/2014/main" id="{C801618A-2B21-B0B5-B2D1-4D40D2137F8C}"/>
                  </a:ext>
                </a:extLst>
              </p:cNvPr>
              <p:cNvSpPr/>
              <p:nvPr/>
            </p:nvSpPr>
            <p:spPr bwMode="gray">
              <a:xfrm>
                <a:off x="4748602" y="4477090"/>
                <a:ext cx="77031" cy="65184"/>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5" name="Lithuania" descr="© INSCALE GmbH, 05.05.2010&#10;http://www.presentationload.com/">
                <a:extLst>
                  <a:ext uri="{FF2B5EF4-FFF2-40B4-BE49-F238E27FC236}">
                    <a16:creationId xmlns:a16="http://schemas.microsoft.com/office/drawing/2014/main" id="{45B7EC8B-01B1-8A21-5E38-D700AC3030F9}"/>
                  </a:ext>
                </a:extLst>
              </p:cNvPr>
              <p:cNvSpPr/>
              <p:nvPr/>
            </p:nvSpPr>
            <p:spPr bwMode="gray">
              <a:xfrm>
                <a:off x="6147001" y="3736412"/>
                <a:ext cx="515513" cy="296272"/>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6" name="Liechtenstein" descr="© INSCALE GmbH, 05.05.2010&#10;http://www.presentationload.com/">
                <a:extLst>
                  <a:ext uri="{FF2B5EF4-FFF2-40B4-BE49-F238E27FC236}">
                    <a16:creationId xmlns:a16="http://schemas.microsoft.com/office/drawing/2014/main" id="{6EA760C9-9C6E-4620-5A38-43D4ABF276F9}"/>
                  </a:ext>
                </a:extLst>
              </p:cNvPr>
              <p:cNvSpPr/>
              <p:nvPr/>
            </p:nvSpPr>
            <p:spPr bwMode="gray">
              <a:xfrm>
                <a:off x="5092276" y="4808915"/>
                <a:ext cx="23701" cy="35551"/>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7" name="Latvia" descr="© INSCALE GmbH, 05.05.2010&#10;http://www.presentationload.com/">
                <a:extLst>
                  <a:ext uri="{FF2B5EF4-FFF2-40B4-BE49-F238E27FC236}">
                    <a16:creationId xmlns:a16="http://schemas.microsoft.com/office/drawing/2014/main" id="{8746A41B-EA93-18F8-55D9-C0A07D2A40FB}"/>
                  </a:ext>
                </a:extLst>
              </p:cNvPr>
              <p:cNvSpPr/>
              <p:nvPr/>
            </p:nvSpPr>
            <p:spPr bwMode="gray">
              <a:xfrm>
                <a:off x="6135147" y="3552722"/>
                <a:ext cx="645870" cy="272569"/>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8" name="Kosovo" descr="© INSCALE GmbH, 05.05.2010&#10;http://www.presentationload.com/">
                <a:extLst>
                  <a:ext uri="{FF2B5EF4-FFF2-40B4-BE49-F238E27FC236}">
                    <a16:creationId xmlns:a16="http://schemas.microsoft.com/office/drawing/2014/main" id="{6810C024-85BA-3FD3-9254-4A10C5CFD69E}"/>
                  </a:ext>
                </a:extLst>
              </p:cNvPr>
              <p:cNvSpPr/>
              <p:nvPr/>
            </p:nvSpPr>
            <p:spPr bwMode="gray">
              <a:xfrm>
                <a:off x="6140356" y="5258045"/>
                <a:ext cx="195287" cy="19673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59" name="Italy" descr="© INSCALE GmbH, 05.05.2010&#10;http://www.presentationload.com/">
                <a:extLst>
                  <a:ext uri="{FF2B5EF4-FFF2-40B4-BE49-F238E27FC236}">
                    <a16:creationId xmlns:a16="http://schemas.microsoft.com/office/drawing/2014/main" id="{1A9FEFAB-4579-5FCE-3923-AE2C4EFC0041}"/>
                  </a:ext>
                </a:extLst>
              </p:cNvPr>
              <p:cNvSpPr/>
              <p:nvPr/>
            </p:nvSpPr>
            <p:spPr bwMode="gray">
              <a:xfrm>
                <a:off x="4819707" y="4832614"/>
                <a:ext cx="1179157" cy="1256189"/>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61" name="Hungary" descr="© INSCALE GmbH, 05.05.2010&#10;http://www.presentationload.com/">
                <a:extLst>
                  <a:ext uri="{FF2B5EF4-FFF2-40B4-BE49-F238E27FC236}">
                    <a16:creationId xmlns:a16="http://schemas.microsoft.com/office/drawing/2014/main" id="{0753A3E3-EC1E-9D39-76F7-617620298384}"/>
                  </a:ext>
                </a:extLst>
              </p:cNvPr>
              <p:cNvSpPr/>
              <p:nvPr/>
            </p:nvSpPr>
            <p:spPr bwMode="gray">
              <a:xfrm>
                <a:off x="5744073" y="4660776"/>
                <a:ext cx="645870" cy="337752"/>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62" name="Greece" descr="© INSCALE GmbH, 05.05.2010&#10;http://www.presentationload.com/">
                <a:extLst>
                  <a:ext uri="{FF2B5EF4-FFF2-40B4-BE49-F238E27FC236}">
                    <a16:creationId xmlns:a16="http://schemas.microsoft.com/office/drawing/2014/main" id="{A5782056-6D32-A662-9F4D-B42FFAF112B1}"/>
                  </a:ext>
                </a:extLst>
              </p:cNvPr>
              <p:cNvSpPr/>
              <p:nvPr/>
            </p:nvSpPr>
            <p:spPr bwMode="gray">
              <a:xfrm>
                <a:off x="6182544" y="5478484"/>
                <a:ext cx="805853" cy="835488"/>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accent6">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63" name="Germany" descr="© INSCALE GmbH, 05.05.2010&#10;http://www.presentationload.com/">
                <a:extLst>
                  <a:ext uri="{FF2B5EF4-FFF2-40B4-BE49-F238E27FC236}">
                    <a16:creationId xmlns:a16="http://schemas.microsoft.com/office/drawing/2014/main" id="{21C9741C-15E5-1867-105F-E1DD008F1540}"/>
                  </a:ext>
                </a:extLst>
              </p:cNvPr>
              <p:cNvSpPr/>
              <p:nvPr/>
            </p:nvSpPr>
            <p:spPr bwMode="gray">
              <a:xfrm>
                <a:off x="4772302" y="3914174"/>
                <a:ext cx="853261" cy="894739"/>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64" name="France" descr="© INSCALE GmbH, 05.05.2010&#10;http://www.presentationload.com/">
                <a:extLst>
                  <a:ext uri="{FF2B5EF4-FFF2-40B4-BE49-F238E27FC236}">
                    <a16:creationId xmlns:a16="http://schemas.microsoft.com/office/drawing/2014/main" id="{0CDAB25F-F29D-C99B-F16E-74AAFC2F8B0C}"/>
                  </a:ext>
                </a:extLst>
              </p:cNvPr>
              <p:cNvSpPr/>
              <p:nvPr/>
            </p:nvSpPr>
            <p:spPr bwMode="gray">
              <a:xfrm>
                <a:off x="3735354" y="4346729"/>
                <a:ext cx="1380624" cy="1191014"/>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65" name="Finland" descr="© INSCALE GmbH, 05.05.2010&#10;http://www.presentationload.com/">
                <a:extLst>
                  <a:ext uri="{FF2B5EF4-FFF2-40B4-BE49-F238E27FC236}">
                    <a16:creationId xmlns:a16="http://schemas.microsoft.com/office/drawing/2014/main" id="{801464C0-1845-6181-F0F6-54DC3A0A08C4}"/>
                  </a:ext>
                </a:extLst>
              </p:cNvPr>
              <p:cNvSpPr/>
              <p:nvPr/>
            </p:nvSpPr>
            <p:spPr bwMode="gray">
              <a:xfrm>
                <a:off x="5998858" y="2260983"/>
                <a:ext cx="953996" cy="1084355"/>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67" name="Estonia" descr="© INSCALE GmbH, 05.05.2010&#10;http://www.presentationload.com/">
                <a:extLst>
                  <a:ext uri="{FF2B5EF4-FFF2-40B4-BE49-F238E27FC236}">
                    <a16:creationId xmlns:a16="http://schemas.microsoft.com/office/drawing/2014/main" id="{2277C493-0F16-236A-6C08-202A4754FF0C}"/>
                  </a:ext>
                </a:extLst>
              </p:cNvPr>
              <p:cNvSpPr/>
              <p:nvPr/>
            </p:nvSpPr>
            <p:spPr bwMode="gray">
              <a:xfrm>
                <a:off x="6188471" y="3380890"/>
                <a:ext cx="527363" cy="237017"/>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68" name="Denmark" descr="© INSCALE GmbH, 05.05.2010&#10;http://www.presentationload.com/">
                <a:extLst>
                  <a:ext uri="{FF2B5EF4-FFF2-40B4-BE49-F238E27FC236}">
                    <a16:creationId xmlns:a16="http://schemas.microsoft.com/office/drawing/2014/main" id="{1225F713-8240-06CD-FE92-3AA2CF4C6495}"/>
                  </a:ext>
                </a:extLst>
              </p:cNvPr>
              <p:cNvSpPr/>
              <p:nvPr/>
            </p:nvSpPr>
            <p:spPr bwMode="gray">
              <a:xfrm>
                <a:off x="4979693" y="3606055"/>
                <a:ext cx="420706" cy="355521"/>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69" name="Czech Republic" descr="© INSCALE GmbH, 05.05.2010&#10;http://www.presentationload.com/">
                <a:extLst>
                  <a:ext uri="{FF2B5EF4-FFF2-40B4-BE49-F238E27FC236}">
                    <a16:creationId xmlns:a16="http://schemas.microsoft.com/office/drawing/2014/main" id="{A9B794BE-3207-B770-F958-CA54D95C0B1B}"/>
                  </a:ext>
                </a:extLst>
              </p:cNvPr>
              <p:cNvSpPr/>
              <p:nvPr/>
            </p:nvSpPr>
            <p:spPr bwMode="gray">
              <a:xfrm>
                <a:off x="5352991" y="4370433"/>
                <a:ext cx="639942" cy="290347"/>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70" name="Croatia" descr="© INSCALE GmbH, 05.05.2010&#10;http://www.presentationload.com/">
                <a:extLst>
                  <a:ext uri="{FF2B5EF4-FFF2-40B4-BE49-F238E27FC236}">
                    <a16:creationId xmlns:a16="http://schemas.microsoft.com/office/drawing/2014/main" id="{CA9EE1FF-B122-15A7-3E11-904324770F58}"/>
                  </a:ext>
                </a:extLst>
              </p:cNvPr>
              <p:cNvSpPr/>
              <p:nvPr/>
            </p:nvSpPr>
            <p:spPr bwMode="gray">
              <a:xfrm>
                <a:off x="5507056" y="4909645"/>
                <a:ext cx="556989" cy="414776"/>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71" name="Bulgaria" descr="© INSCALE GmbH, 05.05.2010&#10;http://www.presentationload.com/">
                <a:extLst>
                  <a:ext uri="{FF2B5EF4-FFF2-40B4-BE49-F238E27FC236}">
                    <a16:creationId xmlns:a16="http://schemas.microsoft.com/office/drawing/2014/main" id="{590BEA4A-B22B-E47C-2FA5-1572F92E605F}"/>
                  </a:ext>
                </a:extLst>
              </p:cNvPr>
              <p:cNvSpPr/>
              <p:nvPr/>
            </p:nvSpPr>
            <p:spPr bwMode="gray">
              <a:xfrm>
                <a:off x="6366236" y="5188141"/>
                <a:ext cx="598468" cy="343675"/>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72" name="Bosnia and Herzegovina" descr="© INSCALE GmbH, 05.05.2010&#10;http://www.presentationload.com/">
                <a:extLst>
                  <a:ext uri="{FF2B5EF4-FFF2-40B4-BE49-F238E27FC236}">
                    <a16:creationId xmlns:a16="http://schemas.microsoft.com/office/drawing/2014/main" id="{01058808-0BCA-7597-CA57-1F8BEF46CD83}"/>
                  </a:ext>
                </a:extLst>
              </p:cNvPr>
              <p:cNvSpPr/>
              <p:nvPr/>
            </p:nvSpPr>
            <p:spPr bwMode="gray">
              <a:xfrm>
                <a:off x="5690743" y="5051855"/>
                <a:ext cx="402924" cy="355521"/>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73" name="Belgium" descr="© INSCALE GmbH, 05.05.2010&#10;http://www.presentationload.com/">
                <a:extLst>
                  <a:ext uri="{FF2B5EF4-FFF2-40B4-BE49-F238E27FC236}">
                    <a16:creationId xmlns:a16="http://schemas.microsoft.com/office/drawing/2014/main" id="{FFC19A7B-08BE-000B-7F79-D846F1CDF2AA}"/>
                  </a:ext>
                </a:extLst>
              </p:cNvPr>
              <p:cNvSpPr/>
              <p:nvPr/>
            </p:nvSpPr>
            <p:spPr bwMode="gray">
              <a:xfrm>
                <a:off x="4481959" y="4323032"/>
                <a:ext cx="337751" cy="231092"/>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74" name="Belarus" descr="© INSCALE GmbH, 05.05.2010&#10;http://www.presentationload.com/">
                <a:extLst>
                  <a:ext uri="{FF2B5EF4-FFF2-40B4-BE49-F238E27FC236}">
                    <a16:creationId xmlns:a16="http://schemas.microsoft.com/office/drawing/2014/main" id="{DAA5288C-FC57-4E9C-D6F0-3C8C1280327A}"/>
                  </a:ext>
                </a:extLst>
              </p:cNvPr>
              <p:cNvSpPr/>
              <p:nvPr/>
            </p:nvSpPr>
            <p:spPr bwMode="gray">
              <a:xfrm>
                <a:off x="6372166" y="3771963"/>
                <a:ext cx="865111" cy="562915"/>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575" name="Austria" descr="© INSCALE GmbH, 05.05.2010&#10;http://www.presentationload.com/">
                <a:extLst>
                  <a:ext uri="{FF2B5EF4-FFF2-40B4-BE49-F238E27FC236}">
                    <a16:creationId xmlns:a16="http://schemas.microsoft.com/office/drawing/2014/main" id="{A2F36623-216E-16E5-8542-EDA0441A109A}"/>
                  </a:ext>
                </a:extLst>
              </p:cNvPr>
              <p:cNvSpPr/>
              <p:nvPr/>
            </p:nvSpPr>
            <p:spPr bwMode="gray">
              <a:xfrm>
                <a:off x="5115980" y="4607450"/>
                <a:ext cx="693271" cy="30811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64" name="Andorra" descr="© INSCALE GmbH, 05.05.2010&#10;http://www.presentationload.com/">
                <a:extLst>
                  <a:ext uri="{FF2B5EF4-FFF2-40B4-BE49-F238E27FC236}">
                    <a16:creationId xmlns:a16="http://schemas.microsoft.com/office/drawing/2014/main" id="{EA203088-7628-ED70-5A99-1FCDD2EBBD35}"/>
                  </a:ext>
                </a:extLst>
              </p:cNvPr>
              <p:cNvSpPr/>
              <p:nvPr/>
            </p:nvSpPr>
            <p:spPr bwMode="gray">
              <a:xfrm>
                <a:off x="4310127" y="5371831"/>
                <a:ext cx="47405" cy="23701"/>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sp>
            <p:nvSpPr>
              <p:cNvPr id="65" name="Albania" descr="© INSCALE GmbH, 05.05.2010&#10;http://www.presentationload.com/">
                <a:extLst>
                  <a:ext uri="{FF2B5EF4-FFF2-40B4-BE49-F238E27FC236}">
                    <a16:creationId xmlns:a16="http://schemas.microsoft.com/office/drawing/2014/main" id="{793B9D75-0B7E-B301-12BB-864D8C4EBD5B}"/>
                  </a:ext>
                </a:extLst>
              </p:cNvPr>
              <p:cNvSpPr/>
              <p:nvPr/>
            </p:nvSpPr>
            <p:spPr bwMode="gray">
              <a:xfrm>
                <a:off x="6034434" y="5371818"/>
                <a:ext cx="219242" cy="373303"/>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a:solidFill>
                    <a:schemeClr val="lt1"/>
                  </a:solidFill>
                </a:endParaRPr>
              </a:p>
            </p:txBody>
          </p:sp>
        </p:grpSp>
        <p:sp>
          <p:nvSpPr>
            <p:cNvPr id="538" name="Oval 537">
              <a:extLst>
                <a:ext uri="{FF2B5EF4-FFF2-40B4-BE49-F238E27FC236}">
                  <a16:creationId xmlns:a16="http://schemas.microsoft.com/office/drawing/2014/main" id="{A5C1CD01-5258-ADF0-4CF3-899AE00FE8E1}"/>
                </a:ext>
              </a:extLst>
            </p:cNvPr>
            <p:cNvSpPr>
              <a:spLocks/>
            </p:cNvSpPr>
            <p:nvPr/>
          </p:nvSpPr>
          <p:spPr>
            <a:xfrm>
              <a:off x="5937867" y="229423"/>
              <a:ext cx="1879047" cy="664026"/>
            </a:xfrm>
            <a:prstGeom prst="ellipse">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sp>
        <p:nvSpPr>
          <p:cNvPr id="6" name="Rectangle 5" hidden="1">
            <a:extLst>
              <a:ext uri="{FF2B5EF4-FFF2-40B4-BE49-F238E27FC236}">
                <a16:creationId xmlns:a16="http://schemas.microsoft.com/office/drawing/2014/main" id="{D9B30F05-2797-4A89-B43C-804B3199DCAD}"/>
              </a:ext>
            </a:extLst>
          </p:cNvPr>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2">
            <a:extLst>
              <a:ext uri="{FF2B5EF4-FFF2-40B4-BE49-F238E27FC236}">
                <a16:creationId xmlns:a16="http://schemas.microsoft.com/office/drawing/2014/main" id="{72760CB7-9BB9-40D0-8181-F77E36A4C10C}"/>
              </a:ext>
            </a:extLst>
          </p:cNvPr>
          <p:cNvSpPr>
            <a:spLocks noGrp="1"/>
          </p:cNvSpPr>
          <p:nvPr>
            <p:ph type="title"/>
          </p:nvPr>
        </p:nvSpPr>
        <p:spPr/>
        <p:txBody>
          <a:bodyPr vert="horz"/>
          <a:lstStyle/>
          <a:p>
            <a:r>
              <a:rPr lang="en-GB"/>
              <a:t>Across Europe, a rising number of countries have introduced strategies and targets for energy storage deployment</a:t>
            </a:r>
            <a:endParaRPr lang="en-GB">
              <a:solidFill>
                <a:schemeClr val="tx1"/>
              </a:solidFill>
            </a:endParaRPr>
          </a:p>
        </p:txBody>
      </p:sp>
      <p:sp>
        <p:nvSpPr>
          <p:cNvPr id="5" name="Text Placeholder 4">
            <a:extLst>
              <a:ext uri="{FF2B5EF4-FFF2-40B4-BE49-F238E27FC236}">
                <a16:creationId xmlns:a16="http://schemas.microsoft.com/office/drawing/2014/main" id="{36A50652-5174-7F58-DC48-32D0F5F90B9C}"/>
              </a:ext>
            </a:extLst>
          </p:cNvPr>
          <p:cNvSpPr>
            <a:spLocks noGrp="1"/>
          </p:cNvSpPr>
          <p:nvPr>
            <p:ph type="body" sz="quarter" idx="31"/>
          </p:nvPr>
        </p:nvSpPr>
        <p:spPr>
          <a:xfrm>
            <a:off x="381599" y="79401"/>
            <a:ext cx="5949064" cy="184666"/>
          </a:xfrm>
        </p:spPr>
        <p:txBody>
          <a:bodyPr/>
          <a:lstStyle/>
          <a:p>
            <a:pPr>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Policy and regulatory environment - </a:t>
            </a:r>
            <a:r>
              <a:rPr lang="en-GB" sz="1200"/>
              <a:t>Battery storage policies, targets and subsidies </a:t>
            </a:r>
          </a:p>
        </p:txBody>
      </p:sp>
      <p:sp>
        <p:nvSpPr>
          <p:cNvPr id="151" name="Oval 150">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152" name="Oval 151">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19" name="Text Placeholder 4">
            <a:extLst>
              <a:ext uri="{FF2B5EF4-FFF2-40B4-BE49-F238E27FC236}">
                <a16:creationId xmlns:a16="http://schemas.microsoft.com/office/drawing/2014/main" id="{634C667B-9C8B-FC13-54D4-F306ABF29F9E}"/>
              </a:ext>
            </a:extLst>
          </p:cNvPr>
          <p:cNvSpPr txBox="1">
            <a:spLocks/>
          </p:cNvSpPr>
          <p:nvPr/>
        </p:nvSpPr>
        <p:spPr>
          <a:xfrm>
            <a:off x="380588" y="6729205"/>
            <a:ext cx="11428800"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Sources: Aurora Energy Research, National Governments, TSOs</a:t>
            </a:r>
          </a:p>
        </p:txBody>
      </p:sp>
      <p:graphicFrame>
        <p:nvGraphicFramePr>
          <p:cNvPr id="20" name="Table 19">
            <a:extLst>
              <a:ext uri="{FF2B5EF4-FFF2-40B4-BE49-F238E27FC236}">
                <a16:creationId xmlns:a16="http://schemas.microsoft.com/office/drawing/2014/main" id="{7AC00230-9FB9-7020-CDFF-8EFCFA1CC37C}"/>
              </a:ext>
            </a:extLst>
          </p:cNvPr>
          <p:cNvGraphicFramePr>
            <a:graphicFrameLocks noGrp="1"/>
          </p:cNvGraphicFramePr>
          <p:nvPr>
            <p:extLst>
              <p:ext uri="{D42A27DB-BD31-4B8C-83A1-F6EECF244321}">
                <p14:modId xmlns:p14="http://schemas.microsoft.com/office/powerpoint/2010/main" val="1271061674"/>
              </p:ext>
            </p:extLst>
          </p:nvPr>
        </p:nvGraphicFramePr>
        <p:xfrm>
          <a:off x="5694108" y="1438365"/>
          <a:ext cx="6115613" cy="4823998"/>
        </p:xfrm>
        <a:graphic>
          <a:graphicData uri="http://schemas.openxmlformats.org/drawingml/2006/table">
            <a:tbl>
              <a:tblPr firstRow="1" bandRow="1">
                <a:tableStyleId>{2D5ABB26-0587-4C30-8999-92F81FD0307C}</a:tableStyleId>
              </a:tblPr>
              <a:tblGrid>
                <a:gridCol w="219437">
                  <a:extLst>
                    <a:ext uri="{9D8B030D-6E8A-4147-A177-3AD203B41FA5}">
                      <a16:colId xmlns:a16="http://schemas.microsoft.com/office/drawing/2014/main" val="4057435595"/>
                    </a:ext>
                  </a:extLst>
                </a:gridCol>
                <a:gridCol w="1412264">
                  <a:extLst>
                    <a:ext uri="{9D8B030D-6E8A-4147-A177-3AD203B41FA5}">
                      <a16:colId xmlns:a16="http://schemas.microsoft.com/office/drawing/2014/main" val="303839564"/>
                    </a:ext>
                  </a:extLst>
                </a:gridCol>
                <a:gridCol w="4483912">
                  <a:extLst>
                    <a:ext uri="{9D8B030D-6E8A-4147-A177-3AD203B41FA5}">
                      <a16:colId xmlns:a16="http://schemas.microsoft.com/office/drawing/2014/main" val="3811360058"/>
                    </a:ext>
                  </a:extLst>
                </a:gridCol>
              </a:tblGrid>
              <a:tr h="199154">
                <a:tc gridSpan="2">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Legend</a:t>
                      </a:r>
                    </a:p>
                  </a:txBody>
                  <a:tcPr marL="57574"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gend</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licies and targets</a:t>
                      </a:r>
                    </a:p>
                  </a:txBody>
                  <a:tcPr marL="57574"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711763406"/>
                  </a:ext>
                </a:extLst>
              </a:tr>
              <a:tr h="441391">
                <a:tc>
                  <a:txBody>
                    <a:bodyPr/>
                    <a:lstStyle/>
                    <a:p>
                      <a:pPr marL="9525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1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534" marR="0" marT="0" marB="36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9525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 specific strategy/plan</a:t>
                      </a:r>
                    </a:p>
                  </a:txBody>
                  <a:tcPr marL="72534" marR="72000" marT="0" marB="36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1" i="1" u="none" strike="noStrike" kern="1200" cap="none" spc="0" normalizeH="0" baseline="0" noProof="0">
                          <a:ln>
                            <a:noFill/>
                          </a:ln>
                          <a:solidFill>
                            <a:srgbClr val="9F3C1C"/>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  </a:t>
                      </a:r>
                      <a:r>
                        <a:rPr lang="en-GB" sz="1100" b="1" i="0" u="none" strike="noStrike" kern="1200" baseline="0">
                          <a:solidFill>
                            <a:srgbClr val="808080"/>
                          </a:solidFill>
                          <a:highlight>
                            <a:srgbClr val="808080"/>
                          </a:highlight>
                          <a:latin typeface="Lato" panose="020F0502020204030203" pitchFamily="34" charset="0"/>
                        </a:rPr>
                        <a:t>X                                                                                                                        X</a:t>
                      </a:r>
                      <a:endParaRPr lang="en-GB" sz="1100">
                        <a:solidFill>
                          <a:srgbClr val="9F3C1C"/>
                        </a:solidFil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5490119"/>
                  </a:ext>
                </a:extLst>
              </a:tr>
              <a:tr h="1636312">
                <a:tc>
                  <a:txBody>
                    <a:bodyPr/>
                    <a:lstStyle/>
                    <a:p>
                      <a:pPr marL="9525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1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534" marR="0" marT="0" marB="36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E57F"/>
                    </a:solidFill>
                  </a:tcPr>
                </a:tc>
                <a:tc>
                  <a:txBody>
                    <a:bodyPr/>
                    <a:lstStyle/>
                    <a:p>
                      <a:pPr marL="9525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rategy or plan for capacity deployment in place, but without commitments and not legislated (</a:t>
                      </a:r>
                      <a:r>
                        <a:rPr kumimoji="0" lang="en-GB" sz="1100" b="0" i="0" u="none" strike="noStrike" kern="1200" cap="none" spc="0" normalizeH="0" baseline="0" noProof="0" err="1">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g</a:t>
                      </a:r>
                      <a:r>
                        <a:rPr kumimoji="0" lang="en-GB" sz="11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non-binding or TSO targets only)</a:t>
                      </a:r>
                    </a:p>
                  </a:txBody>
                  <a:tcPr marL="72534" marR="72000" marT="0" marB="36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E57F"/>
                    </a:solidFill>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1" i="1" u="none" strike="noStrike" kern="1200" cap="none" spc="0" normalizeH="0" baseline="0" noProof="0">
                          <a:ln>
                            <a:noFill/>
                          </a:ln>
                          <a:solidFill>
                            <a:schemeClr val="accent1">
                              <a:lumMod val="75000"/>
                            </a:schemeClr>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a:t>
                      </a:r>
                      <a:r>
                        <a:rPr kumimoji="0" lang="en-GB" sz="11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i="0" u="none" strike="noStrike" kern="1200" baseline="0">
                          <a:solidFill>
                            <a:srgbClr val="808080"/>
                          </a:solidFill>
                          <a:highlight>
                            <a:srgbClr val="808080"/>
                          </a:highlight>
                          <a:latin typeface="Lato" panose="020F0502020204030203" pitchFamily="34" charset="0"/>
                        </a:rPr>
                        <a:t>X                                                                                                                        X</a:t>
                      </a:r>
                      <a:endParaRPr kumimoji="0" lang="en-GB" sz="11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31274055"/>
                  </a:ext>
                </a:extLst>
              </a:tr>
              <a:tr h="1551374">
                <a:tc rowSpan="3">
                  <a:txBody>
                    <a:bodyPr/>
                    <a:lstStyle/>
                    <a:p>
                      <a:pPr marL="88900" indent="0">
                        <a:spcBef>
                          <a:spcPts val="600"/>
                        </a:spcBef>
                        <a:buFont typeface="Arial" panose="020B0604020202020204" pitchFamily="34" charset="0"/>
                        <a:buNone/>
                      </a:pP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534" marR="0" marT="0" marB="36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rowSpan="3">
                  <a:txBody>
                    <a:bodyPr/>
                    <a:lstStyle/>
                    <a:p>
                      <a:pPr marL="88900" indent="0">
                        <a:spcBef>
                          <a:spcPts val="600"/>
                        </a:spcBef>
                        <a:buFont typeface="Arial" panose="020B0604020202020204" pitchFamily="34" charset="0"/>
                        <a:buNone/>
                      </a:pP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rategy or plan for battery capacity deployment in place with strong commitments e.g. legislated in policy, through auctions or National Energy and Climate Plans (NECP)</a:t>
                      </a:r>
                    </a:p>
                  </a:txBody>
                  <a:tcPr marL="72534" marR="72000" marT="0" marB="362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1" i="1" u="none" strike="noStrike" kern="1200" cap="none" spc="0" normalizeH="0" baseline="0" noProof="0">
                          <a:ln>
                            <a:noFill/>
                          </a:ln>
                          <a:solidFill>
                            <a:srgbClr val="657D1A"/>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a:t>
                      </a:r>
                      <a:r>
                        <a:rPr kumimoji="0" lang="en-GB" sz="1100" b="1" i="0" u="none" strike="noStrike" kern="1200" cap="none" spc="0" normalizeH="0" baseline="0" noProof="0">
                          <a:ln>
                            <a:noFill/>
                          </a:ln>
                          <a:solidFill>
                            <a:srgbClr val="657D1A"/>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i="0" u="none" strike="noStrike" kern="1200" baseline="0">
                          <a:solidFill>
                            <a:srgbClr val="808080"/>
                          </a:solidFill>
                          <a:highlight>
                            <a:srgbClr val="808080"/>
                          </a:highlight>
                          <a:latin typeface="Lato" panose="020F0502020204030203" pitchFamily="34" charset="0"/>
                        </a:rPr>
                        <a:t>X                                                                                                                        X</a:t>
                      </a:r>
                      <a:endParaRPr kumimoji="0" lang="en-GB" sz="1100" b="1" i="0" u="none" strike="noStrike" kern="1200" cap="none" spc="0" normalizeH="0" baseline="0" noProof="0">
                        <a:ln>
                          <a:noFill/>
                        </a:ln>
                        <a:solidFill>
                          <a:srgbClr val="657D1A"/>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GB" sz="1100" b="0"/>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8807788"/>
                  </a:ext>
                </a:extLst>
              </a:tr>
              <a:tr h="398307">
                <a:tc vMerge="1">
                  <a:txBody>
                    <a:bodyPr/>
                    <a:lstStyle/>
                    <a:p>
                      <a:endParaRPr lang="en-GB"/>
                    </a:p>
                  </a:txBody>
                  <a:tcPr>
                    <a:lnT w="9525" cap="flat" cmpd="sng" algn="ctr">
                      <a:solidFill>
                        <a:schemeClr val="accent6"/>
                      </a:solidFill>
                      <a:prstDash val="solid"/>
                      <a:round/>
                      <a:headEnd type="none" w="med" len="med"/>
                      <a:tailEnd type="none" w="med" len="med"/>
                    </a:lnT>
                  </a:tcPr>
                </a:tc>
                <a:tc vMerge="1">
                  <a:txBody>
                    <a:bodyPr/>
                    <a:lstStyle/>
                    <a:p>
                      <a:endParaRPr lang="en-GB"/>
                    </a:p>
                  </a:txBody>
                  <a:tcPr>
                    <a:lnT w="9525" cap="flat" cmpd="sng" algn="ctr">
                      <a:solidFill>
                        <a:schemeClr val="accent6"/>
                      </a:solidFill>
                      <a:prstDash val="solid"/>
                      <a:round/>
                      <a:headEnd type="none" w="med" len="med"/>
                      <a:tailEnd type="none" w="med" len="med"/>
                    </a:lnT>
                  </a:tcPr>
                </a:tc>
                <a:tc>
                  <a:txBody>
                    <a:body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GB" sz="1100"/>
                    </a:p>
                  </a:txBody>
                  <a:tcPr marL="72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4264137"/>
                  </a:ext>
                </a:extLst>
              </a:tr>
              <a:tr h="597460">
                <a:tc vMerge="1">
                  <a:txBody>
                    <a:bodyPr/>
                    <a:lstStyle/>
                    <a:p>
                      <a:endParaRPr lang="en-GB"/>
                    </a:p>
                  </a:txBody>
                  <a:tcPr/>
                </a:tc>
                <a:tc vMerge="1">
                  <a:txBody>
                    <a:bodyPr/>
                    <a:lstStyle/>
                    <a:p>
                      <a:endParaRPr lang="en-GB"/>
                    </a:p>
                  </a:txBody>
                  <a:tcPr/>
                </a:tc>
                <a:tc>
                  <a:txBody>
                    <a:bodyPr/>
                    <a:lstStyle/>
                    <a:p>
                      <a:pPr marL="0" marR="0" lvl="0" indent="0" algn="l" defTabSz="685783"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GB" sz="1100" b="0">
                        <a:solidFill>
                          <a:srgbClr val="FF0000"/>
                        </a:solidFil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6011174"/>
                  </a:ext>
                </a:extLst>
              </a:tr>
            </a:tbl>
          </a:graphicData>
        </a:graphic>
      </p:graphicFrame>
      <p:graphicFrame>
        <p:nvGraphicFramePr>
          <p:cNvPr id="39" name="Chart 38">
            <a:extLst>
              <a:ext uri="{FF2B5EF4-FFF2-40B4-BE49-F238E27FC236}">
                <a16:creationId xmlns:a16="http://schemas.microsoft.com/office/drawing/2014/main" id="{4AFA70DE-66B8-C045-E0EB-13723D6E3B80}"/>
              </a:ext>
            </a:extLst>
          </p:cNvPr>
          <p:cNvGraphicFramePr/>
          <p:nvPr>
            <p:custDataLst>
              <p:tags r:id="rId3"/>
            </p:custDataLst>
            <p:extLst>
              <p:ext uri="{D42A27DB-BD31-4B8C-83A1-F6EECF244321}">
                <p14:modId xmlns:p14="http://schemas.microsoft.com/office/powerpoint/2010/main" val="3684627426"/>
              </p:ext>
            </p:extLst>
          </p:nvPr>
        </p:nvGraphicFramePr>
        <p:xfrm>
          <a:off x="319088" y="4989513"/>
          <a:ext cx="485775" cy="1284287"/>
        </p:xfrm>
        <a:graphic>
          <a:graphicData uri="http://schemas.openxmlformats.org/drawingml/2006/chart">
            <c:chart xmlns:c="http://schemas.openxmlformats.org/drawingml/2006/chart" xmlns:r="http://schemas.openxmlformats.org/officeDocument/2006/relationships" r:id="rId18"/>
          </a:graphicData>
        </a:graphic>
      </p:graphicFrame>
      <p:sp>
        <p:nvSpPr>
          <p:cNvPr id="29" name="Rectangle 28">
            <a:extLst>
              <a:ext uri="{FF2B5EF4-FFF2-40B4-BE49-F238E27FC236}">
                <a16:creationId xmlns:a16="http://schemas.microsoft.com/office/drawing/2014/main" id="{6FC06024-F9DA-5762-808B-A3E3F9277102}"/>
              </a:ext>
            </a:extLst>
          </p:cNvPr>
          <p:cNvSpPr/>
          <p:nvPr>
            <p:custDataLst>
              <p:tags r:id="rId4"/>
            </p:custDataLst>
          </p:nvPr>
        </p:nvSpPr>
        <p:spPr bwMode="auto">
          <a:xfrm>
            <a:off x="471488" y="5072063"/>
            <a:ext cx="179388" cy="393700"/>
          </a:xfrm>
          <a:prstGeom prst="rect">
            <a:avLst/>
          </a:prstGeom>
          <a:noFill/>
          <a:ln w="22225" cap="flat" cmpd="sng" algn="ctr">
            <a:solidFill>
              <a:schemeClr val="tx1"/>
            </a:solidFill>
            <a:prstDash val="sysDot"/>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4" name="Text Placeholder 19">
            <a:extLst>
              <a:ext uri="{FF2B5EF4-FFF2-40B4-BE49-F238E27FC236}">
                <a16:creationId xmlns:a16="http://schemas.microsoft.com/office/drawing/2014/main" id="{9F9869AF-B0F6-4E89-B216-4EC18C7334C2}"/>
              </a:ext>
            </a:extLst>
          </p:cNvPr>
          <p:cNvSpPr>
            <a:spLocks noGrp="1"/>
          </p:cNvSpPr>
          <p:nvPr>
            <p:custDataLst>
              <p:tags r:id="rId5"/>
            </p:custDataLst>
          </p:nvPr>
        </p:nvSpPr>
        <p:spPr bwMode="auto">
          <a:xfrm>
            <a:off x="319088" y="6234113"/>
            <a:ext cx="482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443CBB2B-C701-43DC-89F2-017E4E037E99}" type="datetime'Co''u''''''''''nt''''''''''r''''y'''''''''''''''''''''''">
              <a:rPr lang="en-GB" altLang="en-US" sz="1000" b="1" smtClean="0">
                <a:effectLst/>
              </a:rPr>
              <a:pPr lvl="0" algn="ctr">
                <a:spcBef>
                  <a:spcPct val="0"/>
                </a:spcBef>
                <a:spcAft>
                  <a:spcPct val="0"/>
                </a:spcAft>
              </a:pPr>
              <a:t>Country</a:t>
            </a:fld>
            <a:endParaRPr lang="en-GB" sz="1000" b="1"/>
          </a:p>
        </p:txBody>
      </p:sp>
      <p:sp>
        <p:nvSpPr>
          <p:cNvPr id="31"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gray">
          <a:xfrm>
            <a:off x="461963" y="489426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rPr>
              <a:t>XX</a:t>
            </a:r>
            <a:endParaRPr lang="en-GB" sz="1000"/>
          </a:p>
        </p:txBody>
      </p:sp>
      <p:sp>
        <p:nvSpPr>
          <p:cNvPr id="515" name="Oval 514">
            <a:extLst>
              <a:ext uri="{FF2B5EF4-FFF2-40B4-BE49-F238E27FC236}">
                <a16:creationId xmlns:a16="http://schemas.microsoft.com/office/drawing/2014/main" id="{2EE78DC3-F514-6129-17D7-7132AAA9BA80}"/>
              </a:ext>
            </a:extLst>
          </p:cNvPr>
          <p:cNvSpPr/>
          <p:nvPr/>
        </p:nvSpPr>
        <p:spPr>
          <a:xfrm>
            <a:off x="5760238" y="1800418"/>
            <a:ext cx="216000" cy="215900"/>
          </a:xfrm>
          <a:prstGeom prst="ellipse">
            <a:avLst/>
          </a:prstGeom>
          <a:solidFill>
            <a:srgbClr val="A13707"/>
          </a:solidFill>
          <a:ln w="38100">
            <a:solidFill>
              <a:srgbClr val="A1370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bg1"/>
                </a:solidFill>
              </a:rPr>
              <a:t>1</a:t>
            </a:r>
          </a:p>
        </p:txBody>
      </p:sp>
      <p:sp>
        <p:nvSpPr>
          <p:cNvPr id="516" name="Oval 515">
            <a:extLst>
              <a:ext uri="{FF2B5EF4-FFF2-40B4-BE49-F238E27FC236}">
                <a16:creationId xmlns:a16="http://schemas.microsoft.com/office/drawing/2014/main" id="{90A9A324-B9D8-B9F6-D7ED-5A75C3C7E5ED}"/>
              </a:ext>
            </a:extLst>
          </p:cNvPr>
          <p:cNvSpPr/>
          <p:nvPr/>
        </p:nvSpPr>
        <p:spPr>
          <a:xfrm>
            <a:off x="5763188" y="4864965"/>
            <a:ext cx="216000" cy="215900"/>
          </a:xfrm>
          <a:prstGeom prst="ellipse">
            <a:avLst/>
          </a:prstGeom>
          <a:solidFill>
            <a:srgbClr val="657D1A"/>
          </a:solidFill>
          <a:ln w="38100">
            <a:solidFill>
              <a:srgbClr val="657D1A"/>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bg1"/>
                </a:solidFill>
              </a:rPr>
              <a:t>3</a:t>
            </a:r>
          </a:p>
        </p:txBody>
      </p:sp>
      <p:sp>
        <p:nvSpPr>
          <p:cNvPr id="517" name="Oval 516">
            <a:extLst>
              <a:ext uri="{FF2B5EF4-FFF2-40B4-BE49-F238E27FC236}">
                <a16:creationId xmlns:a16="http://schemas.microsoft.com/office/drawing/2014/main" id="{509D18C8-2C21-CBC7-101B-7092C0D762E5}"/>
              </a:ext>
            </a:extLst>
          </p:cNvPr>
          <p:cNvSpPr/>
          <p:nvPr/>
        </p:nvSpPr>
        <p:spPr>
          <a:xfrm>
            <a:off x="5769239" y="2816428"/>
            <a:ext cx="216000" cy="215900"/>
          </a:xfrm>
          <a:prstGeom prst="ellipse">
            <a:avLst/>
          </a:prstGeom>
          <a:solidFill>
            <a:schemeClr val="accent1">
              <a:lumMod val="75000"/>
            </a:schemeClr>
          </a:solidFill>
          <a:ln w="3810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bg1"/>
                </a:solidFill>
              </a:rPr>
              <a:t>2</a:t>
            </a:r>
          </a:p>
        </p:txBody>
      </p:sp>
      <p:sp>
        <p:nvSpPr>
          <p:cNvPr id="518" name="Text Placeholder 33">
            <a:extLst>
              <a:ext uri="{FF2B5EF4-FFF2-40B4-BE49-F238E27FC236}">
                <a16:creationId xmlns:a16="http://schemas.microsoft.com/office/drawing/2014/main" id="{8FBD4F81-0E6D-FE3F-4B7B-D35B38E24AA3}"/>
              </a:ext>
            </a:extLst>
          </p:cNvPr>
          <p:cNvSpPr>
            <a:spLocks noGrp="1"/>
          </p:cNvSpPr>
          <p:nvPr>
            <p:ph type="body" sz="quarter" idx="27"/>
          </p:nvPr>
        </p:nvSpPr>
        <p:spPr>
          <a:xfrm>
            <a:off x="5694108" y="1220101"/>
            <a:ext cx="6005858" cy="184666"/>
          </a:xfrm>
        </p:spPr>
        <p:txBody>
          <a:bodyPr/>
          <a:lstStyle/>
          <a:p>
            <a:pPr algn="ctr"/>
            <a:r>
              <a:rPr lang="en-GB" b="1"/>
              <a:t>National government policies and targets for energy storage</a:t>
            </a:r>
          </a:p>
        </p:txBody>
      </p:sp>
      <p:sp>
        <p:nvSpPr>
          <p:cNvPr id="519" name="Text Placeholder 33">
            <a:extLst>
              <a:ext uri="{FF2B5EF4-FFF2-40B4-BE49-F238E27FC236}">
                <a16:creationId xmlns:a16="http://schemas.microsoft.com/office/drawing/2014/main" id="{2ABC5372-06BA-4B5E-44BA-8FBE75D8AFB7}"/>
              </a:ext>
            </a:extLst>
          </p:cNvPr>
          <p:cNvSpPr txBox="1">
            <a:spLocks/>
          </p:cNvSpPr>
          <p:nvPr/>
        </p:nvSpPr>
        <p:spPr>
          <a:xfrm>
            <a:off x="391683" y="1220101"/>
            <a:ext cx="6005858" cy="184666"/>
          </a:xfrm>
          <a:prstGeom prst="rect">
            <a:avLst/>
          </a:prstGeom>
        </p:spPr>
        <p:txBody>
          <a:bodyPr vert="horz"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b="1"/>
              <a:t>Capacity targets for energy storage</a:t>
            </a:r>
          </a:p>
        </p:txBody>
      </p:sp>
      <p:sp>
        <p:nvSpPr>
          <p:cNvPr id="13" name="Rectangle 12">
            <a:extLst>
              <a:ext uri="{FF2B5EF4-FFF2-40B4-BE49-F238E27FC236}">
                <a16:creationId xmlns:a16="http://schemas.microsoft.com/office/drawing/2014/main" id="{B01F9911-73ED-D220-1406-5A4A8E7F0703}"/>
              </a:ext>
            </a:extLst>
          </p:cNvPr>
          <p:cNvSpPr/>
          <p:nvPr>
            <p:custDataLst>
              <p:tags r:id="rId7"/>
            </p:custDataLst>
          </p:nvPr>
        </p:nvSpPr>
        <p:spPr bwMode="auto">
          <a:xfrm>
            <a:off x="958850" y="6200775"/>
            <a:ext cx="179388" cy="133350"/>
          </a:xfrm>
          <a:prstGeom prst="rect">
            <a:avLst/>
          </a:prstGeom>
          <a:solidFill>
            <a:srgbClr val="C8BD88"/>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4" name="Rectangle 13">
            <a:extLst>
              <a:ext uri="{FF2B5EF4-FFF2-40B4-BE49-F238E27FC236}">
                <a16:creationId xmlns:a16="http://schemas.microsoft.com/office/drawing/2014/main" id="{84EA3598-FA3C-728F-115F-9D2F342EB5AB}"/>
              </a:ext>
            </a:extLst>
          </p:cNvPr>
          <p:cNvSpPr/>
          <p:nvPr>
            <p:custDataLst>
              <p:tags r:id="rId8"/>
            </p:custDataLst>
          </p:nvPr>
        </p:nvSpPr>
        <p:spPr bwMode="auto">
          <a:xfrm>
            <a:off x="2535238" y="6200775"/>
            <a:ext cx="179388" cy="133350"/>
          </a:xfrm>
          <a:prstGeom prst="rect">
            <a:avLst/>
          </a:prstGeom>
          <a:solidFill>
            <a:srgbClr val="A6964E"/>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5" name="Rectangle 14">
            <a:extLst>
              <a:ext uri="{FF2B5EF4-FFF2-40B4-BE49-F238E27FC236}">
                <a16:creationId xmlns:a16="http://schemas.microsoft.com/office/drawing/2014/main" id="{2E993922-21E0-85A4-570B-57B02D8FF14A}"/>
              </a:ext>
            </a:extLst>
          </p:cNvPr>
          <p:cNvSpPr/>
          <p:nvPr>
            <p:custDataLst>
              <p:tags r:id="rId9"/>
            </p:custDataLst>
          </p:nvPr>
        </p:nvSpPr>
        <p:spPr bwMode="auto">
          <a:xfrm>
            <a:off x="3736975" y="6200775"/>
            <a:ext cx="179388" cy="133350"/>
          </a:xfrm>
          <a:prstGeom prst="rect">
            <a:avLst/>
          </a:prstGeom>
          <a:solidFill>
            <a:schemeClr val="bg1"/>
          </a:solidFill>
          <a:ln w="22225" cap="flat" cmpd="sng" algn="ctr">
            <a:solidFill>
              <a:schemeClr val="tx1"/>
            </a:solidFill>
            <a:prstDash val="sysDot"/>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auto">
          <a:xfrm>
            <a:off x="1189038" y="6196013"/>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a:effectLst/>
              </a:rPr>
              <a:t>Pumped storage (PSH)</a:t>
            </a:r>
            <a:endParaRPr lang="en-GB" sz="1000"/>
          </a:p>
        </p:txBody>
      </p:sp>
      <p:sp>
        <p:nvSpPr>
          <p:cNvPr id="11"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auto">
          <a:xfrm>
            <a:off x="2765425" y="6196013"/>
            <a:ext cx="869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4CD630C2-3037-49BC-A4F6-D2585FB0EF9D}" type="datetime'''''Batt''''''''''''''''er''y s''t''''''ora''''''g''''''''e'''">
              <a:rPr lang="en-GB" altLang="en-US" sz="1000" smtClean="0">
                <a:effectLst/>
              </a:rPr>
              <a:pPr lvl="0">
                <a:spcBef>
                  <a:spcPct val="0"/>
                </a:spcBef>
                <a:spcAft>
                  <a:spcPct val="0"/>
                </a:spcAft>
              </a:pPr>
              <a:t>Battery storage</a:t>
            </a:fld>
            <a:endParaRPr lang="en-GB" sz="1000"/>
          </a:p>
        </p:txBody>
      </p:sp>
      <p:sp>
        <p:nvSpPr>
          <p:cNvPr id="10"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auto">
          <a:xfrm>
            <a:off x="3967163" y="6196013"/>
            <a:ext cx="998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19B22B0-606C-45BE-8EB7-5DE122B3E118}" type="datetime'''Ad''''''d''it''''i''o''n''''al t''''''a''r''''g''''e''ts'''">
              <a:rPr lang="en-GB" altLang="en-US" sz="1000" smtClean="0">
                <a:effectLst/>
              </a:rPr>
              <a:pPr lvl="0">
                <a:spcBef>
                  <a:spcPct val="0"/>
                </a:spcBef>
                <a:spcAft>
                  <a:spcPct val="0"/>
                </a:spcAft>
              </a:pPr>
              <a:t>Additional targets</a:t>
            </a:fld>
            <a:endParaRPr lang="en-GB" sz="1000"/>
          </a:p>
        </p:txBody>
      </p:sp>
      <p:grpSp>
        <p:nvGrpSpPr>
          <p:cNvPr id="520" name="Group 519">
            <a:extLst>
              <a:ext uri="{FF2B5EF4-FFF2-40B4-BE49-F238E27FC236}">
                <a16:creationId xmlns:a16="http://schemas.microsoft.com/office/drawing/2014/main" id="{4DF0965B-2DD5-439C-5FE8-50129D501631}"/>
              </a:ext>
            </a:extLst>
          </p:cNvPr>
          <p:cNvGrpSpPr/>
          <p:nvPr/>
        </p:nvGrpSpPr>
        <p:grpSpPr>
          <a:xfrm>
            <a:off x="682178" y="3346742"/>
            <a:ext cx="589575" cy="553684"/>
            <a:chOff x="682178" y="3346742"/>
            <a:chExt cx="589575" cy="553684"/>
          </a:xfrm>
        </p:grpSpPr>
        <p:sp>
          <p:nvSpPr>
            <p:cNvPr id="513" name="Rectangle 512">
              <a:extLst>
                <a:ext uri="{FF2B5EF4-FFF2-40B4-BE49-F238E27FC236}">
                  <a16:creationId xmlns:a16="http://schemas.microsoft.com/office/drawing/2014/main" id="{571268B3-FC79-BC96-0B84-25AF385C4A0C}"/>
                </a:ext>
              </a:extLst>
            </p:cNvPr>
            <p:cNvSpPr/>
            <p:nvPr/>
          </p:nvSpPr>
          <p:spPr>
            <a:xfrm rot="854645">
              <a:off x="961853" y="3356820"/>
              <a:ext cx="309900" cy="18466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8" name="Ireland" descr="© INSCALE GmbH, 05.05.2010&#10;http://www.presentationload.com/">
              <a:extLst>
                <a:ext uri="{FF2B5EF4-FFF2-40B4-BE49-F238E27FC236}">
                  <a16:creationId xmlns:a16="http://schemas.microsoft.com/office/drawing/2014/main" id="{613AA055-3E69-0333-2F90-83340B7C9ECC}"/>
                </a:ext>
              </a:extLst>
            </p:cNvPr>
            <p:cNvSpPr>
              <a:spLocks/>
            </p:cNvSpPr>
            <p:nvPr/>
          </p:nvSpPr>
          <p:spPr bwMode="gray">
            <a:xfrm rot="65295">
              <a:off x="682178" y="3346742"/>
              <a:ext cx="527448" cy="553684"/>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accent6">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grpSp>
      <p:grpSp>
        <p:nvGrpSpPr>
          <p:cNvPr id="47" name="Group 46">
            <a:extLst>
              <a:ext uri="{FF2B5EF4-FFF2-40B4-BE49-F238E27FC236}">
                <a16:creationId xmlns:a16="http://schemas.microsoft.com/office/drawing/2014/main" id="{6C7C4482-9604-4913-C32C-6E05A5D34CD6}"/>
              </a:ext>
            </a:extLst>
          </p:cNvPr>
          <p:cNvGrpSpPr/>
          <p:nvPr/>
        </p:nvGrpSpPr>
        <p:grpSpPr>
          <a:xfrm>
            <a:off x="780653" y="1885700"/>
            <a:ext cx="4164580" cy="3086244"/>
            <a:chOff x="3688953" y="1885700"/>
            <a:chExt cx="4164580" cy="3086244"/>
          </a:xfrm>
        </p:grpSpPr>
        <p:sp>
          <p:nvSpPr>
            <p:cNvPr id="49" name="TextBox 48">
              <a:extLst>
                <a:ext uri="{FF2B5EF4-FFF2-40B4-BE49-F238E27FC236}">
                  <a16:creationId xmlns:a16="http://schemas.microsoft.com/office/drawing/2014/main" id="{5D34A981-61FD-D3C5-8945-2D58A5C0B7B5}"/>
                </a:ext>
              </a:extLst>
            </p:cNvPr>
            <p:cNvSpPr txBox="1"/>
            <p:nvPr/>
          </p:nvSpPr>
          <p:spPr>
            <a:xfrm>
              <a:off x="6296025" y="2528862"/>
              <a:ext cx="325438" cy="152400"/>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SWE</a:t>
              </a:r>
            </a:p>
          </p:txBody>
        </p:sp>
        <p:sp>
          <p:nvSpPr>
            <p:cNvPr id="51" name="TextBox 50">
              <a:extLst>
                <a:ext uri="{FF2B5EF4-FFF2-40B4-BE49-F238E27FC236}">
                  <a16:creationId xmlns:a16="http://schemas.microsoft.com/office/drawing/2014/main" id="{8179D078-08AB-938A-C186-5465BC654DE1}"/>
                </a:ext>
              </a:extLst>
            </p:cNvPr>
            <p:cNvSpPr txBox="1"/>
            <p:nvPr/>
          </p:nvSpPr>
          <p:spPr>
            <a:xfrm>
              <a:off x="3688953" y="3590811"/>
              <a:ext cx="376239"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IRE</a:t>
              </a:r>
            </a:p>
          </p:txBody>
        </p:sp>
        <p:sp>
          <p:nvSpPr>
            <p:cNvPr id="52" name="TextBox 51">
              <a:extLst>
                <a:ext uri="{FF2B5EF4-FFF2-40B4-BE49-F238E27FC236}">
                  <a16:creationId xmlns:a16="http://schemas.microsoft.com/office/drawing/2014/main" id="{C4BF1D6F-A0E0-5F90-9D6B-3E54D9ADEFFF}"/>
                </a:ext>
              </a:extLst>
            </p:cNvPr>
            <p:cNvSpPr txBox="1"/>
            <p:nvPr/>
          </p:nvSpPr>
          <p:spPr>
            <a:xfrm>
              <a:off x="4855108" y="4522887"/>
              <a:ext cx="376239"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FRA</a:t>
              </a:r>
            </a:p>
          </p:txBody>
        </p:sp>
        <p:sp>
          <p:nvSpPr>
            <p:cNvPr id="53" name="TextBox 52">
              <a:extLst>
                <a:ext uri="{FF2B5EF4-FFF2-40B4-BE49-F238E27FC236}">
                  <a16:creationId xmlns:a16="http://schemas.microsoft.com/office/drawing/2014/main" id="{3BB2FB1C-33B1-561A-2015-DD9B15D93137}"/>
                </a:ext>
              </a:extLst>
            </p:cNvPr>
            <p:cNvSpPr txBox="1"/>
            <p:nvPr/>
          </p:nvSpPr>
          <p:spPr>
            <a:xfrm>
              <a:off x="5692515" y="3882772"/>
              <a:ext cx="376239"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DEU</a:t>
              </a:r>
            </a:p>
          </p:txBody>
        </p:sp>
        <p:sp>
          <p:nvSpPr>
            <p:cNvPr id="54" name="TextBox 53">
              <a:extLst>
                <a:ext uri="{FF2B5EF4-FFF2-40B4-BE49-F238E27FC236}">
                  <a16:creationId xmlns:a16="http://schemas.microsoft.com/office/drawing/2014/main" id="{43051F99-F6B1-B770-9AB8-49DAE7EA9315}"/>
                </a:ext>
              </a:extLst>
            </p:cNvPr>
            <p:cNvSpPr txBox="1"/>
            <p:nvPr/>
          </p:nvSpPr>
          <p:spPr>
            <a:xfrm>
              <a:off x="5788661" y="3241616"/>
              <a:ext cx="376239"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DNK</a:t>
              </a:r>
            </a:p>
          </p:txBody>
        </p:sp>
        <p:sp>
          <p:nvSpPr>
            <p:cNvPr id="55" name="TextBox 54">
              <a:extLst>
                <a:ext uri="{FF2B5EF4-FFF2-40B4-BE49-F238E27FC236}">
                  <a16:creationId xmlns:a16="http://schemas.microsoft.com/office/drawing/2014/main" id="{7B22CBBF-A1EA-DE7E-6B87-E5E75C124EB9}"/>
                </a:ext>
              </a:extLst>
            </p:cNvPr>
            <p:cNvSpPr txBox="1"/>
            <p:nvPr/>
          </p:nvSpPr>
          <p:spPr>
            <a:xfrm>
              <a:off x="7440676" y="1885700"/>
              <a:ext cx="376239"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FIN</a:t>
              </a:r>
            </a:p>
          </p:txBody>
        </p:sp>
        <p:sp>
          <p:nvSpPr>
            <p:cNvPr id="57" name="TextBox 56">
              <a:extLst>
                <a:ext uri="{FF2B5EF4-FFF2-40B4-BE49-F238E27FC236}">
                  <a16:creationId xmlns:a16="http://schemas.microsoft.com/office/drawing/2014/main" id="{60262B71-CAF3-3A1E-A13E-2A45E4FCBFAE}"/>
                </a:ext>
              </a:extLst>
            </p:cNvPr>
            <p:cNvSpPr txBox="1"/>
            <p:nvPr/>
          </p:nvSpPr>
          <p:spPr>
            <a:xfrm>
              <a:off x="5098724" y="3909153"/>
              <a:ext cx="376239"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BEL</a:t>
              </a:r>
            </a:p>
          </p:txBody>
        </p:sp>
        <p:sp>
          <p:nvSpPr>
            <p:cNvPr id="58" name="TextBox 57">
              <a:extLst>
                <a:ext uri="{FF2B5EF4-FFF2-40B4-BE49-F238E27FC236}">
                  <a16:creationId xmlns:a16="http://schemas.microsoft.com/office/drawing/2014/main" id="{D4EF8D1D-08CF-292D-C69C-5B31EFD9BC2B}"/>
                </a:ext>
              </a:extLst>
            </p:cNvPr>
            <p:cNvSpPr txBox="1"/>
            <p:nvPr/>
          </p:nvSpPr>
          <p:spPr>
            <a:xfrm>
              <a:off x="7263519" y="3306268"/>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LTU</a:t>
              </a:r>
            </a:p>
          </p:txBody>
        </p:sp>
        <p:sp>
          <p:nvSpPr>
            <p:cNvPr id="59" name="TextBox 58">
              <a:extLst>
                <a:ext uri="{FF2B5EF4-FFF2-40B4-BE49-F238E27FC236}">
                  <a16:creationId xmlns:a16="http://schemas.microsoft.com/office/drawing/2014/main" id="{A37B6AFC-6177-8C8E-1E9B-DCF1F1CAE5F6}"/>
                </a:ext>
              </a:extLst>
            </p:cNvPr>
            <p:cNvSpPr txBox="1"/>
            <p:nvPr/>
          </p:nvSpPr>
          <p:spPr>
            <a:xfrm>
              <a:off x="7497109" y="3090076"/>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LVA</a:t>
              </a:r>
            </a:p>
          </p:txBody>
        </p:sp>
        <p:sp>
          <p:nvSpPr>
            <p:cNvPr id="60" name="TextBox 59">
              <a:extLst>
                <a:ext uri="{FF2B5EF4-FFF2-40B4-BE49-F238E27FC236}">
                  <a16:creationId xmlns:a16="http://schemas.microsoft.com/office/drawing/2014/main" id="{A0327396-E849-C923-99DD-164B5F408CB5}"/>
                </a:ext>
              </a:extLst>
            </p:cNvPr>
            <p:cNvSpPr txBox="1"/>
            <p:nvPr/>
          </p:nvSpPr>
          <p:spPr>
            <a:xfrm>
              <a:off x="7523851" y="2801953"/>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EST</a:t>
              </a:r>
            </a:p>
          </p:txBody>
        </p:sp>
        <p:sp>
          <p:nvSpPr>
            <p:cNvPr id="62" name="TextBox 61">
              <a:extLst>
                <a:ext uri="{FF2B5EF4-FFF2-40B4-BE49-F238E27FC236}">
                  <a16:creationId xmlns:a16="http://schemas.microsoft.com/office/drawing/2014/main" id="{8766C6E8-F09B-9247-C159-9D889827FFA1}"/>
                </a:ext>
              </a:extLst>
            </p:cNvPr>
            <p:cNvSpPr txBox="1"/>
            <p:nvPr/>
          </p:nvSpPr>
          <p:spPr>
            <a:xfrm>
              <a:off x="6477185" y="4818056"/>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HRV</a:t>
              </a:r>
            </a:p>
          </p:txBody>
        </p:sp>
        <p:sp>
          <p:nvSpPr>
            <p:cNvPr id="63" name="TextBox 62">
              <a:extLst>
                <a:ext uri="{FF2B5EF4-FFF2-40B4-BE49-F238E27FC236}">
                  <a16:creationId xmlns:a16="http://schemas.microsoft.com/office/drawing/2014/main" id="{0E8C68FD-6DC3-B5C1-3F5C-FC3F58DB7BF8}"/>
                </a:ext>
              </a:extLst>
            </p:cNvPr>
            <p:cNvSpPr txBox="1"/>
            <p:nvPr/>
          </p:nvSpPr>
          <p:spPr>
            <a:xfrm>
              <a:off x="5725866" y="2524099"/>
              <a:ext cx="325438" cy="152400"/>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NOR</a:t>
              </a:r>
            </a:p>
          </p:txBody>
        </p:sp>
        <p:sp>
          <p:nvSpPr>
            <p:cNvPr id="512" name="TextBox 511">
              <a:extLst>
                <a:ext uri="{FF2B5EF4-FFF2-40B4-BE49-F238E27FC236}">
                  <a16:creationId xmlns:a16="http://schemas.microsoft.com/office/drawing/2014/main" id="{5D7CC51A-2E6C-30C4-BB16-F37441AE1139}"/>
                </a:ext>
              </a:extLst>
            </p:cNvPr>
            <p:cNvSpPr txBox="1"/>
            <p:nvPr/>
          </p:nvSpPr>
          <p:spPr>
            <a:xfrm>
              <a:off x="6302912" y="4588702"/>
              <a:ext cx="329682" cy="153888"/>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000" b="1"/>
                <a:t>SVN</a:t>
              </a:r>
            </a:p>
          </p:txBody>
        </p:sp>
      </p:grpSp>
      <p:sp>
        <p:nvSpPr>
          <p:cNvPr id="522" name="TextBox 521">
            <a:extLst>
              <a:ext uri="{FF2B5EF4-FFF2-40B4-BE49-F238E27FC236}">
                <a16:creationId xmlns:a16="http://schemas.microsoft.com/office/drawing/2014/main" id="{A62C8CA5-D453-D8CC-F791-CB09A93897D8}"/>
              </a:ext>
            </a:extLst>
          </p:cNvPr>
          <p:cNvSpPr txBox="1"/>
          <p:nvPr/>
        </p:nvSpPr>
        <p:spPr>
          <a:xfrm>
            <a:off x="4449006" y="5634707"/>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GRC</a:t>
            </a:r>
          </a:p>
        </p:txBody>
      </p:sp>
      <p:sp>
        <p:nvSpPr>
          <p:cNvPr id="523" name="TextBox 522">
            <a:extLst>
              <a:ext uri="{FF2B5EF4-FFF2-40B4-BE49-F238E27FC236}">
                <a16:creationId xmlns:a16="http://schemas.microsoft.com/office/drawing/2014/main" id="{51FE753F-278A-D1DD-1E26-F4E33115F7FA}"/>
              </a:ext>
            </a:extLst>
          </p:cNvPr>
          <p:cNvSpPr txBox="1"/>
          <p:nvPr/>
        </p:nvSpPr>
        <p:spPr>
          <a:xfrm>
            <a:off x="1542130" y="3625798"/>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GBR</a:t>
            </a:r>
          </a:p>
        </p:txBody>
      </p:sp>
      <p:sp>
        <p:nvSpPr>
          <p:cNvPr id="524" name="TextBox 523">
            <a:extLst>
              <a:ext uri="{FF2B5EF4-FFF2-40B4-BE49-F238E27FC236}">
                <a16:creationId xmlns:a16="http://schemas.microsoft.com/office/drawing/2014/main" id="{D204F6D0-3363-D3C1-86D1-667A2D59F78C}"/>
              </a:ext>
            </a:extLst>
          </p:cNvPr>
          <p:cNvSpPr txBox="1"/>
          <p:nvPr/>
        </p:nvSpPr>
        <p:spPr>
          <a:xfrm>
            <a:off x="1317081" y="5483932"/>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ESP</a:t>
            </a:r>
          </a:p>
        </p:txBody>
      </p:sp>
      <p:sp>
        <p:nvSpPr>
          <p:cNvPr id="525" name="TextBox 524">
            <a:extLst>
              <a:ext uri="{FF2B5EF4-FFF2-40B4-BE49-F238E27FC236}">
                <a16:creationId xmlns:a16="http://schemas.microsoft.com/office/drawing/2014/main" id="{E6A234BC-8441-EA41-76B3-873AE8D0BC27}"/>
              </a:ext>
            </a:extLst>
          </p:cNvPr>
          <p:cNvSpPr txBox="1"/>
          <p:nvPr/>
        </p:nvSpPr>
        <p:spPr>
          <a:xfrm>
            <a:off x="758418" y="5354014"/>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PRT</a:t>
            </a:r>
          </a:p>
        </p:txBody>
      </p:sp>
      <p:sp>
        <p:nvSpPr>
          <p:cNvPr id="526" name="TextBox 525">
            <a:extLst>
              <a:ext uri="{FF2B5EF4-FFF2-40B4-BE49-F238E27FC236}">
                <a16:creationId xmlns:a16="http://schemas.microsoft.com/office/drawing/2014/main" id="{78BEBC5E-4A98-27EC-7D08-A8C16F825602}"/>
              </a:ext>
            </a:extLst>
          </p:cNvPr>
          <p:cNvSpPr txBox="1"/>
          <p:nvPr/>
        </p:nvSpPr>
        <p:spPr>
          <a:xfrm>
            <a:off x="3136736" y="5023925"/>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ITA</a:t>
            </a:r>
          </a:p>
        </p:txBody>
      </p:sp>
      <p:sp>
        <p:nvSpPr>
          <p:cNvPr id="527" name="TextBox 526">
            <a:extLst>
              <a:ext uri="{FF2B5EF4-FFF2-40B4-BE49-F238E27FC236}">
                <a16:creationId xmlns:a16="http://schemas.microsoft.com/office/drawing/2014/main" id="{A719D2C5-E67B-0D98-76D6-5F0F487AA946}"/>
              </a:ext>
            </a:extLst>
          </p:cNvPr>
          <p:cNvSpPr txBox="1"/>
          <p:nvPr/>
        </p:nvSpPr>
        <p:spPr>
          <a:xfrm>
            <a:off x="3905306" y="3843063"/>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POL</a:t>
            </a:r>
          </a:p>
        </p:txBody>
      </p:sp>
      <p:sp>
        <p:nvSpPr>
          <p:cNvPr id="528" name="TextBox 527">
            <a:extLst>
              <a:ext uri="{FF2B5EF4-FFF2-40B4-BE49-F238E27FC236}">
                <a16:creationId xmlns:a16="http://schemas.microsoft.com/office/drawing/2014/main" id="{66B961EB-78C1-B23F-EF74-0C800C51B6EF}"/>
              </a:ext>
            </a:extLst>
          </p:cNvPr>
          <p:cNvSpPr txBox="1"/>
          <p:nvPr/>
        </p:nvSpPr>
        <p:spPr>
          <a:xfrm>
            <a:off x="2412106" y="3687461"/>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NLD</a:t>
            </a:r>
          </a:p>
        </p:txBody>
      </p:sp>
      <p:sp>
        <p:nvSpPr>
          <p:cNvPr id="530" name="TextBox 529">
            <a:extLst>
              <a:ext uri="{FF2B5EF4-FFF2-40B4-BE49-F238E27FC236}">
                <a16:creationId xmlns:a16="http://schemas.microsoft.com/office/drawing/2014/main" id="{615158B7-27DF-722F-52B1-B3691D164296}"/>
              </a:ext>
            </a:extLst>
          </p:cNvPr>
          <p:cNvSpPr txBox="1"/>
          <p:nvPr/>
        </p:nvSpPr>
        <p:spPr>
          <a:xfrm>
            <a:off x="3883199" y="4306355"/>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HUN</a:t>
            </a:r>
          </a:p>
        </p:txBody>
      </p:sp>
      <p:sp>
        <p:nvSpPr>
          <p:cNvPr id="531" name="TextBox 530">
            <a:extLst>
              <a:ext uri="{FF2B5EF4-FFF2-40B4-BE49-F238E27FC236}">
                <a16:creationId xmlns:a16="http://schemas.microsoft.com/office/drawing/2014/main" id="{4E20C46B-32EF-70DB-5F4F-19D23A79D5A7}"/>
              </a:ext>
            </a:extLst>
          </p:cNvPr>
          <p:cNvSpPr txBox="1"/>
          <p:nvPr/>
        </p:nvSpPr>
        <p:spPr>
          <a:xfrm>
            <a:off x="4627262" y="4613827"/>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ROU</a:t>
            </a:r>
          </a:p>
        </p:txBody>
      </p:sp>
      <p:sp>
        <p:nvSpPr>
          <p:cNvPr id="532" name="TextBox 531">
            <a:extLst>
              <a:ext uri="{FF2B5EF4-FFF2-40B4-BE49-F238E27FC236}">
                <a16:creationId xmlns:a16="http://schemas.microsoft.com/office/drawing/2014/main" id="{52922ED3-1F79-11B9-F2B9-ACF92249E53C}"/>
              </a:ext>
            </a:extLst>
          </p:cNvPr>
          <p:cNvSpPr txBox="1"/>
          <p:nvPr/>
        </p:nvSpPr>
        <p:spPr>
          <a:xfrm>
            <a:off x="4641031" y="5007134"/>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BGR</a:t>
            </a:r>
          </a:p>
        </p:txBody>
      </p:sp>
      <p:sp>
        <p:nvSpPr>
          <p:cNvPr id="533" name="TextBox 532">
            <a:extLst>
              <a:ext uri="{FF2B5EF4-FFF2-40B4-BE49-F238E27FC236}">
                <a16:creationId xmlns:a16="http://schemas.microsoft.com/office/drawing/2014/main" id="{5E912B98-131D-F935-1E83-B931A2AEF625}"/>
              </a:ext>
            </a:extLst>
          </p:cNvPr>
          <p:cNvSpPr txBox="1"/>
          <p:nvPr/>
        </p:nvSpPr>
        <p:spPr>
          <a:xfrm>
            <a:off x="4047132" y="4825252"/>
            <a:ext cx="32968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SRB</a:t>
            </a:r>
          </a:p>
        </p:txBody>
      </p:sp>
      <p:sp>
        <p:nvSpPr>
          <p:cNvPr id="12" name="Text Placeholder 16">
            <a:extLst>
              <a:ext uri="{FF2B5EF4-FFF2-40B4-BE49-F238E27FC236}">
                <a16:creationId xmlns:a16="http://schemas.microsoft.com/office/drawing/2014/main" id="{2DB73939-75D7-CE70-D104-A8AAB800D2A0}"/>
              </a:ext>
            </a:extLst>
          </p:cNvPr>
          <p:cNvSpPr txBox="1">
            <a:spLocks/>
          </p:cNvSpPr>
          <p:nvPr/>
        </p:nvSpPr>
        <p:spPr>
          <a:xfrm>
            <a:off x="7505905" y="5553666"/>
            <a:ext cx="4232070" cy="37394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900"/>
              <a:t>This is a redacted sample of the European Battery Market Attractiveness Report. If you are interested in the full report, contact Alex Hutcheson (</a:t>
            </a:r>
            <a:r>
              <a:rPr lang="en-GB" sz="900" u="sng"/>
              <a:t>alex.hutcheson@auroraer.com)</a:t>
            </a:r>
            <a:endParaRPr lang="en-GB" sz="900"/>
          </a:p>
        </p:txBody>
      </p:sp>
      <p:sp>
        <p:nvSpPr>
          <p:cNvPr id="16" name="Text Placeholder 16">
            <a:extLst>
              <a:ext uri="{FF2B5EF4-FFF2-40B4-BE49-F238E27FC236}">
                <a16:creationId xmlns:a16="http://schemas.microsoft.com/office/drawing/2014/main" id="{9D3C5263-2A8A-0855-66C0-D73BAF59E52C}"/>
              </a:ext>
            </a:extLst>
          </p:cNvPr>
          <p:cNvSpPr txBox="1">
            <a:spLocks/>
          </p:cNvSpPr>
          <p:nvPr/>
        </p:nvSpPr>
        <p:spPr>
          <a:xfrm>
            <a:off x="406379" y="1516198"/>
            <a:ext cx="3936904" cy="45704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100" i="1"/>
              <a:t>Countries on the map will be colour coded, scored based on the legend criteria for existing national government policies and targets for energy storage.</a:t>
            </a:r>
          </a:p>
        </p:txBody>
      </p:sp>
    </p:spTree>
    <p:extLst>
      <p:ext uri="{BB962C8B-B14F-4D97-AF65-F5344CB8AC3E}">
        <p14:creationId xmlns:p14="http://schemas.microsoft.com/office/powerpoint/2010/main" val="4191299640"/>
      </p:ext>
    </p:extLst>
  </p:cSld>
  <p:clrMapOvr>
    <a:masterClrMapping/>
  </p:clrMapOvr>
  <p:extLst>
    <p:ext uri="{6950BFC3-D8DA-4A85-94F7-54DA5524770B}">
      <p188:commentRel xmlns:p188="http://schemas.microsoft.com/office/powerpoint/2018/8/main" r:id="rId15"/>
    </p:ext>
  </p:extLs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56DDCB-217A-D700-DD6A-681BAF25F860}"/>
              </a:ext>
            </a:extLst>
          </p:cNvPr>
          <p:cNvGraphicFramePr>
            <a:graphicFrameLocks noChangeAspect="1"/>
          </p:cNvGraphicFramePr>
          <p:nvPr>
            <p:custDataLst>
              <p:tags r:id="rId1"/>
            </p:custDataLst>
            <p:extLst>
              <p:ext uri="{D42A27DB-BD31-4B8C-83A1-F6EECF244321}">
                <p14:modId xmlns:p14="http://schemas.microsoft.com/office/powerpoint/2010/main" val="149556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404" imgH="405" progId="TCLayout.ActiveDocument.1">
                  <p:embed/>
                </p:oleObj>
              </mc:Choice>
              <mc:Fallback>
                <p:oleObj name="think-cell Slide" r:id="rId57" imgW="404" imgH="405" progId="TCLayout.ActiveDocument.1">
                  <p:embed/>
                  <p:pic>
                    <p:nvPicPr>
                      <p:cNvPr id="9" name="Object 8" hidden="1">
                        <a:extLst>
                          <a:ext uri="{FF2B5EF4-FFF2-40B4-BE49-F238E27FC236}">
                            <a16:creationId xmlns:a16="http://schemas.microsoft.com/office/drawing/2014/main" id="{4856DDCB-217A-D700-DD6A-681BAF25F860}"/>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graphicFrame>
        <p:nvGraphicFramePr>
          <p:cNvPr id="3" name="Chart 2">
            <a:extLst>
              <a:ext uri="{FF2B5EF4-FFF2-40B4-BE49-F238E27FC236}">
                <a16:creationId xmlns:a16="http://schemas.microsoft.com/office/drawing/2014/main" id="{2A8313F8-EADF-1209-FF8D-3509B5DD3279}"/>
              </a:ext>
            </a:extLst>
          </p:cNvPr>
          <p:cNvGraphicFramePr/>
          <p:nvPr>
            <p:custDataLst>
              <p:tags r:id="rId2"/>
            </p:custDataLst>
            <p:extLst>
              <p:ext uri="{D42A27DB-BD31-4B8C-83A1-F6EECF244321}">
                <p14:modId xmlns:p14="http://schemas.microsoft.com/office/powerpoint/2010/main" val="3468090811"/>
              </p:ext>
            </p:extLst>
          </p:nvPr>
        </p:nvGraphicFramePr>
        <p:xfrm>
          <a:off x="9361488" y="3844925"/>
          <a:ext cx="2049462" cy="2003425"/>
        </p:xfrm>
        <a:graphic>
          <a:graphicData uri="http://schemas.openxmlformats.org/drawingml/2006/chart">
            <c:chart xmlns:c="http://schemas.openxmlformats.org/drawingml/2006/chart" xmlns:r="http://schemas.openxmlformats.org/officeDocument/2006/relationships" r:id="rId59"/>
          </a:graphicData>
        </a:graphic>
      </p:graphicFrame>
      <p:cxnSp>
        <p:nvCxnSpPr>
          <p:cNvPr id="507" name="Straight Connector 506">
            <a:extLst>
              <a:ext uri="{FF2B5EF4-FFF2-40B4-BE49-F238E27FC236}">
                <a16:creationId xmlns:a16="http://schemas.microsoft.com/office/drawing/2014/main" id="{D0622A8D-7018-D4B2-6902-FA5ECE0169B8}"/>
              </a:ext>
            </a:extLst>
          </p:cNvPr>
          <p:cNvCxnSpPr/>
          <p:nvPr>
            <p:custDataLst>
              <p:tags r:id="rId3"/>
            </p:custDataLst>
          </p:nvPr>
        </p:nvCxnSpPr>
        <p:spPr bwMode="auto">
          <a:xfrm>
            <a:off x="9653588" y="4189413"/>
            <a:ext cx="523875"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BB50B4F8-E3AF-72DE-39C2-929D92BF225F}"/>
              </a:ext>
            </a:extLst>
          </p:cNvPr>
          <p:cNvCxnSpPr/>
          <p:nvPr>
            <p:custDataLst>
              <p:tags r:id="rId4"/>
            </p:custDataLst>
          </p:nvPr>
        </p:nvCxnSpPr>
        <p:spPr bwMode="auto">
          <a:xfrm>
            <a:off x="9653588" y="4189413"/>
            <a:ext cx="0" cy="911225"/>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0871C2F0-49B6-7731-9FA1-789DB6F8D7E3}"/>
              </a:ext>
            </a:extLst>
          </p:cNvPr>
          <p:cNvCxnSpPr/>
          <p:nvPr>
            <p:custDataLst>
              <p:tags r:id="rId5"/>
            </p:custDataLst>
          </p:nvPr>
        </p:nvCxnSpPr>
        <p:spPr bwMode="auto">
          <a:xfrm>
            <a:off x="10177463" y="4189413"/>
            <a:ext cx="0" cy="911225"/>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1" name="Text Placeholder 19">
            <a:extLst>
              <a:ext uri="{FF2B5EF4-FFF2-40B4-BE49-F238E27FC236}">
                <a16:creationId xmlns:a16="http://schemas.microsoft.com/office/drawing/2014/main" id="{7EE397EB-E1A4-2AAA-E5AC-BA3CB037C5A2}"/>
              </a:ext>
            </a:extLst>
          </p:cNvPr>
          <p:cNvSpPr>
            <a:spLocks noGrp="1"/>
          </p:cNvSpPr>
          <p:nvPr>
            <p:custDataLst>
              <p:tags r:id="rId6"/>
            </p:custDataLst>
          </p:nvPr>
        </p:nvSpPr>
        <p:spPr bwMode="auto">
          <a:xfrm>
            <a:off x="9602789" y="5808663"/>
            <a:ext cx="625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E7A54CB-58B4-4DB1-B214-95F5FB1791B5}" type="datetime'C''''''o-''''lo''''c''''''a''''t''''e''''''''''''''''''d'''">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o-located</a:t>
            </a:fld>
            <a:endParaRPr kumimoji="0" lang="en-US"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83"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gray">
          <a:xfrm>
            <a:off x="10717213" y="5100638"/>
            <a:ext cx="279400" cy="152400"/>
          </a:xfrm>
          <a:prstGeom prst="rect">
            <a:avLst/>
          </a:prstGeom>
          <a:solidFill>
            <a:srgbClr val="FFFFFF"/>
          </a:solidFill>
          <a:ln>
            <a:noFill/>
          </a:ln>
          <a:effectLst/>
        </p:spPr>
        <p:txBody>
          <a:bodyPr vert="horz" wrap="none" lIns="17463" tIns="0" rIns="17463"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a:effectLst/>
              </a:rPr>
              <a:t>TBC</a:t>
            </a:r>
            <a:endParaRPr lang="en-GB" sz="1000"/>
          </a:p>
        </p:txBody>
      </p:sp>
      <p:sp>
        <p:nvSpPr>
          <p:cNvPr id="558" name="Text Placeholder 19">
            <a:extLst>
              <a:ext uri="{FF2B5EF4-FFF2-40B4-BE49-F238E27FC236}">
                <a16:creationId xmlns:a16="http://schemas.microsoft.com/office/drawing/2014/main" id="{1DC07614-35D7-2759-C74D-8CD7DB13F45E}"/>
              </a:ext>
            </a:extLst>
          </p:cNvPr>
          <p:cNvSpPr>
            <a:spLocks noGrp="1"/>
          </p:cNvSpPr>
          <p:nvPr>
            <p:custDataLst>
              <p:tags r:id="rId8"/>
            </p:custDataLst>
          </p:nvPr>
        </p:nvSpPr>
        <p:spPr bwMode="auto">
          <a:xfrm>
            <a:off x="10539413" y="5808663"/>
            <a:ext cx="636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3F67451-AB3B-4FC7-8E3F-A490399707AE}" type="datetime'''''St''''''a''''''''n''''dalo''''''''''n''''''e'''">
              <a:rPr kumimoji="0" lang="en-US"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Standalone</a:t>
            </a:fld>
            <a:endParaRPr kumimoji="0" lang="en-US"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95" name="Rectangle: Rounded Corners 494">
            <a:extLst>
              <a:ext uri="{FF2B5EF4-FFF2-40B4-BE49-F238E27FC236}">
                <a16:creationId xmlns:a16="http://schemas.microsoft.com/office/drawing/2014/main" id="{B0FD697E-5C0D-9B5D-9CA2-2E168D51D25F}"/>
              </a:ext>
            </a:extLst>
          </p:cNvPr>
          <p:cNvSpPr/>
          <p:nvPr/>
        </p:nvSpPr>
        <p:spPr>
          <a:xfrm>
            <a:off x="6612485" y="3170238"/>
            <a:ext cx="5187754" cy="173038"/>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94" name="Rectangle: Rounded Corners 493">
            <a:extLst>
              <a:ext uri="{FF2B5EF4-FFF2-40B4-BE49-F238E27FC236}">
                <a16:creationId xmlns:a16="http://schemas.microsoft.com/office/drawing/2014/main" id="{605C7F4B-1B04-3658-0E34-04A3485527BA}"/>
              </a:ext>
            </a:extLst>
          </p:cNvPr>
          <p:cNvSpPr/>
          <p:nvPr/>
        </p:nvSpPr>
        <p:spPr>
          <a:xfrm>
            <a:off x="565150" y="3176587"/>
            <a:ext cx="5186363" cy="160338"/>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93" name="Rectangle: Rounded Corners 492">
            <a:extLst>
              <a:ext uri="{FF2B5EF4-FFF2-40B4-BE49-F238E27FC236}">
                <a16:creationId xmlns:a16="http://schemas.microsoft.com/office/drawing/2014/main" id="{3A1DA27E-7571-05D8-F667-0E0EB3334C7A}"/>
              </a:ext>
            </a:extLst>
          </p:cNvPr>
          <p:cNvSpPr/>
          <p:nvPr/>
        </p:nvSpPr>
        <p:spPr>
          <a:xfrm>
            <a:off x="565150" y="1282927"/>
            <a:ext cx="11245250" cy="161698"/>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aphicFrame>
        <p:nvGraphicFramePr>
          <p:cNvPr id="550" name="Chart 549">
            <a:extLst>
              <a:ext uri="{FF2B5EF4-FFF2-40B4-BE49-F238E27FC236}">
                <a16:creationId xmlns:a16="http://schemas.microsoft.com/office/drawing/2014/main" id="{EDB63868-E689-C51C-4F26-E093C0B0DE09}"/>
              </a:ext>
            </a:extLst>
          </p:cNvPr>
          <p:cNvGraphicFramePr/>
          <p:nvPr>
            <p:custDataLst>
              <p:tags r:id="rId9"/>
            </p:custDataLst>
            <p:extLst>
              <p:ext uri="{D42A27DB-BD31-4B8C-83A1-F6EECF244321}">
                <p14:modId xmlns:p14="http://schemas.microsoft.com/office/powerpoint/2010/main" val="3841081739"/>
              </p:ext>
            </p:extLst>
          </p:nvPr>
        </p:nvGraphicFramePr>
        <p:xfrm>
          <a:off x="3575050" y="3792538"/>
          <a:ext cx="1879600" cy="2055812"/>
        </p:xfrm>
        <a:graphic>
          <a:graphicData uri="http://schemas.openxmlformats.org/drawingml/2006/chart">
            <c:chart xmlns:c="http://schemas.openxmlformats.org/drawingml/2006/chart" xmlns:r="http://schemas.openxmlformats.org/officeDocument/2006/relationships" r:id="rId60"/>
          </a:graphicData>
        </a:graphic>
      </p:graphicFrame>
      <p:cxnSp>
        <p:nvCxnSpPr>
          <p:cNvPr id="305" name="Straight Connector 304">
            <a:extLst>
              <a:ext uri="{FF2B5EF4-FFF2-40B4-BE49-F238E27FC236}">
                <a16:creationId xmlns:a16="http://schemas.microsoft.com/office/drawing/2014/main" id="{3826F5D1-13FF-03C2-C7A4-0079EAF7F5E9}"/>
              </a:ext>
            </a:extLst>
          </p:cNvPr>
          <p:cNvCxnSpPr/>
          <p:nvPr>
            <p:custDataLst>
              <p:tags r:id="rId10"/>
            </p:custDataLst>
          </p:nvPr>
        </p:nvCxnSpPr>
        <p:spPr bwMode="auto">
          <a:xfrm>
            <a:off x="3752850" y="3983038"/>
            <a:ext cx="238125"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F497505E-99FB-E761-E76F-54007F8ACECD}"/>
              </a:ext>
            </a:extLst>
          </p:cNvPr>
          <p:cNvCxnSpPr/>
          <p:nvPr>
            <p:custDataLst>
              <p:tags r:id="rId11"/>
            </p:custDataLst>
          </p:nvPr>
        </p:nvCxnSpPr>
        <p:spPr bwMode="auto">
          <a:xfrm>
            <a:off x="3752850" y="3983038"/>
            <a:ext cx="0" cy="1560513"/>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E18D4DA0-89D9-45EE-817D-2DD29DA264E6}"/>
              </a:ext>
            </a:extLst>
          </p:cNvPr>
          <p:cNvCxnSpPr/>
          <p:nvPr>
            <p:custDataLst>
              <p:tags r:id="rId12"/>
            </p:custDataLst>
          </p:nvPr>
        </p:nvCxnSpPr>
        <p:spPr bwMode="auto">
          <a:xfrm>
            <a:off x="3990975" y="3983038"/>
            <a:ext cx="0" cy="1560513"/>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 name="Text Placeholder 20">
            <a:extLst>
              <a:ext uri="{FF2B5EF4-FFF2-40B4-BE49-F238E27FC236}">
                <a16:creationId xmlns:a16="http://schemas.microsoft.com/office/drawing/2014/main" id="{3C1A94C9-1D53-5E5A-1E22-56F03FE0C323}"/>
              </a:ext>
            </a:extLst>
          </p:cNvPr>
          <p:cNvSpPr>
            <a:spLocks noGrp="1"/>
          </p:cNvSpPr>
          <p:nvPr>
            <p:ph type="body" sz="quarter" idx="27"/>
          </p:nvPr>
        </p:nvSpPr>
        <p:spPr>
          <a:xfrm>
            <a:off x="431414" y="1544066"/>
            <a:ext cx="3910399" cy="553998"/>
          </a:xfrm>
        </p:spPr>
        <p:txBody>
          <a:bodyPr/>
          <a:lstStyle/>
          <a:p>
            <a:pPr marL="171450" indent="-171450">
              <a:spcBef>
                <a:spcPts val="300"/>
              </a:spcBef>
              <a:buFont typeface="Wingdings" panose="05000000000000000000" pitchFamily="2" charset="2"/>
              <a:buChar char="§"/>
            </a:pPr>
            <a:r>
              <a:rPr lang="en-GB"/>
              <a:t>Co-located batteries with RES are eligible for a </a:t>
            </a:r>
            <a:r>
              <a:rPr lang="en-GB" sz="1200" b="1" i="0" u="none" strike="noStrike" kern="1200" baseline="0">
                <a:solidFill>
                  <a:srgbClr val="808080"/>
                </a:solidFill>
                <a:highlight>
                  <a:srgbClr val="808080"/>
                </a:highlight>
                <a:latin typeface="Lato" panose="020F0502020204030203" pitchFamily="34" charset="0"/>
              </a:rPr>
              <a:t>XX </a:t>
            </a:r>
            <a:r>
              <a:rPr lang="en-GB" baseline="30000"/>
              <a:t> </a:t>
            </a:r>
            <a:r>
              <a:rPr lang="en-GB"/>
              <a:t>remunerating the renewable energy produced, but they cannot charge from the grid</a:t>
            </a:r>
          </a:p>
        </p:txBody>
      </p:sp>
      <p:sp>
        <p:nvSpPr>
          <p:cNvPr id="22" name="Text Placeholder 21">
            <a:extLst>
              <a:ext uri="{FF2B5EF4-FFF2-40B4-BE49-F238E27FC236}">
                <a16:creationId xmlns:a16="http://schemas.microsoft.com/office/drawing/2014/main" id="{5071C3B5-68AF-DEDA-3496-749765A12458}"/>
              </a:ext>
            </a:extLst>
          </p:cNvPr>
          <p:cNvSpPr>
            <a:spLocks noGrp="1"/>
          </p:cNvSpPr>
          <p:nvPr>
            <p:ph type="body" sz="quarter" idx="29"/>
          </p:nvPr>
        </p:nvSpPr>
        <p:spPr>
          <a:xfrm>
            <a:off x="797809" y="1267429"/>
            <a:ext cx="3901945" cy="184666"/>
          </a:xfrm>
        </p:spPr>
        <p:txBody>
          <a:bodyPr anchor="b"/>
          <a:lstStyle/>
          <a:p>
            <a:r>
              <a:rPr lang="en-GB">
                <a:solidFill>
                  <a:schemeClr val="accent5"/>
                </a:solidFill>
                <a:highlight>
                  <a:srgbClr val="808080"/>
                </a:highlight>
              </a:rPr>
              <a:t>XXXX</a:t>
            </a:r>
            <a:endParaRPr lang="en-GB"/>
          </a:p>
        </p:txBody>
      </p:sp>
      <p:sp>
        <p:nvSpPr>
          <p:cNvPr id="4" name="Title 3">
            <a:extLst>
              <a:ext uri="{FF2B5EF4-FFF2-40B4-BE49-F238E27FC236}">
                <a16:creationId xmlns:a16="http://schemas.microsoft.com/office/drawing/2014/main" id="{F0F753D7-DAB4-60B1-BB12-7A24AACFD52D}"/>
              </a:ext>
            </a:extLst>
          </p:cNvPr>
          <p:cNvSpPr>
            <a:spLocks noGrp="1"/>
          </p:cNvSpPr>
          <p:nvPr>
            <p:ph type="title"/>
          </p:nvPr>
        </p:nvSpPr>
        <p:spPr/>
        <p:txBody>
          <a:bodyPr vert="horz"/>
          <a:lstStyle/>
          <a:p>
            <a:r>
              <a:rPr lang="en-GB">
                <a:latin typeface="Lato"/>
                <a:ea typeface="Lato"/>
                <a:cs typeface="Lato"/>
              </a:rPr>
              <a:t>Auctions to date have subsidised at least </a:t>
            </a:r>
            <a:r>
              <a:rPr lang="en-GB" sz="2400" b="1" i="0" u="none" strike="noStrike" kern="1200" baseline="0">
                <a:solidFill>
                  <a:srgbClr val="808080"/>
                </a:solidFill>
                <a:highlight>
                  <a:srgbClr val="808080"/>
                </a:highlight>
                <a:latin typeface="Lato" panose="020F0502020204030203" pitchFamily="34" charset="0"/>
              </a:rPr>
              <a:t>XX</a:t>
            </a:r>
            <a:r>
              <a:rPr lang="en-GB">
                <a:solidFill>
                  <a:schemeClr val="tx1"/>
                </a:solidFill>
                <a:latin typeface="Lato"/>
                <a:ea typeface="Lato"/>
                <a:cs typeface="Lato"/>
              </a:rPr>
              <a:t>GW</a:t>
            </a:r>
            <a:r>
              <a:rPr lang="en-GB" baseline="30000">
                <a:solidFill>
                  <a:schemeClr val="tx1"/>
                </a:solidFill>
                <a:latin typeface="Lato"/>
                <a:ea typeface="Lato"/>
                <a:cs typeface="Lato"/>
              </a:rPr>
              <a:t>1</a:t>
            </a:r>
            <a:r>
              <a:rPr lang="en-GB">
                <a:latin typeface="Lato"/>
                <a:ea typeface="Lato"/>
                <a:cs typeface="Lato"/>
              </a:rPr>
              <a:t> of batteries in </a:t>
            </a:r>
            <a:r>
              <a:rPr lang="en-GB" sz="2000" b="1" i="0" u="none" strike="noStrike" kern="1200" baseline="0">
                <a:solidFill>
                  <a:srgbClr val="808080"/>
                </a:solidFill>
                <a:highlight>
                  <a:srgbClr val="808080"/>
                </a:highlight>
                <a:latin typeface="Lato" panose="020F0502020204030203" pitchFamily="34" charset="0"/>
              </a:rPr>
              <a:t>XX</a:t>
            </a:r>
            <a:r>
              <a:rPr lang="en-GB">
                <a:latin typeface="Lato"/>
                <a:ea typeface="Lato"/>
                <a:cs typeface="Lato"/>
              </a:rPr>
              <a:t>, </a:t>
            </a:r>
            <a:r>
              <a:rPr lang="en-GB" sz="2000" b="1" i="0" u="none" strike="noStrike" kern="1200" baseline="0">
                <a:solidFill>
                  <a:srgbClr val="808080"/>
                </a:solidFill>
                <a:highlight>
                  <a:srgbClr val="808080"/>
                </a:highlight>
                <a:latin typeface="Lato" panose="020F0502020204030203" pitchFamily="34" charset="0"/>
              </a:rPr>
              <a:t>XX</a:t>
            </a:r>
            <a:r>
              <a:rPr lang="en-GB">
                <a:latin typeface="Lato"/>
                <a:ea typeface="Lato"/>
                <a:cs typeface="Lato"/>
              </a:rPr>
              <a:t> and </a:t>
            </a:r>
            <a:r>
              <a:rPr lang="en-GB" sz="2000" b="1" i="0" u="none" strike="noStrike" kern="1200" baseline="0">
                <a:solidFill>
                  <a:srgbClr val="808080"/>
                </a:solidFill>
                <a:highlight>
                  <a:srgbClr val="808080"/>
                </a:highlight>
                <a:latin typeface="Lato" panose="020F0502020204030203" pitchFamily="34" charset="0"/>
              </a:rPr>
              <a:t>XX</a:t>
            </a:r>
            <a:r>
              <a:rPr lang="en-GB">
                <a:latin typeface="Lato"/>
                <a:ea typeface="Lato"/>
                <a:cs typeface="Lato"/>
              </a:rPr>
              <a:t>, with </a:t>
            </a:r>
            <a:r>
              <a:rPr lang="en-GB" sz="2000" b="1" i="0" u="none" strike="noStrike" kern="1200" baseline="0">
                <a:solidFill>
                  <a:srgbClr val="808080"/>
                </a:solidFill>
                <a:highlight>
                  <a:srgbClr val="808080"/>
                </a:highlight>
                <a:latin typeface="Lato" panose="020F0502020204030203" pitchFamily="34" charset="0"/>
              </a:rPr>
              <a:t>XX </a:t>
            </a:r>
            <a:r>
              <a:rPr lang="en-GB">
                <a:latin typeface="Lato"/>
                <a:ea typeface="Lato"/>
                <a:cs typeface="Lato"/>
              </a:rPr>
              <a:t>GW in future procurement</a:t>
            </a:r>
          </a:p>
        </p:txBody>
      </p:sp>
      <p:sp>
        <p:nvSpPr>
          <p:cNvPr id="27" name="Text Placeholder 26">
            <a:extLst>
              <a:ext uri="{FF2B5EF4-FFF2-40B4-BE49-F238E27FC236}">
                <a16:creationId xmlns:a16="http://schemas.microsoft.com/office/drawing/2014/main" id="{39A18F58-432F-20D1-9F21-1E078E0B27D5}"/>
              </a:ext>
            </a:extLst>
          </p:cNvPr>
          <p:cNvSpPr>
            <a:spLocks noGrp="1"/>
          </p:cNvSpPr>
          <p:nvPr>
            <p:ph type="body" sz="quarter" idx="38"/>
          </p:nvPr>
        </p:nvSpPr>
        <p:spPr>
          <a:xfrm>
            <a:off x="797809" y="3163888"/>
            <a:ext cx="3757613" cy="185738"/>
          </a:xfrm>
        </p:spPr>
        <p:txBody>
          <a:bodyPr wrap="square">
            <a:spAutoFit/>
          </a:bodyPr>
          <a:lstStyle/>
          <a:p>
            <a:r>
              <a:rPr lang="en-GB" sz="1200" b="1" i="0" u="none" strike="noStrike" kern="1200" baseline="0">
                <a:solidFill>
                  <a:srgbClr val="808080"/>
                </a:solidFill>
                <a:highlight>
                  <a:srgbClr val="808080"/>
                </a:highlight>
                <a:latin typeface="Lato" panose="020F0502020204030203" pitchFamily="34" charset="0"/>
              </a:rPr>
              <a:t>XX</a:t>
            </a:r>
            <a:endParaRPr lang="en-GB"/>
          </a:p>
        </p:txBody>
      </p:sp>
      <p:sp>
        <p:nvSpPr>
          <p:cNvPr id="24" name="Text Placeholder 23">
            <a:extLst>
              <a:ext uri="{FF2B5EF4-FFF2-40B4-BE49-F238E27FC236}">
                <a16:creationId xmlns:a16="http://schemas.microsoft.com/office/drawing/2014/main" id="{61946191-F5A0-FB01-2A1B-0A4755E7305C}"/>
              </a:ext>
            </a:extLst>
          </p:cNvPr>
          <p:cNvSpPr>
            <a:spLocks noGrp="1"/>
          </p:cNvSpPr>
          <p:nvPr>
            <p:ph type="body" sz="quarter" idx="32"/>
          </p:nvPr>
        </p:nvSpPr>
        <p:spPr>
          <a:xfrm>
            <a:off x="381600" y="6474841"/>
            <a:ext cx="11428800" cy="110800"/>
          </a:xfrm>
        </p:spPr>
        <p:txBody>
          <a:bodyPr/>
          <a:lstStyle/>
          <a:p>
            <a:r>
              <a:rPr lang="en-GB"/>
              <a:t>1) Based on awarded capacities and minimum percentages for battery capacity as defined in co-location auction rules. </a:t>
            </a:r>
          </a:p>
        </p:txBody>
      </p:sp>
      <p:sp>
        <p:nvSpPr>
          <p:cNvPr id="28" name="Text Placeholder 27">
            <a:extLst>
              <a:ext uri="{FF2B5EF4-FFF2-40B4-BE49-F238E27FC236}">
                <a16:creationId xmlns:a16="http://schemas.microsoft.com/office/drawing/2014/main" id="{A1209C56-AB55-614D-68FB-CD8D28BB29F9}"/>
              </a:ext>
            </a:extLst>
          </p:cNvPr>
          <p:cNvSpPr>
            <a:spLocks noGrp="1"/>
          </p:cNvSpPr>
          <p:nvPr>
            <p:ph type="body" sz="quarter" idx="39"/>
          </p:nvPr>
        </p:nvSpPr>
        <p:spPr>
          <a:xfrm>
            <a:off x="381599" y="79401"/>
            <a:ext cx="5949064" cy="184666"/>
          </a:xfrm>
        </p:spPr>
        <p:txBody>
          <a:bodyPr/>
          <a:lstStyle/>
          <a:p>
            <a:pPr>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Policy and regulatory environment - </a:t>
            </a:r>
            <a:r>
              <a:rPr lang="en-GB" sz="1200"/>
              <a:t>Battery storage policies, targets and subsidies </a:t>
            </a:r>
          </a:p>
        </p:txBody>
      </p:sp>
      <p:sp>
        <p:nvSpPr>
          <p:cNvPr id="79" name="Text Placeholder 20">
            <a:extLst>
              <a:ext uri="{FF2B5EF4-FFF2-40B4-BE49-F238E27FC236}">
                <a16:creationId xmlns:a16="http://schemas.microsoft.com/office/drawing/2014/main" id="{9E4FFA7D-5869-B19C-9973-7969C6447F92}"/>
              </a:ext>
            </a:extLst>
          </p:cNvPr>
          <p:cNvSpPr txBox="1">
            <a:spLocks/>
          </p:cNvSpPr>
          <p:nvPr/>
        </p:nvSpPr>
        <p:spPr>
          <a:xfrm>
            <a:off x="6414282" y="3454942"/>
            <a:ext cx="2312205"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783"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The scheme offers </a:t>
            </a: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grants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to co-located and standalone projects</a:t>
            </a:r>
          </a:p>
        </p:txBody>
      </p:sp>
      <p:sp>
        <p:nvSpPr>
          <p:cNvPr id="23" name="Text Placeholder 26">
            <a:extLst>
              <a:ext uri="{FF2B5EF4-FFF2-40B4-BE49-F238E27FC236}">
                <a16:creationId xmlns:a16="http://schemas.microsoft.com/office/drawing/2014/main" id="{0CBC163C-5F88-6E4D-3453-56FCAE79AC60}"/>
              </a:ext>
            </a:extLst>
          </p:cNvPr>
          <p:cNvSpPr txBox="1">
            <a:spLocks/>
          </p:cNvSpPr>
          <p:nvPr/>
        </p:nvSpPr>
        <p:spPr>
          <a:xfrm>
            <a:off x="6811361" y="3165475"/>
            <a:ext cx="3863975" cy="184150"/>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b="1" i="0" u="none" strike="noStrike" kern="1200" baseline="0">
                <a:solidFill>
                  <a:srgbClr val="808080"/>
                </a:solidFill>
                <a:highlight>
                  <a:srgbClr val="808080"/>
                </a:highlight>
                <a:latin typeface="Lato" panose="020F0502020204030203" pitchFamily="34" charset="0"/>
              </a:rPr>
              <a:t>X  </a:t>
            </a:r>
            <a:r>
              <a:rPr lang="en-GB" sz="1200" b="1" i="0" u="none" strike="noStrike" kern="1200" baseline="0" err="1">
                <a:solidFill>
                  <a:srgbClr val="808080"/>
                </a:solidFill>
                <a:highlight>
                  <a:srgbClr val="808080"/>
                </a:highlight>
                <a:latin typeface="Lato" panose="020F0502020204030203" pitchFamily="34" charset="0"/>
              </a:rPr>
              <a:t>X</a:t>
            </a:r>
            <a:r>
              <a:rPr lang="en-GB" sz="1200" b="1" i="0" u="none" strike="noStrike" kern="1200" baseline="0">
                <a:solidFill>
                  <a:srgbClr val="838383"/>
                </a:solidFill>
                <a:highlight>
                  <a:srgbClr val="808080"/>
                </a:highlight>
                <a:latin typeface="Lato" panose="020F0502020204030203" pitchFamily="34" charset="0"/>
              </a:rPr>
              <a:t>  </a:t>
            </a:r>
            <a:endPar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47" name="Text Placeholder 20">
            <a:extLst>
              <a:ext uri="{FF2B5EF4-FFF2-40B4-BE49-F238E27FC236}">
                <a16:creationId xmlns:a16="http://schemas.microsoft.com/office/drawing/2014/main" id="{E5EC4644-4DA7-166A-C136-C2B93C6CCF62}"/>
              </a:ext>
            </a:extLst>
          </p:cNvPr>
          <p:cNvSpPr txBox="1">
            <a:spLocks/>
          </p:cNvSpPr>
          <p:nvPr/>
        </p:nvSpPr>
        <p:spPr>
          <a:xfrm>
            <a:off x="476907" y="3420187"/>
            <a:ext cx="2420828" cy="923330"/>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783"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GB" sz="1200" b="1" i="0" u="none" strike="noStrike" kern="1200" baseline="0">
                <a:solidFill>
                  <a:srgbClr val="808080"/>
                </a:solidFill>
                <a:highlight>
                  <a:srgbClr val="808080"/>
                </a:highlight>
                <a:latin typeface="Lato" panose="020F0502020204030203" pitchFamily="34" charset="0"/>
              </a:rPr>
              <a:t>XX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planned auctions target up to </a:t>
            </a:r>
            <a:r>
              <a:rPr lang="en-GB" sz="1200" b="1" i="0" u="none" strike="noStrike" kern="1200" baseline="0">
                <a:solidFill>
                  <a:srgbClr val="808080"/>
                </a:solidFill>
                <a:highlight>
                  <a:srgbClr val="808080"/>
                </a:highlight>
                <a:latin typeface="Lato" panose="020F0502020204030203" pitchFamily="34" charset="0"/>
              </a:rPr>
              <a:t>XX </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GW of standalone battery capacity by end of </a:t>
            </a:r>
            <a:r>
              <a:rPr lang="en-GB" sz="1200" b="1" i="0" u="none" strike="noStrike" kern="1200" baseline="0">
                <a:solidFill>
                  <a:srgbClr val="808080"/>
                </a:solidFill>
                <a:highlight>
                  <a:srgbClr val="808080"/>
                </a:highlight>
                <a:latin typeface="Lato" panose="020F0502020204030203" pitchFamily="34" charset="0"/>
              </a:rPr>
              <a:t>XX</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with potential to procure an additional </a:t>
            </a:r>
            <a:r>
              <a:rPr lang="en-GB" sz="1200" b="1" i="0" u="none" strike="noStrike" kern="1200" baseline="0">
                <a:solidFill>
                  <a:srgbClr val="808080"/>
                </a:solidFill>
                <a:highlight>
                  <a:srgbClr val="808080"/>
                </a:highlight>
                <a:latin typeface="Lato" panose="020F0502020204030203" pitchFamily="34" charset="0"/>
              </a:rPr>
              <a:t>XX</a:t>
            </a: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by </a:t>
            </a:r>
            <a:r>
              <a:rPr lang="en-GB" sz="1200" b="1" i="0" u="none" strike="noStrike" kern="1200" baseline="0">
                <a:solidFill>
                  <a:srgbClr val="808080"/>
                </a:solidFill>
                <a:highlight>
                  <a:srgbClr val="808080"/>
                </a:highlight>
                <a:latin typeface="Lato" panose="020F0502020204030203" pitchFamily="34" charset="0"/>
              </a:rPr>
              <a:t>XX</a:t>
            </a:r>
            <a:endParaRPr lang="en-GB" sz="1200" b="1" i="0" u="none" strike="noStrike" kern="1200" baseline="0">
              <a:solidFill>
                <a:srgbClr val="838383"/>
              </a:solidFill>
              <a:highlight>
                <a:srgbClr val="808080"/>
              </a:highlight>
              <a:latin typeface="Lato" panose="020F0502020204030203" pitchFamily="34" charset="0"/>
            </a:endParaRPr>
          </a:p>
        </p:txBody>
      </p:sp>
      <p:graphicFrame>
        <p:nvGraphicFramePr>
          <p:cNvPr id="540" name="Chart 539">
            <a:extLst>
              <a:ext uri="{FF2B5EF4-FFF2-40B4-BE49-F238E27FC236}">
                <a16:creationId xmlns:a16="http://schemas.microsoft.com/office/drawing/2014/main" id="{A80D80B9-3CF4-6DEC-1423-0A8EDF711932}"/>
              </a:ext>
            </a:extLst>
          </p:cNvPr>
          <p:cNvGraphicFramePr/>
          <p:nvPr>
            <p:custDataLst>
              <p:tags r:id="rId13"/>
            </p:custDataLst>
            <p:extLst>
              <p:ext uri="{D42A27DB-BD31-4B8C-83A1-F6EECF244321}">
                <p14:modId xmlns:p14="http://schemas.microsoft.com/office/powerpoint/2010/main" val="3704981518"/>
              </p:ext>
            </p:extLst>
          </p:nvPr>
        </p:nvGraphicFramePr>
        <p:xfrm>
          <a:off x="5106988" y="1762125"/>
          <a:ext cx="6303962" cy="1101725"/>
        </p:xfrm>
        <a:graphic>
          <a:graphicData uri="http://schemas.openxmlformats.org/drawingml/2006/chart">
            <c:chart xmlns:c="http://schemas.openxmlformats.org/drawingml/2006/chart" xmlns:r="http://schemas.openxmlformats.org/officeDocument/2006/relationships" r:id="rId61"/>
          </a:graphicData>
        </a:graphic>
      </p:graphicFrame>
      <p:cxnSp>
        <p:nvCxnSpPr>
          <p:cNvPr id="10" name="Straight Connector 9">
            <a:extLst>
              <a:ext uri="{FF2B5EF4-FFF2-40B4-BE49-F238E27FC236}">
                <a16:creationId xmlns:a16="http://schemas.microsoft.com/office/drawing/2014/main" id="{25675E01-635D-1D6A-C4F1-40286EE81F12}"/>
              </a:ext>
            </a:extLst>
          </p:cNvPr>
          <p:cNvCxnSpPr/>
          <p:nvPr>
            <p:custDataLst>
              <p:tags r:id="rId14"/>
            </p:custDataLst>
          </p:nvPr>
        </p:nvCxnSpPr>
        <p:spPr bwMode="auto">
          <a:xfrm>
            <a:off x="8372476" y="2293938"/>
            <a:ext cx="284163"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ADD9593B-C69B-CB26-75A7-8780C0C7AE38}"/>
              </a:ext>
            </a:extLst>
          </p:cNvPr>
          <p:cNvCxnSpPr/>
          <p:nvPr>
            <p:custDataLst>
              <p:tags r:id="rId15"/>
            </p:custDataLst>
          </p:nvPr>
        </p:nvCxnSpPr>
        <p:spPr bwMode="auto">
          <a:xfrm>
            <a:off x="8372475" y="2293938"/>
            <a:ext cx="0" cy="238125"/>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9DBCDFE0-CA38-8481-8782-42F942F199FA}"/>
              </a:ext>
            </a:extLst>
          </p:cNvPr>
          <p:cNvCxnSpPr/>
          <p:nvPr>
            <p:custDataLst>
              <p:tags r:id="rId16"/>
            </p:custDataLst>
          </p:nvPr>
        </p:nvCxnSpPr>
        <p:spPr bwMode="auto">
          <a:xfrm>
            <a:off x="8656638" y="2293938"/>
            <a:ext cx="0" cy="238125"/>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4D9D4B9-BBD8-B668-8E3D-B52254CB0CBD}"/>
              </a:ext>
            </a:extLst>
          </p:cNvPr>
          <p:cNvCxnSpPr/>
          <p:nvPr>
            <p:custDataLst>
              <p:tags r:id="rId17"/>
            </p:custDataLst>
          </p:nvPr>
        </p:nvCxnSpPr>
        <p:spPr bwMode="auto">
          <a:xfrm>
            <a:off x="7859712" y="2728913"/>
            <a:ext cx="285750"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Straight Connector 558">
            <a:extLst>
              <a:ext uri="{FF2B5EF4-FFF2-40B4-BE49-F238E27FC236}">
                <a16:creationId xmlns:a16="http://schemas.microsoft.com/office/drawing/2014/main" id="{4A747E60-B8FD-0CC8-8C77-EA402205F3CD}"/>
              </a:ext>
            </a:extLst>
          </p:cNvPr>
          <p:cNvCxnSpPr/>
          <p:nvPr>
            <p:custDataLst>
              <p:tags r:id="rId18"/>
            </p:custDataLst>
          </p:nvPr>
        </p:nvCxnSpPr>
        <p:spPr bwMode="auto">
          <a:xfrm>
            <a:off x="7859713" y="2728913"/>
            <a:ext cx="0" cy="47625"/>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137D0CD-58F5-689F-3357-2EF8B8C7438C}"/>
              </a:ext>
            </a:extLst>
          </p:cNvPr>
          <p:cNvCxnSpPr/>
          <p:nvPr>
            <p:custDataLst>
              <p:tags r:id="rId19"/>
            </p:custDataLst>
          </p:nvPr>
        </p:nvCxnSpPr>
        <p:spPr bwMode="auto">
          <a:xfrm>
            <a:off x="8145463" y="2728913"/>
            <a:ext cx="0" cy="47625"/>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3FD53BCF-B24F-EF74-1D84-A24BFDDA4357}"/>
              </a:ext>
            </a:extLst>
          </p:cNvPr>
          <p:cNvCxnSpPr/>
          <p:nvPr>
            <p:custDataLst>
              <p:tags r:id="rId20"/>
            </p:custDataLst>
          </p:nvPr>
        </p:nvCxnSpPr>
        <p:spPr bwMode="auto">
          <a:xfrm>
            <a:off x="7348538" y="2774950"/>
            <a:ext cx="284162"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73E83A23-8798-D86A-1756-599987BA59C0}"/>
              </a:ext>
            </a:extLst>
          </p:cNvPr>
          <p:cNvCxnSpPr/>
          <p:nvPr>
            <p:custDataLst>
              <p:tags r:id="rId21"/>
            </p:custDataLst>
          </p:nvPr>
        </p:nvCxnSpPr>
        <p:spPr bwMode="auto">
          <a:xfrm>
            <a:off x="7348538" y="2774950"/>
            <a:ext cx="0" cy="1588"/>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7750E501-8F9F-B607-08E1-DB00B4185E96}"/>
              </a:ext>
            </a:extLst>
          </p:cNvPr>
          <p:cNvCxnSpPr/>
          <p:nvPr>
            <p:custDataLst>
              <p:tags r:id="rId22"/>
            </p:custDataLst>
          </p:nvPr>
        </p:nvCxnSpPr>
        <p:spPr bwMode="auto">
          <a:xfrm>
            <a:off x="7632700" y="2774950"/>
            <a:ext cx="0" cy="1588"/>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07E976C0-BAEC-75E3-C286-26BFDF3B83AE}"/>
              </a:ext>
            </a:extLst>
          </p:cNvPr>
          <p:cNvCxnSpPr/>
          <p:nvPr>
            <p:custDataLst>
              <p:tags r:id="rId23"/>
            </p:custDataLst>
          </p:nvPr>
        </p:nvCxnSpPr>
        <p:spPr bwMode="auto">
          <a:xfrm>
            <a:off x="6837364" y="2509838"/>
            <a:ext cx="284163"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7BC5C70-52F7-D4B4-FA04-F1ED7E86BB8F}"/>
              </a:ext>
            </a:extLst>
          </p:cNvPr>
          <p:cNvCxnSpPr/>
          <p:nvPr>
            <p:custDataLst>
              <p:tags r:id="rId24"/>
            </p:custDataLst>
          </p:nvPr>
        </p:nvCxnSpPr>
        <p:spPr bwMode="auto">
          <a:xfrm>
            <a:off x="6837363" y="2509838"/>
            <a:ext cx="0" cy="23813"/>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72A2EFD-52B8-8199-3A36-A43C752B1469}"/>
              </a:ext>
            </a:extLst>
          </p:cNvPr>
          <p:cNvCxnSpPr/>
          <p:nvPr>
            <p:custDataLst>
              <p:tags r:id="rId25"/>
            </p:custDataLst>
          </p:nvPr>
        </p:nvCxnSpPr>
        <p:spPr bwMode="auto">
          <a:xfrm>
            <a:off x="7121525" y="2509838"/>
            <a:ext cx="0" cy="23813"/>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AACE89AF-F394-E539-77F8-007BD79E0405}"/>
              </a:ext>
            </a:extLst>
          </p:cNvPr>
          <p:cNvCxnSpPr/>
          <p:nvPr>
            <p:custDataLst>
              <p:tags r:id="rId26"/>
            </p:custDataLst>
          </p:nvPr>
        </p:nvCxnSpPr>
        <p:spPr bwMode="auto">
          <a:xfrm>
            <a:off x="6326188" y="2624138"/>
            <a:ext cx="284162"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A235763F-391C-675C-11DE-C424122647A1}"/>
              </a:ext>
            </a:extLst>
          </p:cNvPr>
          <p:cNvCxnSpPr/>
          <p:nvPr>
            <p:custDataLst>
              <p:tags r:id="rId27"/>
            </p:custDataLst>
          </p:nvPr>
        </p:nvCxnSpPr>
        <p:spPr bwMode="auto">
          <a:xfrm>
            <a:off x="6326188" y="2624138"/>
            <a:ext cx="0" cy="1587"/>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64F70F8F-ABCF-8A96-7450-3E3B0964809E}"/>
              </a:ext>
            </a:extLst>
          </p:cNvPr>
          <p:cNvCxnSpPr/>
          <p:nvPr>
            <p:custDataLst>
              <p:tags r:id="rId28"/>
            </p:custDataLst>
          </p:nvPr>
        </p:nvCxnSpPr>
        <p:spPr bwMode="auto">
          <a:xfrm>
            <a:off x="6610350" y="2624138"/>
            <a:ext cx="0" cy="1587"/>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7780F60F-645D-BAFB-72E7-8BFC44CACE9F}"/>
              </a:ext>
            </a:extLst>
          </p:cNvPr>
          <p:cNvCxnSpPr/>
          <p:nvPr>
            <p:custDataLst>
              <p:tags r:id="rId29"/>
            </p:custDataLst>
          </p:nvPr>
        </p:nvCxnSpPr>
        <p:spPr bwMode="auto">
          <a:xfrm>
            <a:off x="5813424" y="2463800"/>
            <a:ext cx="285750"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6F02DF94-7330-726A-5AE5-7BFBC66B1162}"/>
              </a:ext>
            </a:extLst>
          </p:cNvPr>
          <p:cNvCxnSpPr/>
          <p:nvPr>
            <p:custDataLst>
              <p:tags r:id="rId30"/>
            </p:custDataLst>
          </p:nvPr>
        </p:nvCxnSpPr>
        <p:spPr bwMode="auto">
          <a:xfrm>
            <a:off x="5813425" y="2463800"/>
            <a:ext cx="0" cy="161925"/>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58449488-9866-44AD-90DF-414988F9FAFB}"/>
              </a:ext>
            </a:extLst>
          </p:cNvPr>
          <p:cNvCxnSpPr/>
          <p:nvPr>
            <p:custDataLst>
              <p:tags r:id="rId31"/>
            </p:custDataLst>
          </p:nvPr>
        </p:nvCxnSpPr>
        <p:spPr bwMode="auto">
          <a:xfrm>
            <a:off x="6099175" y="2463800"/>
            <a:ext cx="0" cy="161925"/>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75843B1B-7DA3-13CF-FFFF-9788F354DFCC}"/>
              </a:ext>
            </a:extLst>
          </p:cNvPr>
          <p:cNvCxnSpPr/>
          <p:nvPr>
            <p:custDataLst>
              <p:tags r:id="rId32"/>
            </p:custDataLst>
          </p:nvPr>
        </p:nvCxnSpPr>
        <p:spPr bwMode="auto">
          <a:xfrm>
            <a:off x="5302250" y="2097088"/>
            <a:ext cx="284163" cy="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6A50C51F-60E2-0B6B-A4B1-D21C2A7E8F73}"/>
              </a:ext>
            </a:extLst>
          </p:cNvPr>
          <p:cNvCxnSpPr/>
          <p:nvPr>
            <p:custDataLst>
              <p:tags r:id="rId33"/>
            </p:custDataLst>
          </p:nvPr>
        </p:nvCxnSpPr>
        <p:spPr bwMode="auto">
          <a:xfrm>
            <a:off x="5302250" y="2097088"/>
            <a:ext cx="0" cy="277813"/>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4C6C55FF-95BE-9B31-0DEF-87833F3E9CD4}"/>
              </a:ext>
            </a:extLst>
          </p:cNvPr>
          <p:cNvCxnSpPr/>
          <p:nvPr>
            <p:custDataLst>
              <p:tags r:id="rId34"/>
            </p:custDataLst>
          </p:nvPr>
        </p:nvCxnSpPr>
        <p:spPr bwMode="auto">
          <a:xfrm>
            <a:off x="5586413" y="2097088"/>
            <a:ext cx="0" cy="277813"/>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4" name="TextBox 293">
            <a:extLst>
              <a:ext uri="{FF2B5EF4-FFF2-40B4-BE49-F238E27FC236}">
                <a16:creationId xmlns:a16="http://schemas.microsoft.com/office/drawing/2014/main" id="{B4D5DEAC-DAD1-474E-0EDE-2E4FDF201CC6}"/>
              </a:ext>
            </a:extLst>
          </p:cNvPr>
          <p:cNvSpPr txBox="1"/>
          <p:nvPr/>
        </p:nvSpPr>
        <p:spPr>
          <a:xfrm>
            <a:off x="9642859" y="1442629"/>
            <a:ext cx="2117727"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en-US" sz="1000" b="1" i="0" u="none" strike="noStrike" kern="1200" cap="none" spc="0" normalizeH="0" baseline="0" noProof="0">
                <a:ln>
                  <a:noFill/>
                </a:ln>
                <a:solidFill>
                  <a:srgbClr val="DF5327"/>
                </a:solidFill>
                <a:effectLst/>
                <a:uLnTx/>
                <a:uFillTx/>
                <a:latin typeface="Lato"/>
                <a:ea typeface="+mn-ea"/>
                <a:cs typeface="+mn-cs"/>
                <a:sym typeface="+mn-lt"/>
              </a:rPr>
              <a:t>Average accepted bid price, EUR/MWh nominal</a:t>
            </a:r>
            <a:endParaRPr kumimoji="0" lang="en-US" sz="1000" b="1" i="0" u="none" strike="noStrike" kern="1200" cap="none" spc="0" normalizeH="0" baseline="0" noProof="0">
              <a:ln>
                <a:noFill/>
              </a:ln>
              <a:solidFill>
                <a:srgbClr val="DF5327"/>
              </a:solidFill>
              <a:effectLst/>
              <a:uLnTx/>
              <a:uFillTx/>
              <a:latin typeface="Lato"/>
              <a:ea typeface="+mn-ea"/>
              <a:cs typeface="+mn-cs"/>
            </a:endParaRPr>
          </a:p>
        </p:txBody>
      </p:sp>
      <p:sp>
        <p:nvSpPr>
          <p:cNvPr id="295" name="TextBox 294">
            <a:extLst>
              <a:ext uri="{FF2B5EF4-FFF2-40B4-BE49-F238E27FC236}">
                <a16:creationId xmlns:a16="http://schemas.microsoft.com/office/drawing/2014/main" id="{77FD6B6E-66C0-BA0B-0685-11118AD812B0}"/>
              </a:ext>
            </a:extLst>
          </p:cNvPr>
          <p:cNvSpPr txBox="1"/>
          <p:nvPr/>
        </p:nvSpPr>
        <p:spPr>
          <a:xfrm>
            <a:off x="4679442" y="1459583"/>
            <a:ext cx="133576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Capacity (RES+BESS)</a:t>
            </a:r>
            <a:r>
              <a:rPr lang="en-US" altLang="en-US" sz="1000" b="1" noProof="0">
                <a:solidFill>
                  <a:srgbClr val="3C3C3B"/>
                </a:solidFill>
                <a:latin typeface="Lato"/>
                <a:sym typeface="+mn-lt"/>
              </a:rPr>
              <a:t> </a:t>
            </a: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MW</a:t>
            </a:r>
            <a:endParaRPr kumimoji="0" lang="en-US" sz="1000" b="1" i="0" u="none" strike="noStrike" kern="1200" cap="none" spc="0" normalizeH="0" baseline="0" noProof="0">
              <a:ln>
                <a:noFill/>
              </a:ln>
              <a:solidFill>
                <a:srgbClr val="3C3C3B"/>
              </a:solidFill>
              <a:effectLst/>
              <a:uLnTx/>
              <a:uFillTx/>
              <a:latin typeface="Lato"/>
              <a:ea typeface="+mn-ea"/>
              <a:cs typeface="+mn-cs"/>
            </a:endParaRPr>
          </a:p>
        </p:txBody>
      </p:sp>
      <p:graphicFrame>
        <p:nvGraphicFramePr>
          <p:cNvPr id="92" name="Chart 91">
            <a:extLst>
              <a:ext uri="{FF2B5EF4-FFF2-40B4-BE49-F238E27FC236}">
                <a16:creationId xmlns:a16="http://schemas.microsoft.com/office/drawing/2014/main" id="{13803725-CDEB-E26F-3E85-DD63F699AB23}"/>
              </a:ext>
            </a:extLst>
          </p:cNvPr>
          <p:cNvGraphicFramePr/>
          <p:nvPr>
            <p:custDataLst>
              <p:tags r:id="rId35"/>
            </p:custDataLst>
            <p:extLst>
              <p:ext uri="{D42A27DB-BD31-4B8C-83A1-F6EECF244321}">
                <p14:modId xmlns:p14="http://schemas.microsoft.com/office/powerpoint/2010/main" val="1961676845"/>
              </p:ext>
            </p:extLst>
          </p:nvPr>
        </p:nvGraphicFramePr>
        <p:xfrm>
          <a:off x="298450" y="7192963"/>
          <a:ext cx="3405188" cy="600075"/>
        </p:xfrm>
        <a:graphic>
          <a:graphicData uri="http://schemas.openxmlformats.org/drawingml/2006/chart">
            <c:chart xmlns:c="http://schemas.openxmlformats.org/drawingml/2006/chart" xmlns:r="http://schemas.openxmlformats.org/officeDocument/2006/relationships" r:id="rId62"/>
          </a:graphicData>
        </a:graphic>
      </p:graphicFrame>
      <p:cxnSp>
        <p:nvCxnSpPr>
          <p:cNvPr id="385" name="Straight Connector 384">
            <a:extLst>
              <a:ext uri="{FF2B5EF4-FFF2-40B4-BE49-F238E27FC236}">
                <a16:creationId xmlns:a16="http://schemas.microsoft.com/office/drawing/2014/main" id="{1AD8A185-30F1-764C-B5C7-BF920980DD8D}"/>
              </a:ext>
            </a:extLst>
          </p:cNvPr>
          <p:cNvCxnSpPr/>
          <p:nvPr>
            <p:custDataLst>
              <p:tags r:id="rId36"/>
            </p:custDataLst>
          </p:nvPr>
        </p:nvCxnSpPr>
        <p:spPr bwMode="auto">
          <a:xfrm>
            <a:off x="2120900" y="7623175"/>
            <a:ext cx="0" cy="8255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A8C8B98A-1889-08D5-2CFD-89DACCCFBFA3}"/>
              </a:ext>
            </a:extLst>
          </p:cNvPr>
          <p:cNvCxnSpPr/>
          <p:nvPr>
            <p:custDataLst>
              <p:tags r:id="rId37"/>
            </p:custDataLst>
          </p:nvPr>
        </p:nvCxnSpPr>
        <p:spPr bwMode="auto">
          <a:xfrm>
            <a:off x="2420938" y="7623175"/>
            <a:ext cx="0" cy="8255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523D33D5-8353-CA52-7EB3-B76EBAD8FE7B}"/>
              </a:ext>
            </a:extLst>
          </p:cNvPr>
          <p:cNvCxnSpPr/>
          <p:nvPr>
            <p:custDataLst>
              <p:tags r:id="rId38"/>
            </p:custDataLst>
          </p:nvPr>
        </p:nvCxnSpPr>
        <p:spPr bwMode="auto">
          <a:xfrm>
            <a:off x="1579563" y="7623175"/>
            <a:ext cx="0" cy="8255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E8DE1F71-F86D-04D4-920E-B2F7E6F0FE0F}"/>
              </a:ext>
            </a:extLst>
          </p:cNvPr>
          <p:cNvCxnSpPr/>
          <p:nvPr>
            <p:custDataLst>
              <p:tags r:id="rId39"/>
            </p:custDataLst>
          </p:nvPr>
        </p:nvCxnSpPr>
        <p:spPr bwMode="auto">
          <a:xfrm>
            <a:off x="1881188" y="7623175"/>
            <a:ext cx="0" cy="8255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8896B515-457F-8F6B-E5D6-43472177551E}"/>
              </a:ext>
            </a:extLst>
          </p:cNvPr>
          <p:cNvCxnSpPr/>
          <p:nvPr>
            <p:custDataLst>
              <p:tags r:id="rId40"/>
            </p:custDataLst>
          </p:nvPr>
        </p:nvCxnSpPr>
        <p:spPr bwMode="auto">
          <a:xfrm>
            <a:off x="1039813" y="7623175"/>
            <a:ext cx="0" cy="8255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12E482A5-FF6C-685C-AD8D-6B6908B85A93}"/>
              </a:ext>
            </a:extLst>
          </p:cNvPr>
          <p:cNvCxnSpPr/>
          <p:nvPr>
            <p:custDataLst>
              <p:tags r:id="rId41"/>
            </p:custDataLst>
          </p:nvPr>
        </p:nvCxnSpPr>
        <p:spPr bwMode="auto">
          <a:xfrm>
            <a:off x="1339850" y="7623175"/>
            <a:ext cx="0" cy="8255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C5809164-7176-19E1-F0A6-52FBC8D2D7ED}"/>
              </a:ext>
            </a:extLst>
          </p:cNvPr>
          <p:cNvCxnSpPr/>
          <p:nvPr>
            <p:custDataLst>
              <p:tags r:id="rId42"/>
            </p:custDataLst>
          </p:nvPr>
        </p:nvCxnSpPr>
        <p:spPr bwMode="auto">
          <a:xfrm>
            <a:off x="500063" y="7623175"/>
            <a:ext cx="0" cy="8255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EDE24339-7313-4A2C-D0E6-357106562360}"/>
              </a:ext>
            </a:extLst>
          </p:cNvPr>
          <p:cNvCxnSpPr/>
          <p:nvPr>
            <p:custDataLst>
              <p:tags r:id="rId43"/>
            </p:custDataLst>
          </p:nvPr>
        </p:nvCxnSpPr>
        <p:spPr bwMode="auto">
          <a:xfrm>
            <a:off x="800100" y="7623175"/>
            <a:ext cx="0" cy="82550"/>
          </a:xfrm>
          <a:prstGeom prst="line">
            <a:avLst/>
          </a:prstGeom>
          <a:ln w="222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8" name="Rectangle 357">
            <a:extLst>
              <a:ext uri="{FF2B5EF4-FFF2-40B4-BE49-F238E27FC236}">
                <a16:creationId xmlns:a16="http://schemas.microsoft.com/office/drawing/2014/main" id="{0E8D6BD5-872F-0104-C534-EF23EB6D5D62}"/>
              </a:ext>
            </a:extLst>
          </p:cNvPr>
          <p:cNvSpPr/>
          <p:nvPr>
            <p:custDataLst>
              <p:tags r:id="rId44"/>
            </p:custDataLst>
          </p:nvPr>
        </p:nvSpPr>
        <p:spPr bwMode="auto">
          <a:xfrm>
            <a:off x="2257425" y="6262688"/>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59" name="Rectangle 358">
            <a:extLst>
              <a:ext uri="{FF2B5EF4-FFF2-40B4-BE49-F238E27FC236}">
                <a16:creationId xmlns:a16="http://schemas.microsoft.com/office/drawing/2014/main" id="{A8F1404C-372D-3597-950D-1B2D63799CA0}"/>
              </a:ext>
            </a:extLst>
          </p:cNvPr>
          <p:cNvSpPr/>
          <p:nvPr>
            <p:custDataLst>
              <p:tags r:id="rId45"/>
            </p:custDataLst>
          </p:nvPr>
        </p:nvSpPr>
        <p:spPr bwMode="auto">
          <a:xfrm>
            <a:off x="3582988" y="6262688"/>
            <a:ext cx="179388" cy="133350"/>
          </a:xfrm>
          <a:prstGeom prst="rect">
            <a:avLst/>
          </a:prstGeom>
          <a:solidFill>
            <a:srgbClr val="E1C4E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19" name="Rectangle 518">
            <a:extLst>
              <a:ext uri="{FF2B5EF4-FFF2-40B4-BE49-F238E27FC236}">
                <a16:creationId xmlns:a16="http://schemas.microsoft.com/office/drawing/2014/main" id="{582FA2B6-5D33-FCED-1DEC-80C699804AFA}"/>
              </a:ext>
            </a:extLst>
          </p:cNvPr>
          <p:cNvSpPr/>
          <p:nvPr>
            <p:custDataLst>
              <p:tags r:id="rId46"/>
            </p:custDataLst>
          </p:nvPr>
        </p:nvSpPr>
        <p:spPr bwMode="auto">
          <a:xfrm>
            <a:off x="5014913" y="6262688"/>
            <a:ext cx="179388" cy="133350"/>
          </a:xfrm>
          <a:prstGeom prst="rect">
            <a:avLst/>
          </a:prstGeom>
          <a:pattFill prst="ltDnDiag">
            <a:fgClr>
              <a:srgbClr val="000000"/>
            </a:fgClr>
            <a:bgClr>
              <a:srgbClr val="FFFFFF"/>
            </a:bgClr>
          </a:patt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64" name="Rectangle 363">
            <a:extLst>
              <a:ext uri="{FF2B5EF4-FFF2-40B4-BE49-F238E27FC236}">
                <a16:creationId xmlns:a16="http://schemas.microsoft.com/office/drawing/2014/main" id="{4AEE4C93-3BFA-3217-88F3-47743A359356}"/>
              </a:ext>
            </a:extLst>
          </p:cNvPr>
          <p:cNvSpPr/>
          <p:nvPr>
            <p:custDataLst>
              <p:tags r:id="rId47"/>
            </p:custDataLst>
          </p:nvPr>
        </p:nvSpPr>
        <p:spPr bwMode="auto">
          <a:xfrm>
            <a:off x="6567488" y="6262688"/>
            <a:ext cx="179388" cy="133350"/>
          </a:xfrm>
          <a:prstGeom prst="rect">
            <a:avLst/>
          </a:prstGeom>
          <a:noFill/>
          <a:ln w="22225"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57" name="Diamond 356">
            <a:extLst>
              <a:ext uri="{FF2B5EF4-FFF2-40B4-BE49-F238E27FC236}">
                <a16:creationId xmlns:a16="http://schemas.microsoft.com/office/drawing/2014/main" id="{0E3A47AD-789F-D385-2BF5-EAE4D266CBFC}"/>
              </a:ext>
            </a:extLst>
          </p:cNvPr>
          <p:cNvSpPr/>
          <p:nvPr>
            <p:custDataLst>
              <p:tags r:id="rId48"/>
            </p:custDataLst>
          </p:nvPr>
        </p:nvSpPr>
        <p:spPr bwMode="auto">
          <a:xfrm>
            <a:off x="476250" y="6284913"/>
            <a:ext cx="88900" cy="88900"/>
          </a:xfrm>
          <a:prstGeom prst="diamond">
            <a:avLst/>
          </a:prstGeom>
          <a:solidFill>
            <a:srgbClr val="DF5327"/>
          </a:solidFill>
          <a:ln w="9525" cap="flat" cmpd="sng" algn="ctr">
            <a:solidFill>
              <a:srgbClr val="DF5327"/>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52" name="Text Placeholder 19">
            <a:extLst>
              <a:ext uri="{FF2B5EF4-FFF2-40B4-BE49-F238E27FC236}">
                <a16:creationId xmlns:a16="http://schemas.microsoft.com/office/drawing/2014/main" id="{9F9869AF-B0F6-4E89-B216-4EC18C7334C2}"/>
              </a:ext>
            </a:extLst>
          </p:cNvPr>
          <p:cNvSpPr>
            <a:spLocks noGrp="1"/>
          </p:cNvSpPr>
          <p:nvPr>
            <p:custDataLst>
              <p:tags r:id="rId49"/>
            </p:custDataLst>
          </p:nvPr>
        </p:nvSpPr>
        <p:spPr bwMode="auto">
          <a:xfrm>
            <a:off x="661988" y="6257925"/>
            <a:ext cx="1493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584C7218-4A8A-4428-883D-CB2EF2497CC0}" type="datetime'A''''''''v''era''ge ac''cep''''ted'' ''b''''''id pr''i''ce'''">
              <a:rPr lang="en-GB" altLang="en-US" sz="1000" smtClean="0">
                <a:solidFill>
                  <a:srgbClr val="3C3C3B"/>
                </a:solidFill>
              </a:rPr>
              <a:pPr lvl="0">
                <a:spcBef>
                  <a:spcPct val="0"/>
                </a:spcBef>
                <a:spcAft>
                  <a:spcPct val="0"/>
                </a:spcAft>
                <a:defRPr/>
              </a:pPr>
              <a:t>Average accepted bid price</a:t>
            </a:fld>
            <a:endParaRPr kumimoji="0" lang="en-GB" sz="1000" b="0" i="0" strike="noStrike" kern="1200" cap="none" spc="0" normalizeH="0" baseline="0" noProof="0">
              <a:ln>
                <a:noFill/>
              </a:ln>
              <a:solidFill>
                <a:srgbClr val="3C3C3B"/>
              </a:solidFill>
              <a:effectLst/>
              <a:uLnTx/>
              <a:uFillTx/>
              <a:sym typeface="Lato" panose="020F0502020204030203" pitchFamily="34" charset="0"/>
            </a:endParaRPr>
          </a:p>
        </p:txBody>
      </p:sp>
      <p:sp>
        <p:nvSpPr>
          <p:cNvPr id="355" name="Text Placeholder 19">
            <a:extLst>
              <a:ext uri="{FF2B5EF4-FFF2-40B4-BE49-F238E27FC236}">
                <a16:creationId xmlns:a16="http://schemas.microsoft.com/office/drawing/2014/main" id="{9F9869AF-B0F6-4E89-B216-4EC18C7334C2}"/>
              </a:ext>
            </a:extLst>
          </p:cNvPr>
          <p:cNvSpPr>
            <a:spLocks noGrp="1"/>
          </p:cNvSpPr>
          <p:nvPr>
            <p:custDataLst>
              <p:tags r:id="rId50"/>
            </p:custDataLst>
          </p:nvPr>
        </p:nvSpPr>
        <p:spPr bwMode="auto">
          <a:xfrm>
            <a:off x="2487613" y="6257925"/>
            <a:ext cx="993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F7004BBC-6273-428A-910F-BF721606C1EE}" type="datetime'Aw''''''''''''''ar''d''e''''d'' ''''c''a''''''''''pa''cit''y'">
              <a:rPr lang="en-GB" altLang="en-US" sz="1000" smtClean="0">
                <a:solidFill>
                  <a:srgbClr val="3C3C3B"/>
                </a:solidFill>
              </a:rPr>
              <a:pPr lvl="0">
                <a:spcBef>
                  <a:spcPct val="0"/>
                </a:spcBef>
                <a:spcAft>
                  <a:spcPct val="0"/>
                </a:spcAft>
                <a:defRPr/>
              </a:pPr>
              <a:t>Awarded capacity</a:t>
            </a:fld>
            <a:endParaRPr kumimoji="0" lang="en-GB" sz="1000" b="0" i="0" strike="noStrike" kern="1200" cap="none" spc="0" normalizeH="0" baseline="0" noProof="0">
              <a:ln>
                <a:noFill/>
              </a:ln>
              <a:solidFill>
                <a:srgbClr val="3C3C3B"/>
              </a:solidFill>
              <a:effectLst/>
              <a:uLnTx/>
              <a:uFillTx/>
              <a:sym typeface="Lato" panose="020F0502020204030203" pitchFamily="34" charset="0"/>
            </a:endParaRPr>
          </a:p>
        </p:txBody>
      </p:sp>
      <p:sp>
        <p:nvSpPr>
          <p:cNvPr id="354" name="Text Placeholder 19">
            <a:extLst>
              <a:ext uri="{FF2B5EF4-FFF2-40B4-BE49-F238E27FC236}">
                <a16:creationId xmlns:a16="http://schemas.microsoft.com/office/drawing/2014/main" id="{9F9869AF-B0F6-4E89-B216-4EC18C7334C2}"/>
              </a:ext>
            </a:extLst>
          </p:cNvPr>
          <p:cNvSpPr>
            <a:spLocks noGrp="1"/>
          </p:cNvSpPr>
          <p:nvPr>
            <p:custDataLst>
              <p:tags r:id="rId51"/>
            </p:custDataLst>
          </p:nvPr>
        </p:nvSpPr>
        <p:spPr bwMode="auto">
          <a:xfrm>
            <a:off x="3813175" y="6257925"/>
            <a:ext cx="1100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r>
              <a:rPr kumimoji="0" lang="en-GB" sz="1000" b="0" i="0" strike="noStrike" kern="1200" cap="none" spc="0" normalizeH="0" baseline="0" noProof="0">
                <a:ln>
                  <a:noFill/>
                </a:ln>
                <a:solidFill>
                  <a:srgbClr val="3C3C3B"/>
                </a:solidFill>
                <a:effectLst/>
                <a:uLnTx/>
                <a:uFillTx/>
                <a:sym typeface="Lato" panose="020F0502020204030203" pitchFamily="34" charset="0"/>
              </a:rPr>
              <a:t>Procurement target</a:t>
            </a:r>
          </a:p>
        </p:txBody>
      </p:sp>
      <p:sp>
        <p:nvSpPr>
          <p:cNvPr id="515" name="Text Placeholder 19">
            <a:extLst>
              <a:ext uri="{FF2B5EF4-FFF2-40B4-BE49-F238E27FC236}">
                <a16:creationId xmlns:a16="http://schemas.microsoft.com/office/drawing/2014/main" id="{CA8B8728-7193-F9D2-1897-5DD391106919}"/>
              </a:ext>
            </a:extLst>
          </p:cNvPr>
          <p:cNvSpPr>
            <a:spLocks noGrp="1"/>
          </p:cNvSpPr>
          <p:nvPr>
            <p:custDataLst>
              <p:tags r:id="rId52"/>
            </p:custDataLst>
          </p:nvPr>
        </p:nvSpPr>
        <p:spPr bwMode="auto">
          <a:xfrm>
            <a:off x="5245100" y="6257925"/>
            <a:ext cx="1220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defRPr/>
            </a:pPr>
            <a:fld id="{2E39AE8C-3BC5-47D2-B0F8-435B152A47AB}" type="datetime'Unc''''''''on''f''i''''r''me''''d'' ''a''''''ucti''o''''''ns'">
              <a:rPr lang="en-GB" altLang="en-US" sz="1000" smtClean="0">
                <a:solidFill>
                  <a:srgbClr val="3C3C3B"/>
                </a:solidFill>
              </a:rPr>
              <a:pPr lvl="0">
                <a:spcBef>
                  <a:spcPct val="0"/>
                </a:spcBef>
                <a:spcAft>
                  <a:spcPct val="0"/>
                </a:spcAft>
                <a:defRPr/>
              </a:pPr>
              <a:t>Unconfirmed auctions</a:t>
            </a:fld>
            <a:endParaRPr kumimoji="0" lang="en-GB" sz="1000" b="0" i="0" strike="noStrike" kern="1200" cap="none" spc="0" normalizeH="0" baseline="0" noProof="0">
              <a:ln>
                <a:noFill/>
              </a:ln>
              <a:solidFill>
                <a:srgbClr val="3C3C3B"/>
              </a:solidFill>
              <a:effectLst/>
              <a:uLnTx/>
              <a:uFillTx/>
              <a:sym typeface="Lato" panose="020F0502020204030203" pitchFamily="34" charset="0"/>
            </a:endParaRPr>
          </a:p>
        </p:txBody>
      </p:sp>
      <p:sp>
        <p:nvSpPr>
          <p:cNvPr id="360" name="Text Placeholder 19">
            <a:extLst>
              <a:ext uri="{FF2B5EF4-FFF2-40B4-BE49-F238E27FC236}">
                <a16:creationId xmlns:a16="http://schemas.microsoft.com/office/drawing/2014/main" id="{43ECE7D9-F3E6-4FEA-C2DF-FDF45B6BEA95}"/>
              </a:ext>
            </a:extLst>
          </p:cNvPr>
          <p:cNvSpPr>
            <a:spLocks noGrp="1"/>
          </p:cNvSpPr>
          <p:nvPr>
            <p:custDataLst>
              <p:tags r:id="rId53"/>
            </p:custDataLst>
          </p:nvPr>
        </p:nvSpPr>
        <p:spPr bwMode="auto">
          <a:xfrm>
            <a:off x="6797675" y="6257925"/>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F712659-CF94-4924-904A-837CF98326FA}" type="datetime'''T''''o''''''''''''''''''ta''''''''''''''''l'' ''bi''ds'">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Total bids</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91" name="Rectangle 390">
            <a:extLst>
              <a:ext uri="{FF2B5EF4-FFF2-40B4-BE49-F238E27FC236}">
                <a16:creationId xmlns:a16="http://schemas.microsoft.com/office/drawing/2014/main" id="{AB19DBA4-E319-DAD1-BBD4-817344ACCBFA}"/>
              </a:ext>
            </a:extLst>
          </p:cNvPr>
          <p:cNvSpPr/>
          <p:nvPr/>
        </p:nvSpPr>
        <p:spPr>
          <a:xfrm>
            <a:off x="5887553" y="1670507"/>
            <a:ext cx="1169115" cy="538163"/>
          </a:xfrm>
          <a:prstGeom prst="rect">
            <a:avLst/>
          </a:prstGeom>
          <a:noFill/>
          <a:ln w="12700">
            <a:solidFill>
              <a:schemeClr val="accent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392" name="Straight Connector 391">
            <a:extLst>
              <a:ext uri="{FF2B5EF4-FFF2-40B4-BE49-F238E27FC236}">
                <a16:creationId xmlns:a16="http://schemas.microsoft.com/office/drawing/2014/main" id="{6120E365-7263-4280-75B4-78EE8CC572A1}"/>
              </a:ext>
            </a:extLst>
          </p:cNvPr>
          <p:cNvCxnSpPr>
            <a:cxnSpLocks/>
            <a:stCxn id="397" idx="2"/>
          </p:cNvCxnSpPr>
          <p:nvPr/>
        </p:nvCxnSpPr>
        <p:spPr>
          <a:xfrm>
            <a:off x="8129945" y="1898651"/>
            <a:ext cx="219590" cy="300036"/>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7" name="Rectangle 396">
            <a:extLst>
              <a:ext uri="{FF2B5EF4-FFF2-40B4-BE49-F238E27FC236}">
                <a16:creationId xmlns:a16="http://schemas.microsoft.com/office/drawing/2014/main" id="{35EAD729-AB24-CEC1-0EE7-24A0A66C11A7}"/>
              </a:ext>
            </a:extLst>
          </p:cNvPr>
          <p:cNvSpPr/>
          <p:nvPr/>
        </p:nvSpPr>
        <p:spPr>
          <a:xfrm>
            <a:off x="7208838" y="1519238"/>
            <a:ext cx="1842214" cy="379413"/>
          </a:xfrm>
          <a:prstGeom prst="rect">
            <a:avLst/>
          </a:prstGeom>
          <a:noFill/>
          <a:ln w="12700">
            <a:solidFill>
              <a:schemeClr val="accent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401" name="Straight Connector 400">
            <a:extLst>
              <a:ext uri="{FF2B5EF4-FFF2-40B4-BE49-F238E27FC236}">
                <a16:creationId xmlns:a16="http://schemas.microsoft.com/office/drawing/2014/main" id="{9984CF27-9EEF-7F41-D5B2-81E543BDCF0B}"/>
              </a:ext>
            </a:extLst>
          </p:cNvPr>
          <p:cNvCxnSpPr>
            <a:cxnSpLocks/>
            <a:stCxn id="391" idx="3"/>
          </p:cNvCxnSpPr>
          <p:nvPr/>
        </p:nvCxnSpPr>
        <p:spPr>
          <a:xfrm>
            <a:off x="7056668" y="1939589"/>
            <a:ext cx="440356" cy="479823"/>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10" name="TextBox 409">
            <a:extLst>
              <a:ext uri="{FF2B5EF4-FFF2-40B4-BE49-F238E27FC236}">
                <a16:creationId xmlns:a16="http://schemas.microsoft.com/office/drawing/2014/main" id="{8589B446-D7FD-DC2B-1262-9D177522963E}"/>
              </a:ext>
            </a:extLst>
          </p:cNvPr>
          <p:cNvSpPr txBox="1"/>
          <p:nvPr/>
        </p:nvSpPr>
        <p:spPr>
          <a:xfrm>
            <a:off x="4056062" y="3379788"/>
            <a:ext cx="1697038"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en-US" sz="1000" b="1" i="0" u="none" strike="noStrike" kern="1200" cap="none" spc="0" normalizeH="0" baseline="0" noProof="0">
                <a:ln>
                  <a:noFill/>
                </a:ln>
                <a:solidFill>
                  <a:srgbClr val="DF5327"/>
                </a:solidFill>
                <a:effectLst/>
                <a:uLnTx/>
                <a:uFillTx/>
                <a:latin typeface="Lato"/>
                <a:ea typeface="+mn-ea"/>
                <a:cs typeface="+mn-cs"/>
                <a:sym typeface="+mn-lt"/>
              </a:rPr>
              <a:t>Average accepted bid price, EUR/MW/year</a:t>
            </a:r>
            <a:endParaRPr kumimoji="0" lang="en-US" sz="1000" b="1" i="0" u="none" strike="noStrike" kern="1200" cap="none" spc="0" normalizeH="0" baseline="0" noProof="0">
              <a:ln>
                <a:noFill/>
              </a:ln>
              <a:solidFill>
                <a:srgbClr val="DF5327"/>
              </a:solidFill>
              <a:effectLst/>
              <a:uLnTx/>
              <a:uFillTx/>
              <a:latin typeface="Lato"/>
              <a:ea typeface="+mn-ea"/>
              <a:cs typeface="+mn-cs"/>
            </a:endParaRPr>
          </a:p>
        </p:txBody>
      </p:sp>
      <p:sp>
        <p:nvSpPr>
          <p:cNvPr id="411" name="TextBox 410">
            <a:extLst>
              <a:ext uri="{FF2B5EF4-FFF2-40B4-BE49-F238E27FC236}">
                <a16:creationId xmlns:a16="http://schemas.microsoft.com/office/drawing/2014/main" id="{7C6C66FF-31E5-B3B4-C2E7-74FDF62F452C}"/>
              </a:ext>
            </a:extLst>
          </p:cNvPr>
          <p:cNvSpPr txBox="1"/>
          <p:nvPr/>
        </p:nvSpPr>
        <p:spPr>
          <a:xfrm>
            <a:off x="3141675" y="3382719"/>
            <a:ext cx="59451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Capacity,   MW</a:t>
            </a:r>
            <a:endParaRPr kumimoji="0" lang="en-US" sz="1000" b="1" i="0" u="none" strike="noStrike" kern="1200" cap="none" spc="0" normalizeH="0" baseline="0" noProof="0">
              <a:ln>
                <a:noFill/>
              </a:ln>
              <a:solidFill>
                <a:srgbClr val="3C3C3B"/>
              </a:solidFill>
              <a:effectLst/>
              <a:uLnTx/>
              <a:uFillTx/>
              <a:latin typeface="Lato"/>
              <a:ea typeface="+mn-ea"/>
              <a:cs typeface="+mn-cs"/>
            </a:endParaRPr>
          </a:p>
        </p:txBody>
      </p:sp>
      <p:sp>
        <p:nvSpPr>
          <p:cNvPr id="468" name="TextBox 467">
            <a:extLst>
              <a:ext uri="{FF2B5EF4-FFF2-40B4-BE49-F238E27FC236}">
                <a16:creationId xmlns:a16="http://schemas.microsoft.com/office/drawing/2014/main" id="{1D862210-D8E1-BCBC-F50C-BF428DE46E59}"/>
              </a:ext>
            </a:extLst>
          </p:cNvPr>
          <p:cNvSpPr txBox="1"/>
          <p:nvPr/>
        </p:nvSpPr>
        <p:spPr>
          <a:xfrm>
            <a:off x="8898960" y="3451171"/>
            <a:ext cx="55936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Capacity,       MW</a:t>
            </a:r>
            <a:endParaRPr kumimoji="0" lang="en-US" sz="1000" b="1" i="0" u="none" strike="noStrike" kern="1200" cap="none" spc="0" normalizeH="0" baseline="0" noProof="0">
              <a:ln>
                <a:noFill/>
              </a:ln>
              <a:solidFill>
                <a:srgbClr val="3C3C3B"/>
              </a:solidFill>
              <a:effectLst/>
              <a:uLnTx/>
              <a:uFillTx/>
              <a:latin typeface="Lato"/>
              <a:ea typeface="+mn-ea"/>
              <a:cs typeface="+mn-cs"/>
            </a:endParaRPr>
          </a:p>
        </p:txBody>
      </p:sp>
      <p:sp>
        <p:nvSpPr>
          <p:cNvPr id="476" name="TextBox 475">
            <a:extLst>
              <a:ext uri="{FF2B5EF4-FFF2-40B4-BE49-F238E27FC236}">
                <a16:creationId xmlns:a16="http://schemas.microsoft.com/office/drawing/2014/main" id="{8D9B8B12-0F5B-D492-581E-B15A3EC166EF}"/>
              </a:ext>
            </a:extLst>
          </p:cNvPr>
          <p:cNvSpPr txBox="1"/>
          <p:nvPr/>
        </p:nvSpPr>
        <p:spPr>
          <a:xfrm>
            <a:off x="10138272" y="3441646"/>
            <a:ext cx="1567954"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en-US" sz="1000" b="1">
                <a:solidFill>
                  <a:srgbClr val="DF5327"/>
                </a:solidFill>
                <a:latin typeface="Lato"/>
                <a:sym typeface="+mn-lt"/>
              </a:rPr>
              <a:t>Average accepted bid price</a:t>
            </a:r>
            <a:r>
              <a:rPr kumimoji="0" lang="en-US" altLang="en-US" sz="1000" b="1" i="0" u="none" strike="noStrike" kern="1200" cap="none" spc="0" normalizeH="0" baseline="0" noProof="0">
                <a:ln>
                  <a:noFill/>
                </a:ln>
                <a:solidFill>
                  <a:srgbClr val="DF5327"/>
                </a:solidFill>
                <a:effectLst/>
                <a:uLnTx/>
                <a:uFillTx/>
                <a:latin typeface="Lato"/>
                <a:ea typeface="+mn-ea"/>
                <a:cs typeface="+mn-cs"/>
                <a:sym typeface="+mn-lt"/>
              </a:rPr>
              <a:t>, 1000 EUR/MW</a:t>
            </a:r>
            <a:endParaRPr kumimoji="0" lang="en-US" sz="1000" b="1" i="0" u="none" strike="noStrike" kern="1200" cap="none" spc="0" normalizeH="0" baseline="0" noProof="0">
              <a:ln>
                <a:noFill/>
              </a:ln>
              <a:solidFill>
                <a:srgbClr val="DF5327"/>
              </a:solidFill>
              <a:effectLst/>
              <a:uLnTx/>
              <a:uFillTx/>
              <a:latin typeface="Lato"/>
              <a:ea typeface="+mn-ea"/>
              <a:cs typeface="+mn-cs"/>
            </a:endParaRPr>
          </a:p>
        </p:txBody>
      </p:sp>
      <p:sp>
        <p:nvSpPr>
          <p:cNvPr id="5" name="Oval 4">
            <a:extLst>
              <a:ext uri="{FF2B5EF4-FFF2-40B4-BE49-F238E27FC236}">
                <a16:creationId xmlns:a16="http://schemas.microsoft.com/office/drawing/2014/main" id="{850325DC-5D7D-6E0A-27C7-225555F5758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12" name="Oval 11">
            <a:extLst>
              <a:ext uri="{FF2B5EF4-FFF2-40B4-BE49-F238E27FC236}">
                <a16:creationId xmlns:a16="http://schemas.microsoft.com/office/drawing/2014/main" id="{152AEED6-1967-6A8F-21C1-A194CB4F9A43}"/>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03" name="Rectangle 502">
            <a:extLst>
              <a:ext uri="{FF2B5EF4-FFF2-40B4-BE49-F238E27FC236}">
                <a16:creationId xmlns:a16="http://schemas.microsoft.com/office/drawing/2014/main" id="{7EE9D80D-F784-D004-4E25-67102B5BC662}"/>
              </a:ext>
            </a:extLst>
          </p:cNvPr>
          <p:cNvSpPr/>
          <p:nvPr/>
        </p:nvSpPr>
        <p:spPr>
          <a:xfrm>
            <a:off x="4189096" y="3954321"/>
            <a:ext cx="1044748" cy="824848"/>
          </a:xfrm>
          <a:prstGeom prst="rect">
            <a:avLst/>
          </a:prstGeom>
          <a:noFill/>
          <a:ln w="12700">
            <a:solidFill>
              <a:schemeClr val="accent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504" name="Straight Connector 503">
            <a:extLst>
              <a:ext uri="{FF2B5EF4-FFF2-40B4-BE49-F238E27FC236}">
                <a16:creationId xmlns:a16="http://schemas.microsoft.com/office/drawing/2014/main" id="{9AFF9971-D90F-6CA4-C9EE-AFFC5FC2C00B}"/>
              </a:ext>
            </a:extLst>
          </p:cNvPr>
          <p:cNvCxnSpPr>
            <a:cxnSpLocks/>
            <a:stCxn id="503" idx="2"/>
          </p:cNvCxnSpPr>
          <p:nvPr/>
        </p:nvCxnSpPr>
        <p:spPr>
          <a:xfrm flipH="1">
            <a:off x="4710896" y="4779169"/>
            <a:ext cx="574" cy="576177"/>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21" name="TextBox 520">
            <a:extLst>
              <a:ext uri="{FF2B5EF4-FFF2-40B4-BE49-F238E27FC236}">
                <a16:creationId xmlns:a16="http://schemas.microsoft.com/office/drawing/2014/main" id="{F5BEAF7F-89B1-F140-C191-6044B86A7F92}"/>
              </a:ext>
            </a:extLst>
          </p:cNvPr>
          <p:cNvSpPr txBox="1"/>
          <p:nvPr/>
        </p:nvSpPr>
        <p:spPr>
          <a:xfrm>
            <a:off x="8786172" y="6036403"/>
            <a:ext cx="95790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Call budg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38383"/>
                </a:solidFill>
                <a:effectLst/>
                <a:uLnTx/>
                <a:uFillTx/>
                <a:latin typeface="Lato"/>
                <a:ea typeface="+mn-ea"/>
                <a:cs typeface="+mn-cs"/>
                <a:sym typeface="+mn-lt"/>
              </a:rPr>
              <a:t>Million EUR</a:t>
            </a:r>
            <a:endParaRPr kumimoji="0" lang="en-US" sz="1000" b="0" i="0" u="none" strike="noStrike" kern="1200" cap="none" spc="0" normalizeH="0" baseline="0" noProof="0">
              <a:ln>
                <a:noFill/>
              </a:ln>
              <a:solidFill>
                <a:srgbClr val="838383"/>
              </a:solidFill>
              <a:effectLst/>
              <a:uLnTx/>
              <a:uFillTx/>
              <a:latin typeface="Lato"/>
              <a:ea typeface="+mn-ea"/>
              <a:cs typeface="+mn-cs"/>
            </a:endParaRPr>
          </a:p>
        </p:txBody>
      </p:sp>
      <p:sp>
        <p:nvSpPr>
          <p:cNvPr id="65" name="Rectangle: Rounded Corners 64">
            <a:extLst>
              <a:ext uri="{FF2B5EF4-FFF2-40B4-BE49-F238E27FC236}">
                <a16:creationId xmlns:a16="http://schemas.microsoft.com/office/drawing/2014/main" id="{5EA42168-6D9E-00EA-748E-D5D86DB4AFE9}"/>
              </a:ext>
            </a:extLst>
          </p:cNvPr>
          <p:cNvSpPr/>
          <p:nvPr/>
        </p:nvSpPr>
        <p:spPr>
          <a:xfrm>
            <a:off x="9744075" y="6098223"/>
            <a:ext cx="408934" cy="184666"/>
          </a:xfrm>
          <a:prstGeom prst="round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XX</a:t>
            </a:r>
          </a:p>
        </p:txBody>
      </p:sp>
      <p:sp>
        <p:nvSpPr>
          <p:cNvPr id="67" name="Rectangle: Rounded Corners 66">
            <a:extLst>
              <a:ext uri="{FF2B5EF4-FFF2-40B4-BE49-F238E27FC236}">
                <a16:creationId xmlns:a16="http://schemas.microsoft.com/office/drawing/2014/main" id="{2061C8DE-813D-677C-71F5-138CD7A742AA}"/>
              </a:ext>
            </a:extLst>
          </p:cNvPr>
          <p:cNvSpPr/>
          <p:nvPr/>
        </p:nvSpPr>
        <p:spPr>
          <a:xfrm>
            <a:off x="10669526" y="6098223"/>
            <a:ext cx="408934" cy="184666"/>
          </a:xfrm>
          <a:prstGeom prst="round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XX</a:t>
            </a:r>
          </a:p>
        </p:txBody>
      </p:sp>
      <p:sp>
        <p:nvSpPr>
          <p:cNvPr id="488" name="Rectangle 487">
            <a:extLst>
              <a:ext uri="{FF2B5EF4-FFF2-40B4-BE49-F238E27FC236}">
                <a16:creationId xmlns:a16="http://schemas.microsoft.com/office/drawing/2014/main" id="{3A855667-707A-E2A2-1D1F-B2B1B84F3805}"/>
              </a:ext>
            </a:extLst>
          </p:cNvPr>
          <p:cNvSpPr/>
          <p:nvPr/>
        </p:nvSpPr>
        <p:spPr>
          <a:xfrm>
            <a:off x="427373" y="1268413"/>
            <a:ext cx="11537799" cy="4765293"/>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89" name="Rectangle 488">
            <a:extLst>
              <a:ext uri="{FF2B5EF4-FFF2-40B4-BE49-F238E27FC236}">
                <a16:creationId xmlns:a16="http://schemas.microsoft.com/office/drawing/2014/main" id="{A0A1168E-858A-F8B6-9CFE-6E9BBB88E2BC}"/>
              </a:ext>
            </a:extLst>
          </p:cNvPr>
          <p:cNvSpPr/>
          <p:nvPr/>
        </p:nvSpPr>
        <p:spPr>
          <a:xfrm>
            <a:off x="424823" y="3395632"/>
            <a:ext cx="2496046" cy="2442187"/>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90" name="Rectangle 489">
            <a:extLst>
              <a:ext uri="{FF2B5EF4-FFF2-40B4-BE49-F238E27FC236}">
                <a16:creationId xmlns:a16="http://schemas.microsoft.com/office/drawing/2014/main" id="{22366C07-A014-E7CD-CF29-84FFE65FD2EF}"/>
              </a:ext>
            </a:extLst>
          </p:cNvPr>
          <p:cNvSpPr/>
          <p:nvPr/>
        </p:nvSpPr>
        <p:spPr>
          <a:xfrm>
            <a:off x="6565900" y="3420187"/>
            <a:ext cx="2160587" cy="2535411"/>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76" name="Text Placeholder 23">
            <a:extLst>
              <a:ext uri="{FF2B5EF4-FFF2-40B4-BE49-F238E27FC236}">
                <a16:creationId xmlns:a16="http://schemas.microsoft.com/office/drawing/2014/main" id="{491B1E09-446F-394B-EAC8-CB5FCFB87D7F}"/>
              </a:ext>
            </a:extLst>
          </p:cNvPr>
          <p:cNvSpPr txBox="1">
            <a:spLocks/>
          </p:cNvSpPr>
          <p:nvPr/>
        </p:nvSpPr>
        <p:spPr>
          <a:xfrm>
            <a:off x="381600" y="6729559"/>
            <a:ext cx="11428800"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Sources: Aurora Energy Research</a:t>
            </a:r>
            <a:endParaRPr lang="en-GB"/>
          </a:p>
        </p:txBody>
      </p:sp>
      <p:sp>
        <p:nvSpPr>
          <p:cNvPr id="2" name="Rectangle 1">
            <a:extLst>
              <a:ext uri="{FF2B5EF4-FFF2-40B4-BE49-F238E27FC236}">
                <a16:creationId xmlns:a16="http://schemas.microsoft.com/office/drawing/2014/main" id="{C4845BD7-4B3A-8B49-D96F-DD2ABF15E993}"/>
              </a:ext>
            </a:extLst>
          </p:cNvPr>
          <p:cNvSpPr/>
          <p:nvPr/>
        </p:nvSpPr>
        <p:spPr>
          <a:xfrm>
            <a:off x="8449451" y="5050532"/>
            <a:ext cx="3249797" cy="134550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448540166"/>
      </p:ext>
    </p:extLst>
  </p:cSld>
  <p:clrMapOvr>
    <a:masterClrMapping/>
  </p:clrMapOvr>
  <p:extLst>
    <p:ext uri="{6950BFC3-D8DA-4A85-94F7-54DA5524770B}">
      <p188:commentRel xmlns:p188="http://schemas.microsoft.com/office/powerpoint/2018/8/main" r:id="rId56"/>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72322622-0FBD-4742-885E-CB4639337C85}"/>
              </a:ext>
            </a:extLst>
          </p:cNvPr>
          <p:cNvGraphicFramePr>
            <a:graphicFrameLocks noChangeAspect="1"/>
          </p:cNvGraphicFramePr>
          <p:nvPr>
            <p:custDataLst>
              <p:tags r:id="rId1"/>
            </p:custDataLst>
            <p:extLst>
              <p:ext uri="{D42A27DB-BD31-4B8C-83A1-F6EECF244321}">
                <p14:modId xmlns:p14="http://schemas.microsoft.com/office/powerpoint/2010/main" val="2928951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7" name="Object 26" hidden="1">
                        <a:extLst>
                          <a:ext uri="{FF2B5EF4-FFF2-40B4-BE49-F238E27FC236}">
                            <a16:creationId xmlns:a16="http://schemas.microsoft.com/office/drawing/2014/main" id="{72322622-0FBD-4742-885E-CB4639337C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3270868-3AFF-4479-B336-A8071C9A921C}"/>
              </a:ext>
            </a:extLst>
          </p:cNvPr>
          <p:cNvSpPr>
            <a:spLocks noGrp="1"/>
          </p:cNvSpPr>
          <p:nvPr>
            <p:ph type="title"/>
          </p:nvPr>
        </p:nvSpPr>
        <p:spPr>
          <a:xfrm>
            <a:off x="381600" y="411856"/>
            <a:ext cx="8720456" cy="609398"/>
          </a:xfrm>
        </p:spPr>
        <p:txBody>
          <a:bodyPr vert="horz"/>
          <a:lstStyle/>
          <a:p>
            <a:r>
              <a:rPr lang="en-GB"/>
              <a:t>Modelling storage is complex. Aurora’s forecasts have underpinned the deployment of over 2.5GW of </a:t>
            </a:r>
            <a:r>
              <a:rPr lang="en-GB" u="sng"/>
              <a:t>operational</a:t>
            </a:r>
            <a:r>
              <a:rPr lang="en-GB"/>
              <a:t> battery assets globally</a:t>
            </a:r>
          </a:p>
        </p:txBody>
      </p:sp>
      <p:sp>
        <p:nvSpPr>
          <p:cNvPr id="6" name="Text Placeholder 5">
            <a:extLst>
              <a:ext uri="{FF2B5EF4-FFF2-40B4-BE49-F238E27FC236}">
                <a16:creationId xmlns:a16="http://schemas.microsoft.com/office/drawing/2014/main" id="{DA8E6BD3-E4AA-41AC-A385-90D315BC0C12}"/>
              </a:ext>
            </a:extLst>
          </p:cNvPr>
          <p:cNvSpPr>
            <a:spLocks noGrp="1"/>
          </p:cNvSpPr>
          <p:nvPr>
            <p:ph type="body" sz="quarter" idx="32"/>
          </p:nvPr>
        </p:nvSpPr>
        <p:spPr/>
        <p:txBody>
          <a:bodyPr/>
          <a:lstStyle/>
          <a:p>
            <a:r>
              <a:rPr lang="en-GB"/>
              <a:t>1) Ancillary Services.</a:t>
            </a:r>
          </a:p>
        </p:txBody>
      </p:sp>
      <p:sp>
        <p:nvSpPr>
          <p:cNvPr id="8" name="Text Placeholder 12">
            <a:extLst>
              <a:ext uri="{FF2B5EF4-FFF2-40B4-BE49-F238E27FC236}">
                <a16:creationId xmlns:a16="http://schemas.microsoft.com/office/drawing/2014/main" id="{D66E7227-4372-4965-B454-1B438359B651}"/>
              </a:ext>
            </a:extLst>
          </p:cNvPr>
          <p:cNvSpPr txBox="1">
            <a:spLocks/>
          </p:cNvSpPr>
          <p:nvPr/>
        </p:nvSpPr>
        <p:spPr>
          <a:xfrm>
            <a:off x="1561852" y="1315712"/>
            <a:ext cx="3957515" cy="2539157"/>
          </a:xfrm>
          <a:prstGeom prst="rect">
            <a:avLst/>
          </a:prstGeom>
        </p:spPr>
        <p:txBody>
          <a:bodyPr wrap="square">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r>
              <a:rPr lang="en-GB"/>
              <a:t>Modelling a consistent set of day-ahead, real-time and Ancillary service prices accounting for opportunity costs</a:t>
            </a:r>
          </a:p>
          <a:p>
            <a:pPr lvl="1"/>
            <a:r>
              <a:rPr lang="en-GB"/>
              <a:t>Understanding and modelling detailed rules in AS</a:t>
            </a:r>
            <a:r>
              <a:rPr lang="en-GB" baseline="30000"/>
              <a:t>1</a:t>
            </a:r>
            <a:r>
              <a:rPr lang="en-GB"/>
              <a:t> markets, including responding to market changes</a:t>
            </a:r>
          </a:p>
          <a:p>
            <a:pPr lvl="1"/>
            <a:r>
              <a:rPr lang="en-GB"/>
              <a:t>Capturing the role of weather in driving scarcity and AS</a:t>
            </a:r>
            <a:r>
              <a:rPr lang="en-GB" baseline="30000"/>
              <a:t>1</a:t>
            </a:r>
            <a:r>
              <a:rPr lang="en-GB"/>
              <a:t> procurement – annual averages are irrelevant to storage economics, especially as renewables penetration increases </a:t>
            </a:r>
          </a:p>
          <a:p>
            <a:pPr lvl="1"/>
            <a:r>
              <a:rPr lang="en-GB"/>
              <a:t>Dispatching assets against multiple price series accounting for imperfect foresight, degradation, warranties, route to market, and asset characteristics</a:t>
            </a:r>
          </a:p>
        </p:txBody>
      </p:sp>
      <p:sp>
        <p:nvSpPr>
          <p:cNvPr id="9" name="Text Placeholder 12">
            <a:extLst>
              <a:ext uri="{FF2B5EF4-FFF2-40B4-BE49-F238E27FC236}">
                <a16:creationId xmlns:a16="http://schemas.microsoft.com/office/drawing/2014/main" id="{D8E6E1CE-98EB-4877-A10C-8D28CFC1058E}"/>
              </a:ext>
            </a:extLst>
          </p:cNvPr>
          <p:cNvSpPr txBox="1">
            <a:spLocks/>
          </p:cNvSpPr>
          <p:nvPr/>
        </p:nvSpPr>
        <p:spPr>
          <a:xfrm>
            <a:off x="1638779" y="4030098"/>
            <a:ext cx="4194900" cy="241604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buFont typeface="Wingdings" panose="05000000000000000000" pitchFamily="2" charset="2"/>
              <a:buChar char="ü"/>
            </a:pPr>
            <a:r>
              <a:rPr lang="en-GB"/>
              <a:t>Offer valuations for a range of standard and bespoke market scenarios</a:t>
            </a:r>
          </a:p>
          <a:p>
            <a:pPr lvl="1">
              <a:buFont typeface="Wingdings" panose="05000000000000000000" pitchFamily="2" charset="2"/>
              <a:buChar char="ü"/>
            </a:pPr>
            <a:r>
              <a:rPr lang="en-GB"/>
              <a:t>Work closely with clients to ensure the valuation is specific to their asset or portfolio characteristics</a:t>
            </a:r>
          </a:p>
          <a:p>
            <a:pPr lvl="1">
              <a:buFont typeface="Wingdings" panose="05000000000000000000" pitchFamily="2" charset="2"/>
              <a:buChar char="ü"/>
            </a:pPr>
            <a:r>
              <a:rPr lang="en-GB"/>
              <a:t>Model storage margins for all major business models including arbitrage, Ancillary Services, and hybrid</a:t>
            </a:r>
          </a:p>
          <a:p>
            <a:pPr lvl="1">
              <a:buFont typeface="Wingdings" panose="05000000000000000000" pitchFamily="2" charset="2"/>
              <a:buChar char="ü"/>
            </a:pPr>
            <a:r>
              <a:rPr lang="en-GB"/>
              <a:t>Dispatch against consistent day-ahead, real-time and AS prices </a:t>
            </a:r>
          </a:p>
          <a:p>
            <a:pPr lvl="1">
              <a:buFont typeface="Wingdings" panose="05000000000000000000" pitchFamily="2" charset="2"/>
              <a:buChar char="ü"/>
            </a:pPr>
            <a:r>
              <a:rPr lang="en-GB"/>
              <a:t>Account for degradation and imperfect foresight</a:t>
            </a:r>
          </a:p>
          <a:p>
            <a:pPr lvl="1">
              <a:buFont typeface="Wingdings" panose="05000000000000000000" pitchFamily="2" charset="2"/>
              <a:buChar char="ü"/>
            </a:pPr>
            <a:r>
              <a:rPr lang="en-GB"/>
              <a:t>Present results in slides and cashflow model at monthly, quarterly and annual granularity</a:t>
            </a:r>
          </a:p>
        </p:txBody>
      </p:sp>
      <p:sp>
        <p:nvSpPr>
          <p:cNvPr id="10" name="Rectangle 22">
            <a:extLst>
              <a:ext uri="{FF2B5EF4-FFF2-40B4-BE49-F238E27FC236}">
                <a16:creationId xmlns:a16="http://schemas.microsoft.com/office/drawing/2014/main" id="{40CF6E7B-5CF1-43C7-8F8A-A05C3C33B895}"/>
              </a:ext>
            </a:extLst>
          </p:cNvPr>
          <p:cNvSpPr>
            <a:spLocks/>
          </p:cNvSpPr>
          <p:nvPr/>
        </p:nvSpPr>
        <p:spPr>
          <a:xfrm>
            <a:off x="429026" y="1281222"/>
            <a:ext cx="1029258" cy="2619348"/>
          </a:xfrm>
          <a:prstGeom prst="rect">
            <a:avLst/>
          </a:prstGeom>
          <a:solidFill>
            <a:schemeClr val="accent2"/>
          </a:solidFill>
          <a:ln w="19050">
            <a:noFill/>
          </a:ln>
        </p:spPr>
        <p:style>
          <a:lnRef idx="2">
            <a:schemeClr val="accent1"/>
          </a:lnRef>
          <a:fillRef idx="1">
            <a:schemeClr val="lt1"/>
          </a:fillRef>
          <a:effectRef idx="0">
            <a:schemeClr val="accent1"/>
          </a:effectRef>
          <a:fontRef idx="minor">
            <a:schemeClr val="dk1"/>
          </a:fontRef>
        </p:style>
        <p:txBody>
          <a:bodyPr tIns="90000" bIns="9000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hat is the challenge?</a:t>
            </a:r>
          </a:p>
        </p:txBody>
      </p:sp>
      <p:sp>
        <p:nvSpPr>
          <p:cNvPr id="11" name="Rounded Rectangle 42">
            <a:extLst>
              <a:ext uri="{FF2B5EF4-FFF2-40B4-BE49-F238E27FC236}">
                <a16:creationId xmlns:a16="http://schemas.microsoft.com/office/drawing/2014/main" id="{73E1426C-C8E2-4EF6-8DCA-85F03C3F2A98}"/>
              </a:ext>
            </a:extLst>
          </p:cNvPr>
          <p:cNvSpPr>
            <a:spLocks/>
          </p:cNvSpPr>
          <p:nvPr/>
        </p:nvSpPr>
        <p:spPr>
          <a:xfrm>
            <a:off x="429027" y="4030098"/>
            <a:ext cx="1029257" cy="2416046"/>
          </a:xfrm>
          <a:prstGeom prst="rect">
            <a:avLst/>
          </a:prstGeom>
          <a:solidFill>
            <a:schemeClr val="tx1"/>
          </a:solidFill>
          <a:ln w="19050">
            <a:noFill/>
          </a:ln>
        </p:spPr>
        <p:style>
          <a:lnRef idx="2">
            <a:schemeClr val="accent1"/>
          </a:lnRef>
          <a:fillRef idx="1">
            <a:schemeClr val="lt1"/>
          </a:fillRef>
          <a:effectRef idx="0">
            <a:schemeClr val="accent1"/>
          </a:effectRef>
          <a:fontRef idx="minor">
            <a:schemeClr val="dk1"/>
          </a:fontRef>
        </p:style>
        <p:txBody>
          <a:bodyPr tIns="90000" bIns="9000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spcAft>
                <a:spcPts val="1000"/>
              </a:spcAft>
            </a:pPr>
            <a:r>
              <a:rPr lang="en-GB"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ow do we address it?</a:t>
            </a:r>
          </a:p>
        </p:txBody>
      </p:sp>
      <p:sp>
        <p:nvSpPr>
          <p:cNvPr id="15" name="Right Arrow 37">
            <a:extLst>
              <a:ext uri="{FF2B5EF4-FFF2-40B4-BE49-F238E27FC236}">
                <a16:creationId xmlns:a16="http://schemas.microsoft.com/office/drawing/2014/main" id="{31154D3B-CED3-4569-98DF-BE81E3096FF7}"/>
              </a:ext>
            </a:extLst>
          </p:cNvPr>
          <p:cNvSpPr>
            <a:spLocks/>
          </p:cNvSpPr>
          <p:nvPr/>
        </p:nvSpPr>
        <p:spPr>
          <a:xfrm rot="5400000">
            <a:off x="4282033" y="3654597"/>
            <a:ext cx="4956082" cy="479180"/>
          </a:xfrm>
          <a:prstGeom prst="rightArrow">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200" b="0"/>
          </a:p>
        </p:txBody>
      </p:sp>
      <p:sp>
        <p:nvSpPr>
          <p:cNvPr id="17" name="TextBox 16">
            <a:extLst>
              <a:ext uri="{FF2B5EF4-FFF2-40B4-BE49-F238E27FC236}">
                <a16:creationId xmlns:a16="http://schemas.microsoft.com/office/drawing/2014/main" id="{CB3DBA81-FB6C-477E-A9BA-A19DF004BE44}"/>
              </a:ext>
            </a:extLst>
          </p:cNvPr>
          <p:cNvSpPr txBox="1"/>
          <p:nvPr/>
        </p:nvSpPr>
        <p:spPr>
          <a:xfrm>
            <a:off x="7435649" y="1524180"/>
            <a:ext cx="4327323" cy="461665"/>
          </a:xfrm>
          <a:prstGeom prst="rect">
            <a:avLst/>
          </a:prstGeom>
          <a:noFill/>
        </p:spPr>
        <p:txBody>
          <a:bodyPr wrap="square">
            <a:spAutoFit/>
          </a:bodyPr>
          <a:lstStyle/>
          <a:p>
            <a:pPr>
              <a:spcBef>
                <a:spcPts val="3000"/>
              </a:spcBef>
              <a:defRPr/>
            </a:pPr>
            <a:r>
              <a:rPr lang="en-GB" sz="1200">
                <a:latin typeface="+mj-lt"/>
                <a:ea typeface="Lato" panose="020F0502020204030203" pitchFamily="34" charset="0"/>
                <a:cs typeface="Lato" panose="020F0502020204030203" pitchFamily="34" charset="0"/>
                <a:sym typeface="Lato" panose="020F0502020204030203" pitchFamily="34" charset="0"/>
              </a:rPr>
              <a:t>Banked by Santander on first project financing of battery storage in the UK for 100MW </a:t>
            </a:r>
            <a:r>
              <a:rPr lang="en-GB" sz="1200" err="1">
                <a:latin typeface="+mj-lt"/>
                <a:ea typeface="Lato" panose="020F0502020204030203" pitchFamily="34" charset="0"/>
                <a:cs typeface="Lato" panose="020F0502020204030203" pitchFamily="34" charset="0"/>
                <a:sym typeface="Lato" panose="020F0502020204030203" pitchFamily="34" charset="0"/>
              </a:rPr>
              <a:t>Zenobe</a:t>
            </a:r>
            <a:r>
              <a:rPr lang="en-GB" sz="1200">
                <a:latin typeface="+mj-lt"/>
                <a:ea typeface="Lato" panose="020F0502020204030203" pitchFamily="34" charset="0"/>
                <a:cs typeface="Lato" panose="020F0502020204030203" pitchFamily="34" charset="0"/>
                <a:sym typeface="Lato" panose="020F0502020204030203" pitchFamily="34" charset="0"/>
              </a:rPr>
              <a:t> portfolio</a:t>
            </a:r>
          </a:p>
        </p:txBody>
      </p:sp>
      <p:sp>
        <p:nvSpPr>
          <p:cNvPr id="18" name="TextBox 17">
            <a:extLst>
              <a:ext uri="{FF2B5EF4-FFF2-40B4-BE49-F238E27FC236}">
                <a16:creationId xmlns:a16="http://schemas.microsoft.com/office/drawing/2014/main" id="{AFFA6115-987F-4355-83F9-8B142B0405EA}"/>
              </a:ext>
            </a:extLst>
          </p:cNvPr>
          <p:cNvSpPr txBox="1"/>
          <p:nvPr/>
        </p:nvSpPr>
        <p:spPr>
          <a:xfrm>
            <a:off x="7435650" y="2014542"/>
            <a:ext cx="4327323" cy="646331"/>
          </a:xfrm>
          <a:prstGeom prst="rect">
            <a:avLst/>
          </a:prstGeom>
          <a:noFill/>
        </p:spPr>
        <p:txBody>
          <a:bodyPr wrap="square">
            <a:spAutoFit/>
          </a:bodyPr>
          <a:lstStyle/>
          <a:p>
            <a:pPr defTabSz="1436340">
              <a:spcAft>
                <a:spcPts val="1200"/>
              </a:spcAft>
              <a:defRPr/>
            </a:pPr>
            <a:r>
              <a:rPr lang="en-GB" sz="1200">
                <a:latin typeface="+mj-lt"/>
                <a:ea typeface="Lato" panose="020F0502020204030203" pitchFamily="34" charset="0"/>
                <a:cs typeface="Lato" panose="020F0502020204030203" pitchFamily="34" charset="0"/>
              </a:rPr>
              <a:t>Sell-side market advisory for then-largest operational battery storage portfolio in Europe, STEAG’s 90MW bid into the FCR market </a:t>
            </a:r>
          </a:p>
        </p:txBody>
      </p:sp>
      <p:sp>
        <p:nvSpPr>
          <p:cNvPr id="19" name="TextBox 18">
            <a:extLst>
              <a:ext uri="{FF2B5EF4-FFF2-40B4-BE49-F238E27FC236}">
                <a16:creationId xmlns:a16="http://schemas.microsoft.com/office/drawing/2014/main" id="{21A0EF65-6465-4871-90BC-158566F5C33C}"/>
              </a:ext>
            </a:extLst>
          </p:cNvPr>
          <p:cNvSpPr txBox="1"/>
          <p:nvPr/>
        </p:nvSpPr>
        <p:spPr>
          <a:xfrm>
            <a:off x="7435650" y="3571138"/>
            <a:ext cx="4327323" cy="461665"/>
          </a:xfrm>
          <a:prstGeom prst="rect">
            <a:avLst/>
          </a:prstGeom>
          <a:noFill/>
        </p:spPr>
        <p:txBody>
          <a:bodyPr wrap="square">
            <a:spAutoFit/>
          </a:bodyPr>
          <a:lstStyle/>
          <a:p>
            <a:pPr>
              <a:spcBef>
                <a:spcPts val="3000"/>
              </a:spcBef>
              <a:defRPr/>
            </a:pPr>
            <a:r>
              <a:rPr lang="en-GB" sz="1200">
                <a:latin typeface="+mj-lt"/>
                <a:ea typeface="Lato" panose="020F0502020204030203" pitchFamily="34" charset="0"/>
                <a:cs typeface="Lato" panose="020F0502020204030203" pitchFamily="34" charset="0"/>
                <a:sym typeface="Lato" panose="020F0502020204030203" pitchFamily="34" charset="0"/>
              </a:rPr>
              <a:t>AUS $50m in debt financing for 50MW extension of Neoen’s Hornsdale battery – first battery project financing in Australia</a:t>
            </a:r>
          </a:p>
        </p:txBody>
      </p:sp>
      <p:sp>
        <p:nvSpPr>
          <p:cNvPr id="20" name="TextBox 19">
            <a:extLst>
              <a:ext uri="{FF2B5EF4-FFF2-40B4-BE49-F238E27FC236}">
                <a16:creationId xmlns:a16="http://schemas.microsoft.com/office/drawing/2014/main" id="{52BFE01E-4333-4FBF-9060-151A1F7B62EA}"/>
              </a:ext>
            </a:extLst>
          </p:cNvPr>
          <p:cNvSpPr txBox="1"/>
          <p:nvPr/>
        </p:nvSpPr>
        <p:spPr>
          <a:xfrm>
            <a:off x="7435649" y="4072696"/>
            <a:ext cx="4327323" cy="276999"/>
          </a:xfrm>
          <a:prstGeom prst="rect">
            <a:avLst/>
          </a:prstGeom>
          <a:noFill/>
        </p:spPr>
        <p:txBody>
          <a:bodyPr wrap="square">
            <a:spAutoFit/>
          </a:bodyPr>
          <a:lstStyle/>
          <a:p>
            <a:r>
              <a:rPr lang="en-GB" sz="1200">
                <a:latin typeface="+mj-lt"/>
                <a:sym typeface="Lato" panose="020F0502020204030203" pitchFamily="34" charset="0"/>
              </a:rPr>
              <a:t>Debt and equity raise for 100MW battery portfolio</a:t>
            </a:r>
            <a:endParaRPr lang="en-GB" sz="1200">
              <a:latin typeface="+mj-lt"/>
            </a:endParaRPr>
          </a:p>
        </p:txBody>
      </p:sp>
      <p:sp>
        <p:nvSpPr>
          <p:cNvPr id="23" name="Right Brace 22">
            <a:extLst>
              <a:ext uri="{FF2B5EF4-FFF2-40B4-BE49-F238E27FC236}">
                <a16:creationId xmlns:a16="http://schemas.microsoft.com/office/drawing/2014/main" id="{20AA6E40-4D38-4DC1-A642-80550293C8EA}"/>
              </a:ext>
            </a:extLst>
          </p:cNvPr>
          <p:cNvSpPr/>
          <p:nvPr/>
        </p:nvSpPr>
        <p:spPr>
          <a:xfrm>
            <a:off x="5434552" y="3225376"/>
            <a:ext cx="84815" cy="609399"/>
          </a:xfrm>
          <a:prstGeom prst="righ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Right Brace 23">
            <a:extLst>
              <a:ext uri="{FF2B5EF4-FFF2-40B4-BE49-F238E27FC236}">
                <a16:creationId xmlns:a16="http://schemas.microsoft.com/office/drawing/2014/main" id="{C4D16B8C-6578-495F-8AE8-EDD6B4C4975B}"/>
              </a:ext>
            </a:extLst>
          </p:cNvPr>
          <p:cNvSpPr/>
          <p:nvPr/>
        </p:nvSpPr>
        <p:spPr>
          <a:xfrm>
            <a:off x="5434566" y="1339302"/>
            <a:ext cx="84801" cy="1770621"/>
          </a:xfrm>
          <a:prstGeom prst="righ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63D96654-69A2-4119-9BDC-16EBB9115EAA}"/>
              </a:ext>
            </a:extLst>
          </p:cNvPr>
          <p:cNvSpPr txBox="1"/>
          <p:nvPr/>
        </p:nvSpPr>
        <p:spPr>
          <a:xfrm>
            <a:off x="5602178" y="1873421"/>
            <a:ext cx="805893" cy="738664"/>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200">
                <a:solidFill>
                  <a:schemeClr val="accent5"/>
                </a:solidFill>
              </a:rPr>
              <a:t>Future of the market (</a:t>
            </a:r>
            <a:r>
              <a:rPr lang="en-GB" sz="1200" i="1">
                <a:solidFill>
                  <a:schemeClr val="accent5"/>
                </a:solidFill>
              </a:rPr>
              <a:t>difficult to model</a:t>
            </a:r>
            <a:r>
              <a:rPr lang="en-GB" sz="1200">
                <a:solidFill>
                  <a:schemeClr val="accent5"/>
                </a:solidFill>
              </a:rPr>
              <a:t>)</a:t>
            </a:r>
          </a:p>
        </p:txBody>
      </p:sp>
      <p:sp>
        <p:nvSpPr>
          <p:cNvPr id="35" name="Oval 34">
            <a:extLst>
              <a:ext uri="{FF2B5EF4-FFF2-40B4-BE49-F238E27FC236}">
                <a16:creationId xmlns:a16="http://schemas.microsoft.com/office/drawing/2014/main" id="{978A4668-E008-4C3F-88F3-2C24B59334D6}"/>
              </a:ext>
            </a:extLst>
          </p:cNvPr>
          <p:cNvSpPr/>
          <p:nvPr/>
        </p:nvSpPr>
        <p:spPr>
          <a:xfrm>
            <a:off x="6507965" y="1485502"/>
            <a:ext cx="504219" cy="504000"/>
          </a:xfrm>
          <a:prstGeom prst="ellipse">
            <a:avLst/>
          </a:prstGeom>
          <a:solidFill>
            <a:schemeClr val="tx1"/>
          </a:solidFill>
          <a:ln w="381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18</a:t>
            </a:r>
          </a:p>
        </p:txBody>
      </p:sp>
      <p:sp>
        <p:nvSpPr>
          <p:cNvPr id="36" name="Oval 35">
            <a:extLst>
              <a:ext uri="{FF2B5EF4-FFF2-40B4-BE49-F238E27FC236}">
                <a16:creationId xmlns:a16="http://schemas.microsoft.com/office/drawing/2014/main" id="{CC16E9CE-1F95-4ADD-8546-2F9EC0E53BF0}"/>
              </a:ext>
            </a:extLst>
          </p:cNvPr>
          <p:cNvSpPr/>
          <p:nvPr/>
        </p:nvSpPr>
        <p:spPr>
          <a:xfrm>
            <a:off x="6507965" y="2570630"/>
            <a:ext cx="504219" cy="504000"/>
          </a:xfrm>
          <a:prstGeom prst="ellipse">
            <a:avLst/>
          </a:prstGeom>
          <a:solidFill>
            <a:schemeClr val="tx1"/>
          </a:solidFill>
          <a:ln w="381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19</a:t>
            </a:r>
          </a:p>
        </p:txBody>
      </p:sp>
      <p:sp>
        <p:nvSpPr>
          <p:cNvPr id="37" name="Oval 36">
            <a:extLst>
              <a:ext uri="{FF2B5EF4-FFF2-40B4-BE49-F238E27FC236}">
                <a16:creationId xmlns:a16="http://schemas.microsoft.com/office/drawing/2014/main" id="{F31A2D4D-1BDE-465C-AD2A-A792D26CAE4A}"/>
              </a:ext>
            </a:extLst>
          </p:cNvPr>
          <p:cNvSpPr/>
          <p:nvPr/>
        </p:nvSpPr>
        <p:spPr>
          <a:xfrm>
            <a:off x="6508351" y="3538929"/>
            <a:ext cx="504219" cy="504000"/>
          </a:xfrm>
          <a:prstGeom prst="ellipse">
            <a:avLst/>
          </a:prstGeom>
          <a:solidFill>
            <a:schemeClr val="tx1"/>
          </a:solidFill>
          <a:ln w="381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20</a:t>
            </a:r>
          </a:p>
        </p:txBody>
      </p:sp>
      <p:sp>
        <p:nvSpPr>
          <p:cNvPr id="38" name="Oval 37">
            <a:extLst>
              <a:ext uri="{FF2B5EF4-FFF2-40B4-BE49-F238E27FC236}">
                <a16:creationId xmlns:a16="http://schemas.microsoft.com/office/drawing/2014/main" id="{6BF65FF2-2731-4493-B0C6-C10B95CAB7BB}"/>
              </a:ext>
            </a:extLst>
          </p:cNvPr>
          <p:cNvSpPr/>
          <p:nvPr/>
        </p:nvSpPr>
        <p:spPr>
          <a:xfrm>
            <a:off x="6508351" y="4332353"/>
            <a:ext cx="504219" cy="504000"/>
          </a:xfrm>
          <a:prstGeom prst="ellipse">
            <a:avLst/>
          </a:prstGeom>
          <a:solidFill>
            <a:schemeClr val="tx1"/>
          </a:solidFill>
          <a:ln w="381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21</a:t>
            </a:r>
          </a:p>
        </p:txBody>
      </p:sp>
      <p:sp>
        <p:nvSpPr>
          <p:cNvPr id="40" name="TextBox 39">
            <a:extLst>
              <a:ext uri="{FF2B5EF4-FFF2-40B4-BE49-F238E27FC236}">
                <a16:creationId xmlns:a16="http://schemas.microsoft.com/office/drawing/2014/main" id="{083EE9CF-A10E-4C51-87C7-7788D5A99849}"/>
              </a:ext>
            </a:extLst>
          </p:cNvPr>
          <p:cNvSpPr txBox="1"/>
          <p:nvPr/>
        </p:nvSpPr>
        <p:spPr>
          <a:xfrm>
            <a:off x="7435649" y="2613601"/>
            <a:ext cx="4327323" cy="461665"/>
          </a:xfrm>
          <a:prstGeom prst="rect">
            <a:avLst/>
          </a:prstGeom>
          <a:noFill/>
        </p:spPr>
        <p:txBody>
          <a:bodyPr wrap="square">
            <a:spAutoFit/>
          </a:bodyPr>
          <a:lstStyle/>
          <a:p>
            <a:r>
              <a:rPr lang="en-GB" sz="1200">
                <a:latin typeface="+mj-lt"/>
                <a:sym typeface="Lato" panose="020F0502020204030203" pitchFamily="34" charset="0"/>
              </a:rPr>
              <a:t>Supported Pivot Power on sale of company and 2GW portfolio to EDF</a:t>
            </a:r>
            <a:endParaRPr lang="en-GB" sz="1200">
              <a:latin typeface="+mj-lt"/>
            </a:endParaRPr>
          </a:p>
        </p:txBody>
      </p:sp>
      <p:pic>
        <p:nvPicPr>
          <p:cNvPr id="41" name="Picture 20" descr="Image result for uk flag">
            <a:extLst>
              <a:ext uri="{FF2B5EF4-FFF2-40B4-BE49-F238E27FC236}">
                <a16:creationId xmlns:a16="http://schemas.microsoft.com/office/drawing/2014/main" id="{E39F450C-CE45-46E4-ACBD-95D5205F2DAE}"/>
              </a:ext>
            </a:extLst>
          </p:cNvPr>
          <p:cNvPicPr>
            <a:picLocks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08359" y="1613260"/>
            <a:ext cx="290102" cy="19783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0" descr="Image result for uk flag">
            <a:extLst>
              <a:ext uri="{FF2B5EF4-FFF2-40B4-BE49-F238E27FC236}">
                <a16:creationId xmlns:a16="http://schemas.microsoft.com/office/drawing/2014/main" id="{56FB1DB1-D806-4ACA-B4FE-966285991448}"/>
              </a:ext>
            </a:extLst>
          </p:cNvPr>
          <p:cNvPicPr>
            <a:picLocks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08359" y="2713970"/>
            <a:ext cx="290102" cy="19783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0" descr="Image result for uk flag">
            <a:extLst>
              <a:ext uri="{FF2B5EF4-FFF2-40B4-BE49-F238E27FC236}">
                <a16:creationId xmlns:a16="http://schemas.microsoft.com/office/drawing/2014/main" id="{D651F730-E9C7-4B64-8C5E-CC09161C11A1}"/>
              </a:ext>
            </a:extLst>
          </p:cNvPr>
          <p:cNvPicPr>
            <a:picLocks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08359" y="4109381"/>
            <a:ext cx="290102" cy="197830"/>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A315DCD9-DCAE-4B4C-9100-F1B5EE75B1EE}"/>
              </a:ext>
            </a:extLst>
          </p:cNvPr>
          <p:cNvSpPr txBox="1"/>
          <p:nvPr/>
        </p:nvSpPr>
        <p:spPr>
          <a:xfrm>
            <a:off x="7435649" y="3084171"/>
            <a:ext cx="4327323" cy="646331"/>
          </a:xfrm>
          <a:prstGeom prst="rect">
            <a:avLst/>
          </a:prstGeom>
          <a:noFill/>
        </p:spPr>
        <p:txBody>
          <a:bodyPr wrap="square">
            <a:spAutoFit/>
          </a:bodyPr>
          <a:lstStyle/>
          <a:p>
            <a:r>
              <a:rPr lang="en-GB" sz="1200">
                <a:latin typeface="+mj-lt"/>
                <a:sym typeface="Lato" panose="020F0502020204030203" pitchFamily="34" charset="0"/>
              </a:rPr>
              <a:t>Supported PE fund on $50m acquisition of storage developer; bidding support for large developer for DS3 auctions </a:t>
            </a:r>
            <a:endParaRPr lang="en-GB" sz="1200">
              <a:latin typeface="+mj-lt"/>
            </a:endParaRPr>
          </a:p>
        </p:txBody>
      </p:sp>
      <p:pic>
        <p:nvPicPr>
          <p:cNvPr id="48" name="Picture 47" descr="Image result for german flag">
            <a:extLst>
              <a:ext uri="{FF2B5EF4-FFF2-40B4-BE49-F238E27FC236}">
                <a16:creationId xmlns:a16="http://schemas.microsoft.com/office/drawing/2014/main" id="{50F4FDDD-BB2C-4009-9C5C-51899958195D}"/>
              </a:ext>
            </a:extLst>
          </p:cNvPr>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07610" y="2115575"/>
            <a:ext cx="291600" cy="19800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95" descr="Image result for australia flag">
            <a:extLst>
              <a:ext uri="{FF2B5EF4-FFF2-40B4-BE49-F238E27FC236}">
                <a16:creationId xmlns:a16="http://schemas.microsoft.com/office/drawing/2014/main" id="{9185906C-27A9-498C-9682-9E00D763CF19}"/>
              </a:ext>
            </a:extLst>
          </p:cNvPr>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07610" y="3700719"/>
            <a:ext cx="291600" cy="1980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Image result for flag ireland">
            <a:extLst>
              <a:ext uri="{FF2B5EF4-FFF2-40B4-BE49-F238E27FC236}">
                <a16:creationId xmlns:a16="http://schemas.microsoft.com/office/drawing/2014/main" id="{4F68F608-DC94-491D-9C78-4ACDC9CD1F23}"/>
              </a:ext>
            </a:extLst>
          </p:cNvPr>
          <p:cNvPicPr>
            <a:picLocks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108359" y="3167560"/>
            <a:ext cx="290102" cy="197830"/>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617C7676-D078-416C-AD95-23BF5E16151B}"/>
              </a:ext>
            </a:extLst>
          </p:cNvPr>
          <p:cNvSpPr txBox="1"/>
          <p:nvPr/>
        </p:nvSpPr>
        <p:spPr>
          <a:xfrm>
            <a:off x="7112075" y="1284559"/>
            <a:ext cx="2762250" cy="184666"/>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b="1"/>
              <a:t>Example transactions</a:t>
            </a:r>
          </a:p>
        </p:txBody>
      </p:sp>
      <p:sp>
        <p:nvSpPr>
          <p:cNvPr id="47" name="TextBox 46">
            <a:extLst>
              <a:ext uri="{FF2B5EF4-FFF2-40B4-BE49-F238E27FC236}">
                <a16:creationId xmlns:a16="http://schemas.microsoft.com/office/drawing/2014/main" id="{679FDE82-F76D-46EB-8436-EE7950121B35}"/>
              </a:ext>
            </a:extLst>
          </p:cNvPr>
          <p:cNvSpPr txBox="1"/>
          <p:nvPr/>
        </p:nvSpPr>
        <p:spPr>
          <a:xfrm>
            <a:off x="5602179" y="3072583"/>
            <a:ext cx="805894" cy="923330"/>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200">
                <a:solidFill>
                  <a:schemeClr val="accent5"/>
                </a:solidFill>
              </a:rPr>
              <a:t>Future of the asset in the market (</a:t>
            </a:r>
            <a:r>
              <a:rPr lang="en-GB" sz="1200" i="1">
                <a:solidFill>
                  <a:schemeClr val="accent5"/>
                </a:solidFill>
              </a:rPr>
              <a:t>easier to model</a:t>
            </a:r>
            <a:r>
              <a:rPr lang="en-GB" sz="1200">
                <a:solidFill>
                  <a:schemeClr val="accent5"/>
                </a:solidFill>
              </a:rPr>
              <a:t>)</a:t>
            </a:r>
          </a:p>
        </p:txBody>
      </p:sp>
      <p:sp>
        <p:nvSpPr>
          <p:cNvPr id="45" name="Oval 44">
            <a:extLst>
              <a:ext uri="{FF2B5EF4-FFF2-40B4-BE49-F238E27FC236}">
                <a16:creationId xmlns:a16="http://schemas.microsoft.com/office/drawing/2014/main" id="{85AFFF75-7766-9898-B498-BD3B584EACF6}"/>
              </a:ext>
            </a:extLst>
          </p:cNvPr>
          <p:cNvSpPr/>
          <p:nvPr/>
        </p:nvSpPr>
        <p:spPr>
          <a:xfrm>
            <a:off x="6508351" y="4928838"/>
            <a:ext cx="504219" cy="504000"/>
          </a:xfrm>
          <a:prstGeom prst="ellipse">
            <a:avLst/>
          </a:prstGeom>
          <a:solidFill>
            <a:schemeClr val="tx1"/>
          </a:solidFill>
          <a:ln w="381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22</a:t>
            </a:r>
          </a:p>
        </p:txBody>
      </p:sp>
      <p:pic>
        <p:nvPicPr>
          <p:cNvPr id="52" name="Picture 95" descr="Image result for australia flag">
            <a:extLst>
              <a:ext uri="{FF2B5EF4-FFF2-40B4-BE49-F238E27FC236}">
                <a16:creationId xmlns:a16="http://schemas.microsoft.com/office/drawing/2014/main" id="{D3EE7626-6806-F4E0-706C-E85D9A98D456}"/>
              </a:ext>
            </a:extLst>
          </p:cNvPr>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07610" y="4482632"/>
            <a:ext cx="291600" cy="1980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4F9DADC9-CB73-8973-CB39-BFC65E18109E}"/>
              </a:ext>
            </a:extLst>
          </p:cNvPr>
          <p:cNvSpPr txBox="1"/>
          <p:nvPr/>
        </p:nvSpPr>
        <p:spPr>
          <a:xfrm>
            <a:off x="7435649" y="4437071"/>
            <a:ext cx="4327323" cy="276999"/>
          </a:xfrm>
          <a:prstGeom prst="rect">
            <a:avLst/>
          </a:prstGeom>
          <a:noFill/>
        </p:spPr>
        <p:txBody>
          <a:bodyPr wrap="square">
            <a:spAutoFit/>
          </a:bodyPr>
          <a:lstStyle/>
          <a:p>
            <a:pPr>
              <a:spcBef>
                <a:spcPts val="3000"/>
              </a:spcBef>
              <a:defRPr/>
            </a:pPr>
            <a:r>
              <a:rPr lang="en-GB" sz="1200">
                <a:latin typeface="+mj-lt"/>
                <a:ea typeface="Lato" panose="020F0502020204030203" pitchFamily="34" charset="0"/>
                <a:cs typeface="Lato" panose="020F0502020204030203" pitchFamily="34" charset="0"/>
                <a:sym typeface="Lato" panose="020F0502020204030203" pitchFamily="34" charset="0"/>
              </a:rPr>
              <a:t>Development/financing of 150MW Hazelwood BESS project</a:t>
            </a:r>
          </a:p>
        </p:txBody>
      </p:sp>
      <p:pic>
        <p:nvPicPr>
          <p:cNvPr id="55" name="Picture 22" descr="Image result for USA flag">
            <a:extLst>
              <a:ext uri="{FF2B5EF4-FFF2-40B4-BE49-F238E27FC236}">
                <a16:creationId xmlns:a16="http://schemas.microsoft.com/office/drawing/2014/main" id="{2D37348C-9BE8-E2F0-F2A3-D5E929A79851}"/>
              </a:ext>
            </a:extLst>
          </p:cNvPr>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107106" y="5080254"/>
            <a:ext cx="292608" cy="20116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C41F2A60-8876-9E5F-94CB-A1D26A4FBFC3}"/>
              </a:ext>
            </a:extLst>
          </p:cNvPr>
          <p:cNvSpPr txBox="1"/>
          <p:nvPr/>
        </p:nvSpPr>
        <p:spPr>
          <a:xfrm>
            <a:off x="7435649" y="5611805"/>
            <a:ext cx="4327323" cy="276999"/>
          </a:xfrm>
          <a:prstGeom prst="rect">
            <a:avLst/>
          </a:prstGeom>
          <a:noFill/>
        </p:spPr>
        <p:txBody>
          <a:bodyPr wrap="square">
            <a:spAutoFit/>
          </a:bodyPr>
          <a:lstStyle/>
          <a:p>
            <a:pPr>
              <a:spcBef>
                <a:spcPts val="3000"/>
              </a:spcBef>
              <a:defRPr/>
            </a:pPr>
            <a:r>
              <a:rPr lang="en-GB" sz="1200">
                <a:latin typeface="+mj-lt"/>
                <a:ea typeface="Lato" panose="020F0502020204030203" pitchFamily="34" charset="0"/>
                <a:cs typeface="Lato" panose="020F0502020204030203" pitchFamily="34" charset="0"/>
                <a:sym typeface="Lato" panose="020F0502020204030203" pitchFamily="34" charset="0"/>
              </a:rPr>
              <a:t>Buy-side advisor for Engie’s acquisition of Broad Reach Power</a:t>
            </a:r>
          </a:p>
        </p:txBody>
      </p:sp>
      <p:pic>
        <p:nvPicPr>
          <p:cNvPr id="57" name="Picture 22" descr="Image result for USA flag">
            <a:extLst>
              <a:ext uri="{FF2B5EF4-FFF2-40B4-BE49-F238E27FC236}">
                <a16:creationId xmlns:a16="http://schemas.microsoft.com/office/drawing/2014/main" id="{9927B777-5598-7F25-611C-4DF27B5C901E}"/>
              </a:ext>
            </a:extLst>
          </p:cNvPr>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107106" y="5649720"/>
            <a:ext cx="292608" cy="20116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5AADBD4A-19D1-1D82-F42D-BEEA463A9D59}"/>
              </a:ext>
            </a:extLst>
          </p:cNvPr>
          <p:cNvSpPr txBox="1"/>
          <p:nvPr/>
        </p:nvSpPr>
        <p:spPr>
          <a:xfrm>
            <a:off x="7435648" y="4950006"/>
            <a:ext cx="4327323" cy="461665"/>
          </a:xfrm>
          <a:prstGeom prst="rect">
            <a:avLst/>
          </a:prstGeom>
          <a:noFill/>
        </p:spPr>
        <p:txBody>
          <a:bodyPr wrap="square" lIns="91440" tIns="45720" rIns="91440" bIns="45720" anchor="t">
            <a:spAutoFit/>
          </a:bodyPr>
          <a:lstStyle/>
          <a:p>
            <a:pPr>
              <a:spcBef>
                <a:spcPts val="3000"/>
              </a:spcBef>
              <a:defRPr/>
            </a:pPr>
            <a:r>
              <a:rPr lang="en-GB" sz="1200">
                <a:latin typeface="+mj-lt"/>
                <a:ea typeface="Lato"/>
                <a:cs typeface="Lato"/>
                <a:sym typeface="Lato" panose="020F0502020204030203" pitchFamily="34" charset="0"/>
              </a:rPr>
              <a:t>Sell-side advisor for 1.1GW of battery storage from BMES to UBS Asset Management  and Cypress Creek Renewables </a:t>
            </a:r>
            <a:endParaRPr lang="en-GB" sz="1200">
              <a:latin typeface="+mj-lt"/>
              <a:ea typeface="Lato"/>
              <a:cs typeface="Lato"/>
            </a:endParaRPr>
          </a:p>
        </p:txBody>
      </p:sp>
      <p:sp>
        <p:nvSpPr>
          <p:cNvPr id="59" name="Text Placeholder 11">
            <a:extLst>
              <a:ext uri="{FF2B5EF4-FFF2-40B4-BE49-F238E27FC236}">
                <a16:creationId xmlns:a16="http://schemas.microsoft.com/office/drawing/2014/main" id="{76695E51-1370-7B48-07CC-82FA970F9D77}"/>
              </a:ext>
            </a:extLst>
          </p:cNvPr>
          <p:cNvSpPr txBox="1">
            <a:spLocks/>
          </p:cNvSpPr>
          <p:nvPr/>
        </p:nvSpPr>
        <p:spPr>
          <a:xfrm>
            <a:off x="381001" y="6715169"/>
            <a:ext cx="1452321" cy="110800"/>
          </a:xfrm>
          <a:prstGeom prst="rect">
            <a:avLst/>
          </a:prstGeom>
        </p:spPr>
        <p:txBody>
          <a:bodyPr vert="horz" wrap="none" lIns="0" tIns="0" rIns="0" bIns="0" rtlCol="0" anchor="b" anchorCtr="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DE"/>
              <a:t>Source: Aurora Energy Research</a:t>
            </a:r>
            <a:endParaRPr lang="en-AU"/>
          </a:p>
        </p:txBody>
      </p:sp>
      <p:sp>
        <p:nvSpPr>
          <p:cNvPr id="4" name="Oval 3">
            <a:extLst>
              <a:ext uri="{FF2B5EF4-FFF2-40B4-BE49-F238E27FC236}">
                <a16:creationId xmlns:a16="http://schemas.microsoft.com/office/drawing/2014/main" id="{1B740B6D-32E4-D2E0-CE40-860FD0BAECCD}"/>
              </a:ext>
            </a:extLst>
          </p:cNvPr>
          <p:cNvSpPr/>
          <p:nvPr/>
        </p:nvSpPr>
        <p:spPr>
          <a:xfrm>
            <a:off x="6508351" y="5498304"/>
            <a:ext cx="504219" cy="504000"/>
          </a:xfrm>
          <a:prstGeom prst="ellipse">
            <a:avLst/>
          </a:prstGeom>
          <a:solidFill>
            <a:schemeClr val="tx1"/>
          </a:solidFill>
          <a:ln w="381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spcBef>
                <a:spcPts val="400"/>
              </a:spcBef>
              <a:buSzPct val="100000"/>
            </a:pPr>
            <a:r>
              <a:rPr lang="en-GB" sz="1200" b="1">
                <a:solidFill>
                  <a:schemeClr val="bg1"/>
                </a:solidFill>
              </a:rPr>
              <a:t>2023</a:t>
            </a:r>
          </a:p>
        </p:txBody>
      </p:sp>
      <p:sp>
        <p:nvSpPr>
          <p:cNvPr id="14" name="Text Placeholder 5">
            <a:extLst>
              <a:ext uri="{FF2B5EF4-FFF2-40B4-BE49-F238E27FC236}">
                <a16:creationId xmlns:a16="http://schemas.microsoft.com/office/drawing/2014/main" id="{C9A19115-D625-6D5D-270E-27C4F298FDCE}"/>
              </a:ext>
            </a:extLst>
          </p:cNvPr>
          <p:cNvSpPr txBox="1">
            <a:spLocks/>
          </p:cNvSpPr>
          <p:nvPr/>
        </p:nvSpPr>
        <p:spPr>
          <a:xfrm>
            <a:off x="381599" y="79401"/>
            <a:ext cx="3821559" cy="184666"/>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Aurora European Battery Markets Attractiveness Report</a:t>
            </a:r>
          </a:p>
        </p:txBody>
      </p:sp>
    </p:spTree>
    <p:extLst>
      <p:ext uri="{BB962C8B-B14F-4D97-AF65-F5344CB8AC3E}">
        <p14:creationId xmlns:p14="http://schemas.microsoft.com/office/powerpoint/2010/main" val="29263024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7FC0BF6-EF4A-7E10-EE1E-709C8996ED3B}"/>
              </a:ext>
            </a:extLst>
          </p:cNvPr>
          <p:cNvGraphicFramePr>
            <a:graphicFrameLocks noChangeAspect="1"/>
          </p:cNvGraphicFramePr>
          <p:nvPr>
            <p:custDataLst>
              <p:tags r:id="rId1"/>
            </p:custDataLst>
            <p:extLst>
              <p:ext uri="{D42A27DB-BD31-4B8C-83A1-F6EECF244321}">
                <p14:modId xmlns:p14="http://schemas.microsoft.com/office/powerpoint/2010/main" val="232165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24" name="think-cell data - do not delete" hidden="1">
                        <a:extLst>
                          <a:ext uri="{FF2B5EF4-FFF2-40B4-BE49-F238E27FC236}">
                            <a16:creationId xmlns:a16="http://schemas.microsoft.com/office/drawing/2014/main" id="{37FC0BF6-EF4A-7E10-EE1E-709C8996ED3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913D3590-642E-325A-A152-A2C32CD3B8B0}"/>
              </a:ext>
            </a:extLst>
          </p:cNvPr>
          <p:cNvSpPr>
            <a:spLocks noGrp="1"/>
          </p:cNvSpPr>
          <p:nvPr>
            <p:ph type="body" sz="quarter" idx="22"/>
          </p:nvPr>
        </p:nvSpPr>
        <p:spPr>
          <a:xfrm>
            <a:off x="381001" y="6715169"/>
            <a:ext cx="2551981" cy="110800"/>
          </a:xfrm>
        </p:spPr>
        <p:txBody>
          <a:bodyPr/>
          <a:lstStyle/>
          <a:p>
            <a:r>
              <a:rPr lang="en-GB"/>
              <a:t>Sources: Aurora Energy Research, European Commission</a:t>
            </a:r>
          </a:p>
        </p:txBody>
      </p:sp>
      <p:sp>
        <p:nvSpPr>
          <p:cNvPr id="12" name="Title 11">
            <a:extLst>
              <a:ext uri="{FF2B5EF4-FFF2-40B4-BE49-F238E27FC236}">
                <a16:creationId xmlns:a16="http://schemas.microsoft.com/office/drawing/2014/main" id="{3A2A1864-E287-7A66-C133-508F1F565688}"/>
              </a:ext>
            </a:extLst>
          </p:cNvPr>
          <p:cNvSpPr>
            <a:spLocks noGrp="1"/>
          </p:cNvSpPr>
          <p:nvPr>
            <p:ph type="title"/>
          </p:nvPr>
        </p:nvSpPr>
        <p:spPr/>
        <p:txBody>
          <a:bodyPr vert="horz"/>
          <a:lstStyle/>
          <a:p>
            <a:r>
              <a:rPr lang="en-GB" sz="2000" b="1" i="0" u="none" strike="noStrike" kern="1200" baseline="0">
                <a:solidFill>
                  <a:srgbClr val="808080"/>
                </a:solidFill>
                <a:highlight>
                  <a:srgbClr val="808080"/>
                </a:highlight>
                <a:latin typeface="Lato" panose="020F0502020204030203" pitchFamily="34" charset="0"/>
              </a:rPr>
              <a:t>XX</a:t>
            </a:r>
            <a:r>
              <a:rPr lang="en-GB">
                <a:latin typeface="Lato"/>
                <a:ea typeface="Lato"/>
                <a:cs typeface="Lato"/>
              </a:rPr>
              <a:t>’s </a:t>
            </a:r>
            <a:r>
              <a:rPr lang="en-GB" sz="2000" b="1" i="0" u="none" strike="noStrike" kern="1200" baseline="0">
                <a:solidFill>
                  <a:srgbClr val="808080"/>
                </a:solidFill>
                <a:highlight>
                  <a:srgbClr val="808080"/>
                </a:highlight>
                <a:latin typeface="Lato" panose="020F0502020204030203" pitchFamily="34" charset="0"/>
              </a:rPr>
              <a:t>XX</a:t>
            </a:r>
            <a:r>
              <a:rPr lang="en-GB">
                <a:latin typeface="Lato"/>
                <a:ea typeface="Lato"/>
                <a:cs typeface="Lato"/>
              </a:rPr>
              <a:t> scheme aims to procure </a:t>
            </a:r>
            <a:r>
              <a:rPr lang="en-GB" sz="2000" b="1" i="0" u="none" strike="noStrike" kern="1200" baseline="0">
                <a:solidFill>
                  <a:srgbClr val="808080"/>
                </a:solidFill>
                <a:highlight>
                  <a:srgbClr val="808080"/>
                </a:highlight>
                <a:latin typeface="Lato" panose="020F0502020204030203" pitchFamily="34" charset="0"/>
              </a:rPr>
              <a:t>XX </a:t>
            </a:r>
            <a:r>
              <a:rPr lang="en-GB">
                <a:latin typeface="Lato"/>
                <a:ea typeface="Lato"/>
                <a:cs typeface="Lato"/>
              </a:rPr>
              <a:t>GW of capacity by 2030; additional schemes have the potential to procure almost </a:t>
            </a:r>
            <a:r>
              <a:rPr lang="en-GB" sz="2000" b="1" i="0" u="none" strike="noStrike" kern="1200" baseline="0">
                <a:solidFill>
                  <a:srgbClr val="808080"/>
                </a:solidFill>
                <a:highlight>
                  <a:srgbClr val="808080"/>
                </a:highlight>
                <a:latin typeface="Lato" panose="020F0502020204030203" pitchFamily="34" charset="0"/>
              </a:rPr>
              <a:t>XX </a:t>
            </a:r>
            <a:r>
              <a:rPr lang="en-GB">
                <a:latin typeface="Lato"/>
                <a:ea typeface="Lato"/>
                <a:cs typeface="Lato"/>
              </a:rPr>
              <a:t>GW</a:t>
            </a:r>
            <a:endParaRPr lang="en-GB"/>
          </a:p>
        </p:txBody>
      </p:sp>
      <p:sp>
        <p:nvSpPr>
          <p:cNvPr id="19" name="Text Placeholder 18">
            <a:extLst>
              <a:ext uri="{FF2B5EF4-FFF2-40B4-BE49-F238E27FC236}">
                <a16:creationId xmlns:a16="http://schemas.microsoft.com/office/drawing/2014/main" id="{FD73E0CF-7091-7994-EF6C-96A770484FD1}"/>
              </a:ext>
            </a:extLst>
          </p:cNvPr>
          <p:cNvSpPr>
            <a:spLocks noGrp="1"/>
          </p:cNvSpPr>
          <p:nvPr>
            <p:ph type="body" sz="quarter" idx="32"/>
          </p:nvPr>
        </p:nvSpPr>
        <p:spPr>
          <a:xfrm>
            <a:off x="381600" y="6474841"/>
            <a:ext cx="11428800" cy="110800"/>
          </a:xfrm>
        </p:spPr>
        <p:txBody>
          <a:bodyPr/>
          <a:lstStyle/>
          <a:p>
            <a:endParaRPr lang="en-GB"/>
          </a:p>
        </p:txBody>
      </p:sp>
      <p:sp>
        <p:nvSpPr>
          <p:cNvPr id="18" name="Text Placeholder 17">
            <a:extLst>
              <a:ext uri="{FF2B5EF4-FFF2-40B4-BE49-F238E27FC236}">
                <a16:creationId xmlns:a16="http://schemas.microsoft.com/office/drawing/2014/main" id="{6F6E9D99-6563-4B53-67B7-24038C20E0A4}"/>
              </a:ext>
            </a:extLst>
          </p:cNvPr>
          <p:cNvSpPr>
            <a:spLocks noGrp="1"/>
          </p:cNvSpPr>
          <p:nvPr>
            <p:ph type="body" sz="quarter" idx="31"/>
          </p:nvPr>
        </p:nvSpPr>
        <p:spPr>
          <a:xfrm>
            <a:off x="381599" y="79401"/>
            <a:ext cx="5998758" cy="184666"/>
          </a:xfrm>
        </p:spPr>
        <p:txBody>
          <a:bodyPr/>
          <a:lstStyle/>
          <a:p>
            <a:pPr>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Policy and regulatory environment - </a:t>
            </a:r>
            <a:r>
              <a:rPr lang="en-GB" sz="1200"/>
              <a:t>Battery storage policies, targets and subsidies </a:t>
            </a:r>
          </a:p>
        </p:txBody>
      </p:sp>
      <p:sp>
        <p:nvSpPr>
          <p:cNvPr id="25" name="Rectangle: Rounded Corners 24">
            <a:extLst>
              <a:ext uri="{FF2B5EF4-FFF2-40B4-BE49-F238E27FC236}">
                <a16:creationId xmlns:a16="http://schemas.microsoft.com/office/drawing/2014/main" id="{52551785-C383-DB39-6BFD-25C0465EB074}"/>
              </a:ext>
            </a:extLst>
          </p:cNvPr>
          <p:cNvSpPr/>
          <p:nvPr/>
        </p:nvSpPr>
        <p:spPr>
          <a:xfrm>
            <a:off x="565150" y="1332916"/>
            <a:ext cx="5191850" cy="169168"/>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6" name="Text Placeholder 21">
            <a:extLst>
              <a:ext uri="{FF2B5EF4-FFF2-40B4-BE49-F238E27FC236}">
                <a16:creationId xmlns:a16="http://schemas.microsoft.com/office/drawing/2014/main" id="{4C5DB59D-0415-0D54-BA72-D93BE4D5AF5A}"/>
              </a:ext>
            </a:extLst>
          </p:cNvPr>
          <p:cNvSpPr txBox="1">
            <a:spLocks/>
          </p:cNvSpPr>
          <p:nvPr/>
        </p:nvSpPr>
        <p:spPr>
          <a:xfrm>
            <a:off x="797809" y="1317418"/>
            <a:ext cx="3901945" cy="184666"/>
          </a:xfrm>
          <a:prstGeom prst="rect">
            <a:avLst/>
          </a:prstGeom>
        </p:spPr>
        <p:txBody>
          <a:bodyPr vert="horz" lIns="0" tIns="0" rIns="0" bIns="0" rtlCol="0" anchor="b">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200" b="1" i="0" u="none" strike="noStrike" kern="1200" baseline="0">
                <a:solidFill>
                  <a:srgbClr val="808080"/>
                </a:solidFill>
                <a:highlight>
                  <a:srgbClr val="808080"/>
                </a:highlight>
                <a:latin typeface="Lato" panose="020F0502020204030203" pitchFamily="34" charset="0"/>
              </a:rPr>
              <a:t>XX</a:t>
            </a:r>
            <a:endParaRPr lang="en-GB"/>
          </a:p>
        </p:txBody>
      </p:sp>
      <p:sp>
        <p:nvSpPr>
          <p:cNvPr id="28" name="Rectangle: Rounded Corners 27">
            <a:extLst>
              <a:ext uri="{FF2B5EF4-FFF2-40B4-BE49-F238E27FC236}">
                <a16:creationId xmlns:a16="http://schemas.microsoft.com/office/drawing/2014/main" id="{09A86DA5-F701-D61E-139A-9EF15F71F84F}"/>
              </a:ext>
            </a:extLst>
          </p:cNvPr>
          <p:cNvSpPr/>
          <p:nvPr/>
        </p:nvSpPr>
        <p:spPr>
          <a:xfrm>
            <a:off x="6617949" y="1317934"/>
            <a:ext cx="5191850" cy="184150"/>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9" name="Text Placeholder 21">
            <a:extLst>
              <a:ext uri="{FF2B5EF4-FFF2-40B4-BE49-F238E27FC236}">
                <a16:creationId xmlns:a16="http://schemas.microsoft.com/office/drawing/2014/main" id="{FBB34736-18A7-BC32-2364-2A730A772B15}"/>
              </a:ext>
            </a:extLst>
          </p:cNvPr>
          <p:cNvSpPr txBox="1">
            <a:spLocks/>
          </p:cNvSpPr>
          <p:nvPr/>
        </p:nvSpPr>
        <p:spPr>
          <a:xfrm>
            <a:off x="6850608" y="1317934"/>
            <a:ext cx="3901945" cy="184150"/>
          </a:xfrm>
          <a:prstGeom prst="rect">
            <a:avLst/>
          </a:prstGeom>
        </p:spPr>
        <p:txBody>
          <a:bodyPr vert="horz" wrap="square" lIns="0" tIns="0" rIns="0" bIns="0" rtlCol="0" anchor="b">
            <a:spAutoFit/>
          </a:bodyPr>
          <a:lstStyle>
            <a:lvl1pPr marL="0" indent="0" algn="l" defTabSz="685783" rtl="0" eaLnBrk="1" latinLnBrk="0" hangingPunct="1">
              <a:lnSpc>
                <a:spcPct val="100000"/>
              </a:lnSpc>
              <a:spcBef>
                <a:spcPts val="0"/>
              </a:spcBef>
              <a:buFont typeface="Wingdings" panose="05000000000000000000" pitchFamily="2" charset="2"/>
              <a:buNone/>
              <a:defRPr lang="en-GB" sz="1200" b="1" kern="1200"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200" b="1" i="0" u="none" strike="noStrike" kern="1200" baseline="0">
                <a:solidFill>
                  <a:srgbClr val="808080"/>
                </a:solidFill>
                <a:highlight>
                  <a:srgbClr val="808080"/>
                </a:highlight>
                <a:latin typeface="Lato" panose="020F0502020204030203" pitchFamily="34" charset="0"/>
              </a:rPr>
              <a:t>XX</a:t>
            </a:r>
            <a:endParaRPr lang="en-GB"/>
          </a:p>
        </p:txBody>
      </p:sp>
      <p:sp>
        <p:nvSpPr>
          <p:cNvPr id="31" name="Rectangle: Rounded Corners 30">
            <a:extLst>
              <a:ext uri="{FF2B5EF4-FFF2-40B4-BE49-F238E27FC236}">
                <a16:creationId xmlns:a16="http://schemas.microsoft.com/office/drawing/2014/main" id="{015E94D3-F48B-6C98-C3B3-9DB2A0C38693}"/>
              </a:ext>
            </a:extLst>
          </p:cNvPr>
          <p:cNvSpPr/>
          <p:nvPr/>
        </p:nvSpPr>
        <p:spPr>
          <a:xfrm>
            <a:off x="565150" y="3781425"/>
            <a:ext cx="5191850" cy="168275"/>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2" name="Text Placeholder 21">
            <a:extLst>
              <a:ext uri="{FF2B5EF4-FFF2-40B4-BE49-F238E27FC236}">
                <a16:creationId xmlns:a16="http://schemas.microsoft.com/office/drawing/2014/main" id="{74C881E5-49B1-BA6F-20C8-0682ECAAD1FC}"/>
              </a:ext>
            </a:extLst>
          </p:cNvPr>
          <p:cNvSpPr txBox="1">
            <a:spLocks/>
          </p:cNvSpPr>
          <p:nvPr/>
        </p:nvSpPr>
        <p:spPr>
          <a:xfrm>
            <a:off x="797809" y="3765550"/>
            <a:ext cx="3901945" cy="184150"/>
          </a:xfrm>
          <a:prstGeom prst="rect">
            <a:avLst/>
          </a:prstGeom>
        </p:spPr>
        <p:txBody>
          <a:bodyPr vert="horz" lIns="0" tIns="0" rIns="0" bIns="0" rtlCol="0" anchor="b">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200" b="1" i="0" u="none" strike="noStrike" kern="1200" baseline="0">
                <a:solidFill>
                  <a:srgbClr val="808080"/>
                </a:solidFill>
                <a:highlight>
                  <a:srgbClr val="808080"/>
                </a:highlight>
                <a:latin typeface="Lato" panose="020F0502020204030203" pitchFamily="34" charset="0"/>
              </a:rPr>
              <a:t>XX</a:t>
            </a:r>
            <a:endParaRPr lang="en-GB"/>
          </a:p>
        </p:txBody>
      </p:sp>
      <p:sp>
        <p:nvSpPr>
          <p:cNvPr id="34" name="Rectangle: Rounded Corners 33">
            <a:extLst>
              <a:ext uri="{FF2B5EF4-FFF2-40B4-BE49-F238E27FC236}">
                <a16:creationId xmlns:a16="http://schemas.microsoft.com/office/drawing/2014/main" id="{2C9AF98B-9C17-D1DA-4A91-15B3CBAABB79}"/>
              </a:ext>
            </a:extLst>
          </p:cNvPr>
          <p:cNvSpPr/>
          <p:nvPr/>
        </p:nvSpPr>
        <p:spPr>
          <a:xfrm>
            <a:off x="6617949" y="3765550"/>
            <a:ext cx="5191850" cy="184150"/>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5" name="Text Placeholder 21">
            <a:extLst>
              <a:ext uri="{FF2B5EF4-FFF2-40B4-BE49-F238E27FC236}">
                <a16:creationId xmlns:a16="http://schemas.microsoft.com/office/drawing/2014/main" id="{B48FCEF2-1D47-D017-56A9-CDBEC54A5D78}"/>
              </a:ext>
            </a:extLst>
          </p:cNvPr>
          <p:cNvSpPr txBox="1">
            <a:spLocks/>
          </p:cNvSpPr>
          <p:nvPr/>
        </p:nvSpPr>
        <p:spPr>
          <a:xfrm>
            <a:off x="6850608" y="3765550"/>
            <a:ext cx="3901945" cy="184150"/>
          </a:xfrm>
          <a:prstGeom prst="rect">
            <a:avLst/>
          </a:prstGeom>
        </p:spPr>
        <p:txBody>
          <a:bodyPr vert="horz" wrap="square" lIns="0" tIns="0" rIns="0" bIns="0" rtlCol="0" anchor="b">
            <a:spAutoFit/>
          </a:bodyPr>
          <a:lstStyle>
            <a:lvl1pPr marL="0" indent="0" algn="l" defTabSz="685783" rtl="0" eaLnBrk="1" latinLnBrk="0" hangingPunct="1">
              <a:lnSpc>
                <a:spcPct val="100000"/>
              </a:lnSpc>
              <a:spcBef>
                <a:spcPts val="0"/>
              </a:spcBef>
              <a:buFont typeface="Wingdings" panose="05000000000000000000" pitchFamily="2" charset="2"/>
              <a:buNone/>
              <a:defRPr lang="en-GB" sz="1200" b="1" kern="1200"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200" b="1" i="0" u="none" strike="noStrike" kern="1200" baseline="0">
                <a:solidFill>
                  <a:srgbClr val="808080"/>
                </a:solidFill>
                <a:highlight>
                  <a:srgbClr val="808080"/>
                </a:highlight>
                <a:latin typeface="Lato" panose="020F0502020204030203" pitchFamily="34" charset="0"/>
              </a:rPr>
              <a:t>XX</a:t>
            </a:r>
            <a:endParaRPr lang="en-GB"/>
          </a:p>
        </p:txBody>
      </p:sp>
      <p:graphicFrame>
        <p:nvGraphicFramePr>
          <p:cNvPr id="102" name="Chart 101">
            <a:extLst>
              <a:ext uri="{FF2B5EF4-FFF2-40B4-BE49-F238E27FC236}">
                <a16:creationId xmlns:a16="http://schemas.microsoft.com/office/drawing/2014/main" id="{62E06E80-45DD-A3B3-C8F0-B8489C59D7FB}"/>
              </a:ext>
            </a:extLst>
          </p:cNvPr>
          <p:cNvGraphicFramePr/>
          <p:nvPr>
            <p:custDataLst>
              <p:tags r:id="rId2"/>
            </p:custDataLst>
            <p:extLst>
              <p:ext uri="{D42A27DB-BD31-4B8C-83A1-F6EECF244321}">
                <p14:modId xmlns:p14="http://schemas.microsoft.com/office/powerpoint/2010/main" val="2134980826"/>
              </p:ext>
            </p:extLst>
          </p:nvPr>
        </p:nvGraphicFramePr>
        <p:xfrm>
          <a:off x="10558463" y="4462463"/>
          <a:ext cx="938212" cy="1601787"/>
        </p:xfrm>
        <a:graphic>
          <a:graphicData uri="http://schemas.openxmlformats.org/drawingml/2006/chart">
            <c:chart xmlns:c="http://schemas.openxmlformats.org/drawingml/2006/chart" xmlns:r="http://schemas.openxmlformats.org/officeDocument/2006/relationships" r:id="rId19"/>
          </a:graphicData>
        </a:graphic>
      </p:graphicFrame>
      <p:sp>
        <p:nvSpPr>
          <p:cNvPr id="99" name="Text Placeholder 19">
            <a:extLst>
              <a:ext uri="{FF2B5EF4-FFF2-40B4-BE49-F238E27FC236}">
                <a16:creationId xmlns:a16="http://schemas.microsoft.com/office/drawing/2014/main" id="{74FB6E84-FB5C-5CEA-DC9B-E0DE2F4BAE9D}"/>
              </a:ext>
            </a:extLst>
          </p:cNvPr>
          <p:cNvSpPr>
            <a:spLocks noGrp="1"/>
          </p:cNvSpPr>
          <p:nvPr>
            <p:custDataLst>
              <p:tags r:id="rId3"/>
            </p:custDataLst>
          </p:nvPr>
        </p:nvSpPr>
        <p:spPr bwMode="auto">
          <a:xfrm>
            <a:off x="10842625" y="60325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0F481AB0-17D1-41BA-9F28-01DA890BE3EA}" type="datetime'''''''''''''''''''''''''20''''''''''''''''2''4'''''''''''">
              <a:rPr lang="en-GB" altLang="en-US" smtClean="0"/>
              <a:pPr lvl="0" algn="ctr">
                <a:spcBef>
                  <a:spcPct val="0"/>
                </a:spcBef>
                <a:spcAft>
                  <a:spcPct val="0"/>
                </a:spcAft>
              </a:pPr>
              <a:t>2024</a:t>
            </a:fld>
            <a:endParaRPr lang="en-GB"/>
          </a:p>
        </p:txBody>
      </p:sp>
      <p:graphicFrame>
        <p:nvGraphicFramePr>
          <p:cNvPr id="123" name="Chart 122">
            <a:extLst>
              <a:ext uri="{FF2B5EF4-FFF2-40B4-BE49-F238E27FC236}">
                <a16:creationId xmlns:a16="http://schemas.microsoft.com/office/drawing/2014/main" id="{A761C14E-E393-0338-FD8F-638C2842B13B}"/>
              </a:ext>
            </a:extLst>
          </p:cNvPr>
          <p:cNvGraphicFramePr/>
          <p:nvPr>
            <p:custDataLst>
              <p:tags r:id="rId4"/>
            </p:custDataLst>
            <p:extLst>
              <p:ext uri="{D42A27DB-BD31-4B8C-83A1-F6EECF244321}">
                <p14:modId xmlns:p14="http://schemas.microsoft.com/office/powerpoint/2010/main" val="1230753925"/>
              </p:ext>
            </p:extLst>
          </p:nvPr>
        </p:nvGraphicFramePr>
        <p:xfrm>
          <a:off x="4552950" y="4449763"/>
          <a:ext cx="993775" cy="1614487"/>
        </p:xfrm>
        <a:graphic>
          <a:graphicData uri="http://schemas.openxmlformats.org/drawingml/2006/chart">
            <c:chart xmlns:c="http://schemas.openxmlformats.org/drawingml/2006/chart" xmlns:r="http://schemas.openxmlformats.org/officeDocument/2006/relationships" r:id="rId20"/>
          </a:graphicData>
        </a:graphic>
      </p:graphicFrame>
      <p:sp>
        <p:nvSpPr>
          <p:cNvPr id="103" name="Text Placeholder 19">
            <a:extLst>
              <a:ext uri="{FF2B5EF4-FFF2-40B4-BE49-F238E27FC236}">
                <a16:creationId xmlns:a16="http://schemas.microsoft.com/office/drawing/2014/main" id="{23211858-3052-580F-8570-B48C1C5E945C}"/>
              </a:ext>
            </a:extLst>
          </p:cNvPr>
          <p:cNvSpPr>
            <a:spLocks noGrp="1"/>
          </p:cNvSpPr>
          <p:nvPr>
            <p:custDataLst>
              <p:tags r:id="rId5"/>
            </p:custDataLst>
          </p:nvPr>
        </p:nvSpPr>
        <p:spPr bwMode="auto">
          <a:xfrm>
            <a:off x="4865688" y="60325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B7C9BC00-8596-46E4-A8E7-315AE96C1227}" type="datetime'''''2''0''2''''''''''''''''''''''''''''''''''6'''''''''">
              <a:rPr lang="en-GB" altLang="en-US" smtClean="0"/>
              <a:pPr lvl="0" algn="ctr">
                <a:spcBef>
                  <a:spcPct val="0"/>
                </a:spcBef>
                <a:spcAft>
                  <a:spcPct val="0"/>
                </a:spcAft>
              </a:pPr>
              <a:t>2026</a:t>
            </a:fld>
            <a:endParaRPr lang="en-GB"/>
          </a:p>
        </p:txBody>
      </p:sp>
      <p:graphicFrame>
        <p:nvGraphicFramePr>
          <p:cNvPr id="70" name="Chart 69">
            <a:extLst>
              <a:ext uri="{FF2B5EF4-FFF2-40B4-BE49-F238E27FC236}">
                <a16:creationId xmlns:a16="http://schemas.microsoft.com/office/drawing/2014/main" id="{E59869C9-A694-02B2-405A-9A574338607B}"/>
              </a:ext>
            </a:extLst>
          </p:cNvPr>
          <p:cNvGraphicFramePr/>
          <p:nvPr>
            <p:custDataLst>
              <p:tags r:id="rId6"/>
            </p:custDataLst>
            <p:extLst>
              <p:ext uri="{D42A27DB-BD31-4B8C-83A1-F6EECF244321}">
                <p14:modId xmlns:p14="http://schemas.microsoft.com/office/powerpoint/2010/main" val="3970989926"/>
              </p:ext>
            </p:extLst>
          </p:nvPr>
        </p:nvGraphicFramePr>
        <p:xfrm>
          <a:off x="10558463" y="1860550"/>
          <a:ext cx="938212" cy="1574800"/>
        </p:xfrm>
        <a:graphic>
          <a:graphicData uri="http://schemas.openxmlformats.org/drawingml/2006/chart">
            <c:chart xmlns:c="http://schemas.openxmlformats.org/drawingml/2006/chart" xmlns:r="http://schemas.openxmlformats.org/officeDocument/2006/relationships" r:id="rId21"/>
          </a:graphicData>
        </a:graphic>
      </p:graphicFrame>
      <p:sp>
        <p:nvSpPr>
          <p:cNvPr id="161" name="Text Placeholder 19">
            <a:extLst>
              <a:ext uri="{FF2B5EF4-FFF2-40B4-BE49-F238E27FC236}">
                <a16:creationId xmlns:a16="http://schemas.microsoft.com/office/drawing/2014/main" id="{EBBD0D21-23E5-68E7-1147-8DF872D1D36F}"/>
              </a:ext>
            </a:extLst>
          </p:cNvPr>
          <p:cNvSpPr>
            <a:spLocks noGrp="1"/>
          </p:cNvSpPr>
          <p:nvPr>
            <p:custDataLst>
              <p:tags r:id="rId7"/>
            </p:custDataLst>
          </p:nvPr>
        </p:nvSpPr>
        <p:spPr bwMode="auto">
          <a:xfrm>
            <a:off x="10842625" y="34036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CFF9ED83-3C16-44E5-9FA2-4120B91CFCC0}" type="datetime'''''''''''''''''2''''''''''0''''2''''''''''6'''">
              <a:rPr lang="en-GB" altLang="en-US" smtClean="0"/>
              <a:pPr lvl="0" algn="ctr">
                <a:spcBef>
                  <a:spcPct val="0"/>
                </a:spcBef>
                <a:spcAft>
                  <a:spcPct val="0"/>
                </a:spcAft>
              </a:pPr>
              <a:t>2026</a:t>
            </a:fld>
            <a:endParaRPr lang="en-GB"/>
          </a:p>
        </p:txBody>
      </p:sp>
      <p:graphicFrame>
        <p:nvGraphicFramePr>
          <p:cNvPr id="52" name="Chart 51">
            <a:extLst>
              <a:ext uri="{FF2B5EF4-FFF2-40B4-BE49-F238E27FC236}">
                <a16:creationId xmlns:a16="http://schemas.microsoft.com/office/drawing/2014/main" id="{450D40D3-9DA4-E733-A057-2FC051D15816}"/>
              </a:ext>
            </a:extLst>
          </p:cNvPr>
          <p:cNvGraphicFramePr/>
          <p:nvPr>
            <p:custDataLst>
              <p:tags r:id="rId8"/>
            </p:custDataLst>
            <p:extLst>
              <p:ext uri="{D42A27DB-BD31-4B8C-83A1-F6EECF244321}">
                <p14:modId xmlns:p14="http://schemas.microsoft.com/office/powerpoint/2010/main" val="3173654538"/>
              </p:ext>
            </p:extLst>
          </p:nvPr>
        </p:nvGraphicFramePr>
        <p:xfrm>
          <a:off x="4591050" y="1860550"/>
          <a:ext cx="993775" cy="1647825"/>
        </p:xfrm>
        <a:graphic>
          <a:graphicData uri="http://schemas.openxmlformats.org/drawingml/2006/chart">
            <c:chart xmlns:c="http://schemas.openxmlformats.org/drawingml/2006/chart" xmlns:r="http://schemas.openxmlformats.org/officeDocument/2006/relationships" r:id="rId22"/>
          </a:graphicData>
        </a:graphic>
      </p:graphicFrame>
      <p:sp>
        <p:nvSpPr>
          <p:cNvPr id="163" name="Text Placeholder 19">
            <a:extLst>
              <a:ext uri="{FF2B5EF4-FFF2-40B4-BE49-F238E27FC236}">
                <a16:creationId xmlns:a16="http://schemas.microsoft.com/office/drawing/2014/main" id="{D4E44174-8BE7-7960-CEE1-BC134C933963}"/>
              </a:ext>
            </a:extLst>
          </p:cNvPr>
          <p:cNvSpPr>
            <a:spLocks noGrp="1"/>
          </p:cNvSpPr>
          <p:nvPr>
            <p:custDataLst>
              <p:tags r:id="rId9"/>
            </p:custDataLst>
          </p:nvPr>
        </p:nvSpPr>
        <p:spPr bwMode="auto">
          <a:xfrm>
            <a:off x="4903788" y="3476625"/>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3E8A23B1-45A3-4975-A31E-2B9F98A9E5DE}" type="datetime'''''''''''2''0''''''''''''3''''''''''''''''''0'''''''''''''''">
              <a:rPr lang="en-GB" altLang="en-US" smtClean="0"/>
              <a:pPr lvl="0" algn="ctr">
                <a:spcBef>
                  <a:spcPct val="0"/>
                </a:spcBef>
                <a:spcAft>
                  <a:spcPct val="0"/>
                </a:spcAft>
              </a:pPr>
              <a:t>2030</a:t>
            </a:fld>
            <a:endParaRPr lang="en-GB"/>
          </a:p>
        </p:txBody>
      </p:sp>
      <p:sp>
        <p:nvSpPr>
          <p:cNvPr id="216" name="Text Placeholder 13">
            <a:extLst>
              <a:ext uri="{FF2B5EF4-FFF2-40B4-BE49-F238E27FC236}">
                <a16:creationId xmlns:a16="http://schemas.microsoft.com/office/drawing/2014/main" id="{9C2320C4-42A5-A955-C76A-A9124C86EF46}"/>
              </a:ext>
            </a:extLst>
          </p:cNvPr>
          <p:cNvSpPr txBox="1">
            <a:spLocks/>
          </p:cNvSpPr>
          <p:nvPr/>
        </p:nvSpPr>
        <p:spPr>
          <a:xfrm>
            <a:off x="6522538" y="1574637"/>
            <a:ext cx="3484563"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600" marR="0" lvl="0" indent="-2286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altLang="ko-KR" sz="1200" b="0" kern="1200">
                <a:solidFill>
                  <a:schemeClr val="tx1"/>
                </a:solidFill>
                <a:latin typeface="+mn-lt"/>
                <a:ea typeface="+mn-ea"/>
                <a:cs typeface="Arial" pitchFamily="34" charset="0"/>
              </a:rPr>
              <a:t>Scheme includes a CAPEX subsidy with maximum aid intensity of </a:t>
            </a:r>
            <a:r>
              <a:rPr lang="en-GB" sz="1200" b="1" i="0" u="none" strike="noStrike" kern="1200" baseline="0">
                <a:solidFill>
                  <a:srgbClr val="808080"/>
                </a:solidFill>
                <a:highlight>
                  <a:srgbClr val="808080"/>
                </a:highlight>
                <a:latin typeface="Lato" panose="020F0502020204030203" pitchFamily="34" charset="0"/>
              </a:rPr>
              <a:t>XX </a:t>
            </a:r>
            <a:r>
              <a:rPr lang="en-GB" altLang="ko-KR" sz="1200" b="0" kern="1200">
                <a:solidFill>
                  <a:schemeClr val="tx1"/>
                </a:solidFill>
                <a:latin typeface="+mn-lt"/>
                <a:ea typeface="+mn-ea"/>
                <a:cs typeface="Arial" pitchFamily="34" charset="0"/>
              </a:rPr>
              <a:t>%</a:t>
            </a:r>
            <a:endParaRPr lang="en-GB" sz="1200" kern="1200" noProof="0">
              <a:solidFill>
                <a:schemeClr val="tx1"/>
              </a:solidFill>
              <a:latin typeface="+mn-lt"/>
              <a:ea typeface="+mn-ea"/>
              <a:cs typeface="+mn-cs"/>
            </a:endParaRPr>
          </a:p>
        </p:txBody>
      </p:sp>
      <p:sp>
        <p:nvSpPr>
          <p:cNvPr id="217" name="Text Placeholder 13">
            <a:extLst>
              <a:ext uri="{FF2B5EF4-FFF2-40B4-BE49-F238E27FC236}">
                <a16:creationId xmlns:a16="http://schemas.microsoft.com/office/drawing/2014/main" id="{BFB1E30B-C66B-B728-7FE5-CE37D168A70E}"/>
              </a:ext>
            </a:extLst>
          </p:cNvPr>
          <p:cNvSpPr txBox="1">
            <a:spLocks/>
          </p:cNvSpPr>
          <p:nvPr/>
        </p:nvSpPr>
        <p:spPr>
          <a:xfrm>
            <a:off x="412939" y="4126168"/>
            <a:ext cx="3484563" cy="553998"/>
          </a:xfrm>
          <a:prstGeom prst="rect">
            <a:avLst/>
          </a:prstGeom>
        </p:spPr>
        <p:txBody>
          <a:bodyPr vert="horz"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altLang="ko-KR" sz="1200" b="0">
                <a:solidFill>
                  <a:schemeClr val="tx1"/>
                </a:solidFill>
                <a:cs typeface="Arial" pitchFamily="34" charset="0"/>
              </a:rPr>
              <a:t>Public consultation has closed for </a:t>
            </a:r>
            <a:r>
              <a:rPr lang="en-GB" sz="1200" b="1" i="0" u="none" strike="noStrike" kern="1200" baseline="0">
                <a:solidFill>
                  <a:srgbClr val="808080"/>
                </a:solidFill>
                <a:highlight>
                  <a:srgbClr val="808080"/>
                </a:highlight>
                <a:latin typeface="Lato" panose="020F0502020204030203" pitchFamily="34" charset="0"/>
              </a:rPr>
              <a:t>XX</a:t>
            </a:r>
            <a:r>
              <a:rPr lang="en-GB" altLang="ko-KR" sz="1200" b="0">
                <a:solidFill>
                  <a:schemeClr val="tx1"/>
                </a:solidFill>
                <a:cs typeface="Arial" pitchFamily="34" charset="0"/>
              </a:rPr>
              <a:t>’s first auction, tendering </a:t>
            </a:r>
            <a:r>
              <a:rPr lang="en-GB" sz="1200" b="1" i="0" u="none" strike="noStrike" kern="1200" baseline="0">
                <a:solidFill>
                  <a:srgbClr val="808080"/>
                </a:solidFill>
                <a:highlight>
                  <a:srgbClr val="808080"/>
                </a:highlight>
                <a:latin typeface="Lato" panose="020F0502020204030203" pitchFamily="34" charset="0"/>
              </a:rPr>
              <a:t>XX </a:t>
            </a:r>
            <a:r>
              <a:rPr lang="en-GB" altLang="ko-KR" sz="1200" b="0">
                <a:solidFill>
                  <a:schemeClr val="tx1"/>
                </a:solidFill>
                <a:cs typeface="Arial" pitchFamily="34" charset="0"/>
              </a:rPr>
              <a:t>MW of RES and </a:t>
            </a:r>
            <a:r>
              <a:rPr lang="en-GB" sz="1200" b="1" i="0" u="none" strike="noStrike" kern="1200" baseline="0">
                <a:solidFill>
                  <a:srgbClr val="838383"/>
                </a:solidFill>
                <a:highlight>
                  <a:srgbClr val="808080"/>
                </a:highlight>
                <a:latin typeface="Lato" panose="020F0502020204030203" pitchFamily="34" charset="0"/>
              </a:rPr>
              <a:t>XX</a:t>
            </a:r>
            <a:r>
              <a:rPr lang="en-GB" altLang="ko-KR" sz="1200" b="0">
                <a:solidFill>
                  <a:schemeClr val="tx1"/>
                </a:solidFill>
                <a:cs typeface="Arial" pitchFamily="34" charset="0"/>
              </a:rPr>
              <a:t>MW/</a:t>
            </a:r>
            <a:r>
              <a:rPr lang="en-GB" sz="1200" b="1" i="0" u="none" strike="noStrike" kern="1200" baseline="0">
                <a:solidFill>
                  <a:srgbClr val="808080"/>
                </a:solidFill>
                <a:highlight>
                  <a:srgbClr val="808080"/>
                </a:highlight>
                <a:latin typeface="Lato" panose="020F0502020204030203" pitchFamily="34" charset="0"/>
              </a:rPr>
              <a:t> XX </a:t>
            </a:r>
            <a:r>
              <a:rPr lang="en-GB" altLang="ko-KR" sz="1200" b="0">
                <a:solidFill>
                  <a:schemeClr val="tx1"/>
                </a:solidFill>
                <a:cs typeface="Arial" pitchFamily="34" charset="0"/>
              </a:rPr>
              <a:t>MWh of co-located storage</a:t>
            </a:r>
          </a:p>
        </p:txBody>
      </p:sp>
      <p:sp>
        <p:nvSpPr>
          <p:cNvPr id="218" name="Text Placeholder 13">
            <a:extLst>
              <a:ext uri="{FF2B5EF4-FFF2-40B4-BE49-F238E27FC236}">
                <a16:creationId xmlns:a16="http://schemas.microsoft.com/office/drawing/2014/main" id="{977CFD98-94A6-5C37-9F4D-1D8C6BB05CC8}"/>
              </a:ext>
            </a:extLst>
          </p:cNvPr>
          <p:cNvSpPr txBox="1">
            <a:spLocks/>
          </p:cNvSpPr>
          <p:nvPr/>
        </p:nvSpPr>
        <p:spPr>
          <a:xfrm>
            <a:off x="6548936" y="4120675"/>
            <a:ext cx="3484563" cy="592470"/>
          </a:xfrm>
          <a:prstGeom prst="rect">
            <a:avLst/>
          </a:prstGeom>
        </p:spPr>
        <p:txBody>
          <a:bodyPr vert="horz"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spcBef>
                <a:spcPts val="300"/>
              </a:spcBef>
              <a:buFont typeface="Arial" panose="020B0604020202020204" pitchFamily="34" charset="0"/>
              <a:buChar char="•"/>
            </a:pPr>
            <a:r>
              <a:rPr lang="en-GB"/>
              <a:t>The scheme supports storage facilities through a direct grant with periodic competitive auctions</a:t>
            </a:r>
          </a:p>
          <a:p>
            <a:pPr marL="171450" indent="-171450">
              <a:spcBef>
                <a:spcPts val="300"/>
              </a:spcBef>
              <a:buFont typeface="Arial" panose="020B0604020202020204" pitchFamily="34" charset="0"/>
              <a:buChar char="•"/>
            </a:pPr>
            <a:endParaRPr lang="en-GB"/>
          </a:p>
        </p:txBody>
      </p:sp>
      <p:sp>
        <p:nvSpPr>
          <p:cNvPr id="219" name="Text Placeholder 20">
            <a:extLst>
              <a:ext uri="{FF2B5EF4-FFF2-40B4-BE49-F238E27FC236}">
                <a16:creationId xmlns:a16="http://schemas.microsoft.com/office/drawing/2014/main" id="{7B3B1B42-03DE-2511-9012-6061D2BC6465}"/>
              </a:ext>
            </a:extLst>
          </p:cNvPr>
          <p:cNvSpPr txBox="1">
            <a:spLocks/>
          </p:cNvSpPr>
          <p:nvPr/>
        </p:nvSpPr>
        <p:spPr>
          <a:xfrm>
            <a:off x="431414" y="1569466"/>
            <a:ext cx="3547951"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a:t>The scheme targets </a:t>
            </a:r>
            <a:r>
              <a:rPr lang="en-GB" sz="1200" b="1" i="0" u="none" strike="noStrike" kern="1200" baseline="0">
                <a:solidFill>
                  <a:srgbClr val="808080"/>
                </a:solidFill>
                <a:highlight>
                  <a:srgbClr val="808080"/>
                </a:highlight>
                <a:latin typeface="Lato" panose="020F0502020204030203" pitchFamily="34" charset="0"/>
              </a:rPr>
              <a:t>XX</a:t>
            </a:r>
            <a:r>
              <a:rPr lang="en-GB"/>
              <a:t> </a:t>
            </a:r>
            <a:r>
              <a:rPr lang="en-GB" sz="1200" b="1" i="0" u="none" strike="noStrike" kern="1200" baseline="0">
                <a:solidFill>
                  <a:srgbClr val="808080"/>
                </a:solidFill>
                <a:highlight>
                  <a:srgbClr val="808080"/>
                </a:highlight>
                <a:latin typeface="Lato" panose="020F0502020204030203" pitchFamily="34" charset="0"/>
              </a:rPr>
              <a:t>XX</a:t>
            </a:r>
            <a:r>
              <a:rPr lang="en-GB"/>
              <a:t>) however different durations can still participate</a:t>
            </a:r>
            <a:endParaRPr lang="en-GB" baseline="30000"/>
          </a:p>
        </p:txBody>
      </p:sp>
      <p:sp>
        <p:nvSpPr>
          <p:cNvPr id="270" name="TextBox 269">
            <a:extLst>
              <a:ext uri="{FF2B5EF4-FFF2-40B4-BE49-F238E27FC236}">
                <a16:creationId xmlns:a16="http://schemas.microsoft.com/office/drawing/2014/main" id="{7BA1B699-A7EC-8269-8868-33F7478DCF73}"/>
              </a:ext>
            </a:extLst>
          </p:cNvPr>
          <p:cNvSpPr txBox="1"/>
          <p:nvPr/>
        </p:nvSpPr>
        <p:spPr>
          <a:xfrm>
            <a:off x="4031672" y="1574637"/>
            <a:ext cx="1336164" cy="153888"/>
          </a:xfrm>
          <a:prstGeom prst="rect">
            <a:avLst/>
          </a:prstGeom>
          <a:noFill/>
        </p:spPr>
        <p:txBody>
          <a:bodyPr wrap="square" lIns="0" tIns="0" rIns="0" bIns="0" rtlCol="0">
            <a:spAutoFit/>
          </a:bodyPr>
          <a:lstStyle/>
          <a:p>
            <a:pPr lvl="0">
              <a:spcAft>
                <a:spcPts val="600"/>
              </a:spcAft>
              <a:defRPr/>
            </a:pP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Capacity, MW</a:t>
            </a:r>
            <a:r>
              <a:rPr kumimoji="0" lang="en-US" altLang="en-US" sz="1000" i="0" u="none" strike="noStrike" kern="1200" cap="none" spc="0" normalizeH="0" baseline="0" noProof="0">
                <a:ln>
                  <a:noFill/>
                </a:ln>
                <a:solidFill>
                  <a:schemeClr val="accent6"/>
                </a:solidFill>
                <a:effectLst/>
                <a:uLnTx/>
                <a:uFillTx/>
                <a:latin typeface="Lato"/>
                <a:ea typeface="+mn-ea"/>
                <a:cs typeface="+mn-cs"/>
                <a:sym typeface="+mn-lt"/>
              </a:rPr>
              <a:t> </a:t>
            </a:r>
            <a:endParaRPr kumimoji="0" lang="en-US" sz="1000" i="0" u="none" strike="noStrike" kern="1200" cap="none" spc="0" normalizeH="0" baseline="0" noProof="0">
              <a:ln>
                <a:noFill/>
              </a:ln>
              <a:solidFill>
                <a:schemeClr val="accent6"/>
              </a:solidFill>
              <a:effectLst/>
              <a:uLnTx/>
              <a:uFillTx/>
              <a:latin typeface="Lato"/>
              <a:ea typeface="+mn-ea"/>
              <a:cs typeface="+mn-cs"/>
            </a:endParaRPr>
          </a:p>
        </p:txBody>
      </p:sp>
      <p:sp>
        <p:nvSpPr>
          <p:cNvPr id="271" name="TextBox 270">
            <a:extLst>
              <a:ext uri="{FF2B5EF4-FFF2-40B4-BE49-F238E27FC236}">
                <a16:creationId xmlns:a16="http://schemas.microsoft.com/office/drawing/2014/main" id="{D8858D7C-9A27-C984-BD30-C906D3FA14BC}"/>
              </a:ext>
            </a:extLst>
          </p:cNvPr>
          <p:cNvSpPr txBox="1"/>
          <p:nvPr/>
        </p:nvSpPr>
        <p:spPr>
          <a:xfrm>
            <a:off x="9985375" y="1574637"/>
            <a:ext cx="1335088" cy="153888"/>
          </a:xfrm>
          <a:prstGeom prst="rect">
            <a:avLst/>
          </a:prstGeom>
          <a:noFill/>
        </p:spPr>
        <p:txBody>
          <a:bodyPr wrap="square" lIns="0" tIns="0" rIns="0" bIns="0" rtlCol="0">
            <a:spAutoFit/>
          </a:bodyPr>
          <a:lstStyle/>
          <a:p>
            <a:pPr lvl="0">
              <a:spcAft>
                <a:spcPts val="600"/>
              </a:spcAft>
              <a:defRPr/>
            </a:pP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Capacity, MW</a:t>
            </a:r>
            <a:r>
              <a:rPr kumimoji="0" lang="en-US" altLang="en-US" sz="1000" i="0" u="none" strike="noStrike" kern="1200" cap="none" spc="0" normalizeH="0" baseline="0" noProof="0">
                <a:ln>
                  <a:noFill/>
                </a:ln>
                <a:solidFill>
                  <a:schemeClr val="accent6"/>
                </a:solidFill>
                <a:effectLst/>
                <a:uLnTx/>
                <a:uFillTx/>
                <a:latin typeface="Lato"/>
                <a:ea typeface="+mn-ea"/>
                <a:cs typeface="+mn-cs"/>
                <a:sym typeface="+mn-lt"/>
              </a:rPr>
              <a:t> </a:t>
            </a:r>
            <a:endParaRPr kumimoji="0" lang="en-US" sz="1000" i="0" u="none" strike="noStrike" kern="1200" cap="none" spc="0" normalizeH="0" baseline="0" noProof="0">
              <a:ln>
                <a:noFill/>
              </a:ln>
              <a:solidFill>
                <a:schemeClr val="accent6"/>
              </a:solidFill>
              <a:effectLst/>
              <a:uLnTx/>
              <a:uFillTx/>
              <a:latin typeface="Lato"/>
              <a:ea typeface="+mn-ea"/>
              <a:cs typeface="+mn-cs"/>
            </a:endParaRPr>
          </a:p>
        </p:txBody>
      </p:sp>
      <p:sp>
        <p:nvSpPr>
          <p:cNvPr id="73" name="TextBox 72">
            <a:extLst>
              <a:ext uri="{FF2B5EF4-FFF2-40B4-BE49-F238E27FC236}">
                <a16:creationId xmlns:a16="http://schemas.microsoft.com/office/drawing/2014/main" id="{6FEDC2AA-C6D7-2C53-6F4B-28E944DD7A8E}"/>
              </a:ext>
            </a:extLst>
          </p:cNvPr>
          <p:cNvSpPr txBox="1"/>
          <p:nvPr/>
        </p:nvSpPr>
        <p:spPr>
          <a:xfrm>
            <a:off x="10962968" y="1569466"/>
            <a:ext cx="893385"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DF5327"/>
                </a:solidFill>
                <a:effectLst/>
                <a:uLnTx/>
                <a:uFillTx/>
                <a:latin typeface="Lato"/>
                <a:ea typeface="+mn-ea"/>
                <a:cs typeface="+mn-cs"/>
              </a:rPr>
              <a:t>EUR/kW</a:t>
            </a:r>
          </a:p>
        </p:txBody>
      </p:sp>
      <p:graphicFrame>
        <p:nvGraphicFramePr>
          <p:cNvPr id="143" name="Chart 142">
            <a:extLst>
              <a:ext uri="{FF2B5EF4-FFF2-40B4-BE49-F238E27FC236}">
                <a16:creationId xmlns:a16="http://schemas.microsoft.com/office/drawing/2014/main" id="{41D538E5-4B6A-3DE0-E803-AE0014E9AC19}"/>
              </a:ext>
            </a:extLst>
          </p:cNvPr>
          <p:cNvGraphicFramePr/>
          <p:nvPr>
            <p:custDataLst>
              <p:tags r:id="rId10"/>
            </p:custDataLst>
            <p:extLst>
              <p:ext uri="{D42A27DB-BD31-4B8C-83A1-F6EECF244321}">
                <p14:modId xmlns:p14="http://schemas.microsoft.com/office/powerpoint/2010/main" val="695742278"/>
              </p:ext>
            </p:extLst>
          </p:nvPr>
        </p:nvGraphicFramePr>
        <p:xfrm>
          <a:off x="285750" y="7015163"/>
          <a:ext cx="2057400" cy="623887"/>
        </p:xfrm>
        <a:graphic>
          <a:graphicData uri="http://schemas.openxmlformats.org/drawingml/2006/chart">
            <c:chart xmlns:c="http://schemas.openxmlformats.org/drawingml/2006/chart" xmlns:r="http://schemas.openxmlformats.org/officeDocument/2006/relationships" r:id="rId23"/>
          </a:graphicData>
        </a:graphic>
      </p:graphicFrame>
      <p:sp>
        <p:nvSpPr>
          <p:cNvPr id="94" name="Text Placeholder 19">
            <a:extLst>
              <a:ext uri="{FF2B5EF4-FFF2-40B4-BE49-F238E27FC236}">
                <a16:creationId xmlns:a16="http://schemas.microsoft.com/office/drawing/2014/main" id="{4922D37C-2D74-2090-FD2D-BE5F3F338058}"/>
              </a:ext>
            </a:extLst>
          </p:cNvPr>
          <p:cNvSpPr>
            <a:spLocks noGrp="1"/>
          </p:cNvSpPr>
          <p:nvPr>
            <p:custDataLst>
              <p:tags r:id="rId11"/>
            </p:custDataLst>
          </p:nvPr>
        </p:nvSpPr>
        <p:spPr bwMode="auto">
          <a:xfrm>
            <a:off x="1128713" y="7607300"/>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1735159-E891-40AB-92DE-8EE86C8ED558}" type="datetime'''''''''''2''''''''''''''''''''''''''''''''02''''''''''''6'''">
              <a:rPr lang="en-GB" altLang="en-US" smtClean="0"/>
              <a:pPr lvl="0" algn="ctr">
                <a:spcBef>
                  <a:spcPct val="0"/>
                </a:spcBef>
                <a:spcAft>
                  <a:spcPct val="0"/>
                </a:spcAft>
              </a:pPr>
              <a:t>2026</a:t>
            </a:fld>
            <a:endParaRPr lang="en-GB"/>
          </a:p>
        </p:txBody>
      </p:sp>
      <p:sp>
        <p:nvSpPr>
          <p:cNvPr id="95" name="Rectangle 94">
            <a:extLst>
              <a:ext uri="{FF2B5EF4-FFF2-40B4-BE49-F238E27FC236}">
                <a16:creationId xmlns:a16="http://schemas.microsoft.com/office/drawing/2014/main" id="{9845F2C1-5B13-3F77-A4CA-4919CF23F8BF}"/>
              </a:ext>
            </a:extLst>
          </p:cNvPr>
          <p:cNvSpPr/>
          <p:nvPr>
            <p:custDataLst>
              <p:tags r:id="rId12"/>
            </p:custDataLst>
          </p:nvPr>
        </p:nvSpPr>
        <p:spPr bwMode="auto">
          <a:xfrm>
            <a:off x="2628900" y="6294438"/>
            <a:ext cx="179388" cy="133350"/>
          </a:xfrm>
          <a:prstGeom prst="rect">
            <a:avLst/>
          </a:prstGeom>
          <a:solidFill>
            <a:srgbClr val="E1C4E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04" name="Diamond 103">
            <a:extLst>
              <a:ext uri="{FF2B5EF4-FFF2-40B4-BE49-F238E27FC236}">
                <a16:creationId xmlns:a16="http://schemas.microsoft.com/office/drawing/2014/main" id="{1D67FC27-C559-5834-1416-9EA79671AFFC}"/>
              </a:ext>
            </a:extLst>
          </p:cNvPr>
          <p:cNvSpPr/>
          <p:nvPr>
            <p:custDataLst>
              <p:tags r:id="rId13"/>
            </p:custDataLst>
          </p:nvPr>
        </p:nvSpPr>
        <p:spPr bwMode="auto">
          <a:xfrm>
            <a:off x="469900" y="6323013"/>
            <a:ext cx="76200" cy="76200"/>
          </a:xfrm>
          <a:prstGeom prst="diamond">
            <a:avLst/>
          </a:prstGeom>
          <a:solidFill>
            <a:srgbClr val="DF5327"/>
          </a:solidFill>
          <a:ln w="9525" cap="flat" cmpd="sng" algn="ctr">
            <a:solidFill>
              <a:srgbClr val="DF5327"/>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6" name="Text Placeholder 19">
            <a:extLst>
              <a:ext uri="{FF2B5EF4-FFF2-40B4-BE49-F238E27FC236}">
                <a16:creationId xmlns:a16="http://schemas.microsoft.com/office/drawing/2014/main" id="{4023CD74-CDEB-882A-316D-DF0A922639B1}"/>
              </a:ext>
            </a:extLst>
          </p:cNvPr>
          <p:cNvSpPr>
            <a:spLocks noGrp="1"/>
          </p:cNvSpPr>
          <p:nvPr>
            <p:custDataLst>
              <p:tags r:id="rId14"/>
            </p:custDataLst>
          </p:nvPr>
        </p:nvSpPr>
        <p:spPr bwMode="auto">
          <a:xfrm>
            <a:off x="649288" y="6289675"/>
            <a:ext cx="18780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ABD1FE46-5DF6-47CA-AAB2-0A91BD6290FB}" type="datetime'Mini''''m''um''''''/''''Maxi''mum ''su''''ppo''rt ''l''evel'">
              <a:rPr lang="en-GB" altLang="en-US" sz="1000" smtClean="0"/>
              <a:pPr lvl="0">
                <a:spcBef>
                  <a:spcPct val="0"/>
                </a:spcBef>
                <a:spcAft>
                  <a:spcPct val="0"/>
                </a:spcAft>
              </a:pPr>
              <a:t>Minimum/Maximum support level</a:t>
            </a:fld>
            <a:endParaRPr lang="en-GB" sz="1000"/>
          </a:p>
        </p:txBody>
      </p:sp>
      <p:sp>
        <p:nvSpPr>
          <p:cNvPr id="97" name="Text Placeholder 19">
            <a:extLst>
              <a:ext uri="{FF2B5EF4-FFF2-40B4-BE49-F238E27FC236}">
                <a16:creationId xmlns:a16="http://schemas.microsoft.com/office/drawing/2014/main" id="{35C935C3-AA68-CFE2-7A65-8C09504E68F3}"/>
              </a:ext>
            </a:extLst>
          </p:cNvPr>
          <p:cNvSpPr>
            <a:spLocks noGrp="1"/>
          </p:cNvSpPr>
          <p:nvPr>
            <p:custDataLst>
              <p:tags r:id="rId15"/>
            </p:custDataLst>
          </p:nvPr>
        </p:nvSpPr>
        <p:spPr bwMode="auto">
          <a:xfrm>
            <a:off x="2859088" y="6289675"/>
            <a:ext cx="1100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52A13E88-84D5-4E11-A7A7-1F78A7369124}" type="datetime'''Pr''o''c''''''''u''re''''''m''''''''ent'''' t''''arget'">
              <a:rPr lang="en-GB" altLang="en-US" sz="1000" smtClean="0"/>
              <a:pPr lvl="0">
                <a:spcBef>
                  <a:spcPct val="0"/>
                </a:spcBef>
                <a:spcAft>
                  <a:spcPct val="0"/>
                </a:spcAft>
              </a:pPr>
              <a:t>Procurement target</a:t>
            </a:fld>
            <a:endParaRPr lang="en-GB" sz="1000"/>
          </a:p>
        </p:txBody>
      </p:sp>
      <p:sp>
        <p:nvSpPr>
          <p:cNvPr id="109" name="TextBox 108">
            <a:extLst>
              <a:ext uri="{FF2B5EF4-FFF2-40B4-BE49-F238E27FC236}">
                <a16:creationId xmlns:a16="http://schemas.microsoft.com/office/drawing/2014/main" id="{92707845-C3FE-0F83-3214-1085AF8F7266}"/>
              </a:ext>
            </a:extLst>
          </p:cNvPr>
          <p:cNvSpPr txBox="1"/>
          <p:nvPr/>
        </p:nvSpPr>
        <p:spPr>
          <a:xfrm>
            <a:off x="4031672" y="4151128"/>
            <a:ext cx="1336164" cy="153888"/>
          </a:xfrm>
          <a:prstGeom prst="rect">
            <a:avLst/>
          </a:prstGeom>
          <a:noFill/>
        </p:spPr>
        <p:txBody>
          <a:bodyPr wrap="square" lIns="0" tIns="0" rIns="0" bIns="0" rtlCol="0">
            <a:spAutoFit/>
          </a:bodyPr>
          <a:lstStyle/>
          <a:p>
            <a:pPr lvl="0">
              <a:spcAft>
                <a:spcPts val="600"/>
              </a:spcAft>
              <a:defRPr/>
            </a:pP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Capacity, MW</a:t>
            </a:r>
            <a:r>
              <a:rPr kumimoji="0" lang="en-US" altLang="en-US" sz="1000" i="0" u="none" strike="noStrike" kern="1200" cap="none" spc="0" normalizeH="0" baseline="0" noProof="0">
                <a:ln>
                  <a:noFill/>
                </a:ln>
                <a:solidFill>
                  <a:schemeClr val="accent6"/>
                </a:solidFill>
                <a:effectLst/>
                <a:uLnTx/>
                <a:uFillTx/>
                <a:latin typeface="Lato"/>
                <a:ea typeface="+mn-ea"/>
                <a:cs typeface="+mn-cs"/>
                <a:sym typeface="+mn-lt"/>
              </a:rPr>
              <a:t> </a:t>
            </a:r>
            <a:endParaRPr kumimoji="0" lang="en-US" sz="1000" i="0" u="none" strike="noStrike" kern="1200" cap="none" spc="0" normalizeH="0" baseline="0" noProof="0">
              <a:ln>
                <a:noFill/>
              </a:ln>
              <a:solidFill>
                <a:schemeClr val="accent6"/>
              </a:solidFill>
              <a:effectLst/>
              <a:uLnTx/>
              <a:uFillTx/>
              <a:latin typeface="Lato"/>
              <a:ea typeface="+mn-ea"/>
              <a:cs typeface="+mn-cs"/>
            </a:endParaRPr>
          </a:p>
        </p:txBody>
      </p:sp>
      <p:sp>
        <p:nvSpPr>
          <p:cNvPr id="110" name="TextBox 109">
            <a:extLst>
              <a:ext uri="{FF2B5EF4-FFF2-40B4-BE49-F238E27FC236}">
                <a16:creationId xmlns:a16="http://schemas.microsoft.com/office/drawing/2014/main" id="{3D5FE6A8-30FE-D000-FC15-AA7C608941D5}"/>
              </a:ext>
            </a:extLst>
          </p:cNvPr>
          <p:cNvSpPr txBox="1"/>
          <p:nvPr/>
        </p:nvSpPr>
        <p:spPr>
          <a:xfrm>
            <a:off x="9988773" y="4151128"/>
            <a:ext cx="1336164" cy="153888"/>
          </a:xfrm>
          <a:prstGeom prst="rect">
            <a:avLst/>
          </a:prstGeom>
          <a:noFill/>
        </p:spPr>
        <p:txBody>
          <a:bodyPr wrap="square" lIns="0" tIns="0" rIns="0" bIns="0" rtlCol="0">
            <a:spAutoFit/>
          </a:bodyPr>
          <a:lstStyle/>
          <a:p>
            <a:pPr lvl="0">
              <a:spcAft>
                <a:spcPts val="600"/>
              </a:spcAft>
              <a:defRPr/>
            </a:pPr>
            <a:r>
              <a:rPr kumimoji="0" lang="en-US" altLang="en-US" sz="1000" b="1" i="0" u="none" strike="noStrike" kern="1200" cap="none" spc="0" normalizeH="0" baseline="0" noProof="0">
                <a:ln>
                  <a:noFill/>
                </a:ln>
                <a:solidFill>
                  <a:srgbClr val="3C3C3B"/>
                </a:solidFill>
                <a:effectLst/>
                <a:uLnTx/>
                <a:uFillTx/>
                <a:latin typeface="Lato"/>
                <a:ea typeface="+mn-ea"/>
                <a:cs typeface="+mn-cs"/>
                <a:sym typeface="+mn-lt"/>
              </a:rPr>
              <a:t>Capacity, MW</a:t>
            </a:r>
            <a:r>
              <a:rPr kumimoji="0" lang="en-US" altLang="en-US" sz="1000" i="0" u="none" strike="noStrike" kern="1200" cap="none" spc="0" normalizeH="0" baseline="0" noProof="0">
                <a:ln>
                  <a:noFill/>
                </a:ln>
                <a:solidFill>
                  <a:schemeClr val="accent6"/>
                </a:solidFill>
                <a:effectLst/>
                <a:uLnTx/>
                <a:uFillTx/>
                <a:latin typeface="Lato"/>
                <a:ea typeface="+mn-ea"/>
                <a:cs typeface="+mn-cs"/>
                <a:sym typeface="+mn-lt"/>
              </a:rPr>
              <a:t> </a:t>
            </a:r>
            <a:endParaRPr kumimoji="0" lang="en-US" sz="1000" i="0" u="none" strike="noStrike" kern="1200" cap="none" spc="0" normalizeH="0" baseline="0" noProof="0">
              <a:ln>
                <a:noFill/>
              </a:ln>
              <a:solidFill>
                <a:schemeClr val="accent6"/>
              </a:solidFill>
              <a:effectLst/>
              <a:uLnTx/>
              <a:uFillTx/>
              <a:latin typeface="Lato"/>
              <a:ea typeface="+mn-ea"/>
              <a:cs typeface="+mn-cs"/>
            </a:endParaRPr>
          </a:p>
        </p:txBody>
      </p:sp>
      <p:sp>
        <p:nvSpPr>
          <p:cNvPr id="111" name="Rectangle 110">
            <a:extLst>
              <a:ext uri="{FF2B5EF4-FFF2-40B4-BE49-F238E27FC236}">
                <a16:creationId xmlns:a16="http://schemas.microsoft.com/office/drawing/2014/main" id="{7ED642AB-ACCF-3717-CD00-87177EEEFA07}"/>
              </a:ext>
            </a:extLst>
          </p:cNvPr>
          <p:cNvSpPr/>
          <p:nvPr/>
        </p:nvSpPr>
        <p:spPr>
          <a:xfrm>
            <a:off x="10639431" y="4329464"/>
            <a:ext cx="828669" cy="560856"/>
          </a:xfrm>
          <a:prstGeom prst="rect">
            <a:avLst/>
          </a:prstGeom>
          <a:noFill/>
          <a:ln w="12700">
            <a:solidFill>
              <a:schemeClr val="accent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112" name="Straight Connector 111">
            <a:extLst>
              <a:ext uri="{FF2B5EF4-FFF2-40B4-BE49-F238E27FC236}">
                <a16:creationId xmlns:a16="http://schemas.microsoft.com/office/drawing/2014/main" id="{1010273E-5835-765D-1270-895F009D7BD9}"/>
              </a:ext>
            </a:extLst>
          </p:cNvPr>
          <p:cNvCxnSpPr>
            <a:cxnSpLocks/>
            <a:stCxn id="111" idx="2"/>
          </p:cNvCxnSpPr>
          <p:nvPr/>
        </p:nvCxnSpPr>
        <p:spPr>
          <a:xfrm>
            <a:off x="11053766" y="4890320"/>
            <a:ext cx="0" cy="157638"/>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77883FB2-BF99-78A7-D79B-4DF7F9C7E94D}"/>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3" name="Oval 2">
            <a:extLst>
              <a:ext uri="{FF2B5EF4-FFF2-40B4-BE49-F238E27FC236}">
                <a16:creationId xmlns:a16="http://schemas.microsoft.com/office/drawing/2014/main" id="{6E176E66-96E2-9B65-F677-2680C528D454}"/>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124" name="Rectangle 123">
            <a:extLst>
              <a:ext uri="{FF2B5EF4-FFF2-40B4-BE49-F238E27FC236}">
                <a16:creationId xmlns:a16="http://schemas.microsoft.com/office/drawing/2014/main" id="{56A45DEB-4C99-2F02-AED8-8AD9420B1327}"/>
              </a:ext>
            </a:extLst>
          </p:cNvPr>
          <p:cNvSpPr/>
          <p:nvPr/>
        </p:nvSpPr>
        <p:spPr>
          <a:xfrm>
            <a:off x="330268" y="1577712"/>
            <a:ext cx="3536759" cy="1905745"/>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25" name="Rectangle 124">
            <a:extLst>
              <a:ext uri="{FF2B5EF4-FFF2-40B4-BE49-F238E27FC236}">
                <a16:creationId xmlns:a16="http://schemas.microsoft.com/office/drawing/2014/main" id="{3DF6E99B-0257-848C-180A-B5C10A41B150}"/>
              </a:ext>
            </a:extLst>
          </p:cNvPr>
          <p:cNvSpPr/>
          <p:nvPr/>
        </p:nvSpPr>
        <p:spPr>
          <a:xfrm>
            <a:off x="6440675" y="1577712"/>
            <a:ext cx="3443554" cy="1897499"/>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26" name="Rectangle 125">
            <a:extLst>
              <a:ext uri="{FF2B5EF4-FFF2-40B4-BE49-F238E27FC236}">
                <a16:creationId xmlns:a16="http://schemas.microsoft.com/office/drawing/2014/main" id="{0EC1EB2B-1784-D1B1-4377-66DDF2BB926A}"/>
              </a:ext>
            </a:extLst>
          </p:cNvPr>
          <p:cNvSpPr/>
          <p:nvPr/>
        </p:nvSpPr>
        <p:spPr>
          <a:xfrm>
            <a:off x="6475635" y="4129087"/>
            <a:ext cx="3484563" cy="1920873"/>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27" name="Rectangle 126">
            <a:extLst>
              <a:ext uri="{FF2B5EF4-FFF2-40B4-BE49-F238E27FC236}">
                <a16:creationId xmlns:a16="http://schemas.microsoft.com/office/drawing/2014/main" id="{EC472232-2DA7-B784-79C0-B86532AB590E}"/>
              </a:ext>
            </a:extLst>
          </p:cNvPr>
          <p:cNvSpPr/>
          <p:nvPr/>
        </p:nvSpPr>
        <p:spPr>
          <a:xfrm>
            <a:off x="330268" y="4129088"/>
            <a:ext cx="3536759" cy="1920872"/>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420058716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7">
            <a:hlinkClick r:id="rId6" action="ppaction://hlinksldjump"/>
            <a:extLst>
              <a:ext uri="{FF2B5EF4-FFF2-40B4-BE49-F238E27FC236}">
                <a16:creationId xmlns:a16="http://schemas.microsoft.com/office/drawing/2014/main" id="{4D5795D6-4479-12C0-2634-3A3670FA5536}"/>
              </a:ext>
            </a:extLst>
          </p:cNvPr>
          <p:cNvSpPr txBox="1">
            <a:spLocks/>
          </p:cNvSpPr>
          <p:nvPr/>
        </p:nvSpPr>
        <p:spPr>
          <a:xfrm>
            <a:off x="0" y="3196258"/>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2636786"/>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3"/>
            <a:ext cx="11428413" cy="4641479"/>
          </a:xfrm>
        </p:spPr>
        <p:txBody>
          <a:bodyPr/>
          <a:lstStyle/>
          <a:p>
            <a:r>
              <a:rPr lang="en-GB" sz="1400" dirty="0">
                <a:hlinkClick r:id="rId6" action="ppaction://hlinksldjump"/>
              </a:rPr>
              <a:t>Executive summary</a:t>
            </a:r>
            <a:endParaRPr lang="en-GB" sz="1400" dirty="0"/>
          </a:p>
          <a:p>
            <a:r>
              <a:rPr lang="en-GB" sz="1400" dirty="0">
                <a:hlinkClick r:id="rId7" action="ppaction://hlinksldjump"/>
              </a:rPr>
              <a:t>Introduction to battery storage </a:t>
            </a:r>
            <a:r>
              <a:rPr lang="en-GB" sz="1400" dirty="0"/>
              <a:t>	</a:t>
            </a:r>
          </a:p>
          <a:p>
            <a:r>
              <a:rPr lang="en-GB" sz="1400" dirty="0">
                <a:hlinkClick r:id="" action="ppaction://noaction"/>
              </a:rPr>
              <a:t>Market size and outlook </a:t>
            </a:r>
            <a:endParaRPr lang="en-GB" sz="1400" dirty="0"/>
          </a:p>
          <a:p>
            <a:r>
              <a:rPr lang="en-GB" sz="1400" dirty="0">
                <a:hlinkClick r:id="rId8" action="ppaction://hlinksldjump"/>
              </a:rPr>
              <a:t>Policy and regulatory environment</a:t>
            </a:r>
            <a:endParaRPr lang="en-GB" sz="1400" dirty="0"/>
          </a:p>
          <a:p>
            <a:pPr lvl="1"/>
            <a:r>
              <a:rPr lang="en-GB" sz="1400" dirty="0"/>
              <a:t>Battery storage policies, targets and subsidies </a:t>
            </a:r>
          </a:p>
          <a:p>
            <a:pPr lvl="1"/>
            <a:r>
              <a:rPr lang="en-GB" sz="1400" dirty="0"/>
              <a:t>Regulatory challenges and opportunities</a:t>
            </a:r>
          </a:p>
          <a:p>
            <a:pPr lvl="1"/>
            <a:r>
              <a:rPr lang="en-GB" sz="1400" dirty="0"/>
              <a:t>Revenue opportunities</a:t>
            </a:r>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sp>
        <p:nvSpPr>
          <p:cNvPr id="15" name="Text Placeholder 7">
            <a:hlinkClick r:id="" action="ppaction://noaction"/>
            <a:extLst>
              <a:ext uri="{FF2B5EF4-FFF2-40B4-BE49-F238E27FC236}">
                <a16:creationId xmlns:a16="http://schemas.microsoft.com/office/drawing/2014/main" id="{4D5795D6-4479-12C0-2634-3A3670FA5536}"/>
              </a:ext>
            </a:extLst>
          </p:cNvPr>
          <p:cNvSpPr txBox="1">
            <a:spLocks/>
          </p:cNvSpPr>
          <p:nvPr/>
        </p:nvSpPr>
        <p:spPr>
          <a:xfrm>
            <a:off x="0" y="3777611"/>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grpSp>
        <p:nvGrpSpPr>
          <p:cNvPr id="2" name="Group 1">
            <a:extLst>
              <a:ext uri="{FF2B5EF4-FFF2-40B4-BE49-F238E27FC236}">
                <a16:creationId xmlns:a16="http://schemas.microsoft.com/office/drawing/2014/main" id="{75929667-6184-1F76-327B-BDE2A66BE947}"/>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82C67A49-3C3E-E75C-1688-9D9F9AB65191}"/>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6" name="TextBox 5">
              <a:extLst>
                <a:ext uri="{FF2B5EF4-FFF2-40B4-BE49-F238E27FC236}">
                  <a16:creationId xmlns:a16="http://schemas.microsoft.com/office/drawing/2014/main" id="{F3DED3DD-9BCF-DB83-659A-EA73E6F497C1}"/>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39890320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C8FE3FD-F4BD-4E81-2E13-12DB6320BEF2}"/>
              </a:ext>
            </a:extLst>
          </p:cNvPr>
          <p:cNvGraphicFramePr>
            <a:graphicFrameLocks noChangeAspect="1"/>
          </p:cNvGraphicFramePr>
          <p:nvPr>
            <p:custDataLst>
              <p:tags r:id="rId1"/>
            </p:custDataLst>
            <p:extLst>
              <p:ext uri="{D42A27DB-BD31-4B8C-83A1-F6EECF244321}">
                <p14:modId xmlns:p14="http://schemas.microsoft.com/office/powerpoint/2010/main" val="2022937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Object 11" hidden="1">
                        <a:extLst>
                          <a:ext uri="{FF2B5EF4-FFF2-40B4-BE49-F238E27FC236}">
                            <a16:creationId xmlns:a16="http://schemas.microsoft.com/office/drawing/2014/main" id="{3C8FE3FD-F4BD-4E81-2E13-12DB6320BE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EA4C68A-4631-A7BB-FE00-C20BCEAFB59D}"/>
              </a:ext>
            </a:extLst>
          </p:cNvPr>
          <p:cNvSpPr>
            <a:spLocks noGrp="1"/>
          </p:cNvSpPr>
          <p:nvPr>
            <p:ph type="body" sz="quarter" idx="22"/>
          </p:nvPr>
        </p:nvSpPr>
        <p:spPr>
          <a:xfrm>
            <a:off x="381001" y="6715169"/>
            <a:ext cx="2551981" cy="110800"/>
          </a:xfrm>
        </p:spPr>
        <p:txBody>
          <a:bodyPr/>
          <a:lstStyle/>
          <a:p>
            <a:r>
              <a:rPr lang="en-GB"/>
              <a:t>Sources: Aurora Energy Research, European Commission</a:t>
            </a:r>
          </a:p>
        </p:txBody>
      </p:sp>
      <p:sp>
        <p:nvSpPr>
          <p:cNvPr id="4" name="Title 3">
            <a:extLst>
              <a:ext uri="{FF2B5EF4-FFF2-40B4-BE49-F238E27FC236}">
                <a16:creationId xmlns:a16="http://schemas.microsoft.com/office/drawing/2014/main" id="{8D10121A-DEE6-811E-E804-D95A506CB7E2}"/>
              </a:ext>
            </a:extLst>
          </p:cNvPr>
          <p:cNvSpPr>
            <a:spLocks noGrp="1"/>
          </p:cNvSpPr>
          <p:nvPr>
            <p:ph type="title"/>
          </p:nvPr>
        </p:nvSpPr>
        <p:spPr/>
        <p:txBody>
          <a:bodyPr vert="horz"/>
          <a:lstStyle/>
          <a:p>
            <a:r>
              <a:rPr lang="en-GB"/>
              <a:t>Political agreement was reached on the EU market reform proposal in December 2023, which included a focus on promoting flexibility</a:t>
            </a:r>
          </a:p>
        </p:txBody>
      </p:sp>
      <p:sp>
        <p:nvSpPr>
          <p:cNvPr id="9" name="Text Placeholder 8">
            <a:extLst>
              <a:ext uri="{FF2B5EF4-FFF2-40B4-BE49-F238E27FC236}">
                <a16:creationId xmlns:a16="http://schemas.microsoft.com/office/drawing/2014/main" id="{D76CE096-84A6-E880-5422-0E38C0E24EF0}"/>
              </a:ext>
            </a:extLst>
          </p:cNvPr>
          <p:cNvSpPr>
            <a:spLocks noGrp="1"/>
          </p:cNvSpPr>
          <p:nvPr>
            <p:ph type="body" sz="quarter" idx="32"/>
          </p:nvPr>
        </p:nvSpPr>
        <p:spPr>
          <a:xfrm>
            <a:off x="381600" y="6474841"/>
            <a:ext cx="11428800" cy="332399"/>
          </a:xfrm>
        </p:spPr>
        <p:txBody>
          <a:bodyPr/>
          <a:lstStyle/>
          <a:p>
            <a:r>
              <a:rPr lang="en-GB"/>
              <a:t>1) Agreed positions on key elements of the EU power market reform package, as of 17</a:t>
            </a:r>
            <a:r>
              <a:rPr lang="en-GB" baseline="30000"/>
              <a:t>th</a:t>
            </a:r>
            <a:r>
              <a:rPr lang="en-GB"/>
              <a:t> October 2023. Other key elements included consumer protection legislation and CfD  2) Member states will be granted a transition period of 3-5 years, depending on the technology and its setup. 3) </a:t>
            </a:r>
            <a:r>
              <a:rPr lang="en-GB">
                <a:solidFill>
                  <a:srgbClr val="3C3C3B"/>
                </a:solidFill>
              </a:rPr>
              <a:t>Member states are free to introduce</a:t>
            </a:r>
            <a:r>
              <a:rPr kumimoji="0" lang="en-GB" sz="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upport measures, such as state-backed guarantee schemes or facilities pooling demand to remove potential barriers</a:t>
            </a:r>
          </a:p>
          <a:p>
            <a:endParaRPr lang="en-GB"/>
          </a:p>
        </p:txBody>
      </p:sp>
      <p:graphicFrame>
        <p:nvGraphicFramePr>
          <p:cNvPr id="10" name="Table 8">
            <a:extLst>
              <a:ext uri="{FF2B5EF4-FFF2-40B4-BE49-F238E27FC236}">
                <a16:creationId xmlns:a16="http://schemas.microsoft.com/office/drawing/2014/main" id="{31607053-5561-9CE1-563A-008828A82955}"/>
              </a:ext>
            </a:extLst>
          </p:cNvPr>
          <p:cNvGraphicFramePr>
            <a:graphicFrameLocks noGrp="1"/>
          </p:cNvGraphicFramePr>
          <p:nvPr>
            <p:extLst>
              <p:ext uri="{D42A27DB-BD31-4B8C-83A1-F6EECF244321}">
                <p14:modId xmlns:p14="http://schemas.microsoft.com/office/powerpoint/2010/main" val="2780391231"/>
              </p:ext>
            </p:extLst>
          </p:nvPr>
        </p:nvGraphicFramePr>
        <p:xfrm>
          <a:off x="384046" y="1198182"/>
          <a:ext cx="11426354" cy="5092560"/>
        </p:xfrm>
        <a:graphic>
          <a:graphicData uri="http://schemas.openxmlformats.org/drawingml/2006/table">
            <a:tbl>
              <a:tblPr firstRow="1" bandRow="1">
                <a:tableStyleId>{5C22544A-7EE6-4342-B048-85BDC9FD1C3A}</a:tableStyleId>
              </a:tblPr>
              <a:tblGrid>
                <a:gridCol w="1434725">
                  <a:extLst>
                    <a:ext uri="{9D8B030D-6E8A-4147-A177-3AD203B41FA5}">
                      <a16:colId xmlns:a16="http://schemas.microsoft.com/office/drawing/2014/main" val="2000524583"/>
                    </a:ext>
                  </a:extLst>
                </a:gridCol>
                <a:gridCol w="256943">
                  <a:extLst>
                    <a:ext uri="{9D8B030D-6E8A-4147-A177-3AD203B41FA5}">
                      <a16:colId xmlns:a16="http://schemas.microsoft.com/office/drawing/2014/main" val="1126488745"/>
                    </a:ext>
                  </a:extLst>
                </a:gridCol>
                <a:gridCol w="2991586">
                  <a:extLst>
                    <a:ext uri="{9D8B030D-6E8A-4147-A177-3AD203B41FA5}">
                      <a16:colId xmlns:a16="http://schemas.microsoft.com/office/drawing/2014/main" val="1132241637"/>
                    </a:ext>
                  </a:extLst>
                </a:gridCol>
                <a:gridCol w="4944842">
                  <a:extLst>
                    <a:ext uri="{9D8B030D-6E8A-4147-A177-3AD203B41FA5}">
                      <a16:colId xmlns:a16="http://schemas.microsoft.com/office/drawing/2014/main" val="572551725"/>
                    </a:ext>
                  </a:extLst>
                </a:gridCol>
                <a:gridCol w="1798258">
                  <a:extLst>
                    <a:ext uri="{9D8B030D-6E8A-4147-A177-3AD203B41FA5}">
                      <a16:colId xmlns:a16="http://schemas.microsoft.com/office/drawing/2014/main" val="4205067745"/>
                    </a:ext>
                  </a:extLst>
                </a:gridCol>
              </a:tblGrid>
              <a:tr h="210444">
                <a:tc>
                  <a:txBody>
                    <a:bodyPr/>
                    <a:lstStyle/>
                    <a:p>
                      <a:pPr marL="0" indent="0" algn="ctr" rtl="0">
                        <a:tabLst/>
                      </a:pPr>
                      <a:r>
                        <a:rPr lang="en-GB" sz="1200">
                          <a:solidFill>
                            <a:schemeClr val="tx1"/>
                          </a:solidFill>
                        </a:rPr>
                        <a:t>Topic</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GB" sz="1200">
                        <a:solidFill>
                          <a:schemeClr val="tx1"/>
                        </a:solidFill>
                      </a:endParaRPr>
                    </a:p>
                  </a:txBody>
                  <a:tcPr marL="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rtl="0"/>
                      <a:r>
                        <a:rPr lang="en-GB" sz="1200">
                          <a:solidFill>
                            <a:schemeClr val="tx1"/>
                          </a:solidFill>
                        </a:rPr>
                        <a:t>Key elements of European Commission</a:t>
                      </a:r>
                      <a:r>
                        <a:rPr lang="en-GB" sz="1200" baseline="30000">
                          <a:solidFill>
                            <a:schemeClr val="tx1"/>
                          </a:solidFill>
                        </a:rPr>
                        <a:t>1</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ctr" rtl="0"/>
                      <a:r>
                        <a:rPr lang="en-GB" sz="1200" noProof="0">
                          <a:solidFill>
                            <a:schemeClr val="tx1"/>
                          </a:solidFill>
                        </a:rPr>
                        <a:t>Impact on battery outlook</a:t>
                      </a:r>
                    </a:p>
                  </a:txBody>
                  <a:tcPr marL="72000" marR="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100436890"/>
                  </a:ext>
                </a:extLst>
              </a:tr>
              <a:tr h="386422">
                <a:tc rowSpan="2">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mn-lt"/>
                          <a:ea typeface="+mn-ea"/>
                          <a:cs typeface="+mn-cs"/>
                        </a:rPr>
                        <a:t>Promoting flexibility</a:t>
                      </a:r>
                    </a:p>
                  </a:txBody>
                  <a:tcPr marL="36000" marR="36000" marT="72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txBody>
                  <a:tcPr marL="0" marR="0" marT="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77800" rtl="0">
                        <a:spcBef>
                          <a:spcPts val="0"/>
                        </a:spcBef>
                        <a:buClrTx/>
                        <a:buFont typeface="Wingdings" panose="05000000000000000000" pitchFamily="2" charset="2"/>
                        <a:buNone/>
                      </a:pPr>
                      <a:r>
                        <a:rPr lang="en-GB" sz="1200" b="0" u="sng">
                          <a:solidFill>
                            <a:schemeClr val="tx1"/>
                          </a:solidFill>
                        </a:rPr>
                        <a:t>Improve wholesale markets</a:t>
                      </a:r>
                    </a:p>
                    <a:p>
                      <a:pPr marL="355600" indent="-177800" rtl="0">
                        <a:spcBef>
                          <a:spcPts val="0"/>
                        </a:spcBef>
                        <a:buClrTx/>
                        <a:buFont typeface="Wingdings" panose="05000000000000000000" pitchFamily="2" charset="2"/>
                        <a:buChar char="§"/>
                      </a:pPr>
                      <a:r>
                        <a:rPr lang="en-GB" sz="1200" b="0">
                          <a:solidFill>
                            <a:schemeClr val="tx1"/>
                          </a:solidFill>
                        </a:rPr>
                        <a:t>Gate closure time of intraday markets closer to delivery</a:t>
                      </a:r>
                    </a:p>
                    <a:p>
                      <a:pPr marL="355600" indent="-177800" rtl="0">
                        <a:spcBef>
                          <a:spcPts val="0"/>
                        </a:spcBef>
                        <a:buClrTx/>
                        <a:buFont typeface="Wingdings" panose="05000000000000000000" pitchFamily="2" charset="2"/>
                        <a:buChar char="§"/>
                      </a:pPr>
                      <a:r>
                        <a:rPr lang="en-GB" sz="1200" b="0">
                          <a:solidFill>
                            <a:schemeClr val="tx1"/>
                          </a:solidFill>
                        </a:rPr>
                        <a:t>Lowering minimum bid size</a:t>
                      </a:r>
                    </a:p>
                  </a:txBody>
                  <a:tcPr marL="216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177800" rtl="0">
                        <a:spcBef>
                          <a:spcPts val="0"/>
                        </a:spcBef>
                        <a:buClrTx/>
                        <a:buFont typeface="Wingdings" panose="05000000000000000000" pitchFamily="2" charset="2"/>
                        <a:buNone/>
                      </a:pPr>
                      <a:r>
                        <a:rPr lang="en-GB" sz="1200" b="0" u="sng">
                          <a:solidFill>
                            <a:schemeClr val="tx1"/>
                          </a:solidFill>
                        </a:rPr>
                        <a:t>Flexibility support</a:t>
                      </a:r>
                    </a:p>
                    <a:p>
                      <a:pPr marL="355600" indent="-182563" rtl="0">
                        <a:spcBef>
                          <a:spcPts val="0"/>
                        </a:spcBef>
                        <a:buClrTx/>
                        <a:buFont typeface="Wingdings" panose="05000000000000000000" pitchFamily="2" charset="2"/>
                        <a:buChar char="§"/>
                      </a:pPr>
                      <a:r>
                        <a:rPr lang="en-US" sz="1200" b="0">
                          <a:solidFill>
                            <a:schemeClr val="tx1"/>
                          </a:solidFill>
                        </a:rPr>
                        <a:t>Member States can establish flexibility support schemes consisting of payments for available capacity of non-fossil flexibility, e.g. demand response and energy storage.</a:t>
                      </a:r>
                      <a:endParaRPr lang="en-GB" sz="1200" b="0">
                        <a:solidFill>
                          <a:schemeClr val="tx1"/>
                        </a:solidFill>
                      </a:endParaRPr>
                    </a:p>
                  </a:txBody>
                  <a:tcPr marL="216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ClrTx/>
                        <a:buFont typeface="Wingdings" panose="05000000000000000000" pitchFamily="2" charset="2"/>
                        <a:buChar char="§"/>
                      </a:pPr>
                      <a:endParaRPr lang="en-GB" sz="1200" b="0">
                        <a:solidFill>
                          <a:schemeClr val="tx1"/>
                        </a:solidFill>
                      </a:endParaRPr>
                    </a:p>
                  </a:txBody>
                  <a:tcPr marL="72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9720152"/>
                  </a:ext>
                </a:extLst>
              </a:tr>
              <a:tr h="218066">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txBody>
                  <a:tcPr marL="36000" marR="36000" marT="72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txBody>
                  <a:tcPr marL="0" marR="0" marT="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7800" indent="0" rtl="0">
                        <a:spcBef>
                          <a:spcPts val="0"/>
                        </a:spcBef>
                        <a:buClrTx/>
                        <a:buFont typeface="Wingdings" panose="05000000000000000000" pitchFamily="2" charset="2"/>
                        <a:buNone/>
                      </a:pPr>
                      <a:r>
                        <a:rPr lang="en-GB" sz="1200" b="0" u="sng">
                          <a:solidFill>
                            <a:schemeClr val="tx1"/>
                          </a:solidFill>
                        </a:rPr>
                        <a:t>Peak shaving</a:t>
                      </a:r>
                      <a:endParaRPr lang="en-GB" sz="1200" b="0" u="none">
                        <a:solidFill>
                          <a:schemeClr val="tx1"/>
                        </a:solidFill>
                      </a:endParaRPr>
                    </a:p>
                    <a:p>
                      <a:pPr marL="349250" indent="-171450" rtl="0">
                        <a:spcBef>
                          <a:spcPts val="0"/>
                        </a:spcBef>
                        <a:buClrTx/>
                        <a:buFont typeface="Wingdings" panose="05000000000000000000" pitchFamily="2" charset="2"/>
                        <a:buChar char="§"/>
                      </a:pPr>
                      <a:r>
                        <a:rPr lang="en-US" sz="1200" b="0">
                          <a:solidFill>
                            <a:schemeClr val="tx1"/>
                          </a:solidFill>
                        </a:rPr>
                        <a:t>Member States can establish peak demand shaving products to ensure security of supply during crisis periods</a:t>
                      </a:r>
                    </a:p>
                  </a:txBody>
                  <a:tcPr marL="216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marL="171450" indent="-171450" rtl="0">
                        <a:buClrTx/>
                        <a:buFont typeface="Wingdings" panose="05000000000000000000" pitchFamily="2" charset="2"/>
                        <a:buChar char="§"/>
                      </a:pPr>
                      <a:endParaRPr lang="en-GB" sz="1200" b="0">
                        <a:solidFill>
                          <a:schemeClr val="tx1"/>
                        </a:solidFill>
                      </a:endParaRPr>
                    </a:p>
                  </a:txBody>
                  <a:tcPr marL="72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613571331"/>
                  </a:ext>
                </a:extLst>
              </a:tr>
              <a:tr h="454029">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mn-lt"/>
                          <a:ea typeface="+mn-ea"/>
                          <a:cs typeface="+mn-cs"/>
                        </a:rPr>
                        <a:t>Capacity adequacy</a:t>
                      </a:r>
                    </a:p>
                  </a:txBody>
                  <a:tcPr marL="36000" marR="36000" marT="72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txBody>
                  <a:tcPr marL="0" marR="0" marT="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7800" indent="0" rtl="0">
                        <a:spcBef>
                          <a:spcPts val="0"/>
                        </a:spcBef>
                        <a:buClrTx/>
                        <a:buFont typeface="Wingdings" panose="05000000000000000000" pitchFamily="2" charset="2"/>
                        <a:buNone/>
                      </a:pPr>
                      <a:r>
                        <a:rPr lang="en-GB" sz="1200" b="0" i="0" u="sng">
                          <a:solidFill>
                            <a:schemeClr val="tx1"/>
                          </a:solidFill>
                        </a:rPr>
                        <a:t>Capacity Markets </a:t>
                      </a:r>
                    </a:p>
                    <a:p>
                      <a:pPr marL="349250" indent="-171450" rtl="0">
                        <a:spcBef>
                          <a:spcPts val="0"/>
                        </a:spcBef>
                        <a:buClrTx/>
                        <a:buFont typeface="Wingdings" panose="05000000000000000000" pitchFamily="2" charset="2"/>
                        <a:buChar char="§"/>
                      </a:pPr>
                      <a:r>
                        <a:rPr lang="en-GB" sz="1200" b="0" kern="1200">
                          <a:solidFill>
                            <a:schemeClr val="tx1"/>
                          </a:solidFill>
                          <a:latin typeface="+mn-lt"/>
                          <a:ea typeface="+mn-ea"/>
                          <a:cs typeface="+mn-cs"/>
                        </a:rPr>
                        <a:t>Capacity mechanisms to become a more structural element of the electricity market</a:t>
                      </a:r>
                    </a:p>
                    <a:p>
                      <a:pPr marL="355600" marR="0" lvl="0" indent="-1778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b="0"/>
                        <a:t>Commission to submit a report on ways to simplify the process of establishing and assessing capacity mechanisms, ensuring adequacy concerns by Member States are addressed without distorting competition</a:t>
                      </a:r>
                    </a:p>
                  </a:txBody>
                  <a:tcPr marL="21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marL="0" indent="0" rtl="0">
                        <a:buClrTx/>
                        <a:buFont typeface="Wingdings" panose="05000000000000000000" pitchFamily="2" charset="2"/>
                        <a:buNone/>
                      </a:pPr>
                      <a:endParaRPr lang="en-GB" sz="1200" b="0">
                        <a:solidFill>
                          <a:schemeClr val="tx1"/>
                        </a:solidFill>
                      </a:endParaRPr>
                    </a:p>
                  </a:txBody>
                  <a:tcPr marL="72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066768641"/>
                  </a:ext>
                </a:extLst>
              </a:tr>
              <a:tr h="302244">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mn-lt"/>
                          <a:ea typeface="+mn-ea"/>
                          <a:cs typeface="+mn-cs"/>
                        </a:rPr>
                        <a:t>Local price signals</a:t>
                      </a:r>
                    </a:p>
                  </a:txBody>
                  <a:tcPr marL="36000" marR="36000" marT="72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txBody>
                  <a:tcPr marL="0" marR="0" marT="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355600" indent="-177800" rtl="0">
                        <a:spcBef>
                          <a:spcPts val="0"/>
                        </a:spcBef>
                        <a:buClrTx/>
                        <a:buFont typeface="Wingdings" panose="05000000000000000000" pitchFamily="2" charset="2"/>
                        <a:buNone/>
                      </a:pPr>
                      <a:r>
                        <a:rPr lang="en-GB" sz="1200" b="0" i="0" u="sng">
                          <a:solidFill>
                            <a:schemeClr val="tx1"/>
                          </a:solidFill>
                        </a:rPr>
                        <a:t>Locational pricing - Not covered in proposal</a:t>
                      </a:r>
                    </a:p>
                    <a:p>
                      <a:pPr marL="355600" marR="0" lvl="0" indent="-1778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b="0" kern="1200">
                          <a:solidFill>
                            <a:schemeClr val="tx1"/>
                          </a:solidFill>
                          <a:latin typeface="+mn-lt"/>
                          <a:ea typeface="+mn-ea"/>
                          <a:cs typeface="+mn-cs"/>
                        </a:rPr>
                        <a:t>Splitting market into zones incentivizes more efficient location of storage and renewables</a:t>
                      </a:r>
                    </a:p>
                    <a:p>
                      <a:pPr marL="355600" marR="0" lvl="0" indent="-1778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b="0" kern="1200">
                          <a:solidFill>
                            <a:schemeClr val="tx1"/>
                          </a:solidFill>
                          <a:latin typeface="+mn-lt"/>
                          <a:ea typeface="+mn-ea"/>
                          <a:cs typeface="+mn-cs"/>
                        </a:rPr>
                        <a:t>Currently there is no legislation on location pricing; this can create political issues</a:t>
                      </a:r>
                    </a:p>
                  </a:txBody>
                  <a:tcPr marL="21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marL="0" indent="0" rtl="0">
                        <a:buClrTx/>
                        <a:buFont typeface="Wingdings" panose="05000000000000000000" pitchFamily="2" charset="2"/>
                        <a:buNone/>
                      </a:pPr>
                      <a:endParaRPr lang="en-GB" sz="1200" b="0">
                        <a:solidFill>
                          <a:schemeClr val="tx1"/>
                        </a:solidFill>
                      </a:endParaRPr>
                    </a:p>
                  </a:txBody>
                  <a:tcPr marL="72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140077426"/>
                  </a:ext>
                </a:extLst>
              </a:tr>
              <a:tr h="470599">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mn-lt"/>
                          <a:ea typeface="+mn-ea"/>
                          <a:cs typeface="+mn-cs"/>
                        </a:rPr>
                        <a:t>Promoting long-term markets</a:t>
                      </a:r>
                    </a:p>
                  </a:txBody>
                  <a:tcPr marL="36000" marR="36000" marT="72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txBody>
                  <a:tcPr marL="0" marR="0" marT="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indent="-177800" rtl="0">
                        <a:buClrTx/>
                        <a:buFont typeface="Wingdings" panose="05000000000000000000" pitchFamily="2" charset="2"/>
                        <a:buNone/>
                      </a:pPr>
                      <a:r>
                        <a:rPr lang="en-GB" sz="1200" b="0" u="sng">
                          <a:solidFill>
                            <a:schemeClr val="tx1"/>
                          </a:solidFill>
                        </a:rPr>
                        <a:t>For producers</a:t>
                      </a:r>
                    </a:p>
                    <a:p>
                      <a:pPr marL="355600" indent="-177800" rtl="0">
                        <a:buClrTx/>
                        <a:buFont typeface="Wingdings" panose="05000000000000000000" pitchFamily="2" charset="2"/>
                        <a:buChar char="§"/>
                      </a:pPr>
                      <a:r>
                        <a:rPr lang="en-US" sz="1200" b="0">
                          <a:solidFill>
                            <a:schemeClr val="tx1"/>
                          </a:solidFill>
                        </a:rPr>
                        <a:t>Two-way CfDs will be the mandatory scheme for new </a:t>
                      </a:r>
                      <a:r>
                        <a:rPr lang="en-US" sz="1200" b="0" err="1">
                          <a:solidFill>
                            <a:schemeClr val="tx1"/>
                          </a:solidFill>
                        </a:rPr>
                        <a:t>subsidised</a:t>
                      </a:r>
                      <a:r>
                        <a:rPr lang="en-US" sz="1200" b="0">
                          <a:solidFill>
                            <a:schemeClr val="tx1"/>
                          </a:solidFill>
                        </a:rPr>
                        <a:t> renewables and nuclear</a:t>
                      </a:r>
                      <a:r>
                        <a:rPr lang="en-US" sz="1200" b="0" baseline="30000">
                          <a:solidFill>
                            <a:schemeClr val="tx1"/>
                          </a:solidFill>
                        </a:rPr>
                        <a:t>2</a:t>
                      </a:r>
                      <a:endParaRPr lang="en-US" sz="1200" b="0">
                        <a:solidFill>
                          <a:schemeClr val="tx1"/>
                        </a:solidFill>
                      </a:endParaRPr>
                    </a:p>
                  </a:txBody>
                  <a:tcPr marL="216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55600" indent="-177800" rtl="0">
                        <a:buClrTx/>
                        <a:buFont typeface="Wingdings" panose="05000000000000000000" pitchFamily="2" charset="2"/>
                        <a:buNone/>
                      </a:pPr>
                      <a:r>
                        <a:rPr lang="en-GB" sz="1200" b="0" u="sng">
                          <a:solidFill>
                            <a:schemeClr val="tx1"/>
                          </a:solidFill>
                        </a:rPr>
                        <a:t>For producers/consumers</a:t>
                      </a:r>
                    </a:p>
                    <a:p>
                      <a:pPr marL="355600" indent="-177800" rtl="0">
                        <a:buClrTx/>
                        <a:buFont typeface="Wingdings" panose="05000000000000000000" pitchFamily="2" charset="2"/>
                        <a:buChar char="§"/>
                      </a:pPr>
                      <a:r>
                        <a:rPr lang="en-US" sz="1200" b="0">
                          <a:solidFill>
                            <a:schemeClr val="tx1"/>
                          </a:solidFill>
                        </a:rPr>
                        <a:t>Member states are to allow assets under CFDs to partly sell their output under PPAs and remove barriers</a:t>
                      </a:r>
                      <a:r>
                        <a:rPr lang="en-US" sz="1200" b="0" baseline="30000">
                          <a:solidFill>
                            <a:schemeClr val="tx1"/>
                          </a:solidFill>
                        </a:rPr>
                        <a:t>3</a:t>
                      </a:r>
                      <a:r>
                        <a:rPr lang="en-US" sz="1200" b="0">
                          <a:solidFill>
                            <a:schemeClr val="tx1"/>
                          </a:solidFill>
                        </a:rPr>
                        <a:t> for PPA uptake</a:t>
                      </a:r>
                    </a:p>
                    <a:p>
                      <a:pPr marL="355600" indent="-177800" rtl="0">
                        <a:buClrTx/>
                        <a:buFont typeface="Wingdings" panose="05000000000000000000" pitchFamily="2" charset="2"/>
                        <a:buChar char="§"/>
                      </a:pPr>
                      <a:r>
                        <a:rPr lang="en-US" sz="1200" b="0">
                          <a:solidFill>
                            <a:schemeClr val="tx1"/>
                          </a:solidFill>
                        </a:rPr>
                        <a:t>Commission to establish regional virtual hubs to improve liquidity in forward markets</a:t>
                      </a:r>
                    </a:p>
                  </a:txBody>
                  <a:tcPr marL="216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rtl="0">
                        <a:buClrTx/>
                        <a:buFont typeface="Wingdings" panose="05000000000000000000" pitchFamily="2" charset="2"/>
                        <a:buNone/>
                      </a:pPr>
                      <a:endParaRPr lang="en-GB" sz="1200" b="0">
                        <a:solidFill>
                          <a:schemeClr val="tx1"/>
                        </a:solidFill>
                      </a:endParaRPr>
                    </a:p>
                  </a:txBody>
                  <a:tcPr marL="72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116309654"/>
                  </a:ext>
                </a:extLst>
              </a:tr>
              <a:tr h="386422">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mn-lt"/>
                          <a:ea typeface="+mn-ea"/>
                          <a:cs typeface="+mn-cs"/>
                        </a:rPr>
                        <a:t>Consumer protection</a:t>
                      </a:r>
                    </a:p>
                  </a:txBody>
                  <a:tcPr marL="36000" marR="36000" marT="72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tx1"/>
                        </a:solidFill>
                        <a:effectLst/>
                        <a:uLnTx/>
                        <a:uFillTx/>
                        <a:latin typeface="+mn-lt"/>
                        <a:ea typeface="+mn-ea"/>
                        <a:cs typeface="+mn-cs"/>
                      </a:endParaRPr>
                    </a:p>
                  </a:txBody>
                  <a:tcPr marL="0" marR="0" marT="0" marB="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indent="-182563" rtl="0">
                        <a:buClrTx/>
                        <a:buFont typeface="Wingdings" panose="05000000000000000000" pitchFamily="2" charset="2"/>
                        <a:buNone/>
                      </a:pPr>
                      <a:r>
                        <a:rPr lang="en-GB" sz="1200" b="0" u="sng">
                          <a:solidFill>
                            <a:schemeClr val="tx1"/>
                          </a:solidFill>
                        </a:rPr>
                        <a:t>Peer-to-peer trading</a:t>
                      </a:r>
                    </a:p>
                    <a:p>
                      <a:pPr marL="355600" indent="-182563" rtl="0">
                        <a:buClrTx/>
                        <a:buFont typeface="Wingdings" panose="05000000000000000000" pitchFamily="2" charset="2"/>
                        <a:buChar char="§"/>
                      </a:pPr>
                      <a:r>
                        <a:rPr lang="en-US" sz="1200" b="0">
                          <a:solidFill>
                            <a:schemeClr val="tx1"/>
                          </a:solidFill>
                        </a:rPr>
                        <a:t>Customers will have the right to energy sharing (using, sharing and storing self-generated energy)</a:t>
                      </a:r>
                    </a:p>
                  </a:txBody>
                  <a:tcPr marL="216000" marR="36000" marT="72000" marB="36000">
                    <a:lnL w="76200" cap="flat" cmpd="sng" algn="ctr">
                      <a:noFill/>
                      <a:prstDash val="solid"/>
                      <a:round/>
                      <a:headEnd type="none" w="med" len="med"/>
                      <a:tailEnd type="none" w="med" len="med"/>
                    </a:lnL>
                    <a:lnR w="76200"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55600" indent="-177800" rtl="0"/>
                      <a:r>
                        <a:rPr lang="en-GB" sz="1200" b="0" u="sng"/>
                        <a:t>Security of long-term supply</a:t>
                      </a:r>
                    </a:p>
                    <a:p>
                      <a:pPr marL="355600" indent="-177800" rtl="0">
                        <a:buFont typeface="Wingdings" panose="05000000000000000000" pitchFamily="2" charset="2"/>
                        <a:buChar char="§"/>
                      </a:pPr>
                      <a:r>
                        <a:rPr lang="en-US" sz="1200" b="0"/>
                        <a:t>Free choice of a supplier and right to access fixed-price as well as dynamic-price contracts</a:t>
                      </a:r>
                    </a:p>
                    <a:p>
                      <a:pPr marL="355600" indent="-177800" rtl="0">
                        <a:buFont typeface="Wingdings" panose="05000000000000000000" pitchFamily="2" charset="2"/>
                        <a:buChar char="§"/>
                      </a:pPr>
                      <a:r>
                        <a:rPr lang="en-GB" sz="1200" b="0"/>
                        <a:t>Member States obliged to appoint supplier of last resort</a:t>
                      </a:r>
                    </a:p>
                  </a:txBody>
                  <a:tcPr marL="216000" marR="36000" marT="72000" marB="36000">
                    <a:lnL>
                      <a:noFill/>
                    </a:lnL>
                    <a:lnT w="952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rtl="0">
                        <a:buClrTx/>
                        <a:buFont typeface="Wingdings" panose="05000000000000000000" pitchFamily="2" charset="2"/>
                        <a:buNone/>
                      </a:pPr>
                      <a:endParaRPr lang="en-GB" sz="1200" b="0">
                        <a:solidFill>
                          <a:schemeClr val="tx1"/>
                        </a:solidFill>
                      </a:endParaRPr>
                    </a:p>
                  </a:txBody>
                  <a:tcPr marL="72000" marR="36000" marT="72000" marB="36000">
                    <a:lnR w="76200"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31761967"/>
                  </a:ext>
                </a:extLst>
              </a:tr>
            </a:tbl>
          </a:graphicData>
        </a:graphic>
      </p:graphicFrame>
      <p:sp>
        <p:nvSpPr>
          <p:cNvPr id="18" name="Oval 11">
            <a:extLst>
              <a:ext uri="{FF2B5EF4-FFF2-40B4-BE49-F238E27FC236}">
                <a16:creationId xmlns:a16="http://schemas.microsoft.com/office/drawing/2014/main" id="{F2784260-0C6C-38CA-8769-D34CC24C9E46}"/>
              </a:ext>
            </a:extLst>
          </p:cNvPr>
          <p:cNvSpPr>
            <a:spLocks/>
          </p:cNvSpPr>
          <p:nvPr/>
        </p:nvSpPr>
        <p:spPr>
          <a:xfrm>
            <a:off x="5134414" y="1745998"/>
            <a:ext cx="234373" cy="235484"/>
          </a:xfrm>
          <a:prstGeom prst="ellipse">
            <a:avLst/>
          </a:prstGeom>
          <a:solidFill>
            <a:schemeClr val="accent2"/>
          </a:solidFill>
          <a:ln w="19050">
            <a:noFill/>
            <a:prstDash val="lg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19" name="Oval 11">
            <a:extLst>
              <a:ext uri="{FF2B5EF4-FFF2-40B4-BE49-F238E27FC236}">
                <a16:creationId xmlns:a16="http://schemas.microsoft.com/office/drawing/2014/main" id="{F0F8354D-5F89-738E-30BF-13D43E792FDE}"/>
              </a:ext>
            </a:extLst>
          </p:cNvPr>
          <p:cNvSpPr>
            <a:spLocks/>
          </p:cNvSpPr>
          <p:nvPr/>
        </p:nvSpPr>
        <p:spPr>
          <a:xfrm>
            <a:off x="2151941" y="2562030"/>
            <a:ext cx="234373" cy="235484"/>
          </a:xfrm>
          <a:prstGeom prst="ellipse">
            <a:avLst/>
          </a:prstGeom>
          <a:solidFill>
            <a:schemeClr val="accent2"/>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
        <p:nvSpPr>
          <p:cNvPr id="20" name="Oval 11">
            <a:extLst>
              <a:ext uri="{FF2B5EF4-FFF2-40B4-BE49-F238E27FC236}">
                <a16:creationId xmlns:a16="http://schemas.microsoft.com/office/drawing/2014/main" id="{F57B627A-B466-42C5-3685-E2D469F139D6}"/>
              </a:ext>
            </a:extLst>
          </p:cNvPr>
          <p:cNvSpPr>
            <a:spLocks/>
          </p:cNvSpPr>
          <p:nvPr/>
        </p:nvSpPr>
        <p:spPr>
          <a:xfrm>
            <a:off x="2169852" y="1745998"/>
            <a:ext cx="234373" cy="235484"/>
          </a:xfrm>
          <a:prstGeom prst="ellipse">
            <a:avLst/>
          </a:prstGeom>
          <a:solidFill>
            <a:schemeClr val="accent2"/>
          </a:solidFill>
          <a:ln w="19050">
            <a:noFill/>
            <a:prstDash val="lg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pic>
        <p:nvPicPr>
          <p:cNvPr id="34" name="Graphic 33" descr="Supply And Demand with solid fill">
            <a:extLst>
              <a:ext uri="{FF2B5EF4-FFF2-40B4-BE49-F238E27FC236}">
                <a16:creationId xmlns:a16="http://schemas.microsoft.com/office/drawing/2014/main" id="{3374E4BA-A0B1-F0E2-C131-FCC5F1894B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6353" y="3068509"/>
            <a:ext cx="360000" cy="360000"/>
          </a:xfrm>
          <a:prstGeom prst="rect">
            <a:avLst/>
          </a:prstGeom>
        </p:spPr>
      </p:pic>
      <p:pic>
        <p:nvPicPr>
          <p:cNvPr id="36" name="Graphic 35" descr="Electric Tower with solid fill">
            <a:extLst>
              <a:ext uri="{FF2B5EF4-FFF2-40B4-BE49-F238E27FC236}">
                <a16:creationId xmlns:a16="http://schemas.microsoft.com/office/drawing/2014/main" id="{9C7A8983-0C99-6EF8-EFD4-4EBCDBA77B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3653" y="3877099"/>
            <a:ext cx="399246" cy="359999"/>
          </a:xfrm>
          <a:prstGeom prst="rect">
            <a:avLst/>
          </a:prstGeom>
        </p:spPr>
      </p:pic>
      <p:pic>
        <p:nvPicPr>
          <p:cNvPr id="49" name="Graphic 48" descr="Battery charging with solid fill">
            <a:extLst>
              <a:ext uri="{FF2B5EF4-FFF2-40B4-BE49-F238E27FC236}">
                <a16:creationId xmlns:a16="http://schemas.microsoft.com/office/drawing/2014/main" id="{830F6844-DF60-1903-883C-73A0B665F19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6141" y="1914191"/>
            <a:ext cx="360000" cy="360000"/>
          </a:xfrm>
          <a:prstGeom prst="rect">
            <a:avLst/>
          </a:prstGeom>
        </p:spPr>
      </p:pic>
      <p:sp>
        <p:nvSpPr>
          <p:cNvPr id="53" name="LegendIcon">
            <a:extLst>
              <a:ext uri="{FF2B5EF4-FFF2-40B4-BE49-F238E27FC236}">
                <a16:creationId xmlns:a16="http://schemas.microsoft.com/office/drawing/2014/main" id="{5AF6BC9D-EF44-2AF9-7A50-8D0C1A018DED}"/>
              </a:ext>
            </a:extLst>
          </p:cNvPr>
          <p:cNvSpPr/>
          <p:nvPr/>
        </p:nvSpPr>
        <p:spPr>
          <a:xfrm>
            <a:off x="-345105" y="4972092"/>
            <a:ext cx="200705" cy="135771"/>
          </a:xfrm>
          <a:prstGeom prst="rect">
            <a:avLst/>
          </a:prstGeom>
          <a:noFill/>
          <a:ln w="6350" cap="flat" cmpd="sng" algn="ctr">
            <a:noFill/>
            <a:prstDash val="solid"/>
          </a:ln>
          <a:effectLst/>
        </p:spPr>
        <p:txBody>
          <a:bodyPr lIns="0" tIns="0" rIns="0" bIns="0" rtlCol="0" anchor="ctr" anchorCtr="0"/>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0" name="Text Placeholder 13">
            <a:extLst>
              <a:ext uri="{FF2B5EF4-FFF2-40B4-BE49-F238E27FC236}">
                <a16:creationId xmlns:a16="http://schemas.microsoft.com/office/drawing/2014/main" id="{881DA359-EACD-6E98-F4AF-DBB36065386B}"/>
              </a:ext>
            </a:extLst>
          </p:cNvPr>
          <p:cNvSpPr txBox="1">
            <a:spLocks/>
          </p:cNvSpPr>
          <p:nvPr/>
        </p:nvSpPr>
        <p:spPr>
          <a:xfrm>
            <a:off x="381599" y="79401"/>
            <a:ext cx="5606022"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olicy and regulatory environment - Regulatory challenges and opportunities</a:t>
            </a:r>
          </a:p>
        </p:txBody>
      </p:sp>
      <p:sp>
        <p:nvSpPr>
          <p:cNvPr id="50" name="Oval 49">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51" name="Oval 50">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75" name="Oval 11">
            <a:extLst>
              <a:ext uri="{FF2B5EF4-FFF2-40B4-BE49-F238E27FC236}">
                <a16:creationId xmlns:a16="http://schemas.microsoft.com/office/drawing/2014/main" id="{3C2F4783-404D-92C8-6B28-503981437228}"/>
              </a:ext>
            </a:extLst>
          </p:cNvPr>
          <p:cNvSpPr>
            <a:spLocks/>
          </p:cNvSpPr>
          <p:nvPr/>
        </p:nvSpPr>
        <p:spPr>
          <a:xfrm>
            <a:off x="2170065" y="3894424"/>
            <a:ext cx="234373" cy="235484"/>
          </a:xfrm>
          <a:prstGeom prst="ellipse">
            <a:avLst/>
          </a:prstGeom>
          <a:solidFill>
            <a:schemeClr val="accent6">
              <a:lumMod val="20000"/>
              <a:lumOff val="8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77" name="Oval 11">
            <a:extLst>
              <a:ext uri="{FF2B5EF4-FFF2-40B4-BE49-F238E27FC236}">
                <a16:creationId xmlns:a16="http://schemas.microsoft.com/office/drawing/2014/main" id="{E29FD618-074A-D704-EFD0-BC111251DCD9}"/>
              </a:ext>
            </a:extLst>
          </p:cNvPr>
          <p:cNvSpPr>
            <a:spLocks/>
          </p:cNvSpPr>
          <p:nvPr/>
        </p:nvSpPr>
        <p:spPr>
          <a:xfrm>
            <a:off x="8224529" y="1368318"/>
            <a:ext cx="179754" cy="194689"/>
          </a:xfrm>
          <a:prstGeom prst="ellipse">
            <a:avLst/>
          </a:prstGeom>
          <a:solidFill>
            <a:schemeClr val="accent2"/>
          </a:solidFill>
          <a:ln w="19050">
            <a:noFill/>
            <a:prstDash val="lg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a:t>
            </a:r>
          </a:p>
        </p:txBody>
      </p:sp>
      <p:sp>
        <p:nvSpPr>
          <p:cNvPr id="23" name="LegendText">
            <a:extLst>
              <a:ext uri="{FF2B5EF4-FFF2-40B4-BE49-F238E27FC236}">
                <a16:creationId xmlns:a16="http://schemas.microsoft.com/office/drawing/2014/main" id="{FA563142-7D6D-C094-D1C7-47EED15B4A32}"/>
              </a:ext>
            </a:extLst>
          </p:cNvPr>
          <p:cNvSpPr txBox="1"/>
          <p:nvPr/>
        </p:nvSpPr>
        <p:spPr>
          <a:xfrm>
            <a:off x="8533128" y="1424508"/>
            <a:ext cx="1376980" cy="138499"/>
          </a:xfrm>
          <a:prstGeom prst="rect">
            <a:avLst/>
          </a:prstGeom>
          <a:noFill/>
          <a:ln w="9525">
            <a:noFill/>
          </a:ln>
        </p:spPr>
        <p:txBody>
          <a:bodyPr vert="horz" wrap="none" lIns="0" tIns="0" rIns="0" bIns="0" rtlCol="0" anchor="ctr"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GB" sz="1000" ker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ost relevant to storage</a:t>
            </a:r>
            <a:endParaRPr kumimoji="0" lang="en-GB" sz="1000" b="0" i="0" u="none" strike="noStrike" kern="0" cap="none" spc="0" normalizeH="0" baseline="0" noProof="0">
              <a:ln>
                <a:noFill/>
              </a:ln>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24" name="Graphic 23" descr="Group of men with solid fill">
            <a:extLst>
              <a:ext uri="{FF2B5EF4-FFF2-40B4-BE49-F238E27FC236}">
                <a16:creationId xmlns:a16="http://schemas.microsoft.com/office/drawing/2014/main" id="{7039094F-7633-62D3-5933-5BFE18CEEA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36140" y="5500504"/>
            <a:ext cx="337663" cy="337663"/>
          </a:xfrm>
          <a:prstGeom prst="rect">
            <a:avLst/>
          </a:prstGeom>
        </p:spPr>
      </p:pic>
      <p:grpSp>
        <p:nvGrpSpPr>
          <p:cNvPr id="27" name="Group 139">
            <a:extLst>
              <a:ext uri="{FF2B5EF4-FFF2-40B4-BE49-F238E27FC236}">
                <a16:creationId xmlns:a16="http://schemas.microsoft.com/office/drawing/2014/main" id="{A37D267C-E2D9-2023-FAA0-C69AA4BA86A2}"/>
              </a:ext>
            </a:extLst>
          </p:cNvPr>
          <p:cNvGrpSpPr/>
          <p:nvPr/>
        </p:nvGrpSpPr>
        <p:grpSpPr>
          <a:xfrm>
            <a:off x="939204" y="4604390"/>
            <a:ext cx="337663" cy="337663"/>
            <a:chOff x="2471738" y="3559176"/>
            <a:chExt cx="722313" cy="569913"/>
          </a:xfrm>
          <a:solidFill>
            <a:schemeClr val="tx1"/>
          </a:solidFill>
        </p:grpSpPr>
        <p:sp>
          <p:nvSpPr>
            <p:cNvPr id="38" name="Freeform 112">
              <a:extLst>
                <a:ext uri="{FF2B5EF4-FFF2-40B4-BE49-F238E27FC236}">
                  <a16:creationId xmlns:a16="http://schemas.microsoft.com/office/drawing/2014/main" id="{AAF3D9E0-5544-80E1-AC14-65C641A5870E}"/>
                </a:ext>
              </a:extLst>
            </p:cNvPr>
            <p:cNvSpPr>
              <a:spLocks/>
            </p:cNvSpPr>
            <p:nvPr/>
          </p:nvSpPr>
          <p:spPr bwMode="auto">
            <a:xfrm>
              <a:off x="2471738" y="3559176"/>
              <a:ext cx="722313" cy="569913"/>
            </a:xfrm>
            <a:custGeom>
              <a:avLst/>
              <a:gdLst/>
              <a:ahLst/>
              <a:cxnLst>
                <a:cxn ang="0">
                  <a:pos x="38" y="0"/>
                </a:cxn>
                <a:cxn ang="0">
                  <a:pos x="0" y="0"/>
                </a:cxn>
                <a:cxn ang="0">
                  <a:pos x="0" y="359"/>
                </a:cxn>
                <a:cxn ang="0">
                  <a:pos x="455" y="359"/>
                </a:cxn>
                <a:cxn ang="0">
                  <a:pos x="455" y="322"/>
                </a:cxn>
                <a:cxn ang="0">
                  <a:pos x="38" y="322"/>
                </a:cxn>
                <a:cxn ang="0">
                  <a:pos x="38" y="0"/>
                </a:cxn>
              </a:cxnLst>
              <a:rect l="0" t="0" r="r" b="b"/>
              <a:pathLst>
                <a:path w="455" h="359">
                  <a:moveTo>
                    <a:pt x="38" y="0"/>
                  </a:moveTo>
                  <a:lnTo>
                    <a:pt x="0" y="0"/>
                  </a:lnTo>
                  <a:lnTo>
                    <a:pt x="0" y="359"/>
                  </a:lnTo>
                  <a:lnTo>
                    <a:pt x="455" y="359"/>
                  </a:lnTo>
                  <a:lnTo>
                    <a:pt x="455" y="322"/>
                  </a:lnTo>
                  <a:lnTo>
                    <a:pt x="38" y="322"/>
                  </a:lnTo>
                  <a:lnTo>
                    <a:pt x="38"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42" name="Freeform 113">
              <a:extLst>
                <a:ext uri="{FF2B5EF4-FFF2-40B4-BE49-F238E27FC236}">
                  <a16:creationId xmlns:a16="http://schemas.microsoft.com/office/drawing/2014/main" id="{1EA8431B-8998-5644-ECDE-2B9D51A1E2BB}"/>
                </a:ext>
              </a:extLst>
            </p:cNvPr>
            <p:cNvSpPr>
              <a:spLocks noEditPoints="1"/>
            </p:cNvSpPr>
            <p:nvPr/>
          </p:nvSpPr>
          <p:spPr bwMode="auto">
            <a:xfrm>
              <a:off x="2562226" y="3589338"/>
              <a:ext cx="631825" cy="450850"/>
            </a:xfrm>
            <a:custGeom>
              <a:avLst/>
              <a:gdLst/>
              <a:ahLst/>
              <a:cxnLst>
                <a:cxn ang="0">
                  <a:pos x="119" y="0"/>
                </a:cxn>
                <a:cxn ang="0">
                  <a:pos x="137" y="18"/>
                </a:cxn>
                <a:cxn ang="0">
                  <a:pos x="108" y="48"/>
                </a:cxn>
                <a:cxn ang="0">
                  <a:pos x="104" y="48"/>
                </a:cxn>
                <a:cxn ang="0">
                  <a:pos x="90" y="56"/>
                </a:cxn>
                <a:cxn ang="0">
                  <a:pos x="70" y="56"/>
                </a:cxn>
                <a:cxn ang="0">
                  <a:pos x="56" y="48"/>
                </a:cxn>
                <a:cxn ang="0">
                  <a:pos x="40" y="64"/>
                </a:cxn>
                <a:cxn ang="0">
                  <a:pos x="40" y="68"/>
                </a:cxn>
                <a:cxn ang="0">
                  <a:pos x="20" y="88"/>
                </a:cxn>
                <a:cxn ang="0">
                  <a:pos x="16" y="88"/>
                </a:cxn>
                <a:cxn ang="0">
                  <a:pos x="0" y="104"/>
                </a:cxn>
                <a:cxn ang="0">
                  <a:pos x="16" y="120"/>
                </a:cxn>
                <a:cxn ang="0">
                  <a:pos x="32" y="104"/>
                </a:cxn>
                <a:cxn ang="0">
                  <a:pos x="32" y="100"/>
                </a:cxn>
                <a:cxn ang="0">
                  <a:pos x="52" y="80"/>
                </a:cxn>
                <a:cxn ang="0">
                  <a:pos x="56" y="80"/>
                </a:cxn>
                <a:cxn ang="0">
                  <a:pos x="70" y="72"/>
                </a:cxn>
                <a:cxn ang="0">
                  <a:pos x="90" y="72"/>
                </a:cxn>
                <a:cxn ang="0">
                  <a:pos x="104" y="80"/>
                </a:cxn>
                <a:cxn ang="0">
                  <a:pos x="120" y="64"/>
                </a:cxn>
                <a:cxn ang="0">
                  <a:pos x="120" y="60"/>
                </a:cxn>
                <a:cxn ang="0">
                  <a:pos x="150" y="31"/>
                </a:cxn>
                <a:cxn ang="0">
                  <a:pos x="168" y="49"/>
                </a:cxn>
                <a:cxn ang="0">
                  <a:pos x="168" y="0"/>
                </a:cxn>
                <a:cxn ang="0">
                  <a:pos x="119" y="0"/>
                </a:cxn>
                <a:cxn ang="0">
                  <a:pos x="16" y="113"/>
                </a:cxn>
                <a:cxn ang="0">
                  <a:pos x="7" y="104"/>
                </a:cxn>
                <a:cxn ang="0">
                  <a:pos x="16" y="95"/>
                </a:cxn>
                <a:cxn ang="0">
                  <a:pos x="25" y="104"/>
                </a:cxn>
                <a:cxn ang="0">
                  <a:pos x="16" y="113"/>
                </a:cxn>
                <a:cxn ang="0">
                  <a:pos x="56" y="73"/>
                </a:cxn>
                <a:cxn ang="0">
                  <a:pos x="47" y="64"/>
                </a:cxn>
                <a:cxn ang="0">
                  <a:pos x="56" y="55"/>
                </a:cxn>
                <a:cxn ang="0">
                  <a:pos x="65" y="64"/>
                </a:cxn>
                <a:cxn ang="0">
                  <a:pos x="56" y="73"/>
                </a:cxn>
                <a:cxn ang="0">
                  <a:pos x="104" y="73"/>
                </a:cxn>
                <a:cxn ang="0">
                  <a:pos x="95" y="64"/>
                </a:cxn>
                <a:cxn ang="0">
                  <a:pos x="104" y="55"/>
                </a:cxn>
                <a:cxn ang="0">
                  <a:pos x="113" y="64"/>
                </a:cxn>
                <a:cxn ang="0">
                  <a:pos x="104" y="73"/>
                </a:cxn>
              </a:cxnLst>
              <a:rect l="0" t="0" r="r" b="b"/>
              <a:pathLst>
                <a:path w="168" h="120">
                  <a:moveTo>
                    <a:pt x="119" y="0"/>
                  </a:moveTo>
                  <a:cubicBezTo>
                    <a:pt x="137" y="18"/>
                    <a:pt x="137" y="18"/>
                    <a:pt x="137" y="18"/>
                  </a:cubicBezTo>
                  <a:cubicBezTo>
                    <a:pt x="108" y="48"/>
                    <a:pt x="108" y="48"/>
                    <a:pt x="108" y="48"/>
                  </a:cubicBezTo>
                  <a:cubicBezTo>
                    <a:pt x="106" y="48"/>
                    <a:pt x="105" y="48"/>
                    <a:pt x="104" y="48"/>
                  </a:cubicBezTo>
                  <a:cubicBezTo>
                    <a:pt x="98" y="48"/>
                    <a:pt x="93" y="51"/>
                    <a:pt x="90" y="56"/>
                  </a:cubicBezTo>
                  <a:cubicBezTo>
                    <a:pt x="70" y="56"/>
                    <a:pt x="70" y="56"/>
                    <a:pt x="70" y="56"/>
                  </a:cubicBezTo>
                  <a:cubicBezTo>
                    <a:pt x="67" y="51"/>
                    <a:pt x="62" y="48"/>
                    <a:pt x="56" y="48"/>
                  </a:cubicBezTo>
                  <a:cubicBezTo>
                    <a:pt x="47" y="48"/>
                    <a:pt x="40" y="55"/>
                    <a:pt x="40" y="64"/>
                  </a:cubicBezTo>
                  <a:cubicBezTo>
                    <a:pt x="40" y="65"/>
                    <a:pt x="40" y="66"/>
                    <a:pt x="40" y="68"/>
                  </a:cubicBezTo>
                  <a:cubicBezTo>
                    <a:pt x="20" y="88"/>
                    <a:pt x="20" y="88"/>
                    <a:pt x="20" y="88"/>
                  </a:cubicBezTo>
                  <a:cubicBezTo>
                    <a:pt x="18" y="88"/>
                    <a:pt x="17" y="88"/>
                    <a:pt x="16" y="88"/>
                  </a:cubicBezTo>
                  <a:cubicBezTo>
                    <a:pt x="7" y="88"/>
                    <a:pt x="0" y="95"/>
                    <a:pt x="0" y="104"/>
                  </a:cubicBezTo>
                  <a:cubicBezTo>
                    <a:pt x="0" y="113"/>
                    <a:pt x="7" y="120"/>
                    <a:pt x="16" y="120"/>
                  </a:cubicBezTo>
                  <a:cubicBezTo>
                    <a:pt x="25" y="120"/>
                    <a:pt x="32" y="113"/>
                    <a:pt x="32" y="104"/>
                  </a:cubicBezTo>
                  <a:cubicBezTo>
                    <a:pt x="32" y="103"/>
                    <a:pt x="32" y="102"/>
                    <a:pt x="32" y="100"/>
                  </a:cubicBezTo>
                  <a:cubicBezTo>
                    <a:pt x="52" y="80"/>
                    <a:pt x="52" y="80"/>
                    <a:pt x="52" y="80"/>
                  </a:cubicBezTo>
                  <a:cubicBezTo>
                    <a:pt x="54" y="80"/>
                    <a:pt x="55" y="80"/>
                    <a:pt x="56" y="80"/>
                  </a:cubicBezTo>
                  <a:cubicBezTo>
                    <a:pt x="62" y="80"/>
                    <a:pt x="67" y="77"/>
                    <a:pt x="70" y="72"/>
                  </a:cubicBezTo>
                  <a:cubicBezTo>
                    <a:pt x="90" y="72"/>
                    <a:pt x="90" y="72"/>
                    <a:pt x="90" y="72"/>
                  </a:cubicBezTo>
                  <a:cubicBezTo>
                    <a:pt x="93" y="77"/>
                    <a:pt x="98" y="80"/>
                    <a:pt x="104" y="80"/>
                  </a:cubicBezTo>
                  <a:cubicBezTo>
                    <a:pt x="113" y="80"/>
                    <a:pt x="120" y="73"/>
                    <a:pt x="120" y="64"/>
                  </a:cubicBezTo>
                  <a:cubicBezTo>
                    <a:pt x="120" y="63"/>
                    <a:pt x="120" y="62"/>
                    <a:pt x="120" y="60"/>
                  </a:cubicBezTo>
                  <a:cubicBezTo>
                    <a:pt x="150" y="31"/>
                    <a:pt x="150" y="31"/>
                    <a:pt x="150" y="31"/>
                  </a:cubicBezTo>
                  <a:cubicBezTo>
                    <a:pt x="168" y="49"/>
                    <a:pt x="168" y="49"/>
                    <a:pt x="168" y="49"/>
                  </a:cubicBezTo>
                  <a:cubicBezTo>
                    <a:pt x="168" y="0"/>
                    <a:pt x="168" y="0"/>
                    <a:pt x="168" y="0"/>
                  </a:cubicBezTo>
                  <a:lnTo>
                    <a:pt x="119" y="0"/>
                  </a:lnTo>
                  <a:close/>
                  <a:moveTo>
                    <a:pt x="16" y="113"/>
                  </a:moveTo>
                  <a:cubicBezTo>
                    <a:pt x="11" y="113"/>
                    <a:pt x="7" y="109"/>
                    <a:pt x="7" y="104"/>
                  </a:cubicBezTo>
                  <a:cubicBezTo>
                    <a:pt x="7" y="99"/>
                    <a:pt x="11" y="95"/>
                    <a:pt x="16" y="95"/>
                  </a:cubicBezTo>
                  <a:cubicBezTo>
                    <a:pt x="21" y="95"/>
                    <a:pt x="25" y="99"/>
                    <a:pt x="25" y="104"/>
                  </a:cubicBezTo>
                  <a:cubicBezTo>
                    <a:pt x="25" y="109"/>
                    <a:pt x="21" y="113"/>
                    <a:pt x="16" y="113"/>
                  </a:cubicBezTo>
                  <a:close/>
                  <a:moveTo>
                    <a:pt x="56" y="73"/>
                  </a:moveTo>
                  <a:cubicBezTo>
                    <a:pt x="51" y="73"/>
                    <a:pt x="47" y="69"/>
                    <a:pt x="47" y="64"/>
                  </a:cubicBezTo>
                  <a:cubicBezTo>
                    <a:pt x="47" y="59"/>
                    <a:pt x="51" y="55"/>
                    <a:pt x="56" y="55"/>
                  </a:cubicBezTo>
                  <a:cubicBezTo>
                    <a:pt x="61" y="55"/>
                    <a:pt x="65" y="59"/>
                    <a:pt x="65" y="64"/>
                  </a:cubicBezTo>
                  <a:cubicBezTo>
                    <a:pt x="65" y="69"/>
                    <a:pt x="61" y="73"/>
                    <a:pt x="56" y="73"/>
                  </a:cubicBezTo>
                  <a:close/>
                  <a:moveTo>
                    <a:pt x="104" y="73"/>
                  </a:moveTo>
                  <a:cubicBezTo>
                    <a:pt x="99" y="73"/>
                    <a:pt x="95" y="69"/>
                    <a:pt x="95" y="64"/>
                  </a:cubicBezTo>
                  <a:cubicBezTo>
                    <a:pt x="95" y="59"/>
                    <a:pt x="99" y="55"/>
                    <a:pt x="104" y="55"/>
                  </a:cubicBezTo>
                  <a:cubicBezTo>
                    <a:pt x="109" y="55"/>
                    <a:pt x="113" y="59"/>
                    <a:pt x="113" y="64"/>
                  </a:cubicBezTo>
                  <a:cubicBezTo>
                    <a:pt x="113" y="69"/>
                    <a:pt x="109" y="73"/>
                    <a:pt x="104" y="73"/>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sp>
        <p:nvSpPr>
          <p:cNvPr id="48" name="Oval 11">
            <a:extLst>
              <a:ext uri="{FF2B5EF4-FFF2-40B4-BE49-F238E27FC236}">
                <a16:creationId xmlns:a16="http://schemas.microsoft.com/office/drawing/2014/main" id="{E8BF08E0-B2B5-8527-9D9D-1F0F6D49D3F0}"/>
              </a:ext>
            </a:extLst>
          </p:cNvPr>
          <p:cNvSpPr>
            <a:spLocks/>
          </p:cNvSpPr>
          <p:nvPr/>
        </p:nvSpPr>
        <p:spPr>
          <a:xfrm>
            <a:off x="2170065" y="4506135"/>
            <a:ext cx="234373" cy="235484"/>
          </a:xfrm>
          <a:prstGeom prst="ellipse">
            <a:avLst/>
          </a:prstGeom>
          <a:solidFill>
            <a:schemeClr val="accent6">
              <a:lumMod val="20000"/>
              <a:lumOff val="8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52" name="Oval 11">
            <a:extLst>
              <a:ext uri="{FF2B5EF4-FFF2-40B4-BE49-F238E27FC236}">
                <a16:creationId xmlns:a16="http://schemas.microsoft.com/office/drawing/2014/main" id="{BE46D16D-1778-BA6E-CCF7-473158E833AA}"/>
              </a:ext>
            </a:extLst>
          </p:cNvPr>
          <p:cNvSpPr>
            <a:spLocks/>
          </p:cNvSpPr>
          <p:nvPr/>
        </p:nvSpPr>
        <p:spPr>
          <a:xfrm>
            <a:off x="5134414" y="5516246"/>
            <a:ext cx="234373" cy="235484"/>
          </a:xfrm>
          <a:prstGeom prst="ellipse">
            <a:avLst/>
          </a:prstGeom>
          <a:solidFill>
            <a:schemeClr val="accent6">
              <a:lumMod val="20000"/>
              <a:lumOff val="8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55" name="Oval 11">
            <a:extLst>
              <a:ext uri="{FF2B5EF4-FFF2-40B4-BE49-F238E27FC236}">
                <a16:creationId xmlns:a16="http://schemas.microsoft.com/office/drawing/2014/main" id="{637D98F5-90BB-2CDD-0399-37BB75BDC62A}"/>
              </a:ext>
            </a:extLst>
          </p:cNvPr>
          <p:cNvSpPr>
            <a:spLocks/>
          </p:cNvSpPr>
          <p:nvPr/>
        </p:nvSpPr>
        <p:spPr>
          <a:xfrm>
            <a:off x="2170065" y="5501988"/>
            <a:ext cx="234373" cy="235484"/>
          </a:xfrm>
          <a:prstGeom prst="ellipse">
            <a:avLst/>
          </a:prstGeom>
          <a:solidFill>
            <a:schemeClr val="accent6">
              <a:lumMod val="20000"/>
              <a:lumOff val="8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56" name="Oval 11">
            <a:extLst>
              <a:ext uri="{FF2B5EF4-FFF2-40B4-BE49-F238E27FC236}">
                <a16:creationId xmlns:a16="http://schemas.microsoft.com/office/drawing/2014/main" id="{9B62DF32-7C65-F481-9D7B-47CF795F3E39}"/>
              </a:ext>
            </a:extLst>
          </p:cNvPr>
          <p:cNvSpPr>
            <a:spLocks/>
          </p:cNvSpPr>
          <p:nvPr/>
        </p:nvSpPr>
        <p:spPr>
          <a:xfrm>
            <a:off x="5134414" y="4506135"/>
            <a:ext cx="234373" cy="235484"/>
          </a:xfrm>
          <a:prstGeom prst="ellipse">
            <a:avLst/>
          </a:prstGeom>
          <a:solidFill>
            <a:schemeClr val="accent6">
              <a:lumMod val="20000"/>
              <a:lumOff val="8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3" name="Oval 11">
            <a:extLst>
              <a:ext uri="{FF2B5EF4-FFF2-40B4-BE49-F238E27FC236}">
                <a16:creationId xmlns:a16="http://schemas.microsoft.com/office/drawing/2014/main" id="{4C2FC6D1-83EF-72BC-2DB1-6438A9CB38A9}"/>
              </a:ext>
            </a:extLst>
          </p:cNvPr>
          <p:cNvSpPr>
            <a:spLocks/>
          </p:cNvSpPr>
          <p:nvPr/>
        </p:nvSpPr>
        <p:spPr>
          <a:xfrm>
            <a:off x="2151941" y="3013025"/>
            <a:ext cx="234373" cy="235484"/>
          </a:xfrm>
          <a:prstGeom prst="ellipse">
            <a:avLst/>
          </a:prstGeom>
          <a:solidFill>
            <a:schemeClr val="accent2"/>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0"/>
              </a:spcBef>
              <a:buSzPct val="100000"/>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a:t>
            </a:r>
          </a:p>
        </p:txBody>
      </p:sp>
      <p:sp>
        <p:nvSpPr>
          <p:cNvPr id="2" name="Rectangle 1">
            <a:extLst>
              <a:ext uri="{FF2B5EF4-FFF2-40B4-BE49-F238E27FC236}">
                <a16:creationId xmlns:a16="http://schemas.microsoft.com/office/drawing/2014/main" id="{4BC0032D-9361-C3B3-C023-C145AD7E8C4D}"/>
              </a:ext>
            </a:extLst>
          </p:cNvPr>
          <p:cNvSpPr/>
          <p:nvPr/>
        </p:nvSpPr>
        <p:spPr>
          <a:xfrm>
            <a:off x="381000" y="1673807"/>
            <a:ext cx="11497322" cy="4682605"/>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6426149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CA494D8-FD14-8D35-B644-9C322EFCAF7F}"/>
              </a:ext>
            </a:extLst>
          </p:cNvPr>
          <p:cNvGraphicFramePr>
            <a:graphicFrameLocks noChangeAspect="1"/>
          </p:cNvGraphicFramePr>
          <p:nvPr>
            <p:custDataLst>
              <p:tags r:id="rId1"/>
            </p:custDataLst>
            <p:extLst>
              <p:ext uri="{D42A27DB-BD31-4B8C-83A1-F6EECF244321}">
                <p14:modId xmlns:p14="http://schemas.microsoft.com/office/powerpoint/2010/main" val="640442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7" name="Object 6" hidden="1">
                        <a:extLst>
                          <a:ext uri="{FF2B5EF4-FFF2-40B4-BE49-F238E27FC236}">
                            <a16:creationId xmlns:a16="http://schemas.microsoft.com/office/drawing/2014/main" id="{CCA494D8-FD14-8D35-B644-9C322EFCAF7F}"/>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FEA282A-64C8-424F-EEF5-4FC3B02549FB}"/>
              </a:ext>
            </a:extLst>
          </p:cNvPr>
          <p:cNvSpPr>
            <a:spLocks noGrp="1"/>
          </p:cNvSpPr>
          <p:nvPr>
            <p:ph type="body" sz="quarter" idx="22"/>
          </p:nvPr>
        </p:nvSpPr>
        <p:spPr>
          <a:xfrm>
            <a:off x="381000" y="6700501"/>
            <a:ext cx="1500411" cy="110800"/>
          </a:xfrm>
        </p:spPr>
        <p:txBody>
          <a:bodyPr/>
          <a:lstStyle/>
          <a:p>
            <a:r>
              <a:rPr lang="en-GB"/>
              <a:t>Sources: Aurora Energy Research</a:t>
            </a:r>
          </a:p>
        </p:txBody>
      </p:sp>
      <p:sp>
        <p:nvSpPr>
          <p:cNvPr id="4" name="Title 3">
            <a:extLst>
              <a:ext uri="{FF2B5EF4-FFF2-40B4-BE49-F238E27FC236}">
                <a16:creationId xmlns:a16="http://schemas.microsoft.com/office/drawing/2014/main" id="{40EE6488-38E2-7F64-21A2-E13AE395C04E}"/>
              </a:ext>
            </a:extLst>
          </p:cNvPr>
          <p:cNvSpPr>
            <a:spLocks noGrp="1"/>
          </p:cNvSpPr>
          <p:nvPr>
            <p:ph type="title"/>
          </p:nvPr>
        </p:nvSpPr>
        <p:spPr/>
        <p:txBody>
          <a:bodyPr vert="horz"/>
          <a:lstStyle/>
          <a:p>
            <a:r>
              <a:rPr lang="en-GB"/>
              <a:t>Ongoing regulatory developments within certain markets present both opportunities and challenges for battery assets (1/2)</a:t>
            </a:r>
          </a:p>
        </p:txBody>
      </p:sp>
      <p:sp>
        <p:nvSpPr>
          <p:cNvPr id="5" name="Text Placeholder 4">
            <a:extLst>
              <a:ext uri="{FF2B5EF4-FFF2-40B4-BE49-F238E27FC236}">
                <a16:creationId xmlns:a16="http://schemas.microsoft.com/office/drawing/2014/main" id="{206E64C7-5E34-7EB6-FF75-24DC2719FBAE}"/>
              </a:ext>
            </a:extLst>
          </p:cNvPr>
          <p:cNvSpPr>
            <a:spLocks noGrp="1"/>
          </p:cNvSpPr>
          <p:nvPr>
            <p:ph type="body" sz="quarter" idx="32"/>
          </p:nvPr>
        </p:nvSpPr>
        <p:spPr>
          <a:xfrm>
            <a:off x="381599" y="6480284"/>
            <a:ext cx="11428800" cy="110800"/>
          </a:xfrm>
        </p:spPr>
        <p:txBody>
          <a:bodyPr/>
          <a:lstStyle/>
          <a:p>
            <a:endParaRPr lang="en-GB"/>
          </a:p>
        </p:txBody>
      </p:sp>
      <p:sp>
        <p:nvSpPr>
          <p:cNvPr id="6" name="Text Placeholder 5">
            <a:extLst>
              <a:ext uri="{FF2B5EF4-FFF2-40B4-BE49-F238E27FC236}">
                <a16:creationId xmlns:a16="http://schemas.microsoft.com/office/drawing/2014/main" id="{20D9C7CF-2164-D684-B17B-FB946DEF8443}"/>
              </a:ext>
            </a:extLst>
          </p:cNvPr>
          <p:cNvSpPr>
            <a:spLocks noGrp="1"/>
          </p:cNvSpPr>
          <p:nvPr>
            <p:ph type="body" sz="quarter" idx="31"/>
          </p:nvPr>
        </p:nvSpPr>
        <p:spPr>
          <a:xfrm>
            <a:off x="381599" y="79401"/>
            <a:ext cx="5606022" cy="184666"/>
          </a:xfrm>
        </p:spPr>
        <p:txBody>
          <a:bodyPr/>
          <a:lstStyle/>
          <a:p>
            <a:r>
              <a:rPr lang="en-GB"/>
              <a:t>		Policy and regulatory environment - Regulatory challenges and opportunities</a:t>
            </a:r>
          </a:p>
        </p:txBody>
      </p:sp>
      <p:graphicFrame>
        <p:nvGraphicFramePr>
          <p:cNvPr id="9" name="Tabelle 7">
            <a:extLst>
              <a:ext uri="{FF2B5EF4-FFF2-40B4-BE49-F238E27FC236}">
                <a16:creationId xmlns:a16="http://schemas.microsoft.com/office/drawing/2014/main" id="{ABF00135-7201-735D-12E9-3D6D5A9D0B2B}"/>
              </a:ext>
            </a:extLst>
          </p:cNvPr>
          <p:cNvGraphicFramePr>
            <a:graphicFrameLocks noGrp="1"/>
          </p:cNvGraphicFramePr>
          <p:nvPr>
            <p:custDataLst>
              <p:tags r:id="rId2"/>
            </p:custDataLst>
            <p:extLst>
              <p:ext uri="{D42A27DB-BD31-4B8C-83A1-F6EECF244321}">
                <p14:modId xmlns:p14="http://schemas.microsoft.com/office/powerpoint/2010/main" val="1256352662"/>
              </p:ext>
            </p:extLst>
          </p:nvPr>
        </p:nvGraphicFramePr>
        <p:xfrm>
          <a:off x="381000" y="1168404"/>
          <a:ext cx="11483894" cy="5169012"/>
        </p:xfrm>
        <a:graphic>
          <a:graphicData uri="http://schemas.openxmlformats.org/drawingml/2006/table">
            <a:tbl>
              <a:tblPr firstRow="1" bandRow="1">
                <a:effectLst/>
                <a:tableStyleId>{5C22544A-7EE6-4342-B048-85BDC9FD1C3A}</a:tableStyleId>
              </a:tblPr>
              <a:tblGrid>
                <a:gridCol w="1224000">
                  <a:extLst>
                    <a:ext uri="{9D8B030D-6E8A-4147-A177-3AD203B41FA5}">
                      <a16:colId xmlns:a16="http://schemas.microsoft.com/office/drawing/2014/main" val="20000"/>
                    </a:ext>
                  </a:extLst>
                </a:gridCol>
                <a:gridCol w="121920">
                  <a:extLst>
                    <a:ext uri="{9D8B030D-6E8A-4147-A177-3AD203B41FA5}">
                      <a16:colId xmlns:a16="http://schemas.microsoft.com/office/drawing/2014/main" val="2133620686"/>
                    </a:ext>
                  </a:extLst>
                </a:gridCol>
                <a:gridCol w="5216400">
                  <a:extLst>
                    <a:ext uri="{9D8B030D-6E8A-4147-A177-3AD203B41FA5}">
                      <a16:colId xmlns:a16="http://schemas.microsoft.com/office/drawing/2014/main" val="2503764876"/>
                    </a:ext>
                  </a:extLst>
                </a:gridCol>
                <a:gridCol w="558000">
                  <a:extLst>
                    <a:ext uri="{9D8B030D-6E8A-4147-A177-3AD203B41FA5}">
                      <a16:colId xmlns:a16="http://schemas.microsoft.com/office/drawing/2014/main" val="3499584609"/>
                    </a:ext>
                  </a:extLst>
                </a:gridCol>
                <a:gridCol w="4363574">
                  <a:extLst>
                    <a:ext uri="{9D8B030D-6E8A-4147-A177-3AD203B41FA5}">
                      <a16:colId xmlns:a16="http://schemas.microsoft.com/office/drawing/2014/main" val="2205481672"/>
                    </a:ext>
                  </a:extLst>
                </a:gridCol>
              </a:tblGrid>
              <a:tr h="201243">
                <a:tc>
                  <a:txBody>
                    <a:bodyPr/>
                    <a:lstStyle/>
                    <a:p>
                      <a:pPr algn="ctr" rtl="0"/>
                      <a:r>
                        <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gion</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100" b="1" i="0" kern="1200">
                          <a:solidFill>
                            <a:schemeClr val="tx1"/>
                          </a:solidFill>
                          <a:latin typeface="Lato" panose="020F0502020204030203" pitchFamily="34" charset="0"/>
                          <a:ea typeface="Lato" panose="020F0502020204030203" pitchFamily="34" charset="0"/>
                          <a:cs typeface="Lato" panose="020F0502020204030203" pitchFamily="34" charset="0"/>
                        </a:rPr>
                        <a:t>Market developmen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100" b="1" i="0" kern="1200">
                          <a:solidFill>
                            <a:schemeClr val="tx1"/>
                          </a:solidFill>
                          <a:latin typeface="Lato" panose="020F0502020204030203" pitchFamily="34" charset="0"/>
                          <a:ea typeface="Lato" panose="020F0502020204030203" pitchFamily="34" charset="0"/>
                          <a:cs typeface="Lato" panose="020F0502020204030203" pitchFamily="34" charset="0"/>
                        </a:rPr>
                        <a:t>Impact</a:t>
                      </a: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100" b="1" i="0" kern="1200">
                          <a:solidFill>
                            <a:schemeClr val="tx1"/>
                          </a:solidFill>
                          <a:latin typeface="Lato" panose="020F0502020204030203" pitchFamily="34" charset="0"/>
                          <a:ea typeface="Lato" panose="020F0502020204030203" pitchFamily="34" charset="0"/>
                          <a:cs typeface="Lato" panose="020F0502020204030203" pitchFamily="34" charset="0"/>
                        </a:rPr>
                        <a:t>Implication on battery storage outlook</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201243">
                <a:tc rowSpan="2">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marR="0" lvl="0" indent="-17280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a:solidFill>
                            <a:srgbClr val="838383"/>
                          </a:solidFill>
                          <a:highlight>
                            <a:srgbClr val="808080"/>
                          </a:highlight>
                          <a:latin typeface="Lato" panose="020F0502020204030203" pitchFamily="34" charset="0"/>
                          <a:ea typeface="+mn-ea"/>
                          <a:cs typeface="+mn-cs"/>
                        </a:rPr>
                        <a:t>X</a:t>
                      </a:r>
                      <a:r>
                        <a:rPr lang="en-US" sz="1100" b="1" i="0" u="none" strike="noStrike" kern="1200" baseline="0">
                          <a:solidFill>
                            <a:srgbClr val="838383"/>
                          </a:solidFill>
                          <a:highlight>
                            <a:srgbClr val="808080"/>
                          </a:highlight>
                          <a:latin typeface="Lato" panose="020F0502020204030203" pitchFamily="34" charset="0"/>
                          <a:ea typeface="+mn-ea"/>
                          <a:cs typeface="+mn-cs"/>
                        </a:rPr>
                        <a:t>limit the potential revenue for batteries</a:t>
                      </a:r>
                      <a:endParaRPr lang="en-GB" sz="1100" b="1" i="0" u="none" strike="noStrike" kern="1200" baseline="0">
                        <a:solidFill>
                          <a:srgbClr val="838383"/>
                        </a:solidFill>
                        <a:highlight>
                          <a:srgbClr val="808080"/>
                        </a:highlight>
                        <a:latin typeface="Lato" panose="020F0502020204030203" pitchFamily="34" charset="0"/>
                        <a:ea typeface="+mn-ea"/>
                        <a:cs typeface="+mn-cs"/>
                      </a:endParaRP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F7F7F"/>
                    </a:solidFill>
                  </a:tcPr>
                </a:tc>
                <a:extLst>
                  <a:ext uri="{0D108BD9-81ED-4DB2-BD59-A6C34878D82A}">
                    <a16:rowId xmlns:a16="http://schemas.microsoft.com/office/drawing/2014/main" val="3020355452"/>
                  </a:ext>
                </a:extLst>
              </a:tr>
              <a:tr h="201243">
                <a:tc vMerge="1">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marR="0" lvl="0" indent="-17280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Favourable for batteries with faster build times than other techs</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3295213106"/>
                  </a:ext>
                </a:extLst>
              </a:tr>
              <a:tr h="201243">
                <a:tc rowSpan="2">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2">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marR="0" lvl="0" indent="-17280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May limit private investment potential, but </a:t>
                      </a:r>
                      <a:r>
                        <a:rPr lang="en-GB" sz="1100" b="1" i="0" u="none" strike="noStrike" kern="1200" baseline="0">
                          <a:solidFill>
                            <a:srgbClr val="838383"/>
                          </a:solidFill>
                          <a:highlight>
                            <a:srgbClr val="808080"/>
                          </a:highlight>
                          <a:latin typeface="Lato" panose="020F0502020204030203" pitchFamily="34" charset="0"/>
                        </a:rPr>
                        <a:t>X   X</a:t>
                      </a:r>
                      <a:endParaRPr lang="en-GB" sz="1100" b="0">
                        <a:latin typeface="+mn-lt"/>
                      </a:endParaRP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F7F7F"/>
                    </a:solidFill>
                  </a:tcPr>
                </a:tc>
                <a:extLst>
                  <a:ext uri="{0D108BD9-81ED-4DB2-BD59-A6C34878D82A}">
                    <a16:rowId xmlns:a16="http://schemas.microsoft.com/office/drawing/2014/main" val="579004005"/>
                  </a:ext>
                </a:extLst>
              </a:tr>
              <a:tr h="331458">
                <a:tc vMerge="1">
                  <a:txBody>
                    <a:bodyPr/>
                    <a:lstStyle/>
                    <a:p>
                      <a:endParaRPr lang="en-GB"/>
                    </a:p>
                  </a:txBody>
                  <a:tcPr/>
                </a:tc>
                <a:tc vMerge="1">
                  <a:txBody>
                    <a:bodyPr/>
                    <a:lstStyle/>
                    <a:p>
                      <a:endParaRPr lang="en-GB"/>
                    </a:p>
                  </a:txBody>
                  <a:tcPr/>
                </a:tc>
                <a:tc>
                  <a:txBody>
                    <a:bodyPr/>
                    <a:lstStyle/>
                    <a:p>
                      <a:pPr marL="172800" marR="0" lvl="0" indent="-17280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Opportunity for contractual revenues for co-located storage</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2448675230"/>
                  </a:ext>
                </a:extLst>
              </a:tr>
              <a:tr h="201243">
                <a:tc rowSpan="2">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marR="0" lvl="0" indent="-17280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Additional markets provide significant uplift for business cases</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3651395344"/>
                  </a:ext>
                </a:extLst>
              </a:tr>
              <a:tr h="201243">
                <a:tc vMerge="1">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marR="0" lvl="0" indent="-17280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Additional contracted revenues will be available, on top of the CM</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3214930558"/>
                  </a:ext>
                </a:extLst>
              </a:tr>
              <a:tr h="446574">
                <a:tc rowSpan="2">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indent="-172800" algn="l" rtl="0" fontAlgn="b">
                        <a:spcAft>
                          <a:spcPts val="0"/>
                        </a:spcAft>
                        <a:buFont typeface="Wingdings" panose="05000000000000000000" pitchFamily="2" charset="2"/>
                        <a:buChar char="§"/>
                      </a:pPr>
                      <a:endParaRPr lang="en-GB" sz="1100" kern="120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Batteries would not be able to access capacity market revenues and could see reduced spreads from higher thermal baseload capacity </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extLst>
                  <a:ext uri="{0D108BD9-81ED-4DB2-BD59-A6C34878D82A}">
                    <a16:rowId xmlns:a16="http://schemas.microsoft.com/office/drawing/2014/main" val="3130572902"/>
                  </a:ext>
                </a:extLst>
              </a:tr>
              <a:tr h="461674">
                <a:tc vMerge="1">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marR="0" lvl="0" indent="-17280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kern="120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The exemption will still apply for BESS with X   X; X   Xintroduces potential new revenue stream; the X   X outlines action points to support batteries, but no capacity targets</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2286880521"/>
                  </a:ext>
                </a:extLst>
              </a:tr>
              <a:tr h="331458">
                <a:tc rowSpan="3">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indent="-172800" algn="l" rtl="0">
                        <a:spcAft>
                          <a:spcPts val="0"/>
                        </a:spcAft>
                        <a:buFont typeface="Wingdings" panose="05000000000000000000" pitchFamily="2" charset="2"/>
                        <a:buChar char="§"/>
                      </a:pPr>
                      <a:endParaRPr lang="en-GB" sz="1100" kern="120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X   Xwould introduce uncertainty for battery margins, subject to </a:t>
                      </a:r>
                    </a:p>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X        X</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58185541"/>
                  </a:ext>
                </a:extLst>
              </a:tr>
              <a:tr h="446574">
                <a:tc vMerge="1">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indent="-172800" algn="l" rtl="0">
                        <a:spcAft>
                          <a:spcPts val="0"/>
                        </a:spcAft>
                        <a:buFont typeface="Wingdings" panose="05000000000000000000" pitchFamily="2" charset="2"/>
                        <a:buChar char="§"/>
                      </a:pPr>
                      <a:endParaRPr lang="en-GB" sz="1100" kern="120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Increased complexity of bids in X   Xprocurement could generate upsides, but depends on strategy or automation employed</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22729525"/>
                  </a:ext>
                </a:extLst>
              </a:tr>
              <a:tr h="331458">
                <a:tc vMerge="1">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indent="-172800" algn="l" rtl="0">
                        <a:spcAft>
                          <a:spcPts val="0"/>
                        </a:spcAft>
                        <a:buFont typeface="Wingdings" panose="05000000000000000000" pitchFamily="2" charset="2"/>
                        <a:buChar char="§"/>
                      </a:pPr>
                      <a:endParaRPr lang="en-GB" sz="1100" kern="120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Increased likelihood of bids from smaller assets such as batteries to be accepted in the X   X</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2519675307"/>
                  </a:ext>
                </a:extLst>
              </a:tr>
              <a:tr h="331458">
                <a:tc>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marR="0" lvl="0" indent="-1728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1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The X   X may lead to a less optimal trading profiles and lower revenues for batteries </a:t>
                      </a:r>
                    </a:p>
                  </a:txBody>
                  <a:tcPr marL="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extLst>
                  <a:ext uri="{0D108BD9-81ED-4DB2-BD59-A6C34878D82A}">
                    <a16:rowId xmlns:a16="http://schemas.microsoft.com/office/drawing/2014/main" val="4257353843"/>
                  </a:ext>
                </a:extLst>
              </a:tr>
              <a:tr h="327597">
                <a:tc>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2800" marR="0" lvl="0" indent="-1728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1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1" i="0" u="none" strike="noStrike" kern="1200" baseline="0">
                          <a:solidFill>
                            <a:srgbClr val="838383"/>
                          </a:solidFill>
                          <a:highlight>
                            <a:srgbClr val="808080"/>
                          </a:highlight>
                          <a:latin typeface="Lato" panose="020F0502020204030203" pitchFamily="34" charset="0"/>
                          <a:ea typeface="+mn-ea"/>
                          <a:cs typeface="+mn-cs"/>
                        </a:rPr>
                        <a:t>Availability of long-term contracted revenue and X   X likely to incentivise rapid battery deployment</a:t>
                      </a:r>
                    </a:p>
                  </a:txBody>
                  <a:tcPr marL="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3645770449"/>
                  </a:ext>
                </a:extLst>
              </a:tr>
            </a:tbl>
          </a:graphicData>
        </a:graphic>
      </p:graphicFrame>
      <p:sp>
        <p:nvSpPr>
          <p:cNvPr id="47" name="Oval 46">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49" name="Oval 48">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 name="Oval 18">
            <a:extLst>
              <a:ext uri="{FF2B5EF4-FFF2-40B4-BE49-F238E27FC236}">
                <a16:creationId xmlns:a16="http://schemas.microsoft.com/office/drawing/2014/main" id="{05981825-4376-878F-B997-29B8BC5FA3E3}"/>
              </a:ext>
            </a:extLst>
          </p:cNvPr>
          <p:cNvSpPr/>
          <p:nvPr>
            <p:custDataLst>
              <p:tags r:id="rId3"/>
            </p:custDataLst>
          </p:nvPr>
        </p:nvSpPr>
        <p:spPr bwMode="auto">
          <a:xfrm>
            <a:off x="7110413" y="147002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DF552A"/>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0" name="Arc 19">
            <a:extLst>
              <a:ext uri="{FF2B5EF4-FFF2-40B4-BE49-F238E27FC236}">
                <a16:creationId xmlns:a16="http://schemas.microsoft.com/office/drawing/2014/main" id="{A4034528-97CF-51FF-4ECA-6B3A1A8E9FFA}"/>
              </a:ext>
            </a:extLst>
          </p:cNvPr>
          <p:cNvSpPr/>
          <p:nvPr>
            <p:custDataLst>
              <p:tags r:id="rId4"/>
            </p:custDataLst>
          </p:nvPr>
        </p:nvSpPr>
        <p:spPr bwMode="gray">
          <a:xfrm>
            <a:off x="7110413" y="1470025"/>
            <a:ext cx="215900" cy="215898"/>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Oval 20">
            <a:extLst>
              <a:ext uri="{FF2B5EF4-FFF2-40B4-BE49-F238E27FC236}">
                <a16:creationId xmlns:a16="http://schemas.microsoft.com/office/drawing/2014/main" id="{FF457FC1-BB2A-2BB4-78D1-EC273D37A9E7}"/>
              </a:ext>
            </a:extLst>
          </p:cNvPr>
          <p:cNvSpPr/>
          <p:nvPr>
            <p:custDataLst>
              <p:tags r:id="rId5"/>
            </p:custDataLst>
          </p:nvPr>
        </p:nvSpPr>
        <p:spPr bwMode="auto">
          <a:xfrm>
            <a:off x="7110413" y="1733550"/>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2" name="Arc 21">
            <a:extLst>
              <a:ext uri="{FF2B5EF4-FFF2-40B4-BE49-F238E27FC236}">
                <a16:creationId xmlns:a16="http://schemas.microsoft.com/office/drawing/2014/main" id="{A15859AC-6AED-BBFE-00E6-412833591496}"/>
              </a:ext>
            </a:extLst>
          </p:cNvPr>
          <p:cNvSpPr/>
          <p:nvPr>
            <p:custDataLst>
              <p:tags r:id="rId6"/>
            </p:custDataLst>
          </p:nvPr>
        </p:nvSpPr>
        <p:spPr bwMode="gray">
          <a:xfrm>
            <a:off x="7110413" y="1733550"/>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Oval 22">
            <a:extLst>
              <a:ext uri="{FF2B5EF4-FFF2-40B4-BE49-F238E27FC236}">
                <a16:creationId xmlns:a16="http://schemas.microsoft.com/office/drawing/2014/main" id="{682F09D5-EC06-62C3-88EA-F48C3E0762B5}"/>
              </a:ext>
            </a:extLst>
          </p:cNvPr>
          <p:cNvSpPr/>
          <p:nvPr>
            <p:custDataLst>
              <p:tags r:id="rId7"/>
            </p:custDataLst>
          </p:nvPr>
        </p:nvSpPr>
        <p:spPr bwMode="auto">
          <a:xfrm>
            <a:off x="7110413" y="199072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4" name="Arc 23">
            <a:extLst>
              <a:ext uri="{FF2B5EF4-FFF2-40B4-BE49-F238E27FC236}">
                <a16:creationId xmlns:a16="http://schemas.microsoft.com/office/drawing/2014/main" id="{A23F2840-2753-1A84-D609-33866F6C7630}"/>
              </a:ext>
            </a:extLst>
          </p:cNvPr>
          <p:cNvSpPr/>
          <p:nvPr>
            <p:custDataLst>
              <p:tags r:id="rId8"/>
            </p:custDataLst>
          </p:nvPr>
        </p:nvSpPr>
        <p:spPr bwMode="gray">
          <a:xfrm>
            <a:off x="7110413" y="1990725"/>
            <a:ext cx="215900" cy="215898"/>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 name="Oval 40">
            <a:extLst>
              <a:ext uri="{FF2B5EF4-FFF2-40B4-BE49-F238E27FC236}">
                <a16:creationId xmlns:a16="http://schemas.microsoft.com/office/drawing/2014/main" id="{BE79BB32-A9ED-711E-326F-93D7D88C4358}"/>
              </a:ext>
            </a:extLst>
          </p:cNvPr>
          <p:cNvSpPr/>
          <p:nvPr>
            <p:custDataLst>
              <p:tags r:id="rId9"/>
            </p:custDataLst>
          </p:nvPr>
        </p:nvSpPr>
        <p:spPr bwMode="auto">
          <a:xfrm>
            <a:off x="7110413" y="2535238"/>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2" name="Arc 41">
            <a:extLst>
              <a:ext uri="{FF2B5EF4-FFF2-40B4-BE49-F238E27FC236}">
                <a16:creationId xmlns:a16="http://schemas.microsoft.com/office/drawing/2014/main" id="{71947C53-5896-DFED-88FD-5F8E243C1F33}"/>
              </a:ext>
            </a:extLst>
          </p:cNvPr>
          <p:cNvSpPr/>
          <p:nvPr>
            <p:custDataLst>
              <p:tags r:id="rId10"/>
            </p:custDataLst>
          </p:nvPr>
        </p:nvSpPr>
        <p:spPr bwMode="gray">
          <a:xfrm>
            <a:off x="7110413" y="2535238"/>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4" name="Oval 43">
            <a:extLst>
              <a:ext uri="{FF2B5EF4-FFF2-40B4-BE49-F238E27FC236}">
                <a16:creationId xmlns:a16="http://schemas.microsoft.com/office/drawing/2014/main" id="{ABD24ED4-CC78-28C8-5590-6D9536BB4DD5}"/>
              </a:ext>
            </a:extLst>
          </p:cNvPr>
          <p:cNvSpPr/>
          <p:nvPr>
            <p:custDataLst>
              <p:tags r:id="rId11"/>
            </p:custDataLst>
          </p:nvPr>
        </p:nvSpPr>
        <p:spPr bwMode="auto">
          <a:xfrm>
            <a:off x="7110413" y="282257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5" name="Arc 44">
            <a:extLst>
              <a:ext uri="{FF2B5EF4-FFF2-40B4-BE49-F238E27FC236}">
                <a16:creationId xmlns:a16="http://schemas.microsoft.com/office/drawing/2014/main" id="{0E1B1B9B-AEA2-4B35-8ED1-703006C64A11}"/>
              </a:ext>
            </a:extLst>
          </p:cNvPr>
          <p:cNvSpPr/>
          <p:nvPr>
            <p:custDataLst>
              <p:tags r:id="rId12"/>
            </p:custDataLst>
          </p:nvPr>
        </p:nvSpPr>
        <p:spPr bwMode="gray">
          <a:xfrm>
            <a:off x="7110413" y="2822575"/>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6" name="Oval 45">
            <a:extLst>
              <a:ext uri="{FF2B5EF4-FFF2-40B4-BE49-F238E27FC236}">
                <a16:creationId xmlns:a16="http://schemas.microsoft.com/office/drawing/2014/main" id="{820F4D3C-3F61-0DCA-C644-605C9BC10F9C}"/>
              </a:ext>
            </a:extLst>
          </p:cNvPr>
          <p:cNvSpPr/>
          <p:nvPr>
            <p:custDataLst>
              <p:tags r:id="rId13"/>
            </p:custDataLst>
          </p:nvPr>
        </p:nvSpPr>
        <p:spPr bwMode="auto">
          <a:xfrm>
            <a:off x="7110413" y="321627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1" name="Arc 50">
            <a:extLst>
              <a:ext uri="{FF2B5EF4-FFF2-40B4-BE49-F238E27FC236}">
                <a16:creationId xmlns:a16="http://schemas.microsoft.com/office/drawing/2014/main" id="{187A16E6-EB5C-6401-976E-1C9BF0BD1181}"/>
              </a:ext>
            </a:extLst>
          </p:cNvPr>
          <p:cNvSpPr/>
          <p:nvPr>
            <p:custDataLst>
              <p:tags r:id="rId14"/>
            </p:custDataLst>
          </p:nvPr>
        </p:nvSpPr>
        <p:spPr bwMode="gray">
          <a:xfrm>
            <a:off x="7110413" y="3216275"/>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2" name="Oval 51">
            <a:extLst>
              <a:ext uri="{FF2B5EF4-FFF2-40B4-BE49-F238E27FC236}">
                <a16:creationId xmlns:a16="http://schemas.microsoft.com/office/drawing/2014/main" id="{9B96D596-B2B9-9488-5770-5B29E13E5DE6}"/>
              </a:ext>
            </a:extLst>
          </p:cNvPr>
          <p:cNvSpPr/>
          <p:nvPr>
            <p:custDataLst>
              <p:tags r:id="rId15"/>
            </p:custDataLst>
          </p:nvPr>
        </p:nvSpPr>
        <p:spPr bwMode="auto">
          <a:xfrm>
            <a:off x="7110413" y="3765550"/>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3" name="Arc 52">
            <a:extLst>
              <a:ext uri="{FF2B5EF4-FFF2-40B4-BE49-F238E27FC236}">
                <a16:creationId xmlns:a16="http://schemas.microsoft.com/office/drawing/2014/main" id="{413CA2BD-D98E-179B-D98C-88CA6780A8F5}"/>
              </a:ext>
            </a:extLst>
          </p:cNvPr>
          <p:cNvSpPr/>
          <p:nvPr>
            <p:custDataLst>
              <p:tags r:id="rId16"/>
            </p:custDataLst>
          </p:nvPr>
        </p:nvSpPr>
        <p:spPr bwMode="gray">
          <a:xfrm>
            <a:off x="7110413" y="3765550"/>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4" name="Oval 53">
            <a:extLst>
              <a:ext uri="{FF2B5EF4-FFF2-40B4-BE49-F238E27FC236}">
                <a16:creationId xmlns:a16="http://schemas.microsoft.com/office/drawing/2014/main" id="{1C3E2CCE-54FB-DEF5-0D0F-E0466E2B52D3}"/>
              </a:ext>
            </a:extLst>
          </p:cNvPr>
          <p:cNvSpPr/>
          <p:nvPr>
            <p:custDataLst>
              <p:tags r:id="rId17"/>
            </p:custDataLst>
          </p:nvPr>
        </p:nvSpPr>
        <p:spPr bwMode="auto">
          <a:xfrm>
            <a:off x="7110413" y="425767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5" name="Arc 54">
            <a:extLst>
              <a:ext uri="{FF2B5EF4-FFF2-40B4-BE49-F238E27FC236}">
                <a16:creationId xmlns:a16="http://schemas.microsoft.com/office/drawing/2014/main" id="{B10E6B0C-1B7B-C037-A718-6D3A224F506D}"/>
              </a:ext>
            </a:extLst>
          </p:cNvPr>
          <p:cNvSpPr/>
          <p:nvPr>
            <p:custDataLst>
              <p:tags r:id="rId18"/>
            </p:custDataLst>
          </p:nvPr>
        </p:nvSpPr>
        <p:spPr bwMode="gray">
          <a:xfrm>
            <a:off x="7110413" y="4257675"/>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8" name="Oval 57">
            <a:extLst>
              <a:ext uri="{FF2B5EF4-FFF2-40B4-BE49-F238E27FC236}">
                <a16:creationId xmlns:a16="http://schemas.microsoft.com/office/drawing/2014/main" id="{93B44007-303D-05C4-1F16-2D36A82E900A}"/>
              </a:ext>
            </a:extLst>
          </p:cNvPr>
          <p:cNvSpPr/>
          <p:nvPr>
            <p:custDataLst>
              <p:tags r:id="rId19"/>
            </p:custDataLst>
          </p:nvPr>
        </p:nvSpPr>
        <p:spPr bwMode="auto">
          <a:xfrm>
            <a:off x="7110413" y="5126038"/>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59" name="Arc 58">
            <a:extLst>
              <a:ext uri="{FF2B5EF4-FFF2-40B4-BE49-F238E27FC236}">
                <a16:creationId xmlns:a16="http://schemas.microsoft.com/office/drawing/2014/main" id="{186E0340-AB27-F739-6EDA-30E64D1FD28F}"/>
              </a:ext>
            </a:extLst>
          </p:cNvPr>
          <p:cNvSpPr/>
          <p:nvPr>
            <p:custDataLst>
              <p:tags r:id="rId20"/>
            </p:custDataLst>
          </p:nvPr>
        </p:nvSpPr>
        <p:spPr bwMode="gray">
          <a:xfrm>
            <a:off x="7110413" y="5126038"/>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0" name="Oval 59">
            <a:extLst>
              <a:ext uri="{FF2B5EF4-FFF2-40B4-BE49-F238E27FC236}">
                <a16:creationId xmlns:a16="http://schemas.microsoft.com/office/drawing/2014/main" id="{5A65B9D5-B0DE-C5A0-1CD8-17F177776B1D}"/>
              </a:ext>
            </a:extLst>
          </p:cNvPr>
          <p:cNvSpPr/>
          <p:nvPr>
            <p:custDataLst>
              <p:tags r:id="rId21"/>
            </p:custDataLst>
          </p:nvPr>
        </p:nvSpPr>
        <p:spPr bwMode="auto">
          <a:xfrm>
            <a:off x="7110413" y="5499100"/>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1" name="Arc 60">
            <a:extLst>
              <a:ext uri="{FF2B5EF4-FFF2-40B4-BE49-F238E27FC236}">
                <a16:creationId xmlns:a16="http://schemas.microsoft.com/office/drawing/2014/main" id="{EBF65D91-8FD9-31A6-E4A0-7269075F64C3}"/>
              </a:ext>
            </a:extLst>
          </p:cNvPr>
          <p:cNvSpPr/>
          <p:nvPr>
            <p:custDataLst>
              <p:tags r:id="rId22"/>
            </p:custDataLst>
          </p:nvPr>
        </p:nvSpPr>
        <p:spPr bwMode="gray">
          <a:xfrm>
            <a:off x="7110413" y="5499100"/>
            <a:ext cx="215900" cy="215898"/>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Oval 61">
            <a:extLst>
              <a:ext uri="{FF2B5EF4-FFF2-40B4-BE49-F238E27FC236}">
                <a16:creationId xmlns:a16="http://schemas.microsoft.com/office/drawing/2014/main" id="{8E35C141-5CEB-81B6-1CF1-014456045725}"/>
              </a:ext>
            </a:extLst>
          </p:cNvPr>
          <p:cNvSpPr/>
          <p:nvPr>
            <p:custDataLst>
              <p:tags r:id="rId23"/>
            </p:custDataLst>
          </p:nvPr>
        </p:nvSpPr>
        <p:spPr bwMode="auto">
          <a:xfrm>
            <a:off x="7110413" y="5956300"/>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3" name="Arc 62">
            <a:extLst>
              <a:ext uri="{FF2B5EF4-FFF2-40B4-BE49-F238E27FC236}">
                <a16:creationId xmlns:a16="http://schemas.microsoft.com/office/drawing/2014/main" id="{A81A3780-B973-47D0-31A5-E68A07A2F87C}"/>
              </a:ext>
            </a:extLst>
          </p:cNvPr>
          <p:cNvSpPr/>
          <p:nvPr>
            <p:custDataLst>
              <p:tags r:id="rId24"/>
            </p:custDataLst>
          </p:nvPr>
        </p:nvSpPr>
        <p:spPr bwMode="gray">
          <a:xfrm>
            <a:off x="7110413" y="5956300"/>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6" name="Oval 65">
            <a:extLst>
              <a:ext uri="{FF2B5EF4-FFF2-40B4-BE49-F238E27FC236}">
                <a16:creationId xmlns:a16="http://schemas.microsoft.com/office/drawing/2014/main" id="{C51E042E-24D1-EEA7-14AA-3C9AD4E4A492}"/>
              </a:ext>
            </a:extLst>
          </p:cNvPr>
          <p:cNvSpPr/>
          <p:nvPr>
            <p:custDataLst>
              <p:tags r:id="rId25"/>
            </p:custDataLst>
          </p:nvPr>
        </p:nvSpPr>
        <p:spPr bwMode="auto">
          <a:xfrm>
            <a:off x="7110413" y="467677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7" name="Arc 66">
            <a:extLst>
              <a:ext uri="{FF2B5EF4-FFF2-40B4-BE49-F238E27FC236}">
                <a16:creationId xmlns:a16="http://schemas.microsoft.com/office/drawing/2014/main" id="{0122D5AF-F788-C407-07D1-7E2C27F4D6C1}"/>
              </a:ext>
            </a:extLst>
          </p:cNvPr>
          <p:cNvSpPr/>
          <p:nvPr>
            <p:custDataLst>
              <p:tags r:id="rId26"/>
            </p:custDataLst>
          </p:nvPr>
        </p:nvSpPr>
        <p:spPr bwMode="gray">
          <a:xfrm>
            <a:off x="7110413" y="4676775"/>
            <a:ext cx="215900" cy="215898"/>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6" name="Oval 85">
            <a:extLst>
              <a:ext uri="{FF2B5EF4-FFF2-40B4-BE49-F238E27FC236}">
                <a16:creationId xmlns:a16="http://schemas.microsoft.com/office/drawing/2014/main" id="{458CE39A-84F9-8B0B-91FE-F9ABA3F6CFAC}"/>
              </a:ext>
            </a:extLst>
          </p:cNvPr>
          <p:cNvSpPr/>
          <p:nvPr>
            <p:custDataLst>
              <p:tags r:id="rId27"/>
            </p:custDataLst>
          </p:nvPr>
        </p:nvSpPr>
        <p:spPr bwMode="auto">
          <a:xfrm>
            <a:off x="7110413" y="2255838"/>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89" name="Arc 88">
            <a:extLst>
              <a:ext uri="{FF2B5EF4-FFF2-40B4-BE49-F238E27FC236}">
                <a16:creationId xmlns:a16="http://schemas.microsoft.com/office/drawing/2014/main" id="{56DF815A-32A6-8460-D625-0BF8CD23A95C}"/>
              </a:ext>
            </a:extLst>
          </p:cNvPr>
          <p:cNvSpPr/>
          <p:nvPr>
            <p:custDataLst>
              <p:tags r:id="rId28"/>
            </p:custDataLst>
          </p:nvPr>
        </p:nvSpPr>
        <p:spPr bwMode="gray">
          <a:xfrm>
            <a:off x="7110413" y="2255838"/>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Rectangle 1">
            <a:extLst>
              <a:ext uri="{FF2B5EF4-FFF2-40B4-BE49-F238E27FC236}">
                <a16:creationId xmlns:a16="http://schemas.microsoft.com/office/drawing/2014/main" id="{3447FF5E-9533-24C1-E364-C625D631D4A3}"/>
              </a:ext>
            </a:extLst>
          </p:cNvPr>
          <p:cNvSpPr/>
          <p:nvPr/>
        </p:nvSpPr>
        <p:spPr>
          <a:xfrm>
            <a:off x="7110413" y="1384663"/>
            <a:ext cx="4754481" cy="4968000"/>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88215794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CA494D8-FD14-8D35-B644-9C322EFCAF7F}"/>
              </a:ext>
            </a:extLst>
          </p:cNvPr>
          <p:cNvGraphicFramePr>
            <a:graphicFrameLocks noChangeAspect="1"/>
          </p:cNvGraphicFramePr>
          <p:nvPr>
            <p:custDataLst>
              <p:tags r:id="rId1"/>
            </p:custDataLst>
            <p:extLst>
              <p:ext uri="{D42A27DB-BD31-4B8C-83A1-F6EECF244321}">
                <p14:modId xmlns:p14="http://schemas.microsoft.com/office/powerpoint/2010/main" val="1188808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06" imgH="306" progId="TCLayout.ActiveDocument.1">
                  <p:embed/>
                </p:oleObj>
              </mc:Choice>
              <mc:Fallback>
                <p:oleObj name="think-cell Slide" r:id="rId27" imgW="306" imgH="306" progId="TCLayout.ActiveDocument.1">
                  <p:embed/>
                  <p:pic>
                    <p:nvPicPr>
                      <p:cNvPr id="7" name="Object 6" hidden="1">
                        <a:extLst>
                          <a:ext uri="{FF2B5EF4-FFF2-40B4-BE49-F238E27FC236}">
                            <a16:creationId xmlns:a16="http://schemas.microsoft.com/office/drawing/2014/main" id="{CCA494D8-FD14-8D35-B644-9C322EFCAF7F}"/>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FEA282A-64C8-424F-EEF5-4FC3B02549FB}"/>
              </a:ext>
            </a:extLst>
          </p:cNvPr>
          <p:cNvSpPr>
            <a:spLocks noGrp="1"/>
          </p:cNvSpPr>
          <p:nvPr>
            <p:ph type="body" sz="quarter" idx="22"/>
          </p:nvPr>
        </p:nvSpPr>
        <p:spPr>
          <a:xfrm>
            <a:off x="381001" y="6715169"/>
            <a:ext cx="1500411" cy="110800"/>
          </a:xfrm>
        </p:spPr>
        <p:txBody>
          <a:bodyPr/>
          <a:lstStyle/>
          <a:p>
            <a:r>
              <a:rPr lang="en-GB"/>
              <a:t>Sources: Aurora Energy Research</a:t>
            </a:r>
          </a:p>
        </p:txBody>
      </p:sp>
      <p:sp>
        <p:nvSpPr>
          <p:cNvPr id="4" name="Title 3">
            <a:extLst>
              <a:ext uri="{FF2B5EF4-FFF2-40B4-BE49-F238E27FC236}">
                <a16:creationId xmlns:a16="http://schemas.microsoft.com/office/drawing/2014/main" id="{40EE6488-38E2-7F64-21A2-E13AE395C04E}"/>
              </a:ext>
            </a:extLst>
          </p:cNvPr>
          <p:cNvSpPr>
            <a:spLocks noGrp="1"/>
          </p:cNvSpPr>
          <p:nvPr>
            <p:ph type="title"/>
          </p:nvPr>
        </p:nvSpPr>
        <p:spPr/>
        <p:txBody>
          <a:bodyPr vert="horz"/>
          <a:lstStyle/>
          <a:p>
            <a:r>
              <a:rPr lang="en-GB"/>
              <a:t>Ongoing regulatory developments within certain markets present both opportunities and challenges for battery assets (2/2)</a:t>
            </a:r>
          </a:p>
        </p:txBody>
      </p:sp>
      <p:sp>
        <p:nvSpPr>
          <p:cNvPr id="5" name="Text Placeholder 4">
            <a:extLst>
              <a:ext uri="{FF2B5EF4-FFF2-40B4-BE49-F238E27FC236}">
                <a16:creationId xmlns:a16="http://schemas.microsoft.com/office/drawing/2014/main" id="{206E64C7-5E34-7EB6-FF75-24DC2719FBAE}"/>
              </a:ext>
            </a:extLst>
          </p:cNvPr>
          <p:cNvSpPr>
            <a:spLocks noGrp="1"/>
          </p:cNvSpPr>
          <p:nvPr>
            <p:ph type="body" sz="quarter" idx="32"/>
          </p:nvPr>
        </p:nvSpPr>
        <p:spPr>
          <a:xfrm>
            <a:off x="381600" y="6474841"/>
            <a:ext cx="11428800" cy="110800"/>
          </a:xfrm>
        </p:spPr>
        <p:txBody>
          <a:bodyPr/>
          <a:lstStyle/>
          <a:p>
            <a:endParaRPr lang="en-GB"/>
          </a:p>
        </p:txBody>
      </p:sp>
      <p:sp>
        <p:nvSpPr>
          <p:cNvPr id="6" name="Text Placeholder 5">
            <a:extLst>
              <a:ext uri="{FF2B5EF4-FFF2-40B4-BE49-F238E27FC236}">
                <a16:creationId xmlns:a16="http://schemas.microsoft.com/office/drawing/2014/main" id="{20D9C7CF-2164-D684-B17B-FB946DEF8443}"/>
              </a:ext>
            </a:extLst>
          </p:cNvPr>
          <p:cNvSpPr>
            <a:spLocks noGrp="1"/>
          </p:cNvSpPr>
          <p:nvPr>
            <p:ph type="body" sz="quarter" idx="31"/>
          </p:nvPr>
        </p:nvSpPr>
        <p:spPr>
          <a:xfrm>
            <a:off x="381599" y="79401"/>
            <a:ext cx="5606022" cy="184666"/>
          </a:xfrm>
        </p:spPr>
        <p:txBody>
          <a:bodyPr/>
          <a:lstStyle/>
          <a:p>
            <a:r>
              <a:rPr lang="en-GB"/>
              <a:t>		Policy and regulatory environment - Regulatory challenges and opportunities</a:t>
            </a:r>
          </a:p>
        </p:txBody>
      </p:sp>
      <p:graphicFrame>
        <p:nvGraphicFramePr>
          <p:cNvPr id="9" name="Tabelle 7">
            <a:extLst>
              <a:ext uri="{FF2B5EF4-FFF2-40B4-BE49-F238E27FC236}">
                <a16:creationId xmlns:a16="http://schemas.microsoft.com/office/drawing/2014/main" id="{ABF00135-7201-735D-12E9-3D6D5A9D0B2B}"/>
              </a:ext>
            </a:extLst>
          </p:cNvPr>
          <p:cNvGraphicFramePr>
            <a:graphicFrameLocks noGrp="1"/>
          </p:cNvGraphicFramePr>
          <p:nvPr>
            <p:custDataLst>
              <p:tags r:id="rId2"/>
            </p:custDataLst>
            <p:extLst>
              <p:ext uri="{D42A27DB-BD31-4B8C-83A1-F6EECF244321}">
                <p14:modId xmlns:p14="http://schemas.microsoft.com/office/powerpoint/2010/main" val="4029847124"/>
              </p:ext>
            </p:extLst>
          </p:nvPr>
        </p:nvGraphicFramePr>
        <p:xfrm>
          <a:off x="392815" y="1162049"/>
          <a:ext cx="11484000" cy="5198894"/>
        </p:xfrm>
        <a:graphic>
          <a:graphicData uri="http://schemas.openxmlformats.org/drawingml/2006/table">
            <a:tbl>
              <a:tblPr firstRow="1" bandRow="1">
                <a:effectLst/>
                <a:tableStyleId>{5C22544A-7EE6-4342-B048-85BDC9FD1C3A}</a:tableStyleId>
              </a:tblPr>
              <a:tblGrid>
                <a:gridCol w="1224000">
                  <a:extLst>
                    <a:ext uri="{9D8B030D-6E8A-4147-A177-3AD203B41FA5}">
                      <a16:colId xmlns:a16="http://schemas.microsoft.com/office/drawing/2014/main" val="20000"/>
                    </a:ext>
                  </a:extLst>
                </a:gridCol>
                <a:gridCol w="122400">
                  <a:extLst>
                    <a:ext uri="{9D8B030D-6E8A-4147-A177-3AD203B41FA5}">
                      <a16:colId xmlns:a16="http://schemas.microsoft.com/office/drawing/2014/main" val="2133620686"/>
                    </a:ext>
                  </a:extLst>
                </a:gridCol>
                <a:gridCol w="5216400">
                  <a:extLst>
                    <a:ext uri="{9D8B030D-6E8A-4147-A177-3AD203B41FA5}">
                      <a16:colId xmlns:a16="http://schemas.microsoft.com/office/drawing/2014/main" val="2503764876"/>
                    </a:ext>
                  </a:extLst>
                </a:gridCol>
                <a:gridCol w="558000">
                  <a:extLst>
                    <a:ext uri="{9D8B030D-6E8A-4147-A177-3AD203B41FA5}">
                      <a16:colId xmlns:a16="http://schemas.microsoft.com/office/drawing/2014/main" val="3499584609"/>
                    </a:ext>
                  </a:extLst>
                </a:gridCol>
                <a:gridCol w="4363200">
                  <a:extLst>
                    <a:ext uri="{9D8B030D-6E8A-4147-A177-3AD203B41FA5}">
                      <a16:colId xmlns:a16="http://schemas.microsoft.com/office/drawing/2014/main" val="2205481672"/>
                    </a:ext>
                  </a:extLst>
                </a:gridCol>
              </a:tblGrid>
              <a:tr h="255727">
                <a:tc>
                  <a:txBody>
                    <a:bodyPr/>
                    <a:lstStyle/>
                    <a:p>
                      <a:pPr algn="ctr" rtl="0"/>
                      <a:r>
                        <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gion</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100" b="1" i="0" kern="1200">
                          <a:solidFill>
                            <a:schemeClr val="tx1"/>
                          </a:solidFill>
                          <a:latin typeface="Lato" panose="020F0502020204030203" pitchFamily="34" charset="0"/>
                          <a:ea typeface="Lato" panose="020F0502020204030203" pitchFamily="34" charset="0"/>
                          <a:cs typeface="Lato" panose="020F0502020204030203" pitchFamily="34" charset="0"/>
                        </a:rPr>
                        <a:t>Market developmen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100" b="1" i="0" kern="1200">
                          <a:solidFill>
                            <a:schemeClr val="tx1"/>
                          </a:solidFill>
                          <a:latin typeface="Lato" panose="020F0502020204030203" pitchFamily="34" charset="0"/>
                          <a:ea typeface="Lato" panose="020F0502020204030203" pitchFamily="34" charset="0"/>
                          <a:cs typeface="Lato" panose="020F0502020204030203" pitchFamily="34" charset="0"/>
                        </a:rPr>
                        <a:t>Impact</a:t>
                      </a: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latinLnBrk="0" hangingPunct="1"/>
                      <a:r>
                        <a:rPr lang="en-GB" sz="1100" b="1" i="0" kern="1200">
                          <a:solidFill>
                            <a:schemeClr val="tx1"/>
                          </a:solidFill>
                          <a:latin typeface="Lato" panose="020F0502020204030203" pitchFamily="34" charset="0"/>
                          <a:ea typeface="Lato" panose="020F0502020204030203" pitchFamily="34" charset="0"/>
                          <a:cs typeface="Lato" panose="020F0502020204030203" pitchFamily="34" charset="0"/>
                        </a:rPr>
                        <a:t>Impact on battery storage outlook</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458781">
                <a:tc rowSpan="2">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lang="en-GB" sz="11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7325" indent="0" algn="l" rtl="0" fontAlgn="b">
                        <a:spcAft>
                          <a:spcPts val="300"/>
                        </a:spcAft>
                        <a:buClr>
                          <a:schemeClr val="bg1"/>
                        </a:buClr>
                        <a:buFont typeface="Wingdings" panose="05000000000000000000" pitchFamily="2" charset="2"/>
                        <a:buNone/>
                      </a:pPr>
                      <a:r>
                        <a:rPr lang="en-GB" sz="1100"/>
                        <a:t>The scheme will offer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a:t> to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a:t>, but at the expense of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endParaRPr lang="en-GB" sz="11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2565211136"/>
                  </a:ext>
                </a:extLst>
              </a:tr>
              <a:tr h="421201">
                <a:tc vMerge="1">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 typeface="Wingdings" panose="05000000000000000000" pitchFamily="2" charset="2"/>
                        <a:buNone/>
                        <a:tabLst/>
                        <a:defRPr/>
                      </a:pPr>
                      <a:r>
                        <a:rPr lang="en-GB" sz="1100" b="0" i="0" u="none" strike="noStrike">
                          <a:solidFill>
                            <a:schemeClr val="tx1"/>
                          </a:solidFill>
                          <a:effectLst/>
                          <a:latin typeface="+mn-lt"/>
                        </a:rPr>
                        <a:t>Potential a</a:t>
                      </a:r>
                      <a:r>
                        <a:rPr lang="en-GB" sz="1100" b="0">
                          <a:latin typeface="+mn-lt"/>
                        </a:rPr>
                        <a:t>dditional market may provide uplift for business cas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294791910"/>
                  </a:ext>
                </a:extLst>
              </a:tr>
              <a:tr h="362221">
                <a:tc rowSpan="2">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71450" marR="0" lvl="0" indent="-171450" algn="l" defTabSz="685783" rtl="0" eaLnBrk="1" fontAlgn="b" latinLnBrk="0" hangingPunct="1">
                        <a:lnSpc>
                          <a:spcPct val="100000"/>
                        </a:lnSpc>
                        <a:spcBef>
                          <a:spcPts val="0"/>
                        </a:spcBef>
                        <a:spcAft>
                          <a:spcPts val="300"/>
                        </a:spcAft>
                        <a:buClrTx/>
                        <a:buSzTx/>
                        <a:buFont typeface="Wingdings" panose="05000000000000000000" pitchFamily="2" charset="2"/>
                        <a:buChar char="§"/>
                        <a:tabLst/>
                        <a:defRPr/>
                      </a:pPr>
                      <a:endParaRPr lang="en-GB" sz="1100" kern="1200" baseline="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7325" indent="0" algn="l" rtl="0" fontAlgn="b">
                        <a:spcAft>
                          <a:spcPts val="300"/>
                        </a:spcAft>
                        <a:buClr>
                          <a:schemeClr val="bg1"/>
                        </a:buClr>
                        <a:buFont typeface="Wingdings" panose="05000000000000000000" pitchFamily="2" charset="2"/>
                        <a:buNone/>
                      </a:pPr>
                      <a:r>
                        <a:rPr lang="en-GB" sz="1100" b="0" i="0" u="none" strike="noStrike">
                          <a:solidFill>
                            <a:schemeClr val="tx1"/>
                          </a:solidFill>
                          <a:effectLst/>
                          <a:latin typeface="+mn-lt"/>
                        </a:rPr>
                        <a:t>Batteries will continue to benefit from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b="0" i="0" u="none" strike="noStrike" err="1">
                          <a:solidFill>
                            <a:schemeClr val="tx1"/>
                          </a:solidFill>
                          <a:effectLst/>
                          <a:latin typeface="+mn-lt"/>
                        </a:rPr>
                        <a:t>for</a:t>
                      </a:r>
                      <a:r>
                        <a:rPr lang="en-GB" sz="1100" b="0" i="0" u="none" strike="noStrike">
                          <a:solidFill>
                            <a:schemeClr val="tx1"/>
                          </a:solidFill>
                          <a:effectLst/>
                          <a:latin typeface="+mn-lt"/>
                        </a:rPr>
                        <a:t> a longer period, though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b="0" i="0" u="none" strike="noStrike" err="1">
                          <a:solidFill>
                            <a:schemeClr val="tx1"/>
                          </a:solidFill>
                          <a:effectLst/>
                          <a:latin typeface="+mn-lt"/>
                        </a:rPr>
                        <a:t>are</a:t>
                      </a:r>
                      <a:r>
                        <a:rPr lang="en-GB" sz="1100" b="0" i="0" u="none" strike="noStrike">
                          <a:solidFill>
                            <a:schemeClr val="tx1"/>
                          </a:solidFill>
                          <a:effectLst/>
                          <a:latin typeface="+mn-lt"/>
                        </a:rPr>
                        <a:t> subject to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10001"/>
                  </a:ext>
                </a:extLst>
              </a:tr>
              <a:tr h="262020">
                <a:tc vMerge="1">
                  <a:txBody>
                    <a:bodyPr/>
                    <a:lstStyle/>
                    <a:p>
                      <a:pPr marL="0" algn="l" defTabSz="685783" rtl="0" eaLnBrk="1" fontAlgn="t" latinLnBrk="0" hangingPunct="1">
                        <a:spcAft>
                          <a:spcPts val="300"/>
                        </a:spcAft>
                      </a:pPr>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spcBef>
                          <a:spcPts val="0"/>
                        </a:spcBef>
                        <a:spcAft>
                          <a:spcPts val="300"/>
                        </a:spcAft>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0" indent="-171450" algn="l" defTabSz="685783" rtl="0" eaLnBrk="1" fontAlgn="b" latinLnBrk="0" hangingPunct="1">
                        <a:lnSpc>
                          <a:spcPct val="100000"/>
                        </a:lnSpc>
                        <a:spcBef>
                          <a:spcPts val="0"/>
                        </a:spcBef>
                        <a:spcAft>
                          <a:spcPts val="300"/>
                        </a:spcAft>
                        <a:buClrTx/>
                        <a:buSzTx/>
                        <a:buFont typeface="Wingdings" panose="05000000000000000000" pitchFamily="2" charset="2"/>
                        <a:buChar char="§"/>
                        <a:tabLst/>
                        <a:defRPr/>
                      </a:pPr>
                      <a:r>
                        <a:rPr lang="en-GB" sz="1100" kern="1200">
                          <a:solidFill>
                            <a:schemeClr val="dk1"/>
                          </a:solidFill>
                          <a:latin typeface="+mn-lt"/>
                          <a:ea typeface="+mn-ea"/>
                          <a:cs typeface="+mn-cs"/>
                        </a:rPr>
                        <a:t>SSFA</a:t>
                      </a:r>
                      <a:r>
                        <a:rPr lang="en-GB" sz="1100" kern="1200" baseline="30000">
                          <a:solidFill>
                            <a:schemeClr val="dk1"/>
                          </a:solidFill>
                          <a:latin typeface="+mn-lt"/>
                          <a:ea typeface="+mn-ea"/>
                          <a:cs typeface="+mn-cs"/>
                        </a:rPr>
                        <a:t>2 </a:t>
                      </a:r>
                      <a:r>
                        <a:rPr lang="en-GB" sz="1100" kern="1200" baseline="0">
                          <a:solidFill>
                            <a:schemeClr val="dk1"/>
                          </a:solidFill>
                          <a:latin typeface="+mn-lt"/>
                          <a:ea typeface="+mn-ea"/>
                          <a:cs typeface="+mn-cs"/>
                        </a:rPr>
                        <a:t>is delayed until early 2027</a:t>
                      </a:r>
                      <a:endParaRPr lang="en-GB" sz="1100" kern="120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7325" indent="0" algn="l" rtl="0" fontAlgn="b">
                        <a:spcAft>
                          <a:spcPts val="300"/>
                        </a:spcAft>
                        <a:buClr>
                          <a:schemeClr val="bg1"/>
                        </a:buClr>
                        <a:buFont typeface="Wingdings" panose="05000000000000000000" pitchFamily="2" charset="2"/>
                        <a:buNone/>
                      </a:pPr>
                      <a:r>
                        <a:rPr lang="en-GB" sz="1100" b="0" i="0" u="none" strike="noStrike">
                          <a:solidFill>
                            <a:schemeClr val="tx1"/>
                          </a:solidFill>
                          <a:effectLst/>
                          <a:latin typeface="+mn-lt"/>
                        </a:rPr>
                        <a:t>Batteries will continue to benefit from the lucrative regulated arrangements where availability payments are uncompetitiv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4198998"/>
                  </a:ext>
                </a:extLst>
              </a:tr>
              <a:tr h="421201">
                <a:tc rowSpan="2">
                  <a:txBody>
                    <a:bodyPr/>
                    <a:lstStyle/>
                    <a:p>
                      <a:pPr marL="0" algn="l" defTabSz="685783" rtl="0" eaLnBrk="1" fontAlgn="t" latinLnBrk="0" hangingPunct="1"/>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indent="0" algn="l" rtl="0" fontAlgn="b">
                        <a:spcAft>
                          <a:spcPts val="300"/>
                        </a:spcAft>
                        <a:buClr>
                          <a:schemeClr val="bg1"/>
                        </a:buClr>
                        <a:buFont typeface="Wingdings" panose="05000000000000000000" pitchFamily="2" charset="2"/>
                        <a:buNone/>
                      </a:pP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b="0" i="0" u="none" strike="noStrike" err="1">
                          <a:solidFill>
                            <a:schemeClr val="tx1"/>
                          </a:solidFill>
                          <a:effectLst/>
                          <a:latin typeface="+mn-lt"/>
                        </a:rPr>
                        <a:t>for</a:t>
                      </a:r>
                      <a:r>
                        <a:rPr lang="en-GB" sz="1100" b="0" i="0" u="none" strike="noStrike">
                          <a:solidFill>
                            <a:schemeClr val="tx1"/>
                          </a:solidFill>
                          <a:effectLst/>
                          <a:latin typeface="+mn-lt"/>
                        </a:rPr>
                        <a:t> batteries will boost business cases significantly, though proposed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b="0" i="0" u="none" strike="noStrike">
                          <a:solidFill>
                            <a:schemeClr val="tx1"/>
                          </a:solidFill>
                          <a:effectLst/>
                          <a:latin typeface="+mn-lt"/>
                        </a:rPr>
                        <a:t> is lower than expect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2241397750"/>
                  </a:ext>
                </a:extLst>
              </a:tr>
              <a:tr h="421175">
                <a:tc vMerge="1">
                  <a:txBody>
                    <a:bodyPr/>
                    <a:lstStyle/>
                    <a:p>
                      <a:pPr marL="0" algn="l" defTabSz="685783" rtl="0" eaLnBrk="1" fontAlgn="t" latinLnBrk="0" hangingPunct="1"/>
                      <a:endParaRPr lang="en-GB" sz="1100" b="1" i="0" u="none" strike="noStrike" kern="1200">
                        <a:solidFill>
                          <a:srgbClr val="3C3C3B"/>
                        </a:solidFill>
                        <a:effectLst/>
                        <a:latin typeface="Lato" panose="020F0502020204030203" pitchFamily="34" charset="0"/>
                        <a:ea typeface="+mn-ea"/>
                        <a:cs typeface="+mn-cs"/>
                      </a:endParaRPr>
                    </a:p>
                  </a:txBody>
                  <a:tcPr marL="396000" marR="72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a:latin typeface="+mn-lt"/>
                        <a:ea typeface="Lato"/>
                        <a:cs typeface="Lato"/>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0" algn="l" defTabSz="685783" rtl="0" eaLnBrk="1" fontAlgn="b" latinLnBrk="0" hangingPunct="1">
                        <a:lnSpc>
                          <a:spcPct val="100000"/>
                        </a:lnSpc>
                        <a:spcBef>
                          <a:spcPts val="0"/>
                        </a:spcBef>
                        <a:spcAft>
                          <a:spcPts val="300"/>
                        </a:spcAft>
                        <a:buClr>
                          <a:schemeClr val="bg1"/>
                        </a:buClr>
                        <a:buSzTx/>
                        <a:buFont typeface="Wingdings" panose="05000000000000000000" pitchFamily="2" charset="2"/>
                        <a:buNone/>
                        <a:tabLst/>
                        <a:defRPr/>
                      </a:pPr>
                      <a:r>
                        <a:rPr lang="en-GB" sz="1100" b="0" i="0" u="none" strike="noStrike">
                          <a:solidFill>
                            <a:schemeClr val="tx1"/>
                          </a:solidFill>
                          <a:effectLst/>
                          <a:latin typeface="+mn-lt"/>
                        </a:rPr>
                        <a:t>Unclear whether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b="0" i="0" u="none" strike="noStrike" err="1">
                          <a:solidFill>
                            <a:schemeClr val="tx1"/>
                          </a:solidFill>
                          <a:effectLst/>
                          <a:latin typeface="+mn-lt"/>
                        </a:rPr>
                        <a:t>may</a:t>
                      </a:r>
                      <a:r>
                        <a:rPr lang="en-GB" sz="1100" b="0" i="0" u="none" strike="noStrike">
                          <a:solidFill>
                            <a:schemeClr val="tx1"/>
                          </a:solidFill>
                          <a:effectLst/>
                          <a:latin typeface="+mn-lt"/>
                        </a:rPr>
                        <a:t> be an additional revenue steam, or whether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b="0" i="0" u="none" strike="noStrike" err="1">
                          <a:solidFill>
                            <a:schemeClr val="tx1"/>
                          </a:solidFill>
                          <a:effectLst/>
                          <a:latin typeface="+mn-lt"/>
                        </a:rPr>
                        <a:t>will</a:t>
                      </a:r>
                      <a:r>
                        <a:rPr lang="en-GB" sz="1100" b="0" i="0" u="none" strike="noStrike">
                          <a:solidFill>
                            <a:schemeClr val="tx1"/>
                          </a:solidFill>
                          <a:effectLst/>
                          <a:latin typeface="+mn-lt"/>
                        </a:rPr>
                        <a:t> be further consider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640873904"/>
                  </a:ext>
                </a:extLst>
              </a:tr>
              <a:tr h="421175">
                <a:tc rowSpan="2">
                  <a:txBody>
                    <a:bodyPr/>
                    <a:lstStyle/>
                    <a:p>
                      <a:pPr marL="0" algn="l" defTabSz="685783" rtl="0" eaLnBrk="1" fontAlgn="t" latinLnBrk="0" hangingPunct="1"/>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b" latinLnBrk="0" hangingPunct="1">
                        <a:lnSpc>
                          <a:spcPct val="100000"/>
                        </a:lnSpc>
                        <a:spcBef>
                          <a:spcPts val="0"/>
                        </a:spcBef>
                        <a:spcAft>
                          <a:spcPts val="60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0">
                          <a:latin typeface="+mn-lt"/>
                        </a:rPr>
                        <a:t>Less frequent frequency deviations decrease market size, but shorter settlement window increases battery competitivenes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706254495"/>
                  </a:ext>
                </a:extLst>
              </a:tr>
              <a:tr h="421175">
                <a:tc vMerge="1">
                  <a:txBody>
                    <a:bodyPr/>
                    <a:lstStyle/>
                    <a:p>
                      <a:pPr marL="0" algn="l" defTabSz="685783" rtl="0" eaLnBrk="1" fontAlgn="t" latinLnBrk="0" hangingPunct="1"/>
                      <a:endParaRPr lang="en-GB" sz="1100" b="1" i="0" u="none" strike="noStrike" kern="1200">
                        <a:solidFill>
                          <a:srgbClr val="3C3C3B"/>
                        </a:solidFill>
                        <a:effectLst/>
                        <a:highlight>
                          <a:srgbClr val="FFE57F"/>
                        </a:highligh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b" latinLnBrk="0" hangingPunct="1">
                        <a:lnSpc>
                          <a:spcPct val="100000"/>
                        </a:lnSpc>
                        <a:spcBef>
                          <a:spcPts val="0"/>
                        </a:spcBef>
                        <a:spcAft>
                          <a:spcPts val="60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Aft>
                          <a:spcPts val="300"/>
                        </a:spcAft>
                      </a:pPr>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Tx/>
                        <a:buNone/>
                        <a:tabLst/>
                        <a:defRPr/>
                      </a:pPr>
                      <a:r>
                        <a:rPr lang="en-GB" sz="1100" b="0">
                          <a:latin typeface="+mn-lt"/>
                        </a:rPr>
                        <a:t>Revenues, especially for shorter duration BESS, will be degraded because of the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b="0">
                          <a:latin typeface="+mn-lt"/>
                        </a:rPr>
                        <a:t> throughout the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endParaRPr lang="en-GB" sz="1100" b="0">
                        <a:latin typeface="+mn-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extLst>
                  <a:ext uri="{0D108BD9-81ED-4DB2-BD59-A6C34878D82A}">
                    <a16:rowId xmlns:a16="http://schemas.microsoft.com/office/drawing/2014/main" val="1864486981"/>
                  </a:ext>
                </a:extLst>
              </a:tr>
              <a:tr h="421175">
                <a:tc rowSpan="2">
                  <a:txBody>
                    <a:bodyPr/>
                    <a:lstStyle/>
                    <a:p>
                      <a:pPr marL="0" algn="l" defTabSz="685783" rtl="0" eaLnBrk="1" fontAlgn="t" latinLnBrk="0" hangingPunct="1"/>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a:latin typeface="+mn-lt"/>
                        <a:ea typeface="Lato"/>
                        <a:cs typeface="Lato"/>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0" algn="l" defTabSz="685783" rtl="0" eaLnBrk="1" fontAlgn="b" latinLnBrk="0" hangingPunct="1">
                        <a:lnSpc>
                          <a:spcPct val="100000"/>
                        </a:lnSpc>
                        <a:spcBef>
                          <a:spcPts val="0"/>
                        </a:spcBef>
                        <a:spcAft>
                          <a:spcPts val="300"/>
                        </a:spcAft>
                        <a:buClr>
                          <a:schemeClr val="bg1"/>
                        </a:buClr>
                        <a:buSzTx/>
                        <a:buFont typeface="Wingdings" panose="05000000000000000000" pitchFamily="2" charset="2"/>
                        <a:buNone/>
                        <a:tabLst/>
                        <a:defRPr/>
                      </a:pPr>
                      <a:r>
                        <a:rPr lang="en-GB" sz="1100"/>
                        <a:t>Introduction of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err="1"/>
                        <a:t>allows</a:t>
                      </a:r>
                      <a:r>
                        <a:rPr lang="en-GB" sz="1100"/>
                        <a:t> batteries to realise multiple revenue streams</a:t>
                      </a:r>
                      <a:endParaRPr lang="en-GB" sz="1100" b="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3424691195"/>
                  </a:ext>
                </a:extLst>
              </a:tr>
              <a:tr h="407556">
                <a:tc vMerge="1">
                  <a:txBody>
                    <a:bodyPr/>
                    <a:lstStyle/>
                    <a:p>
                      <a:pPr marL="0" algn="l" defTabSz="685783" rtl="0" eaLnBrk="1" fontAlgn="t" latinLnBrk="0" hangingPunct="1"/>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a:latin typeface="+mn-lt"/>
                        <a:ea typeface="Lato"/>
                        <a:cs typeface="Lato"/>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0" algn="l" defTabSz="685783" rtl="0" eaLnBrk="1" fontAlgn="b" latinLnBrk="0" hangingPunct="1">
                        <a:lnSpc>
                          <a:spcPct val="100000"/>
                        </a:lnSpc>
                        <a:spcBef>
                          <a:spcPts val="0"/>
                        </a:spcBef>
                        <a:spcAft>
                          <a:spcPts val="300"/>
                        </a:spcAft>
                        <a:buClr>
                          <a:schemeClr val="bg1"/>
                        </a:buClr>
                        <a:buSzTx/>
                        <a:buFont typeface="Wingdings" panose="05000000000000000000" pitchFamily="2" charset="2"/>
                        <a:buNone/>
                        <a:tabLst/>
                        <a:defRPr/>
                      </a:pPr>
                      <a:r>
                        <a:rPr lang="en-GB" sz="1100" b="0">
                          <a:latin typeface="+mn-lt"/>
                        </a:rPr>
                        <a:t>Enables addition of co-located batteries to existing grid connection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3778042929"/>
                  </a:ext>
                </a:extLst>
              </a:tr>
              <a:tr h="292001">
                <a:tc>
                  <a:txBody>
                    <a:bodyPr/>
                    <a:lstStyle/>
                    <a:p>
                      <a:pPr marL="0" algn="l" defTabSz="685783" rtl="0" eaLnBrk="1" fontAlgn="t" latinLnBrk="0" hangingPunct="1"/>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a:latin typeface="+mn-lt"/>
                        <a:ea typeface="Lato"/>
                        <a:cs typeface="Lato"/>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100" b="0" i="0" u="none" strike="noStrike">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0" algn="l" defTabSz="685783" rtl="0" eaLnBrk="1" fontAlgn="b" latinLnBrk="0" hangingPunct="1">
                        <a:lnSpc>
                          <a:spcPct val="100000"/>
                        </a:lnSpc>
                        <a:spcBef>
                          <a:spcPts val="0"/>
                        </a:spcBef>
                        <a:spcAft>
                          <a:spcPts val="300"/>
                        </a:spcAft>
                        <a:buClr>
                          <a:schemeClr val="bg1"/>
                        </a:buClr>
                        <a:buSzTx/>
                        <a:buFont typeface="Wingdings" panose="05000000000000000000" pitchFamily="2" charset="2"/>
                        <a:buNone/>
                        <a:tabLst/>
                        <a:defRPr/>
                      </a:pPr>
                      <a:r>
                        <a:rPr lang="en-GB" sz="1100" b="0">
                          <a:latin typeface="+mn-lt"/>
                        </a:rPr>
                        <a:t>Available funding will incentivise rapid battery deploymen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3465209471"/>
                  </a:ext>
                </a:extLst>
              </a:tr>
              <a:tr h="586671">
                <a:tc>
                  <a:txBody>
                    <a:bodyPr/>
                    <a:lstStyle/>
                    <a:p>
                      <a:pPr marL="0" indent="0" algn="l" defTabSz="685783" rtl="0" eaLnBrk="1" fontAlgn="t" latinLnBrk="0" hangingPunct="1"/>
                      <a:endParaRPr lang="en-GB" sz="1100" b="1" i="0" u="none" strike="noStrike" kern="1200">
                        <a:solidFill>
                          <a:srgbClr val="3C3C3B"/>
                        </a:solidFill>
                        <a:effectLst/>
                        <a:latin typeface="Lato" panose="020F0502020204030203" pitchFamily="34" charset="0"/>
                        <a:ea typeface="+mn-ea"/>
                        <a:cs typeface="+mn-cs"/>
                      </a:endParaRPr>
                    </a:p>
                  </a:txBody>
                  <a:tcPr marL="396000" marR="4572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1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Wingdings" panose="05000000000000000000" pitchFamily="2" charset="2"/>
                        <a:buChar char="§"/>
                      </a:pPr>
                      <a:endParaRPr lang="en-GB" sz="1100" kern="120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GB"/>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7325" marR="0" lvl="0" indent="0" algn="l" defTabSz="685783" rtl="0" eaLnBrk="1" fontAlgn="b" latinLnBrk="0" hangingPunct="1">
                        <a:lnSpc>
                          <a:spcPct val="100000"/>
                        </a:lnSpc>
                        <a:spcBef>
                          <a:spcPts val="0"/>
                        </a:spcBef>
                        <a:spcAft>
                          <a:spcPts val="300"/>
                        </a:spcAft>
                        <a:buClr>
                          <a:schemeClr val="bg1"/>
                        </a:buClr>
                        <a:buSzTx/>
                        <a:buFont typeface="Wingdings" panose="05000000000000000000" pitchFamily="2" charset="2"/>
                        <a:buNone/>
                        <a:tabLst/>
                        <a:defRPr/>
                      </a:pPr>
                      <a:r>
                        <a:rPr lang="en-GB" sz="1100"/>
                        <a:t>Introduction of </a:t>
                      </a:r>
                      <a:r>
                        <a:rPr lang="en-GB" sz="1100" b="1" i="0" u="none" strike="noStrike" kern="1200" baseline="0">
                          <a:solidFill>
                            <a:srgbClr val="838383"/>
                          </a:solidFill>
                          <a:highlight>
                            <a:srgbClr val="808080"/>
                          </a:highlight>
                          <a:latin typeface="Lato" panose="020F0502020204030203" pitchFamily="34" charset="0"/>
                        </a:rPr>
                        <a:t>X   </a:t>
                      </a:r>
                      <a:r>
                        <a:rPr lang="en-GB" sz="1100" b="1" i="0" u="none" strike="noStrike" kern="1200" baseline="0" err="1">
                          <a:solidFill>
                            <a:srgbClr val="838383"/>
                          </a:solidFill>
                          <a:highlight>
                            <a:srgbClr val="808080"/>
                          </a:highlight>
                          <a:latin typeface="Lato" panose="020F0502020204030203" pitchFamily="34" charset="0"/>
                        </a:rPr>
                        <a:t>X</a:t>
                      </a:r>
                      <a:r>
                        <a:rPr lang="en-GB" sz="1100" err="1"/>
                        <a:t>allows</a:t>
                      </a:r>
                      <a:r>
                        <a:rPr lang="en-GB" sz="1100"/>
                        <a:t> batteries to realise additional revenues however this is dependent on the rules of the market i.e., eligibility of batteries</a:t>
                      </a:r>
                      <a:endParaRPr lang="en-GB" sz="1100" b="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extLst>
                  <a:ext uri="{0D108BD9-81ED-4DB2-BD59-A6C34878D82A}">
                    <a16:rowId xmlns:a16="http://schemas.microsoft.com/office/drawing/2014/main" val="58185541"/>
                  </a:ext>
                </a:extLst>
              </a:tr>
            </a:tbl>
          </a:graphicData>
        </a:graphic>
      </p:graphicFrame>
      <p:sp>
        <p:nvSpPr>
          <p:cNvPr id="47" name="Oval 46">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49" name="Oval 48">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Oval 11">
            <a:extLst>
              <a:ext uri="{FF2B5EF4-FFF2-40B4-BE49-F238E27FC236}">
                <a16:creationId xmlns:a16="http://schemas.microsoft.com/office/drawing/2014/main" id="{AF36C66F-A4C8-42D6-EEBE-8647902A5025}"/>
              </a:ext>
            </a:extLst>
          </p:cNvPr>
          <p:cNvSpPr/>
          <p:nvPr>
            <p:custDataLst>
              <p:tags r:id="rId3"/>
            </p:custDataLst>
          </p:nvPr>
        </p:nvSpPr>
        <p:spPr bwMode="auto">
          <a:xfrm>
            <a:off x="7110413" y="1557338"/>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3" name="Arc 12">
            <a:extLst>
              <a:ext uri="{FF2B5EF4-FFF2-40B4-BE49-F238E27FC236}">
                <a16:creationId xmlns:a16="http://schemas.microsoft.com/office/drawing/2014/main" id="{9E0BD287-4317-8563-A87E-FA23AE2E5B74}"/>
              </a:ext>
            </a:extLst>
          </p:cNvPr>
          <p:cNvSpPr/>
          <p:nvPr>
            <p:custDataLst>
              <p:tags r:id="rId4"/>
            </p:custDataLst>
          </p:nvPr>
        </p:nvSpPr>
        <p:spPr bwMode="gray">
          <a:xfrm>
            <a:off x="7110413" y="1557338"/>
            <a:ext cx="215900" cy="215898"/>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Oval 13">
            <a:extLst>
              <a:ext uri="{FF2B5EF4-FFF2-40B4-BE49-F238E27FC236}">
                <a16:creationId xmlns:a16="http://schemas.microsoft.com/office/drawing/2014/main" id="{EF828219-F1E9-466B-3DF3-9C5843C617F9}"/>
              </a:ext>
            </a:extLst>
          </p:cNvPr>
          <p:cNvSpPr/>
          <p:nvPr>
            <p:custDataLst>
              <p:tags r:id="rId5"/>
            </p:custDataLst>
          </p:nvPr>
        </p:nvSpPr>
        <p:spPr bwMode="auto">
          <a:xfrm>
            <a:off x="7110413" y="201612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5" name="Arc 14">
            <a:extLst>
              <a:ext uri="{FF2B5EF4-FFF2-40B4-BE49-F238E27FC236}">
                <a16:creationId xmlns:a16="http://schemas.microsoft.com/office/drawing/2014/main" id="{AC4E7E26-0D14-3636-EEB7-1696CE9DE56E}"/>
              </a:ext>
            </a:extLst>
          </p:cNvPr>
          <p:cNvSpPr/>
          <p:nvPr>
            <p:custDataLst>
              <p:tags r:id="rId6"/>
            </p:custDataLst>
          </p:nvPr>
        </p:nvSpPr>
        <p:spPr bwMode="gray">
          <a:xfrm>
            <a:off x="7110413" y="2016125"/>
            <a:ext cx="215900" cy="215898"/>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Oval 15">
            <a:extLst>
              <a:ext uri="{FF2B5EF4-FFF2-40B4-BE49-F238E27FC236}">
                <a16:creationId xmlns:a16="http://schemas.microsoft.com/office/drawing/2014/main" id="{3D41D11B-B17B-DC66-B3F8-B72990A98F16}"/>
              </a:ext>
            </a:extLst>
          </p:cNvPr>
          <p:cNvSpPr/>
          <p:nvPr>
            <p:custDataLst>
              <p:tags r:id="rId7"/>
            </p:custDataLst>
          </p:nvPr>
        </p:nvSpPr>
        <p:spPr bwMode="auto">
          <a:xfrm>
            <a:off x="7110413" y="2576513"/>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7" name="Arc 16">
            <a:extLst>
              <a:ext uri="{FF2B5EF4-FFF2-40B4-BE49-F238E27FC236}">
                <a16:creationId xmlns:a16="http://schemas.microsoft.com/office/drawing/2014/main" id="{880A5993-1195-639A-0B90-5450FE1B7756}"/>
              </a:ext>
            </a:extLst>
          </p:cNvPr>
          <p:cNvSpPr/>
          <p:nvPr>
            <p:custDataLst>
              <p:tags r:id="rId8"/>
            </p:custDataLst>
          </p:nvPr>
        </p:nvSpPr>
        <p:spPr bwMode="gray">
          <a:xfrm>
            <a:off x="7110413" y="2576513"/>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Oval 17">
            <a:extLst>
              <a:ext uri="{FF2B5EF4-FFF2-40B4-BE49-F238E27FC236}">
                <a16:creationId xmlns:a16="http://schemas.microsoft.com/office/drawing/2014/main" id="{8D4DE48B-42CD-318B-DA65-2E98161DF436}"/>
              </a:ext>
            </a:extLst>
          </p:cNvPr>
          <p:cNvSpPr/>
          <p:nvPr>
            <p:custDataLst>
              <p:tags r:id="rId9"/>
            </p:custDataLst>
          </p:nvPr>
        </p:nvSpPr>
        <p:spPr bwMode="auto">
          <a:xfrm>
            <a:off x="7110413" y="3055938"/>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9" name="Arc 18">
            <a:extLst>
              <a:ext uri="{FF2B5EF4-FFF2-40B4-BE49-F238E27FC236}">
                <a16:creationId xmlns:a16="http://schemas.microsoft.com/office/drawing/2014/main" id="{E1383209-2193-5B65-F6D5-B29F0281579C}"/>
              </a:ext>
            </a:extLst>
          </p:cNvPr>
          <p:cNvSpPr/>
          <p:nvPr>
            <p:custDataLst>
              <p:tags r:id="rId10"/>
            </p:custDataLst>
          </p:nvPr>
        </p:nvSpPr>
        <p:spPr bwMode="gray">
          <a:xfrm>
            <a:off x="7110413" y="3055938"/>
            <a:ext cx="215900" cy="215898"/>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 name="Oval 19">
            <a:extLst>
              <a:ext uri="{FF2B5EF4-FFF2-40B4-BE49-F238E27FC236}">
                <a16:creationId xmlns:a16="http://schemas.microsoft.com/office/drawing/2014/main" id="{426E8DB1-9912-7CDD-0FF2-28A6EC9EB210}"/>
              </a:ext>
            </a:extLst>
          </p:cNvPr>
          <p:cNvSpPr/>
          <p:nvPr>
            <p:custDataLst>
              <p:tags r:id="rId11"/>
            </p:custDataLst>
          </p:nvPr>
        </p:nvSpPr>
        <p:spPr bwMode="auto">
          <a:xfrm>
            <a:off x="7110413" y="3500438"/>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1" name="Arc 20">
            <a:extLst>
              <a:ext uri="{FF2B5EF4-FFF2-40B4-BE49-F238E27FC236}">
                <a16:creationId xmlns:a16="http://schemas.microsoft.com/office/drawing/2014/main" id="{AA045787-4A90-8338-43A1-48991FAABDB8}"/>
              </a:ext>
            </a:extLst>
          </p:cNvPr>
          <p:cNvSpPr/>
          <p:nvPr>
            <p:custDataLst>
              <p:tags r:id="rId12"/>
            </p:custDataLst>
          </p:nvPr>
        </p:nvSpPr>
        <p:spPr bwMode="gray">
          <a:xfrm>
            <a:off x="7110413" y="3500438"/>
            <a:ext cx="215900" cy="215898"/>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 name="Oval 21">
            <a:extLst>
              <a:ext uri="{FF2B5EF4-FFF2-40B4-BE49-F238E27FC236}">
                <a16:creationId xmlns:a16="http://schemas.microsoft.com/office/drawing/2014/main" id="{D8A8335C-921B-C0E8-9725-0743A3A51737}"/>
              </a:ext>
            </a:extLst>
          </p:cNvPr>
          <p:cNvSpPr/>
          <p:nvPr>
            <p:custDataLst>
              <p:tags r:id="rId13"/>
            </p:custDataLst>
          </p:nvPr>
        </p:nvSpPr>
        <p:spPr bwMode="auto">
          <a:xfrm>
            <a:off x="7110413" y="4806950"/>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3" name="Arc 22">
            <a:extLst>
              <a:ext uri="{FF2B5EF4-FFF2-40B4-BE49-F238E27FC236}">
                <a16:creationId xmlns:a16="http://schemas.microsoft.com/office/drawing/2014/main" id="{88A68BDC-84DB-1B2B-D29C-A1C066AD0017}"/>
              </a:ext>
            </a:extLst>
          </p:cNvPr>
          <p:cNvSpPr/>
          <p:nvPr>
            <p:custDataLst>
              <p:tags r:id="rId14"/>
            </p:custDataLst>
          </p:nvPr>
        </p:nvSpPr>
        <p:spPr bwMode="gray">
          <a:xfrm>
            <a:off x="7110413" y="4806950"/>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Oval 23">
            <a:extLst>
              <a:ext uri="{FF2B5EF4-FFF2-40B4-BE49-F238E27FC236}">
                <a16:creationId xmlns:a16="http://schemas.microsoft.com/office/drawing/2014/main" id="{28F713BB-4CDB-4D7A-744B-9487EB827862}"/>
              </a:ext>
            </a:extLst>
          </p:cNvPr>
          <p:cNvSpPr/>
          <p:nvPr>
            <p:custDataLst>
              <p:tags r:id="rId15"/>
            </p:custDataLst>
          </p:nvPr>
        </p:nvSpPr>
        <p:spPr bwMode="auto">
          <a:xfrm>
            <a:off x="7110413" y="5526088"/>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5" name="Arc 24">
            <a:extLst>
              <a:ext uri="{FF2B5EF4-FFF2-40B4-BE49-F238E27FC236}">
                <a16:creationId xmlns:a16="http://schemas.microsoft.com/office/drawing/2014/main" id="{5FFCF306-4D1F-08BB-AA18-86810BE06877}"/>
              </a:ext>
            </a:extLst>
          </p:cNvPr>
          <p:cNvSpPr/>
          <p:nvPr>
            <p:custDataLst>
              <p:tags r:id="rId16"/>
            </p:custDataLst>
          </p:nvPr>
        </p:nvSpPr>
        <p:spPr bwMode="gray">
          <a:xfrm>
            <a:off x="7110413" y="5526088"/>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Oval 25">
            <a:extLst>
              <a:ext uri="{FF2B5EF4-FFF2-40B4-BE49-F238E27FC236}">
                <a16:creationId xmlns:a16="http://schemas.microsoft.com/office/drawing/2014/main" id="{A7C56DF2-4033-77B8-A6B2-2FDEA95A4585}"/>
              </a:ext>
            </a:extLst>
          </p:cNvPr>
          <p:cNvSpPr/>
          <p:nvPr>
            <p:custDataLst>
              <p:tags r:id="rId17"/>
            </p:custDataLst>
          </p:nvPr>
        </p:nvSpPr>
        <p:spPr bwMode="auto">
          <a:xfrm>
            <a:off x="7110413" y="598487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7" name="Arc 26">
            <a:extLst>
              <a:ext uri="{FF2B5EF4-FFF2-40B4-BE49-F238E27FC236}">
                <a16:creationId xmlns:a16="http://schemas.microsoft.com/office/drawing/2014/main" id="{88594125-7002-7BB6-A267-1E59B1AA2139}"/>
              </a:ext>
            </a:extLst>
          </p:cNvPr>
          <p:cNvSpPr/>
          <p:nvPr>
            <p:custDataLst>
              <p:tags r:id="rId18"/>
            </p:custDataLst>
          </p:nvPr>
        </p:nvSpPr>
        <p:spPr bwMode="gray">
          <a:xfrm>
            <a:off x="7110413" y="5984875"/>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Oval 27">
            <a:extLst>
              <a:ext uri="{FF2B5EF4-FFF2-40B4-BE49-F238E27FC236}">
                <a16:creationId xmlns:a16="http://schemas.microsoft.com/office/drawing/2014/main" id="{B034DF0C-1835-375F-4F45-67E5E2A907AE}"/>
              </a:ext>
            </a:extLst>
          </p:cNvPr>
          <p:cNvSpPr/>
          <p:nvPr>
            <p:custDataLst>
              <p:tags r:id="rId19"/>
            </p:custDataLst>
          </p:nvPr>
        </p:nvSpPr>
        <p:spPr bwMode="auto">
          <a:xfrm>
            <a:off x="7110413" y="434657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9" name="Arc 28">
            <a:extLst>
              <a:ext uri="{FF2B5EF4-FFF2-40B4-BE49-F238E27FC236}">
                <a16:creationId xmlns:a16="http://schemas.microsoft.com/office/drawing/2014/main" id="{E3C67F21-CC1E-6D7D-E3F7-CC56EF48918D}"/>
              </a:ext>
            </a:extLst>
          </p:cNvPr>
          <p:cNvSpPr/>
          <p:nvPr>
            <p:custDataLst>
              <p:tags r:id="rId20"/>
            </p:custDataLst>
          </p:nvPr>
        </p:nvSpPr>
        <p:spPr bwMode="gray">
          <a:xfrm>
            <a:off x="7110413" y="4346575"/>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4" name="Oval 33">
            <a:extLst>
              <a:ext uri="{FF2B5EF4-FFF2-40B4-BE49-F238E27FC236}">
                <a16:creationId xmlns:a16="http://schemas.microsoft.com/office/drawing/2014/main" id="{D3935830-E73D-AB8B-71D0-88567D1D4BF2}"/>
              </a:ext>
            </a:extLst>
          </p:cNvPr>
          <p:cNvSpPr/>
          <p:nvPr>
            <p:custDataLst>
              <p:tags r:id="rId21"/>
            </p:custDataLst>
          </p:nvPr>
        </p:nvSpPr>
        <p:spPr bwMode="auto">
          <a:xfrm>
            <a:off x="7110413" y="3916363"/>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0" name="Arc 39">
            <a:extLst>
              <a:ext uri="{FF2B5EF4-FFF2-40B4-BE49-F238E27FC236}">
                <a16:creationId xmlns:a16="http://schemas.microsoft.com/office/drawing/2014/main" id="{7AF58CDD-ECB4-9E99-432A-D108815463BE}"/>
              </a:ext>
            </a:extLst>
          </p:cNvPr>
          <p:cNvSpPr/>
          <p:nvPr>
            <p:custDataLst>
              <p:tags r:id="rId22"/>
            </p:custDataLst>
          </p:nvPr>
        </p:nvSpPr>
        <p:spPr bwMode="gray">
          <a:xfrm>
            <a:off x="7110413" y="3916363"/>
            <a:ext cx="215900" cy="215898"/>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Oval 83">
            <a:extLst>
              <a:ext uri="{FF2B5EF4-FFF2-40B4-BE49-F238E27FC236}">
                <a16:creationId xmlns:a16="http://schemas.microsoft.com/office/drawing/2014/main" id="{54F5711A-2B8C-8EEE-75D8-A4F363647ACC}"/>
              </a:ext>
            </a:extLst>
          </p:cNvPr>
          <p:cNvSpPr/>
          <p:nvPr>
            <p:custDataLst>
              <p:tags r:id="rId23"/>
            </p:custDataLst>
          </p:nvPr>
        </p:nvSpPr>
        <p:spPr bwMode="auto">
          <a:xfrm>
            <a:off x="7110413" y="5210175"/>
            <a:ext cx="215900" cy="215900"/>
          </a:xfrm>
          <a:prstGeom prst="ellipse">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85" name="Arc 84">
            <a:extLst>
              <a:ext uri="{FF2B5EF4-FFF2-40B4-BE49-F238E27FC236}">
                <a16:creationId xmlns:a16="http://schemas.microsoft.com/office/drawing/2014/main" id="{6A4CD420-30A7-A4E9-31D1-ABF3A46C79D1}"/>
              </a:ext>
            </a:extLst>
          </p:cNvPr>
          <p:cNvSpPr/>
          <p:nvPr>
            <p:custDataLst>
              <p:tags r:id="rId24"/>
            </p:custDataLst>
          </p:nvPr>
        </p:nvSpPr>
        <p:spPr bwMode="gray">
          <a:xfrm>
            <a:off x="7110413" y="5210175"/>
            <a:ext cx="215900" cy="215898"/>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Rectangle 1">
            <a:extLst>
              <a:ext uri="{FF2B5EF4-FFF2-40B4-BE49-F238E27FC236}">
                <a16:creationId xmlns:a16="http://schemas.microsoft.com/office/drawing/2014/main" id="{62156218-25B8-D142-B3A8-E7B1641B4D53}"/>
              </a:ext>
            </a:extLst>
          </p:cNvPr>
          <p:cNvSpPr/>
          <p:nvPr/>
        </p:nvSpPr>
        <p:spPr>
          <a:xfrm>
            <a:off x="7019109" y="1384663"/>
            <a:ext cx="4857706" cy="4960650"/>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8" name="Group 7">
            <a:extLst>
              <a:ext uri="{FF2B5EF4-FFF2-40B4-BE49-F238E27FC236}">
                <a16:creationId xmlns:a16="http://schemas.microsoft.com/office/drawing/2014/main" id="{838B546B-24D7-44E9-89BD-D82636F8FAE0}"/>
              </a:ext>
            </a:extLst>
          </p:cNvPr>
          <p:cNvGrpSpPr/>
          <p:nvPr/>
        </p:nvGrpSpPr>
        <p:grpSpPr>
          <a:xfrm>
            <a:off x="7881257" y="3345089"/>
            <a:ext cx="2647407" cy="1001486"/>
            <a:chOff x="8251369" y="2255520"/>
            <a:chExt cx="2647407" cy="1001486"/>
          </a:xfrm>
        </p:grpSpPr>
        <p:sp>
          <p:nvSpPr>
            <p:cNvPr id="10" name="Rectangle: Rounded Corners 9">
              <a:extLst>
                <a:ext uri="{FF2B5EF4-FFF2-40B4-BE49-F238E27FC236}">
                  <a16:creationId xmlns:a16="http://schemas.microsoft.com/office/drawing/2014/main" id="{516F04FB-08F3-5B5A-1F76-2E2BD2745548}"/>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11" name="TextBox 10">
              <a:extLst>
                <a:ext uri="{FF2B5EF4-FFF2-40B4-BE49-F238E27FC236}">
                  <a16:creationId xmlns:a16="http://schemas.microsoft.com/office/drawing/2014/main" id="{42F76C0A-277E-A8EB-9544-26C89082E9AA}"/>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7707476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01EE8B9-9FA2-E30E-E7ED-1F5619D84B07}"/>
              </a:ext>
            </a:extLst>
          </p:cNvPr>
          <p:cNvGraphicFramePr>
            <a:graphicFrameLocks noChangeAspect="1"/>
          </p:cNvGraphicFramePr>
          <p:nvPr>
            <p:custDataLst>
              <p:tags r:id="rId1"/>
            </p:custDataLst>
            <p:extLst>
              <p:ext uri="{D42A27DB-BD31-4B8C-83A1-F6EECF244321}">
                <p14:modId xmlns:p14="http://schemas.microsoft.com/office/powerpoint/2010/main" val="1364925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8" name="think-cell data - do not delete" hidden="1">
                        <a:extLst>
                          <a:ext uri="{FF2B5EF4-FFF2-40B4-BE49-F238E27FC236}">
                            <a16:creationId xmlns:a16="http://schemas.microsoft.com/office/drawing/2014/main" id="{201EE8B9-9FA2-E30E-E7ED-1F5619D84B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5" name="Rectangle: Rounded Corners 74">
            <a:extLst>
              <a:ext uri="{FF2B5EF4-FFF2-40B4-BE49-F238E27FC236}">
                <a16:creationId xmlns:a16="http://schemas.microsoft.com/office/drawing/2014/main" id="{FF72D898-6551-9D02-1BD8-4AD5D853EA26}"/>
              </a:ext>
            </a:extLst>
          </p:cNvPr>
          <p:cNvSpPr/>
          <p:nvPr/>
        </p:nvSpPr>
        <p:spPr>
          <a:xfrm>
            <a:off x="702357" y="4207272"/>
            <a:ext cx="6833505" cy="1555980"/>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aphicFrame>
        <p:nvGraphicFramePr>
          <p:cNvPr id="79" name="Table 78">
            <a:extLst>
              <a:ext uri="{FF2B5EF4-FFF2-40B4-BE49-F238E27FC236}">
                <a16:creationId xmlns:a16="http://schemas.microsoft.com/office/drawing/2014/main" id="{9AC45D9A-3BF7-33BD-4F28-291E24238CC1}"/>
              </a:ext>
            </a:extLst>
          </p:cNvPr>
          <p:cNvGraphicFramePr>
            <a:graphicFrameLocks noGrp="1"/>
          </p:cNvGraphicFramePr>
          <p:nvPr/>
        </p:nvGraphicFramePr>
        <p:xfrm>
          <a:off x="1757230" y="4345514"/>
          <a:ext cx="5342070" cy="1404000"/>
        </p:xfrm>
        <a:graphic>
          <a:graphicData uri="http://schemas.openxmlformats.org/drawingml/2006/table">
            <a:tbl>
              <a:tblPr firstRow="1" bandRow="1">
                <a:tableStyleId>{2D5ABB26-0587-4C30-8999-92F81FD0307C}</a:tableStyleId>
              </a:tblPr>
              <a:tblGrid>
                <a:gridCol w="5342070">
                  <a:extLst>
                    <a:ext uri="{9D8B030D-6E8A-4147-A177-3AD203B41FA5}">
                      <a16:colId xmlns:a16="http://schemas.microsoft.com/office/drawing/2014/main" val="303839564"/>
                    </a:ext>
                  </a:extLst>
                </a:gridCol>
              </a:tblGrid>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Unfavourable</a:t>
                      </a:r>
                      <a:r>
                        <a:rPr lang="en-US" sz="1100" kern="1200">
                          <a:solidFill>
                            <a:schemeClr val="tx1"/>
                          </a:solidFill>
                          <a:latin typeface="+mn-lt"/>
                          <a:ea typeface="+mn-ea"/>
                          <a:cs typeface="+mn-cs"/>
                        </a:rPr>
                        <a:t>: high charges significantly dampening business case, double charging of fees</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Moderate</a:t>
                      </a:r>
                      <a:r>
                        <a:rPr lang="en-US" sz="1100" kern="1200">
                          <a:solidFill>
                            <a:schemeClr val="tx1"/>
                          </a:solidFill>
                          <a:latin typeface="+mn-lt"/>
                          <a:ea typeface="+mn-ea"/>
                          <a:cs typeface="+mn-cs"/>
                        </a:rPr>
                        <a:t>: average grid connection charges, no special exemptions but not double charged</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err="1">
                          <a:solidFill>
                            <a:schemeClr val="tx1"/>
                          </a:solidFill>
                          <a:latin typeface="+mn-lt"/>
                          <a:ea typeface="+mn-ea"/>
                          <a:cs typeface="+mn-cs"/>
                        </a:rPr>
                        <a:t>Favourable</a:t>
                      </a:r>
                      <a:r>
                        <a:rPr lang="en-US" sz="1100" kern="1200">
                          <a:solidFill>
                            <a:schemeClr val="tx1"/>
                          </a:solidFill>
                          <a:latin typeface="+mn-lt"/>
                          <a:ea typeface="+mn-ea"/>
                          <a:cs typeface="+mn-cs"/>
                        </a:rPr>
                        <a:t>: special exemptions from grid tariffs</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74" name="Rectangle: Rounded Corners 73">
            <a:extLst>
              <a:ext uri="{FF2B5EF4-FFF2-40B4-BE49-F238E27FC236}">
                <a16:creationId xmlns:a16="http://schemas.microsoft.com/office/drawing/2014/main" id="{9BDB156C-DB6C-80BA-A660-ED22073EFCFF}"/>
              </a:ext>
            </a:extLst>
          </p:cNvPr>
          <p:cNvSpPr/>
          <p:nvPr/>
        </p:nvSpPr>
        <p:spPr>
          <a:xfrm>
            <a:off x="702357" y="1831117"/>
            <a:ext cx="6833505" cy="1555980"/>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18" name="Text Placeholder 17">
            <a:extLst>
              <a:ext uri="{FF2B5EF4-FFF2-40B4-BE49-F238E27FC236}">
                <a16:creationId xmlns:a16="http://schemas.microsoft.com/office/drawing/2014/main" id="{DD9A93BB-5C79-165F-24BB-7592D49490FC}"/>
              </a:ext>
            </a:extLst>
          </p:cNvPr>
          <p:cNvSpPr>
            <a:spLocks noGrp="1"/>
          </p:cNvSpPr>
          <p:nvPr>
            <p:ph type="body" sz="quarter" idx="31"/>
          </p:nvPr>
        </p:nvSpPr>
        <p:spPr>
          <a:xfrm>
            <a:off x="381599" y="1263129"/>
            <a:ext cx="11428800" cy="369332"/>
          </a:xfrm>
        </p:spPr>
        <p:txBody>
          <a:bodyPr/>
          <a:lstStyle/>
          <a:p>
            <a:r>
              <a:rPr lang="en-US"/>
              <a:t>This report ranks markets in Europe for their ease of grid integration for grid-scale batteries, based on the following scoring criteria and an internal survey and calibration of views from Aurora’s market leads.</a:t>
            </a:r>
            <a:endParaRPr lang="en-GB"/>
          </a:p>
        </p:txBody>
      </p:sp>
      <p:sp>
        <p:nvSpPr>
          <p:cNvPr id="17" name="Text Placeholder 16">
            <a:extLst>
              <a:ext uri="{FF2B5EF4-FFF2-40B4-BE49-F238E27FC236}">
                <a16:creationId xmlns:a16="http://schemas.microsoft.com/office/drawing/2014/main" id="{4184CCE7-143C-EB6B-C8D3-C578EC6EF4EA}"/>
              </a:ext>
            </a:extLst>
          </p:cNvPr>
          <p:cNvSpPr>
            <a:spLocks noGrp="1"/>
          </p:cNvSpPr>
          <p:nvPr>
            <p:ph type="body" sz="quarter" idx="22"/>
          </p:nvPr>
        </p:nvSpPr>
        <p:spPr/>
        <p:txBody>
          <a:bodyPr/>
          <a:lstStyle/>
          <a:p>
            <a:endParaRPr lang="en-GB"/>
          </a:p>
        </p:txBody>
      </p:sp>
      <p:sp>
        <p:nvSpPr>
          <p:cNvPr id="4" name="Title 3">
            <a:extLst>
              <a:ext uri="{FF2B5EF4-FFF2-40B4-BE49-F238E27FC236}">
                <a16:creationId xmlns:a16="http://schemas.microsoft.com/office/drawing/2014/main" id="{8A8216C4-14BE-CBF6-84F4-1AD357D59228}"/>
              </a:ext>
            </a:extLst>
          </p:cNvPr>
          <p:cNvSpPr>
            <a:spLocks noGrp="1"/>
          </p:cNvSpPr>
          <p:nvPr>
            <p:ph type="title"/>
          </p:nvPr>
        </p:nvSpPr>
        <p:spPr/>
        <p:txBody>
          <a:bodyPr vert="horz"/>
          <a:lstStyle/>
          <a:p>
            <a:r>
              <a:rPr lang="en-GB"/>
              <a:t>Grid Integration: Ease of obtaining grid connection and the favourability of grid usage fees are combined into one score</a:t>
            </a:r>
          </a:p>
        </p:txBody>
      </p:sp>
      <p:sp>
        <p:nvSpPr>
          <p:cNvPr id="19" name="Text Placeholder 18">
            <a:extLst>
              <a:ext uri="{FF2B5EF4-FFF2-40B4-BE49-F238E27FC236}">
                <a16:creationId xmlns:a16="http://schemas.microsoft.com/office/drawing/2014/main" id="{84C11B0A-E1BF-AA22-5908-1FA20EBDC0DA}"/>
              </a:ext>
            </a:extLst>
          </p:cNvPr>
          <p:cNvSpPr>
            <a:spLocks noGrp="1"/>
          </p:cNvSpPr>
          <p:nvPr>
            <p:ph type="body" sz="quarter" idx="32"/>
          </p:nvPr>
        </p:nvSpPr>
        <p:spPr/>
        <p:txBody>
          <a:bodyPr/>
          <a:lstStyle/>
          <a:p>
            <a:endParaRPr lang="en-GB"/>
          </a:p>
        </p:txBody>
      </p:sp>
      <p:sp>
        <p:nvSpPr>
          <p:cNvPr id="20" name="Text Placeholder 19">
            <a:extLst>
              <a:ext uri="{FF2B5EF4-FFF2-40B4-BE49-F238E27FC236}">
                <a16:creationId xmlns:a16="http://schemas.microsoft.com/office/drawing/2014/main" id="{8D39B2C6-1EAA-C133-8A8C-DD773E127075}"/>
              </a:ext>
            </a:extLst>
          </p:cNvPr>
          <p:cNvSpPr>
            <a:spLocks noGrp="1"/>
          </p:cNvSpPr>
          <p:nvPr>
            <p:ph type="body" sz="quarter" idx="33"/>
          </p:nvPr>
        </p:nvSpPr>
        <p:spPr>
          <a:xfrm>
            <a:off x="381599" y="79401"/>
            <a:ext cx="5606022" cy="184666"/>
          </a:xfrm>
        </p:spPr>
        <p:txBody>
          <a:bodyPr/>
          <a:lstStyle/>
          <a:p>
            <a:r>
              <a:rPr lang="en-GB"/>
              <a:t>		Policy and regulatory environment - Regulatory challenges and opportunities</a:t>
            </a:r>
          </a:p>
        </p:txBody>
      </p:sp>
      <p:sp>
        <p:nvSpPr>
          <p:cNvPr id="27" name="Oval 11">
            <a:extLst>
              <a:ext uri="{FF2B5EF4-FFF2-40B4-BE49-F238E27FC236}">
                <a16:creationId xmlns:a16="http://schemas.microsoft.com/office/drawing/2014/main" id="{64F227E5-B4FB-1785-00CD-31E1D4305FEF}"/>
              </a:ext>
            </a:extLst>
          </p:cNvPr>
          <p:cNvSpPr>
            <a:spLocks/>
          </p:cNvSpPr>
          <p:nvPr/>
        </p:nvSpPr>
        <p:spPr>
          <a:xfrm>
            <a:off x="398994" y="1757036"/>
            <a:ext cx="1120868" cy="1639855"/>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Grid Connection score</a:t>
            </a:r>
          </a:p>
        </p:txBody>
      </p:sp>
      <p:pic>
        <p:nvPicPr>
          <p:cNvPr id="34" name="Graphic 33" descr="Add with solid fill">
            <a:extLst>
              <a:ext uri="{FF2B5EF4-FFF2-40B4-BE49-F238E27FC236}">
                <a16:creationId xmlns:a16="http://schemas.microsoft.com/office/drawing/2014/main" id="{B936C6D5-9EC3-EFC7-9D90-70D008242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86907" y="3597676"/>
            <a:ext cx="415719" cy="415719"/>
          </a:xfrm>
          <a:prstGeom prst="rect">
            <a:avLst/>
          </a:prstGeom>
        </p:spPr>
      </p:pic>
      <p:sp>
        <p:nvSpPr>
          <p:cNvPr id="55" name="Oval 11">
            <a:extLst>
              <a:ext uri="{FF2B5EF4-FFF2-40B4-BE49-F238E27FC236}">
                <a16:creationId xmlns:a16="http://schemas.microsoft.com/office/drawing/2014/main" id="{37ED8B97-2908-01C7-34AB-8DEFE3EB06C5}"/>
              </a:ext>
            </a:extLst>
          </p:cNvPr>
          <p:cNvSpPr>
            <a:spLocks/>
          </p:cNvSpPr>
          <p:nvPr/>
        </p:nvSpPr>
        <p:spPr>
          <a:xfrm>
            <a:off x="398994" y="4129614"/>
            <a:ext cx="1120868" cy="1712385"/>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Grid usage fees and charges score</a:t>
            </a:r>
          </a:p>
        </p:txBody>
      </p:sp>
      <p:graphicFrame>
        <p:nvGraphicFramePr>
          <p:cNvPr id="73" name="Table 72">
            <a:extLst>
              <a:ext uri="{FF2B5EF4-FFF2-40B4-BE49-F238E27FC236}">
                <a16:creationId xmlns:a16="http://schemas.microsoft.com/office/drawing/2014/main" id="{0DB3DD79-25BA-1652-2038-93120B0779A7}"/>
              </a:ext>
            </a:extLst>
          </p:cNvPr>
          <p:cNvGraphicFramePr>
            <a:graphicFrameLocks noGrp="1"/>
          </p:cNvGraphicFramePr>
          <p:nvPr>
            <p:extLst>
              <p:ext uri="{D42A27DB-BD31-4B8C-83A1-F6EECF244321}">
                <p14:modId xmlns:p14="http://schemas.microsoft.com/office/powerpoint/2010/main" val="2957949179"/>
              </p:ext>
            </p:extLst>
          </p:nvPr>
        </p:nvGraphicFramePr>
        <p:xfrm>
          <a:off x="1757230" y="1919969"/>
          <a:ext cx="5342070" cy="1404000"/>
        </p:xfrm>
        <a:graphic>
          <a:graphicData uri="http://schemas.openxmlformats.org/drawingml/2006/table">
            <a:tbl>
              <a:tblPr firstRow="1" bandRow="1">
                <a:tableStyleId>{2D5ABB26-0587-4C30-8999-92F81FD0307C}</a:tableStyleId>
              </a:tblPr>
              <a:tblGrid>
                <a:gridCol w="5342070">
                  <a:extLst>
                    <a:ext uri="{9D8B030D-6E8A-4147-A177-3AD203B41FA5}">
                      <a16:colId xmlns:a16="http://schemas.microsoft.com/office/drawing/2014/main" val="303839564"/>
                    </a:ext>
                  </a:extLst>
                </a:gridCol>
              </a:tblGrid>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High difficulty</a:t>
                      </a:r>
                      <a:r>
                        <a:rPr lang="en-US" sz="1100" kern="1200">
                          <a:solidFill>
                            <a:schemeClr val="tx1"/>
                          </a:solidFill>
                          <a:latin typeface="+mn-lt"/>
                          <a:ea typeface="+mn-ea"/>
                          <a:cs typeface="+mn-cs"/>
                        </a:rPr>
                        <a:t>: limited grid availability being a major hurdle in the market and causing delays for new connections, high connection (upfront) costs</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Moderately challenging</a:t>
                      </a:r>
                      <a:r>
                        <a:rPr lang="en-US" sz="1100" kern="1200">
                          <a:solidFill>
                            <a:schemeClr val="tx1"/>
                          </a:solidFill>
                          <a:latin typeface="+mn-lt"/>
                          <a:ea typeface="+mn-ea"/>
                          <a:cs typeface="+mn-cs"/>
                        </a:rPr>
                        <a:t>: average connection times and costs for grid connection</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468000">
                <a:tc>
                  <a:txBody>
                    <a:bodyPr/>
                    <a:lstStyle/>
                    <a:p>
                      <a:pPr marL="26670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Relatively easy</a:t>
                      </a:r>
                      <a:r>
                        <a:rPr lang="en-US" sz="1100" kern="1200">
                          <a:solidFill>
                            <a:schemeClr val="tx1"/>
                          </a:solidFill>
                          <a:latin typeface="+mn-lt"/>
                          <a:ea typeface="+mn-ea"/>
                          <a:cs typeface="+mn-cs"/>
                        </a:rPr>
                        <a:t>: vast grid availability and quick connection approvals</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41" name="Text Placeholder 14">
            <a:extLst>
              <a:ext uri="{FF2B5EF4-FFF2-40B4-BE49-F238E27FC236}">
                <a16:creationId xmlns:a16="http://schemas.microsoft.com/office/drawing/2014/main" id="{75966BA9-3CFE-26F7-13D5-FB91100CC19E}"/>
              </a:ext>
            </a:extLst>
          </p:cNvPr>
          <p:cNvSpPr txBox="1">
            <a:spLocks/>
          </p:cNvSpPr>
          <p:nvPr/>
        </p:nvSpPr>
        <p:spPr>
          <a:xfrm>
            <a:off x="1716156" y="1984097"/>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45" name="Text Placeholder 14">
            <a:extLst>
              <a:ext uri="{FF2B5EF4-FFF2-40B4-BE49-F238E27FC236}">
                <a16:creationId xmlns:a16="http://schemas.microsoft.com/office/drawing/2014/main" id="{3D6AC588-0430-990E-E295-16C76F6E312F}"/>
              </a:ext>
            </a:extLst>
          </p:cNvPr>
          <p:cNvSpPr txBox="1">
            <a:spLocks/>
          </p:cNvSpPr>
          <p:nvPr/>
        </p:nvSpPr>
        <p:spPr>
          <a:xfrm>
            <a:off x="1716156" y="2470142"/>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2</a:t>
            </a:r>
          </a:p>
        </p:txBody>
      </p:sp>
      <p:sp>
        <p:nvSpPr>
          <p:cNvPr id="46" name="Text Placeholder 14">
            <a:extLst>
              <a:ext uri="{FF2B5EF4-FFF2-40B4-BE49-F238E27FC236}">
                <a16:creationId xmlns:a16="http://schemas.microsoft.com/office/drawing/2014/main" id="{CAC25DE9-A434-B0FE-6341-FC274068AF65}"/>
              </a:ext>
            </a:extLst>
          </p:cNvPr>
          <p:cNvSpPr txBox="1">
            <a:spLocks/>
          </p:cNvSpPr>
          <p:nvPr/>
        </p:nvSpPr>
        <p:spPr>
          <a:xfrm>
            <a:off x="1716156" y="2956187"/>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3</a:t>
            </a:r>
          </a:p>
        </p:txBody>
      </p:sp>
      <p:sp>
        <p:nvSpPr>
          <p:cNvPr id="76" name="Text Placeholder 14">
            <a:extLst>
              <a:ext uri="{FF2B5EF4-FFF2-40B4-BE49-F238E27FC236}">
                <a16:creationId xmlns:a16="http://schemas.microsoft.com/office/drawing/2014/main" id="{5F5CF7D2-665D-B335-B34E-515C1B0FD5DD}"/>
              </a:ext>
            </a:extLst>
          </p:cNvPr>
          <p:cNvSpPr txBox="1">
            <a:spLocks/>
          </p:cNvSpPr>
          <p:nvPr/>
        </p:nvSpPr>
        <p:spPr>
          <a:xfrm>
            <a:off x="1716156" y="4385652"/>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77" name="Text Placeholder 14">
            <a:extLst>
              <a:ext uri="{FF2B5EF4-FFF2-40B4-BE49-F238E27FC236}">
                <a16:creationId xmlns:a16="http://schemas.microsoft.com/office/drawing/2014/main" id="{DBDE7A02-B8F1-4EBB-1DE2-A76DFBB68A50}"/>
              </a:ext>
            </a:extLst>
          </p:cNvPr>
          <p:cNvSpPr txBox="1">
            <a:spLocks/>
          </p:cNvSpPr>
          <p:nvPr/>
        </p:nvSpPr>
        <p:spPr>
          <a:xfrm>
            <a:off x="1716156" y="4871697"/>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2</a:t>
            </a:r>
          </a:p>
        </p:txBody>
      </p:sp>
      <p:sp>
        <p:nvSpPr>
          <p:cNvPr id="78" name="Text Placeholder 14">
            <a:extLst>
              <a:ext uri="{FF2B5EF4-FFF2-40B4-BE49-F238E27FC236}">
                <a16:creationId xmlns:a16="http://schemas.microsoft.com/office/drawing/2014/main" id="{3D907521-273D-E36B-7CE3-F1DE1EB34A6C}"/>
              </a:ext>
            </a:extLst>
          </p:cNvPr>
          <p:cNvSpPr txBox="1">
            <a:spLocks/>
          </p:cNvSpPr>
          <p:nvPr/>
        </p:nvSpPr>
        <p:spPr>
          <a:xfrm>
            <a:off x="1716156" y="5357742"/>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3</a:t>
            </a:r>
          </a:p>
        </p:txBody>
      </p:sp>
      <p:sp>
        <p:nvSpPr>
          <p:cNvPr id="7" name="Rectangle: Rounded Corners 6">
            <a:extLst>
              <a:ext uri="{FF2B5EF4-FFF2-40B4-BE49-F238E27FC236}">
                <a16:creationId xmlns:a16="http://schemas.microsoft.com/office/drawing/2014/main" id="{5EBED073-FE89-D3C7-6094-72B82F4E09D7}"/>
              </a:ext>
            </a:extLst>
          </p:cNvPr>
          <p:cNvSpPr/>
          <p:nvPr/>
        </p:nvSpPr>
        <p:spPr>
          <a:xfrm>
            <a:off x="8686800" y="2102423"/>
            <a:ext cx="2990193" cy="3700973"/>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 name="Oval 11">
            <a:extLst>
              <a:ext uri="{FF2B5EF4-FFF2-40B4-BE49-F238E27FC236}">
                <a16:creationId xmlns:a16="http://schemas.microsoft.com/office/drawing/2014/main" id="{A5CBCADE-B211-F93B-20B0-58828588B108}"/>
              </a:ext>
            </a:extLst>
          </p:cNvPr>
          <p:cNvSpPr>
            <a:spLocks/>
          </p:cNvSpPr>
          <p:nvPr/>
        </p:nvSpPr>
        <p:spPr>
          <a:xfrm>
            <a:off x="8548194" y="1949444"/>
            <a:ext cx="1054952" cy="3957724"/>
          </a:xfrm>
          <a:prstGeom prst="roundRect">
            <a:avLst>
              <a:gd name="adj" fmla="val 21670"/>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Grid Integration</a:t>
            </a:r>
          </a:p>
        </p:txBody>
      </p:sp>
      <p:graphicFrame>
        <p:nvGraphicFramePr>
          <p:cNvPr id="10" name="Table 9">
            <a:extLst>
              <a:ext uri="{FF2B5EF4-FFF2-40B4-BE49-F238E27FC236}">
                <a16:creationId xmlns:a16="http://schemas.microsoft.com/office/drawing/2014/main" id="{DFDF049B-D81F-6391-470C-5E18543593B7}"/>
              </a:ext>
            </a:extLst>
          </p:cNvPr>
          <p:cNvGraphicFramePr>
            <a:graphicFrameLocks noGrp="1"/>
          </p:cNvGraphicFramePr>
          <p:nvPr>
            <p:extLst>
              <p:ext uri="{D42A27DB-BD31-4B8C-83A1-F6EECF244321}">
                <p14:modId xmlns:p14="http://schemas.microsoft.com/office/powerpoint/2010/main" val="1791805034"/>
              </p:ext>
            </p:extLst>
          </p:nvPr>
        </p:nvGraphicFramePr>
        <p:xfrm>
          <a:off x="10246623" y="3218869"/>
          <a:ext cx="1413959" cy="1404000"/>
        </p:xfrm>
        <a:graphic>
          <a:graphicData uri="http://schemas.openxmlformats.org/drawingml/2006/table">
            <a:tbl>
              <a:tblPr firstRow="1" bandRow="1">
                <a:tableStyleId>{2D5ABB26-0587-4C30-8999-92F81FD0307C}</a:tableStyleId>
              </a:tblPr>
              <a:tblGrid>
                <a:gridCol w="1413959">
                  <a:extLst>
                    <a:ext uri="{9D8B030D-6E8A-4147-A177-3AD203B41FA5}">
                      <a16:colId xmlns:a16="http://schemas.microsoft.com/office/drawing/2014/main" val="303839564"/>
                    </a:ext>
                  </a:extLst>
                </a:gridCol>
              </a:tblGrid>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Poor</a:t>
                      </a:r>
                      <a:r>
                        <a:rPr lang="en-US" sz="1100" kern="1200">
                          <a:solidFill>
                            <a:schemeClr val="tx1"/>
                          </a:solidFill>
                          <a:latin typeface="+mn-lt"/>
                          <a:ea typeface="+mn-ea"/>
                          <a:cs typeface="+mn-cs"/>
                        </a:rPr>
                        <a:t> grid integration</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Average</a:t>
                      </a:r>
                      <a:r>
                        <a:rPr lang="en-US" sz="1100" kern="1200">
                          <a:solidFill>
                            <a:schemeClr val="tx1"/>
                          </a:solidFill>
                          <a:latin typeface="+mn-lt"/>
                          <a:ea typeface="+mn-ea"/>
                          <a:cs typeface="+mn-cs"/>
                        </a:rPr>
                        <a:t> grid integration</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Good</a:t>
                      </a:r>
                      <a:r>
                        <a:rPr lang="en-US" sz="1100" kern="1200">
                          <a:solidFill>
                            <a:schemeClr val="tx1"/>
                          </a:solidFill>
                          <a:latin typeface="+mn-lt"/>
                          <a:ea typeface="+mn-ea"/>
                          <a:cs typeface="+mn-cs"/>
                        </a:rPr>
                        <a:t> grid integration</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11" name="Rectangle: Rounded Corners 10">
            <a:extLst>
              <a:ext uri="{FF2B5EF4-FFF2-40B4-BE49-F238E27FC236}">
                <a16:creationId xmlns:a16="http://schemas.microsoft.com/office/drawing/2014/main" id="{2057FB03-D9E7-7319-E4F0-CC42FBA0ACD8}"/>
              </a:ext>
            </a:extLst>
          </p:cNvPr>
          <p:cNvSpPr/>
          <p:nvPr/>
        </p:nvSpPr>
        <p:spPr>
          <a:xfrm>
            <a:off x="9766675" y="3294896"/>
            <a:ext cx="622300" cy="332185"/>
          </a:xfrm>
          <a:prstGeom prst="roundRect">
            <a:avLst/>
          </a:prstGeom>
          <a:solidFill>
            <a:srgbClr val="FF7F7F"/>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1-2</a:t>
            </a:r>
          </a:p>
        </p:txBody>
      </p:sp>
      <p:sp>
        <p:nvSpPr>
          <p:cNvPr id="12" name="Rectangle: Rounded Corners 11">
            <a:extLst>
              <a:ext uri="{FF2B5EF4-FFF2-40B4-BE49-F238E27FC236}">
                <a16:creationId xmlns:a16="http://schemas.microsoft.com/office/drawing/2014/main" id="{E1CCFD4F-C526-76B3-CCBF-BF0340AD2A10}"/>
              </a:ext>
            </a:extLst>
          </p:cNvPr>
          <p:cNvSpPr/>
          <p:nvPr/>
        </p:nvSpPr>
        <p:spPr>
          <a:xfrm>
            <a:off x="9777888" y="4188612"/>
            <a:ext cx="622300" cy="332185"/>
          </a:xfrm>
          <a:prstGeom prst="roundRect">
            <a:avLst/>
          </a:prstGeom>
          <a:solidFill>
            <a:srgbClr val="D2DB93"/>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5-6</a:t>
            </a:r>
          </a:p>
        </p:txBody>
      </p:sp>
      <p:sp>
        <p:nvSpPr>
          <p:cNvPr id="14" name="Rectangle: Rounded Corners 13">
            <a:extLst>
              <a:ext uri="{FF2B5EF4-FFF2-40B4-BE49-F238E27FC236}">
                <a16:creationId xmlns:a16="http://schemas.microsoft.com/office/drawing/2014/main" id="{E7986B3C-1B1D-B3E8-E88D-A7623A035BA2}"/>
              </a:ext>
            </a:extLst>
          </p:cNvPr>
          <p:cNvSpPr/>
          <p:nvPr/>
        </p:nvSpPr>
        <p:spPr>
          <a:xfrm>
            <a:off x="9777888" y="3741754"/>
            <a:ext cx="622300" cy="332185"/>
          </a:xfrm>
          <a:prstGeom prst="roundRect">
            <a:avLst/>
          </a:prstGeom>
          <a:solidFill>
            <a:srgbClr val="FFE57F"/>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3-4</a:t>
            </a:r>
          </a:p>
        </p:txBody>
      </p:sp>
      <p:sp>
        <p:nvSpPr>
          <p:cNvPr id="15" name="TextBox 14">
            <a:extLst>
              <a:ext uri="{FF2B5EF4-FFF2-40B4-BE49-F238E27FC236}">
                <a16:creationId xmlns:a16="http://schemas.microsoft.com/office/drawing/2014/main" id="{D27701B7-C2E5-A7B3-C416-F1D62F58C918}"/>
              </a:ext>
            </a:extLst>
          </p:cNvPr>
          <p:cNvSpPr txBox="1"/>
          <p:nvPr/>
        </p:nvSpPr>
        <p:spPr>
          <a:xfrm>
            <a:off x="9777888" y="2900190"/>
            <a:ext cx="1803400" cy="184666"/>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b="1" u="sng"/>
              <a:t>Traffic Light Score Legend</a:t>
            </a:r>
          </a:p>
        </p:txBody>
      </p:sp>
      <p:sp>
        <p:nvSpPr>
          <p:cNvPr id="16" name="Isosceles Triangle 15">
            <a:extLst>
              <a:ext uri="{FF2B5EF4-FFF2-40B4-BE49-F238E27FC236}">
                <a16:creationId xmlns:a16="http://schemas.microsoft.com/office/drawing/2014/main" id="{36C9721B-3CA1-2732-A132-46CA4B1ED35C}"/>
              </a:ext>
            </a:extLst>
          </p:cNvPr>
          <p:cNvSpPr/>
          <p:nvPr/>
        </p:nvSpPr>
        <p:spPr>
          <a:xfrm rot="5400000">
            <a:off x="6035159" y="3674660"/>
            <a:ext cx="4049298" cy="415719"/>
          </a:xfrm>
          <a:prstGeom prst="triangle">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3" name="Oval 22">
            <a:extLst>
              <a:ext uri="{FF2B5EF4-FFF2-40B4-BE49-F238E27FC236}">
                <a16:creationId xmlns:a16="http://schemas.microsoft.com/office/drawing/2014/main" id="{03ED3061-DBE4-A12B-2371-FFF29FFA143B}"/>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24" name="Oval 23">
            <a:extLst>
              <a:ext uri="{FF2B5EF4-FFF2-40B4-BE49-F238E27FC236}">
                <a16:creationId xmlns:a16="http://schemas.microsoft.com/office/drawing/2014/main" id="{49BB761E-61AA-3BFE-B18F-3E7C80E6D699}"/>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409979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5131C6D-87B7-3715-EA37-440BB50AA939}"/>
              </a:ext>
            </a:extLst>
          </p:cNvPr>
          <p:cNvGraphicFramePr>
            <a:graphicFrameLocks noChangeAspect="1"/>
          </p:cNvGraphicFramePr>
          <p:nvPr>
            <p:custDataLst>
              <p:tags r:id="rId1"/>
            </p:custDataLst>
            <p:extLst>
              <p:ext uri="{D42A27DB-BD31-4B8C-83A1-F6EECF244321}">
                <p14:modId xmlns:p14="http://schemas.microsoft.com/office/powerpoint/2010/main" val="931678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15" name="think-cell data - do not delete" hidden="1">
                        <a:extLst>
                          <a:ext uri="{FF2B5EF4-FFF2-40B4-BE49-F238E27FC236}">
                            <a16:creationId xmlns:a16="http://schemas.microsoft.com/office/drawing/2014/main" id="{E5131C6D-87B7-3715-EA37-440BB50AA9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E49D3120-45B9-ABE7-ECCD-527EA79312E2}"/>
              </a:ext>
            </a:extLst>
          </p:cNvPr>
          <p:cNvSpPr>
            <a:spLocks noGrp="1"/>
          </p:cNvSpPr>
          <p:nvPr>
            <p:ph type="body" sz="quarter" idx="29"/>
          </p:nvPr>
        </p:nvSpPr>
        <p:spPr>
          <a:xfrm>
            <a:off x="381000" y="1268129"/>
            <a:ext cx="8601074" cy="184666"/>
          </a:xfrm>
        </p:spPr>
        <p:txBody>
          <a:bodyPr/>
          <a:lstStyle/>
          <a:p>
            <a:r>
              <a:rPr lang="en-GB"/>
              <a:t>Grid Integration</a:t>
            </a:r>
          </a:p>
        </p:txBody>
      </p:sp>
      <p:sp>
        <p:nvSpPr>
          <p:cNvPr id="10" name="Text Placeholder 9">
            <a:extLst>
              <a:ext uri="{FF2B5EF4-FFF2-40B4-BE49-F238E27FC236}">
                <a16:creationId xmlns:a16="http://schemas.microsoft.com/office/drawing/2014/main" id="{6BC1B5D1-4EF6-1BF2-C3AB-4A219CE78BA5}"/>
              </a:ext>
            </a:extLst>
          </p:cNvPr>
          <p:cNvSpPr>
            <a:spLocks noGrp="1"/>
          </p:cNvSpPr>
          <p:nvPr>
            <p:ph type="body" sz="quarter" idx="28"/>
          </p:nvPr>
        </p:nvSpPr>
        <p:spPr>
          <a:xfrm>
            <a:off x="9500714" y="1285078"/>
            <a:ext cx="2335686" cy="184666"/>
          </a:xfrm>
        </p:spPr>
        <p:txBody>
          <a:bodyPr/>
          <a:lstStyle/>
          <a:p>
            <a:pPr marL="171450" indent="-171450">
              <a:buFont typeface="Wingdings" panose="05000000000000000000" pitchFamily="2" charset="2"/>
              <a:buChar char="§"/>
            </a:pPr>
            <a:endParaRPr lang="en-GB"/>
          </a:p>
        </p:txBody>
      </p:sp>
      <p:sp>
        <p:nvSpPr>
          <p:cNvPr id="14" name="Text Placeholder 13">
            <a:extLst>
              <a:ext uri="{FF2B5EF4-FFF2-40B4-BE49-F238E27FC236}">
                <a16:creationId xmlns:a16="http://schemas.microsoft.com/office/drawing/2014/main" id="{4F9861C2-FDE3-E4DC-7F3F-EB09864F09F1}"/>
              </a:ext>
            </a:extLst>
          </p:cNvPr>
          <p:cNvSpPr>
            <a:spLocks noGrp="1"/>
          </p:cNvSpPr>
          <p:nvPr>
            <p:ph type="body" sz="quarter" idx="32"/>
          </p:nvPr>
        </p:nvSpPr>
        <p:spPr>
          <a:xfrm>
            <a:off x="381000" y="6728557"/>
            <a:ext cx="8601074" cy="110800"/>
          </a:xfrm>
        </p:spPr>
        <p:txBody>
          <a:bodyPr/>
          <a:lstStyle/>
          <a:p>
            <a:r>
              <a:rPr kumimoji="0" lang="en-GB" sz="800" b="0" i="0" u="none" strike="noStrike" kern="1200" cap="none" spc="0" normalizeH="0" baseline="0" noProof="0">
                <a:ln>
                  <a:noFill/>
                </a:ln>
                <a:solidFill>
                  <a:srgbClr val="3C3C3B"/>
                </a:solidFill>
                <a:effectLst/>
                <a:uLnTx/>
                <a:uFillTx/>
                <a:latin typeface="Lato"/>
                <a:ea typeface="+mn-ea"/>
                <a:cs typeface="+mn-cs"/>
              </a:rPr>
              <a:t>Sources: Aurora Energy Research</a:t>
            </a:r>
            <a:endParaRPr lang="en-GB"/>
          </a:p>
        </p:txBody>
      </p:sp>
      <p:sp>
        <p:nvSpPr>
          <p:cNvPr id="13" name="Text Placeholder 12">
            <a:extLst>
              <a:ext uri="{FF2B5EF4-FFF2-40B4-BE49-F238E27FC236}">
                <a16:creationId xmlns:a16="http://schemas.microsoft.com/office/drawing/2014/main" id="{BD178166-5AD1-EB02-F9E9-6B5D4346772B}"/>
              </a:ext>
            </a:extLst>
          </p:cNvPr>
          <p:cNvSpPr>
            <a:spLocks noGrp="1"/>
          </p:cNvSpPr>
          <p:nvPr>
            <p:ph type="body" sz="quarter" idx="31"/>
          </p:nvPr>
        </p:nvSpPr>
        <p:spPr>
          <a:xfrm>
            <a:off x="381599" y="79401"/>
            <a:ext cx="5606022" cy="184666"/>
          </a:xfrm>
        </p:spPr>
        <p:txBody>
          <a:bodyPr/>
          <a:lstStyle/>
          <a:p>
            <a:r>
              <a:rPr lang="en-GB"/>
              <a:t>		Policy and regulatory environment - Regulatory challenges and opportunities</a:t>
            </a:r>
          </a:p>
        </p:txBody>
      </p:sp>
      <p:sp>
        <p:nvSpPr>
          <p:cNvPr id="58" name="United Kingdom" descr="© INSCALE GmbH, 05.05.2010&#10;http://www.presentationload.com/">
            <a:extLst>
              <a:ext uri="{FF2B5EF4-FFF2-40B4-BE49-F238E27FC236}">
                <a16:creationId xmlns:a16="http://schemas.microsoft.com/office/drawing/2014/main" id="{F1B1CFDB-F4FB-E0EF-1C7B-CD3F0279A9C6}"/>
              </a:ext>
            </a:extLst>
          </p:cNvPr>
          <p:cNvSpPr>
            <a:spLocks noEditPoints="1"/>
          </p:cNvSpPr>
          <p:nvPr/>
        </p:nvSpPr>
        <p:spPr bwMode="gray">
          <a:xfrm>
            <a:off x="2605063" y="2711872"/>
            <a:ext cx="1023949" cy="1459835"/>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9" name="Ukraine" descr="© INSCALE GmbH, 05.05.2010&#10;http://www.presentationload.com/">
            <a:extLst>
              <a:ext uri="{FF2B5EF4-FFF2-40B4-BE49-F238E27FC236}">
                <a16:creationId xmlns:a16="http://schemas.microsoft.com/office/drawing/2014/main" id="{7557048E-95EA-9802-0265-CCD2572FB826}"/>
              </a:ext>
            </a:extLst>
          </p:cNvPr>
          <p:cNvSpPr>
            <a:spLocks/>
          </p:cNvSpPr>
          <p:nvPr/>
        </p:nvSpPr>
        <p:spPr bwMode="gray">
          <a:xfrm>
            <a:off x="5863717" y="3839610"/>
            <a:ext cx="1978719" cy="1106979"/>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0" name="Turkey" descr="© INSCALE GmbH, 05.05.2010&#10;http://www.presentationload.com/">
            <a:extLst>
              <a:ext uri="{FF2B5EF4-FFF2-40B4-BE49-F238E27FC236}">
                <a16:creationId xmlns:a16="http://schemas.microsoft.com/office/drawing/2014/main" id="{2912BE27-1B72-28FF-0859-12266C10705F}"/>
              </a:ext>
            </a:extLst>
          </p:cNvPr>
          <p:cNvSpPr>
            <a:spLocks noEditPoints="1"/>
          </p:cNvSpPr>
          <p:nvPr/>
        </p:nvSpPr>
        <p:spPr bwMode="gray">
          <a:xfrm>
            <a:off x="6271913" y="5251005"/>
            <a:ext cx="2352324" cy="899419"/>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1" name="Switzerland" descr="© INSCALE GmbH, 05.05.2010&#10;http://www.presentationload.com/">
            <a:extLst>
              <a:ext uri="{FF2B5EF4-FFF2-40B4-BE49-F238E27FC236}">
                <a16:creationId xmlns:a16="http://schemas.microsoft.com/office/drawing/2014/main" id="{060A9FD3-26F5-C962-E80B-6DE75FCD915A}"/>
              </a:ext>
            </a:extLst>
          </p:cNvPr>
          <p:cNvSpPr>
            <a:spLocks/>
          </p:cNvSpPr>
          <p:nvPr/>
        </p:nvSpPr>
        <p:spPr bwMode="gray">
          <a:xfrm>
            <a:off x="4071804" y="4455366"/>
            <a:ext cx="511979" cy="283668"/>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2" name="Sweden" descr="© INSCALE GmbH, 05.05.2010&#10;http://www.presentationload.com/">
            <a:extLst>
              <a:ext uri="{FF2B5EF4-FFF2-40B4-BE49-F238E27FC236}">
                <a16:creationId xmlns:a16="http://schemas.microsoft.com/office/drawing/2014/main" id="{24B3046A-9E2B-864C-0E7D-D0CB50E51BA3}"/>
              </a:ext>
            </a:extLst>
          </p:cNvPr>
          <p:cNvSpPr>
            <a:spLocks noEditPoints="1"/>
          </p:cNvSpPr>
          <p:nvPr/>
        </p:nvSpPr>
        <p:spPr bwMode="gray">
          <a:xfrm>
            <a:off x="4653342" y="1675742"/>
            <a:ext cx="1224595" cy="175041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3" name="Spain" descr="© INSCALE GmbH, 05.05.2010&#10;http://www.presentationload.com/">
            <a:extLst>
              <a:ext uri="{FF2B5EF4-FFF2-40B4-BE49-F238E27FC236}">
                <a16:creationId xmlns:a16="http://schemas.microsoft.com/office/drawing/2014/main" id="{3E0B5B35-D075-4760-623D-E0B0E3AD6EE7}"/>
              </a:ext>
            </a:extLst>
          </p:cNvPr>
          <p:cNvSpPr>
            <a:spLocks noEditPoints="1"/>
          </p:cNvSpPr>
          <p:nvPr/>
        </p:nvSpPr>
        <p:spPr bwMode="gray">
          <a:xfrm>
            <a:off x="2307561" y="5029614"/>
            <a:ext cx="1549765" cy="1093144"/>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4" name="Slovenia" descr="© INSCALE GmbH, 05.05.2010&#10;http://www.presentationload.com/">
            <a:extLst>
              <a:ext uri="{FF2B5EF4-FFF2-40B4-BE49-F238E27FC236}">
                <a16:creationId xmlns:a16="http://schemas.microsoft.com/office/drawing/2014/main" id="{96870DF4-9D6C-9003-80A5-A8192F9AC688}"/>
              </a:ext>
            </a:extLst>
          </p:cNvPr>
          <p:cNvSpPr>
            <a:spLocks/>
          </p:cNvSpPr>
          <p:nvPr/>
        </p:nvSpPr>
        <p:spPr bwMode="gray">
          <a:xfrm>
            <a:off x="4888191" y="4579900"/>
            <a:ext cx="373605" cy="214480"/>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5" name="Slovakia" descr="© INSCALE GmbH, 05.05.2010&#10;http://www.presentationload.com/">
            <a:extLst>
              <a:ext uri="{FF2B5EF4-FFF2-40B4-BE49-F238E27FC236}">
                <a16:creationId xmlns:a16="http://schemas.microsoft.com/office/drawing/2014/main" id="{B8108DE7-2373-75CF-1B8F-6926392CAB07}"/>
              </a:ext>
            </a:extLst>
          </p:cNvPr>
          <p:cNvSpPr>
            <a:spLocks/>
          </p:cNvSpPr>
          <p:nvPr/>
        </p:nvSpPr>
        <p:spPr bwMode="gray">
          <a:xfrm>
            <a:off x="5268715" y="4220131"/>
            <a:ext cx="629598" cy="255991"/>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6" name="Serbia" descr="© INSCALE GmbH, 05.05.2010&#10;http://www.presentationload.com/">
            <a:extLst>
              <a:ext uri="{FF2B5EF4-FFF2-40B4-BE49-F238E27FC236}">
                <a16:creationId xmlns:a16="http://schemas.microsoft.com/office/drawing/2014/main" id="{4F3E6CE2-EFA6-8150-1195-EF9403EFB1E5}"/>
              </a:ext>
            </a:extLst>
          </p:cNvPr>
          <p:cNvSpPr>
            <a:spLocks/>
          </p:cNvSpPr>
          <p:nvPr/>
        </p:nvSpPr>
        <p:spPr bwMode="gray">
          <a:xfrm>
            <a:off x="5510871" y="4690597"/>
            <a:ext cx="484301" cy="530988"/>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7" name="Romania" descr="© INSCALE GmbH, 05.05.2010&#10;http://www.presentationload.com/">
            <a:extLst>
              <a:ext uri="{FF2B5EF4-FFF2-40B4-BE49-F238E27FC236}">
                <a16:creationId xmlns:a16="http://schemas.microsoft.com/office/drawing/2014/main" id="{B5357792-DB15-2704-2006-4CC7B104A88A}"/>
              </a:ext>
            </a:extLst>
          </p:cNvPr>
          <p:cNvSpPr>
            <a:spLocks/>
          </p:cNvSpPr>
          <p:nvPr/>
        </p:nvSpPr>
        <p:spPr bwMode="gray">
          <a:xfrm>
            <a:off x="5663081" y="4400022"/>
            <a:ext cx="1086221" cy="650346"/>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8" name="Portugal" descr="© INSCALE GmbH, 05.05.2010&#10;http://www.presentationload.com/">
            <a:extLst>
              <a:ext uri="{FF2B5EF4-FFF2-40B4-BE49-F238E27FC236}">
                <a16:creationId xmlns:a16="http://schemas.microsoft.com/office/drawing/2014/main" id="{32BB831B-8A4A-834F-605E-9F192069CA3E}"/>
              </a:ext>
            </a:extLst>
          </p:cNvPr>
          <p:cNvSpPr>
            <a:spLocks/>
          </p:cNvSpPr>
          <p:nvPr/>
        </p:nvSpPr>
        <p:spPr bwMode="gray">
          <a:xfrm>
            <a:off x="2245299" y="5264842"/>
            <a:ext cx="401281" cy="726460"/>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69" name="Poland" descr="© INSCALE GmbH, 05.05.2010&#10;http://www.presentationload.com/">
            <a:extLst>
              <a:ext uri="{FF2B5EF4-FFF2-40B4-BE49-F238E27FC236}">
                <a16:creationId xmlns:a16="http://schemas.microsoft.com/office/drawing/2014/main" id="{A5DA7BE5-BAE4-9D0E-C336-CC5D786D1FA3}"/>
              </a:ext>
            </a:extLst>
          </p:cNvPr>
          <p:cNvSpPr>
            <a:spLocks/>
          </p:cNvSpPr>
          <p:nvPr/>
        </p:nvSpPr>
        <p:spPr bwMode="gray">
          <a:xfrm>
            <a:off x="4964301" y="3500597"/>
            <a:ext cx="1106978" cy="795643"/>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0" name="Norway" descr="© INSCALE GmbH, 05.05.2010&#10;http://www.presentationload.com/">
            <a:extLst>
              <a:ext uri="{FF2B5EF4-FFF2-40B4-BE49-F238E27FC236}">
                <a16:creationId xmlns:a16="http://schemas.microsoft.com/office/drawing/2014/main" id="{26A39E4B-22FC-E272-1B8E-577109A02CE3}"/>
              </a:ext>
            </a:extLst>
          </p:cNvPr>
          <p:cNvSpPr>
            <a:spLocks noEditPoints="1"/>
          </p:cNvSpPr>
          <p:nvPr/>
        </p:nvSpPr>
        <p:spPr bwMode="gray">
          <a:xfrm>
            <a:off x="4030293" y="421817"/>
            <a:ext cx="2407666" cy="2649830"/>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1" name="Netherlands" descr="© INSCALE GmbH, 05.05.2010&#10;http://www.presentationload.com/">
            <a:extLst>
              <a:ext uri="{FF2B5EF4-FFF2-40B4-BE49-F238E27FC236}">
                <a16:creationId xmlns:a16="http://schemas.microsoft.com/office/drawing/2014/main" id="{63C8FE3A-CB9B-47B6-C877-7E8D8B1D02B2}"/>
              </a:ext>
            </a:extLst>
          </p:cNvPr>
          <p:cNvSpPr>
            <a:spLocks/>
          </p:cNvSpPr>
          <p:nvPr/>
        </p:nvSpPr>
        <p:spPr bwMode="gray">
          <a:xfrm>
            <a:off x="3753549" y="3687403"/>
            <a:ext cx="477383" cy="373602"/>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2" name="Montenegro" descr="© INSCALE GmbH, 05.05.2010&#10;http://www.presentationload.com/">
            <a:extLst>
              <a:ext uri="{FF2B5EF4-FFF2-40B4-BE49-F238E27FC236}">
                <a16:creationId xmlns:a16="http://schemas.microsoft.com/office/drawing/2014/main" id="{9F84EBCD-2BE9-4110-56A7-1CAF48F82BC0}"/>
              </a:ext>
            </a:extLst>
          </p:cNvPr>
          <p:cNvSpPr>
            <a:spLocks/>
          </p:cNvSpPr>
          <p:nvPr/>
        </p:nvSpPr>
        <p:spPr bwMode="gray">
          <a:xfrm>
            <a:off x="5476276" y="5050370"/>
            <a:ext cx="200638" cy="242153"/>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3" name="Moldova" descr="© INSCALE GmbH, 05.05.2010&#10;http://www.presentationload.com/">
            <a:extLst>
              <a:ext uri="{FF2B5EF4-FFF2-40B4-BE49-F238E27FC236}">
                <a16:creationId xmlns:a16="http://schemas.microsoft.com/office/drawing/2014/main" id="{B1098114-3525-8331-0389-F8F8969E0263}"/>
              </a:ext>
            </a:extLst>
          </p:cNvPr>
          <p:cNvSpPr>
            <a:spLocks/>
          </p:cNvSpPr>
          <p:nvPr/>
        </p:nvSpPr>
        <p:spPr bwMode="gray">
          <a:xfrm>
            <a:off x="6368774" y="4372338"/>
            <a:ext cx="380526" cy="422034"/>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4" name="Macedonia" descr="© INSCALE GmbH, 05.05.2010&#10;http://www.presentationload.com/">
            <a:extLst>
              <a:ext uri="{FF2B5EF4-FFF2-40B4-BE49-F238E27FC236}">
                <a16:creationId xmlns:a16="http://schemas.microsoft.com/office/drawing/2014/main" id="{E58E3CC2-0DB3-43FD-0CF8-CF0B1CEBC36D}"/>
              </a:ext>
            </a:extLst>
          </p:cNvPr>
          <p:cNvSpPr>
            <a:spLocks/>
          </p:cNvSpPr>
          <p:nvPr/>
        </p:nvSpPr>
        <p:spPr bwMode="gray">
          <a:xfrm>
            <a:off x="5725343" y="5216414"/>
            <a:ext cx="290580" cy="228317"/>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5" name="Luxembourg" descr="© INSCALE GmbH, 05.05.2010&#10;http://www.presentationload.com/">
            <a:extLst>
              <a:ext uri="{FF2B5EF4-FFF2-40B4-BE49-F238E27FC236}">
                <a16:creationId xmlns:a16="http://schemas.microsoft.com/office/drawing/2014/main" id="{FB2F9BE3-2802-2256-F48C-18067C751B64}"/>
              </a:ext>
            </a:extLst>
          </p:cNvPr>
          <p:cNvSpPr>
            <a:spLocks/>
          </p:cNvSpPr>
          <p:nvPr/>
        </p:nvSpPr>
        <p:spPr bwMode="gray">
          <a:xfrm>
            <a:off x="4044131" y="4144030"/>
            <a:ext cx="89942" cy="76110"/>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6" name="Lithuania" descr="© INSCALE GmbH, 05.05.2010&#10;http://www.presentationload.com/">
            <a:extLst>
              <a:ext uri="{FF2B5EF4-FFF2-40B4-BE49-F238E27FC236}">
                <a16:creationId xmlns:a16="http://schemas.microsoft.com/office/drawing/2014/main" id="{6C3425BF-DA6C-B54A-7518-4A80F0788537}"/>
              </a:ext>
            </a:extLst>
          </p:cNvPr>
          <p:cNvSpPr>
            <a:spLocks/>
          </p:cNvSpPr>
          <p:nvPr/>
        </p:nvSpPr>
        <p:spPr bwMode="gray">
          <a:xfrm>
            <a:off x="5676922" y="3279202"/>
            <a:ext cx="601921" cy="345932"/>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7" name="Liechtenstein" descr="© INSCALE GmbH, 05.05.2010&#10;http://www.presentationload.com/">
            <a:extLst>
              <a:ext uri="{FF2B5EF4-FFF2-40B4-BE49-F238E27FC236}">
                <a16:creationId xmlns:a16="http://schemas.microsoft.com/office/drawing/2014/main" id="{01DC5C49-D8D3-3C98-BDE4-83AEE4F171A5}"/>
              </a:ext>
            </a:extLst>
          </p:cNvPr>
          <p:cNvSpPr>
            <a:spLocks/>
          </p:cNvSpPr>
          <p:nvPr/>
        </p:nvSpPr>
        <p:spPr bwMode="gray">
          <a:xfrm>
            <a:off x="4445409" y="4531474"/>
            <a:ext cx="27674" cy="41510"/>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8" name="Latvia" descr="© INSCALE GmbH, 05.05.2010&#10;http://www.presentationload.com/">
            <a:extLst>
              <a:ext uri="{FF2B5EF4-FFF2-40B4-BE49-F238E27FC236}">
                <a16:creationId xmlns:a16="http://schemas.microsoft.com/office/drawing/2014/main" id="{6AA379EB-8826-3595-2380-8CD63ACE1895}"/>
              </a:ext>
            </a:extLst>
          </p:cNvPr>
          <p:cNvSpPr>
            <a:spLocks/>
          </p:cNvSpPr>
          <p:nvPr/>
        </p:nvSpPr>
        <p:spPr bwMode="gray">
          <a:xfrm>
            <a:off x="5663081" y="3064722"/>
            <a:ext cx="754127" cy="318255"/>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79" name="Kosovo" descr="© INSCALE GmbH, 05.05.2010&#10;http://www.presentationload.com/">
            <a:extLst>
              <a:ext uri="{FF2B5EF4-FFF2-40B4-BE49-F238E27FC236}">
                <a16:creationId xmlns:a16="http://schemas.microsoft.com/office/drawing/2014/main" id="{7C83F19F-25CD-D74E-0E43-D1D3DED0ECBD}"/>
              </a:ext>
            </a:extLst>
          </p:cNvPr>
          <p:cNvSpPr>
            <a:spLocks noEditPoints="1"/>
          </p:cNvSpPr>
          <p:nvPr/>
        </p:nvSpPr>
        <p:spPr bwMode="gray">
          <a:xfrm>
            <a:off x="5669163" y="5055885"/>
            <a:ext cx="228020" cy="229716"/>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0" name="Italy" descr="© INSCALE GmbH, 05.05.2010&#10;http://www.presentationload.com/">
            <a:extLst>
              <a:ext uri="{FF2B5EF4-FFF2-40B4-BE49-F238E27FC236}">
                <a16:creationId xmlns:a16="http://schemas.microsoft.com/office/drawing/2014/main" id="{CD621539-6A14-5249-38FE-C1F3A80D8E52}"/>
              </a:ext>
            </a:extLst>
          </p:cNvPr>
          <p:cNvSpPr>
            <a:spLocks noEditPoints="1"/>
          </p:cNvSpPr>
          <p:nvPr/>
        </p:nvSpPr>
        <p:spPr bwMode="gray">
          <a:xfrm>
            <a:off x="4127154" y="4559145"/>
            <a:ext cx="1376802" cy="1466746"/>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2" name="Hungary" descr="© INSCALE GmbH, 05.05.2010&#10;http://www.presentationload.com/">
            <a:extLst>
              <a:ext uri="{FF2B5EF4-FFF2-40B4-BE49-F238E27FC236}">
                <a16:creationId xmlns:a16="http://schemas.microsoft.com/office/drawing/2014/main" id="{5B2AD99D-CAB8-6392-6B53-F55F31FA95B8}"/>
              </a:ext>
            </a:extLst>
          </p:cNvPr>
          <p:cNvSpPr>
            <a:spLocks/>
          </p:cNvSpPr>
          <p:nvPr/>
        </p:nvSpPr>
        <p:spPr bwMode="gray">
          <a:xfrm>
            <a:off x="5206458" y="4358505"/>
            <a:ext cx="754127" cy="394365"/>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3" name="Greece" descr="© INSCALE GmbH, 05.05.2010&#10;http://www.presentationload.com/">
            <a:extLst>
              <a:ext uri="{FF2B5EF4-FFF2-40B4-BE49-F238E27FC236}">
                <a16:creationId xmlns:a16="http://schemas.microsoft.com/office/drawing/2014/main" id="{8BF3D493-E64F-1AF8-F1AC-C9092B2CA9D8}"/>
              </a:ext>
            </a:extLst>
          </p:cNvPr>
          <p:cNvSpPr>
            <a:spLocks noEditPoints="1"/>
          </p:cNvSpPr>
          <p:nvPr/>
        </p:nvSpPr>
        <p:spPr bwMode="gray">
          <a:xfrm>
            <a:off x="5718424" y="5313273"/>
            <a:ext cx="940926" cy="975529"/>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4" name="Germany" descr="© INSCALE GmbH, 05.05.2010&#10;http://www.presentationload.com/">
            <a:extLst>
              <a:ext uri="{FF2B5EF4-FFF2-40B4-BE49-F238E27FC236}">
                <a16:creationId xmlns:a16="http://schemas.microsoft.com/office/drawing/2014/main" id="{2B5EA741-91B0-F2B7-F4E6-00511673BD37}"/>
              </a:ext>
            </a:extLst>
          </p:cNvPr>
          <p:cNvSpPr>
            <a:spLocks/>
          </p:cNvSpPr>
          <p:nvPr/>
        </p:nvSpPr>
        <p:spPr bwMode="gray">
          <a:xfrm>
            <a:off x="4071804" y="3486762"/>
            <a:ext cx="996280" cy="1044711"/>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5" name="France" descr="© INSCALE GmbH, 05.05.2010&#10;http://www.presentationload.com/">
            <a:extLst>
              <a:ext uri="{FF2B5EF4-FFF2-40B4-BE49-F238E27FC236}">
                <a16:creationId xmlns:a16="http://schemas.microsoft.com/office/drawing/2014/main" id="{CD3E494F-5CEB-2431-6045-6A86583C3820}"/>
              </a:ext>
            </a:extLst>
          </p:cNvPr>
          <p:cNvSpPr>
            <a:spLocks noEditPoints="1"/>
          </p:cNvSpPr>
          <p:nvPr/>
        </p:nvSpPr>
        <p:spPr bwMode="gray">
          <a:xfrm>
            <a:off x="2861048" y="3991818"/>
            <a:ext cx="1612037" cy="1390647"/>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6" name="Finland" descr="© INSCALE GmbH, 05.05.2010&#10;http://www.presentationload.com/">
            <a:extLst>
              <a:ext uri="{FF2B5EF4-FFF2-40B4-BE49-F238E27FC236}">
                <a16:creationId xmlns:a16="http://schemas.microsoft.com/office/drawing/2014/main" id="{B00B4B5B-F6E9-C1C0-1A53-AC0CFF0D3BBA}"/>
              </a:ext>
            </a:extLst>
          </p:cNvPr>
          <p:cNvSpPr>
            <a:spLocks/>
          </p:cNvSpPr>
          <p:nvPr/>
        </p:nvSpPr>
        <p:spPr bwMode="gray">
          <a:xfrm>
            <a:off x="5503678" y="1556470"/>
            <a:ext cx="1113899" cy="126611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7" name="Estonia" descr="© INSCALE GmbH, 05.05.2010&#10;http://www.presentationload.com/">
            <a:extLst>
              <a:ext uri="{FF2B5EF4-FFF2-40B4-BE49-F238E27FC236}">
                <a16:creationId xmlns:a16="http://schemas.microsoft.com/office/drawing/2014/main" id="{7EAABCA0-B61D-53E1-9A9D-3078030D36A8}"/>
              </a:ext>
            </a:extLst>
          </p:cNvPr>
          <p:cNvSpPr>
            <a:spLocks noEditPoints="1"/>
          </p:cNvSpPr>
          <p:nvPr/>
        </p:nvSpPr>
        <p:spPr bwMode="gray">
          <a:xfrm>
            <a:off x="5725343" y="2864090"/>
            <a:ext cx="615757" cy="276745"/>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8" name="Denmark" descr="© INSCALE GmbH, 05.05.2010&#10;http://www.presentationload.com/">
            <a:extLst>
              <a:ext uri="{FF2B5EF4-FFF2-40B4-BE49-F238E27FC236}">
                <a16:creationId xmlns:a16="http://schemas.microsoft.com/office/drawing/2014/main" id="{6D214D40-B0F7-DB7D-E2B5-5FAED7E7E38A}"/>
              </a:ext>
            </a:extLst>
          </p:cNvPr>
          <p:cNvSpPr>
            <a:spLocks noEditPoints="1"/>
          </p:cNvSpPr>
          <p:nvPr/>
        </p:nvSpPr>
        <p:spPr bwMode="gray">
          <a:xfrm>
            <a:off x="4313957" y="3126995"/>
            <a:ext cx="491223" cy="415112"/>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89" name="Czech Republic" descr="© INSCALE GmbH, 05.05.2010&#10;http://www.presentationload.com/">
            <a:extLst>
              <a:ext uri="{FF2B5EF4-FFF2-40B4-BE49-F238E27FC236}">
                <a16:creationId xmlns:a16="http://schemas.microsoft.com/office/drawing/2014/main" id="{CFC97241-BFD6-EA3D-E3E1-E288A406E03E}"/>
              </a:ext>
            </a:extLst>
          </p:cNvPr>
          <p:cNvSpPr>
            <a:spLocks/>
          </p:cNvSpPr>
          <p:nvPr/>
        </p:nvSpPr>
        <p:spPr bwMode="gray">
          <a:xfrm>
            <a:off x="4749826" y="4019494"/>
            <a:ext cx="747206" cy="339013"/>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0" name="Croatia" descr="© INSCALE GmbH, 05.05.2010&#10;http://www.presentationload.com/">
            <a:extLst>
              <a:ext uri="{FF2B5EF4-FFF2-40B4-BE49-F238E27FC236}">
                <a16:creationId xmlns:a16="http://schemas.microsoft.com/office/drawing/2014/main" id="{07681AFA-5326-4013-F2B4-FE19939231FB}"/>
              </a:ext>
            </a:extLst>
          </p:cNvPr>
          <p:cNvSpPr>
            <a:spLocks/>
          </p:cNvSpPr>
          <p:nvPr/>
        </p:nvSpPr>
        <p:spPr bwMode="gray">
          <a:xfrm>
            <a:off x="4929713" y="4649086"/>
            <a:ext cx="650349" cy="484298"/>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1" name="Bulgaria" descr="© INSCALE GmbH, 05.05.2010&#10;http://www.presentationload.com/">
            <a:extLst>
              <a:ext uri="{FF2B5EF4-FFF2-40B4-BE49-F238E27FC236}">
                <a16:creationId xmlns:a16="http://schemas.microsoft.com/office/drawing/2014/main" id="{828DCE99-D6AC-FCDE-2133-7548EC8000AB}"/>
              </a:ext>
            </a:extLst>
          </p:cNvPr>
          <p:cNvSpPr>
            <a:spLocks/>
          </p:cNvSpPr>
          <p:nvPr/>
        </p:nvSpPr>
        <p:spPr bwMode="gray">
          <a:xfrm>
            <a:off x="5932905" y="4974264"/>
            <a:ext cx="698780" cy="401280"/>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2" name="Bosnia and Herzegovina" descr="© INSCALE GmbH, 05.05.2010&#10;http://www.presentationload.com/">
            <a:extLst>
              <a:ext uri="{FF2B5EF4-FFF2-40B4-BE49-F238E27FC236}">
                <a16:creationId xmlns:a16="http://schemas.microsoft.com/office/drawing/2014/main" id="{AAAF010B-8DB5-2757-F3A2-07B2E43A7E58}"/>
              </a:ext>
            </a:extLst>
          </p:cNvPr>
          <p:cNvSpPr>
            <a:spLocks/>
          </p:cNvSpPr>
          <p:nvPr/>
        </p:nvSpPr>
        <p:spPr bwMode="gray">
          <a:xfrm>
            <a:off x="5144189" y="4815134"/>
            <a:ext cx="470461" cy="415112"/>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3" name="Belgium" descr="© INSCALE GmbH, 05.05.2010&#10;http://www.presentationload.com/">
            <a:extLst>
              <a:ext uri="{FF2B5EF4-FFF2-40B4-BE49-F238E27FC236}">
                <a16:creationId xmlns:a16="http://schemas.microsoft.com/office/drawing/2014/main" id="{27D378BC-69A2-CEA7-E5F9-DEAA3F80C4CC}"/>
              </a:ext>
            </a:extLst>
          </p:cNvPr>
          <p:cNvSpPr>
            <a:spLocks/>
          </p:cNvSpPr>
          <p:nvPr/>
        </p:nvSpPr>
        <p:spPr bwMode="gray">
          <a:xfrm>
            <a:off x="3732795" y="3964148"/>
            <a:ext cx="394364" cy="269827"/>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4" name="Belarus" descr="© INSCALE GmbH, 05.05.2010&#10;http://www.presentationload.com/">
            <a:extLst>
              <a:ext uri="{FF2B5EF4-FFF2-40B4-BE49-F238E27FC236}">
                <a16:creationId xmlns:a16="http://schemas.microsoft.com/office/drawing/2014/main" id="{E4BA44A8-E7CC-0B59-C625-69F4D9C54112}"/>
              </a:ext>
            </a:extLst>
          </p:cNvPr>
          <p:cNvSpPr>
            <a:spLocks/>
          </p:cNvSpPr>
          <p:nvPr/>
        </p:nvSpPr>
        <p:spPr bwMode="gray">
          <a:xfrm>
            <a:off x="5939830" y="3320712"/>
            <a:ext cx="1010116" cy="657269"/>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5" name="Austria" descr="© INSCALE GmbH, 05.05.2010&#10;http://www.presentationload.com/">
            <a:extLst>
              <a:ext uri="{FF2B5EF4-FFF2-40B4-BE49-F238E27FC236}">
                <a16:creationId xmlns:a16="http://schemas.microsoft.com/office/drawing/2014/main" id="{7F4ABB1D-8D59-A47B-AC09-493EDFAC048F}"/>
              </a:ext>
            </a:extLst>
          </p:cNvPr>
          <p:cNvSpPr>
            <a:spLocks/>
          </p:cNvSpPr>
          <p:nvPr/>
        </p:nvSpPr>
        <p:spPr bwMode="gray">
          <a:xfrm>
            <a:off x="4473089" y="4296241"/>
            <a:ext cx="809474" cy="359765"/>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6" name="Andorra" descr="© INSCALE GmbH, 05.05.2010&#10;http://www.presentationload.com/">
            <a:extLst>
              <a:ext uri="{FF2B5EF4-FFF2-40B4-BE49-F238E27FC236}">
                <a16:creationId xmlns:a16="http://schemas.microsoft.com/office/drawing/2014/main" id="{1923977D-B4F0-A78F-CDA0-3719ECFFC4BE}"/>
              </a:ext>
            </a:extLst>
          </p:cNvPr>
          <p:cNvSpPr>
            <a:spLocks/>
          </p:cNvSpPr>
          <p:nvPr/>
        </p:nvSpPr>
        <p:spPr bwMode="gray">
          <a:xfrm>
            <a:off x="3532163" y="5188745"/>
            <a:ext cx="55351" cy="27674"/>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7" name="Albania" descr="© INSCALE GmbH, 05.05.2010&#10;http://www.presentationload.com/">
            <a:extLst>
              <a:ext uri="{FF2B5EF4-FFF2-40B4-BE49-F238E27FC236}">
                <a16:creationId xmlns:a16="http://schemas.microsoft.com/office/drawing/2014/main" id="{E6396264-459E-E196-2F65-34D9DF196738}"/>
              </a:ext>
            </a:extLst>
          </p:cNvPr>
          <p:cNvSpPr>
            <a:spLocks/>
          </p:cNvSpPr>
          <p:nvPr/>
        </p:nvSpPr>
        <p:spPr bwMode="gray">
          <a:xfrm>
            <a:off x="5545478" y="5188732"/>
            <a:ext cx="255990" cy="435875"/>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rgbClr val="F2F2F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98" name="TextBox 97">
            <a:extLst>
              <a:ext uri="{FF2B5EF4-FFF2-40B4-BE49-F238E27FC236}">
                <a16:creationId xmlns:a16="http://schemas.microsoft.com/office/drawing/2014/main" id="{AB8C4142-25D0-9660-D8CC-A10F4C1453E8}"/>
              </a:ext>
            </a:extLst>
          </p:cNvPr>
          <p:cNvSpPr txBox="1"/>
          <p:nvPr/>
        </p:nvSpPr>
        <p:spPr>
          <a:xfrm>
            <a:off x="4801974" y="2438936"/>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SWE</a:t>
            </a:r>
          </a:p>
        </p:txBody>
      </p:sp>
      <p:sp>
        <p:nvSpPr>
          <p:cNvPr id="99" name="TextBox 98">
            <a:extLst>
              <a:ext uri="{FF2B5EF4-FFF2-40B4-BE49-F238E27FC236}">
                <a16:creationId xmlns:a16="http://schemas.microsoft.com/office/drawing/2014/main" id="{3FDF8870-B4DC-FDC2-B2C3-1DB28195BCFB}"/>
              </a:ext>
            </a:extLst>
          </p:cNvPr>
          <p:cNvSpPr txBox="1"/>
          <p:nvPr/>
        </p:nvSpPr>
        <p:spPr>
          <a:xfrm>
            <a:off x="5408110" y="4466294"/>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HUN</a:t>
            </a:r>
          </a:p>
        </p:txBody>
      </p:sp>
      <p:sp>
        <p:nvSpPr>
          <p:cNvPr id="100" name="TextBox 99">
            <a:extLst>
              <a:ext uri="{FF2B5EF4-FFF2-40B4-BE49-F238E27FC236}">
                <a16:creationId xmlns:a16="http://schemas.microsoft.com/office/drawing/2014/main" id="{F888FD85-6C54-E57C-5E04-BA9418C91C9A}"/>
              </a:ext>
            </a:extLst>
          </p:cNvPr>
          <p:cNvSpPr txBox="1"/>
          <p:nvPr/>
        </p:nvSpPr>
        <p:spPr>
          <a:xfrm>
            <a:off x="6046360" y="4697275"/>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ROU</a:t>
            </a:r>
          </a:p>
        </p:txBody>
      </p:sp>
      <p:sp>
        <p:nvSpPr>
          <p:cNvPr id="101" name="TextBox 100">
            <a:extLst>
              <a:ext uri="{FF2B5EF4-FFF2-40B4-BE49-F238E27FC236}">
                <a16:creationId xmlns:a16="http://schemas.microsoft.com/office/drawing/2014/main" id="{30646D7C-E1BB-40B6-A6B8-C312B499F953}"/>
              </a:ext>
            </a:extLst>
          </p:cNvPr>
          <p:cNvSpPr txBox="1"/>
          <p:nvPr/>
        </p:nvSpPr>
        <p:spPr>
          <a:xfrm>
            <a:off x="6053762" y="5103028"/>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BGR</a:t>
            </a:r>
          </a:p>
        </p:txBody>
      </p:sp>
      <p:sp>
        <p:nvSpPr>
          <p:cNvPr id="102" name="TextBox 101">
            <a:extLst>
              <a:ext uri="{FF2B5EF4-FFF2-40B4-BE49-F238E27FC236}">
                <a16:creationId xmlns:a16="http://schemas.microsoft.com/office/drawing/2014/main" id="{9669B3D4-0C2F-EC85-E5C2-A122B20493E7}"/>
              </a:ext>
            </a:extLst>
          </p:cNvPr>
          <p:cNvSpPr txBox="1"/>
          <p:nvPr/>
        </p:nvSpPr>
        <p:spPr>
          <a:xfrm>
            <a:off x="5848131" y="5524705"/>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GRC</a:t>
            </a:r>
          </a:p>
        </p:txBody>
      </p:sp>
      <p:sp>
        <p:nvSpPr>
          <p:cNvPr id="103" name="TextBox 102">
            <a:extLst>
              <a:ext uri="{FF2B5EF4-FFF2-40B4-BE49-F238E27FC236}">
                <a16:creationId xmlns:a16="http://schemas.microsoft.com/office/drawing/2014/main" id="{F6B56E68-280E-B2B0-DFFE-5FB24656CE9A}"/>
              </a:ext>
            </a:extLst>
          </p:cNvPr>
          <p:cNvSpPr txBox="1"/>
          <p:nvPr/>
        </p:nvSpPr>
        <p:spPr>
          <a:xfrm>
            <a:off x="3072866" y="3568243"/>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GBR</a:t>
            </a:r>
          </a:p>
        </p:txBody>
      </p:sp>
      <p:sp>
        <p:nvSpPr>
          <p:cNvPr id="105" name="TextBox 104">
            <a:extLst>
              <a:ext uri="{FF2B5EF4-FFF2-40B4-BE49-F238E27FC236}">
                <a16:creationId xmlns:a16="http://schemas.microsoft.com/office/drawing/2014/main" id="{8835E812-6DAD-C522-9FA8-7262BE1096F6}"/>
              </a:ext>
            </a:extLst>
          </p:cNvPr>
          <p:cNvSpPr txBox="1"/>
          <p:nvPr/>
        </p:nvSpPr>
        <p:spPr>
          <a:xfrm>
            <a:off x="2724613" y="5513791"/>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ESP</a:t>
            </a:r>
          </a:p>
        </p:txBody>
      </p:sp>
      <p:sp>
        <p:nvSpPr>
          <p:cNvPr id="106" name="TextBox 105">
            <a:extLst>
              <a:ext uri="{FF2B5EF4-FFF2-40B4-BE49-F238E27FC236}">
                <a16:creationId xmlns:a16="http://schemas.microsoft.com/office/drawing/2014/main" id="{7D892CA6-6911-8744-D6CA-2737AF6BA360}"/>
              </a:ext>
            </a:extLst>
          </p:cNvPr>
          <p:cNvSpPr txBox="1"/>
          <p:nvPr/>
        </p:nvSpPr>
        <p:spPr>
          <a:xfrm>
            <a:off x="2268781" y="5426985"/>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PRT</a:t>
            </a:r>
          </a:p>
        </p:txBody>
      </p:sp>
      <p:sp>
        <p:nvSpPr>
          <p:cNvPr id="107" name="TextBox 106">
            <a:extLst>
              <a:ext uri="{FF2B5EF4-FFF2-40B4-BE49-F238E27FC236}">
                <a16:creationId xmlns:a16="http://schemas.microsoft.com/office/drawing/2014/main" id="{697505AE-7DC1-1150-A4DF-0933CE477946}"/>
              </a:ext>
            </a:extLst>
          </p:cNvPr>
          <p:cNvSpPr txBox="1"/>
          <p:nvPr/>
        </p:nvSpPr>
        <p:spPr>
          <a:xfrm>
            <a:off x="3427876" y="4551489"/>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FRA</a:t>
            </a:r>
          </a:p>
        </p:txBody>
      </p:sp>
      <p:sp>
        <p:nvSpPr>
          <p:cNvPr id="108" name="TextBox 107">
            <a:extLst>
              <a:ext uri="{FF2B5EF4-FFF2-40B4-BE49-F238E27FC236}">
                <a16:creationId xmlns:a16="http://schemas.microsoft.com/office/drawing/2014/main" id="{59399018-2E06-6C83-B8BF-F682FB248CE0}"/>
              </a:ext>
            </a:extLst>
          </p:cNvPr>
          <p:cNvSpPr txBox="1"/>
          <p:nvPr/>
        </p:nvSpPr>
        <p:spPr>
          <a:xfrm>
            <a:off x="4622582" y="5053653"/>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ITA</a:t>
            </a:r>
          </a:p>
        </p:txBody>
      </p:sp>
      <p:sp>
        <p:nvSpPr>
          <p:cNvPr id="109" name="TextBox 108">
            <a:extLst>
              <a:ext uri="{FF2B5EF4-FFF2-40B4-BE49-F238E27FC236}">
                <a16:creationId xmlns:a16="http://schemas.microsoft.com/office/drawing/2014/main" id="{88B11534-83C0-35BB-9B33-36A5903A23BE}"/>
              </a:ext>
            </a:extLst>
          </p:cNvPr>
          <p:cNvSpPr txBox="1"/>
          <p:nvPr/>
        </p:nvSpPr>
        <p:spPr>
          <a:xfrm>
            <a:off x="4378889" y="3891668"/>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DEU</a:t>
            </a:r>
          </a:p>
        </p:txBody>
      </p:sp>
      <p:sp>
        <p:nvSpPr>
          <p:cNvPr id="110" name="TextBox 109">
            <a:extLst>
              <a:ext uri="{FF2B5EF4-FFF2-40B4-BE49-F238E27FC236}">
                <a16:creationId xmlns:a16="http://schemas.microsoft.com/office/drawing/2014/main" id="{79213DD8-72DD-17B3-68B9-91CDFD887E06}"/>
              </a:ext>
            </a:extLst>
          </p:cNvPr>
          <p:cNvSpPr txBox="1"/>
          <p:nvPr/>
        </p:nvSpPr>
        <p:spPr>
          <a:xfrm>
            <a:off x="5346684" y="3783065"/>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POL</a:t>
            </a:r>
          </a:p>
        </p:txBody>
      </p:sp>
      <p:sp>
        <p:nvSpPr>
          <p:cNvPr id="111" name="TextBox 110">
            <a:extLst>
              <a:ext uri="{FF2B5EF4-FFF2-40B4-BE49-F238E27FC236}">
                <a16:creationId xmlns:a16="http://schemas.microsoft.com/office/drawing/2014/main" id="{1496D0B5-7E1D-9154-3BA2-ADA00C276F3A}"/>
              </a:ext>
            </a:extLst>
          </p:cNvPr>
          <p:cNvSpPr txBox="1"/>
          <p:nvPr/>
        </p:nvSpPr>
        <p:spPr>
          <a:xfrm>
            <a:off x="4283421" y="3276376"/>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DNK</a:t>
            </a:r>
          </a:p>
        </p:txBody>
      </p:sp>
      <p:sp>
        <p:nvSpPr>
          <p:cNvPr id="112" name="TextBox 111">
            <a:extLst>
              <a:ext uri="{FF2B5EF4-FFF2-40B4-BE49-F238E27FC236}">
                <a16:creationId xmlns:a16="http://schemas.microsoft.com/office/drawing/2014/main" id="{97FC331B-B54F-1DBA-4759-97F066110552}"/>
              </a:ext>
            </a:extLst>
          </p:cNvPr>
          <p:cNvSpPr txBox="1"/>
          <p:nvPr/>
        </p:nvSpPr>
        <p:spPr>
          <a:xfrm>
            <a:off x="5954001" y="2307407"/>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FIN</a:t>
            </a:r>
          </a:p>
        </p:txBody>
      </p:sp>
      <p:sp>
        <p:nvSpPr>
          <p:cNvPr id="113" name="TextBox 112">
            <a:extLst>
              <a:ext uri="{FF2B5EF4-FFF2-40B4-BE49-F238E27FC236}">
                <a16:creationId xmlns:a16="http://schemas.microsoft.com/office/drawing/2014/main" id="{30A8FD8C-80C4-F965-D490-8338D334DCFB}"/>
              </a:ext>
            </a:extLst>
          </p:cNvPr>
          <p:cNvSpPr txBox="1"/>
          <p:nvPr/>
        </p:nvSpPr>
        <p:spPr>
          <a:xfrm>
            <a:off x="3912588" y="3706986"/>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NLD</a:t>
            </a:r>
          </a:p>
        </p:txBody>
      </p:sp>
      <p:sp>
        <p:nvSpPr>
          <p:cNvPr id="114" name="TextBox 113">
            <a:extLst>
              <a:ext uri="{FF2B5EF4-FFF2-40B4-BE49-F238E27FC236}">
                <a16:creationId xmlns:a16="http://schemas.microsoft.com/office/drawing/2014/main" id="{22EE7DCE-FBC8-30ED-3862-3307E4461EA6}"/>
              </a:ext>
            </a:extLst>
          </p:cNvPr>
          <p:cNvSpPr txBox="1"/>
          <p:nvPr/>
        </p:nvSpPr>
        <p:spPr>
          <a:xfrm>
            <a:off x="3820045" y="3996211"/>
            <a:ext cx="372009"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BEL</a:t>
            </a:r>
          </a:p>
        </p:txBody>
      </p:sp>
      <p:sp>
        <p:nvSpPr>
          <p:cNvPr id="116" name="TextBox 115">
            <a:extLst>
              <a:ext uri="{FF2B5EF4-FFF2-40B4-BE49-F238E27FC236}">
                <a16:creationId xmlns:a16="http://schemas.microsoft.com/office/drawing/2014/main" id="{819EFDA0-BD8F-A22D-A000-97EC1FC3DD04}"/>
              </a:ext>
            </a:extLst>
          </p:cNvPr>
          <p:cNvSpPr txBox="1"/>
          <p:nvPr/>
        </p:nvSpPr>
        <p:spPr>
          <a:xfrm>
            <a:off x="5742716" y="3412058"/>
            <a:ext cx="325975"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LTU</a:t>
            </a:r>
          </a:p>
        </p:txBody>
      </p:sp>
      <p:sp>
        <p:nvSpPr>
          <p:cNvPr id="117" name="TextBox 116">
            <a:extLst>
              <a:ext uri="{FF2B5EF4-FFF2-40B4-BE49-F238E27FC236}">
                <a16:creationId xmlns:a16="http://schemas.microsoft.com/office/drawing/2014/main" id="{6457716F-3F34-A163-6101-61C0613DC444}"/>
              </a:ext>
            </a:extLst>
          </p:cNvPr>
          <p:cNvSpPr txBox="1"/>
          <p:nvPr/>
        </p:nvSpPr>
        <p:spPr>
          <a:xfrm>
            <a:off x="5973679" y="3198297"/>
            <a:ext cx="325975"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LVA</a:t>
            </a:r>
          </a:p>
        </p:txBody>
      </p:sp>
      <p:sp>
        <p:nvSpPr>
          <p:cNvPr id="118" name="TextBox 117">
            <a:extLst>
              <a:ext uri="{FF2B5EF4-FFF2-40B4-BE49-F238E27FC236}">
                <a16:creationId xmlns:a16="http://schemas.microsoft.com/office/drawing/2014/main" id="{3C00D57E-7DA2-CF3C-7891-AD0620060A25}"/>
              </a:ext>
            </a:extLst>
          </p:cNvPr>
          <p:cNvSpPr txBox="1"/>
          <p:nvPr/>
        </p:nvSpPr>
        <p:spPr>
          <a:xfrm>
            <a:off x="6000120" y="2913413"/>
            <a:ext cx="325975"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EST</a:t>
            </a:r>
          </a:p>
        </p:txBody>
      </p:sp>
      <p:sp>
        <p:nvSpPr>
          <p:cNvPr id="119" name="TextBox 118">
            <a:extLst>
              <a:ext uri="{FF2B5EF4-FFF2-40B4-BE49-F238E27FC236}">
                <a16:creationId xmlns:a16="http://schemas.microsoft.com/office/drawing/2014/main" id="{89352C3E-7207-62D3-17BA-DBD0AC5C2D4F}"/>
              </a:ext>
            </a:extLst>
          </p:cNvPr>
          <p:cNvSpPr txBox="1"/>
          <p:nvPr/>
        </p:nvSpPr>
        <p:spPr>
          <a:xfrm>
            <a:off x="5595945" y="4864413"/>
            <a:ext cx="325975"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SRB</a:t>
            </a:r>
          </a:p>
        </p:txBody>
      </p:sp>
      <p:sp>
        <p:nvSpPr>
          <p:cNvPr id="120" name="TextBox 119">
            <a:extLst>
              <a:ext uri="{FF2B5EF4-FFF2-40B4-BE49-F238E27FC236}">
                <a16:creationId xmlns:a16="http://schemas.microsoft.com/office/drawing/2014/main" id="{D154AB92-C887-BFBF-E030-1A71D6DF88A6}"/>
              </a:ext>
            </a:extLst>
          </p:cNvPr>
          <p:cNvSpPr txBox="1"/>
          <p:nvPr/>
        </p:nvSpPr>
        <p:spPr>
          <a:xfrm>
            <a:off x="4796279" y="4617008"/>
            <a:ext cx="325975"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SVN</a:t>
            </a:r>
          </a:p>
        </p:txBody>
      </p:sp>
      <p:sp>
        <p:nvSpPr>
          <p:cNvPr id="121" name="TextBox 120">
            <a:extLst>
              <a:ext uri="{FF2B5EF4-FFF2-40B4-BE49-F238E27FC236}">
                <a16:creationId xmlns:a16="http://schemas.microsoft.com/office/drawing/2014/main" id="{9DCE8A68-4FC2-543C-4C4F-0C00A67DF17C}"/>
              </a:ext>
            </a:extLst>
          </p:cNvPr>
          <p:cNvSpPr txBox="1"/>
          <p:nvPr/>
        </p:nvSpPr>
        <p:spPr>
          <a:xfrm>
            <a:off x="4946966" y="4767695"/>
            <a:ext cx="325975" cy="15215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HRV</a:t>
            </a:r>
          </a:p>
        </p:txBody>
      </p:sp>
      <p:sp>
        <p:nvSpPr>
          <p:cNvPr id="126" name="Rectangle 125">
            <a:extLst>
              <a:ext uri="{FF2B5EF4-FFF2-40B4-BE49-F238E27FC236}">
                <a16:creationId xmlns:a16="http://schemas.microsoft.com/office/drawing/2014/main" id="{0DB1179D-F6C9-3AAD-55EA-9EBB99F59DBD}"/>
              </a:ext>
            </a:extLst>
          </p:cNvPr>
          <p:cNvSpPr/>
          <p:nvPr/>
        </p:nvSpPr>
        <p:spPr>
          <a:xfrm>
            <a:off x="3565431" y="316316"/>
            <a:ext cx="2655256" cy="772291"/>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7" name="Title 6">
            <a:extLst>
              <a:ext uri="{FF2B5EF4-FFF2-40B4-BE49-F238E27FC236}">
                <a16:creationId xmlns:a16="http://schemas.microsoft.com/office/drawing/2014/main" id="{67037901-6EFE-2C02-3ED0-67CD75A6D52E}"/>
              </a:ext>
            </a:extLst>
          </p:cNvPr>
          <p:cNvSpPr>
            <a:spLocks noGrp="1"/>
          </p:cNvSpPr>
          <p:nvPr>
            <p:ph type="title"/>
          </p:nvPr>
        </p:nvSpPr>
        <p:spPr/>
        <p:txBody>
          <a:bodyPr vert="horz"/>
          <a:lstStyle/>
          <a:p>
            <a:r>
              <a:rPr lang="en-GB" b="1"/>
              <a:t>Regulatory hurdles in </a:t>
            </a:r>
            <a:r>
              <a:rPr lang="en-GB"/>
              <a:t>g</a:t>
            </a:r>
            <a:r>
              <a:rPr lang="en-GB" b="1"/>
              <a:t>rid access and fees for batteries across Europe is mixed, complicating the deployment of new capacity</a:t>
            </a:r>
            <a:endParaRPr lang="en-GB"/>
          </a:p>
        </p:txBody>
      </p:sp>
      <p:sp>
        <p:nvSpPr>
          <p:cNvPr id="147" name="Rectangle 146">
            <a:extLst>
              <a:ext uri="{FF2B5EF4-FFF2-40B4-BE49-F238E27FC236}">
                <a16:creationId xmlns:a16="http://schemas.microsoft.com/office/drawing/2014/main" id="{286FF7A3-ACE9-2249-41B8-69A000E89324}"/>
              </a:ext>
            </a:extLst>
          </p:cNvPr>
          <p:cNvSpPr/>
          <p:nvPr/>
        </p:nvSpPr>
        <p:spPr>
          <a:xfrm>
            <a:off x="7220366" y="4372337"/>
            <a:ext cx="1657943" cy="1146352"/>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148" name="Straight Connector 147">
            <a:extLst>
              <a:ext uri="{FF2B5EF4-FFF2-40B4-BE49-F238E27FC236}">
                <a16:creationId xmlns:a16="http://schemas.microsoft.com/office/drawing/2014/main" id="{32A5A80A-DED2-426C-B78E-FB4D4570E51C}"/>
              </a:ext>
            </a:extLst>
          </p:cNvPr>
          <p:cNvCxnSpPr>
            <a:cxnSpLocks/>
            <a:stCxn id="147" idx="1"/>
          </p:cNvCxnSpPr>
          <p:nvPr/>
        </p:nvCxnSpPr>
        <p:spPr>
          <a:xfrm flipH="1" flipV="1">
            <a:off x="6542632" y="4613633"/>
            <a:ext cx="677734" cy="33188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9FDFEC2-5118-E205-8206-7B81009BA0D2}"/>
              </a:ext>
            </a:extLst>
          </p:cNvPr>
          <p:cNvCxnSpPr>
            <a:cxnSpLocks/>
            <a:stCxn id="147" idx="1"/>
          </p:cNvCxnSpPr>
          <p:nvPr/>
        </p:nvCxnSpPr>
        <p:spPr>
          <a:xfrm flipH="1">
            <a:off x="6516025" y="4945513"/>
            <a:ext cx="704341" cy="86201"/>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3770B50-3EBB-BEAE-3828-80FA7D74E088}"/>
              </a:ext>
            </a:extLst>
          </p:cNvPr>
          <p:cNvCxnSpPr>
            <a:cxnSpLocks/>
            <a:stCxn id="147" idx="1"/>
          </p:cNvCxnSpPr>
          <p:nvPr/>
        </p:nvCxnSpPr>
        <p:spPr>
          <a:xfrm flipH="1" flipV="1">
            <a:off x="5346684" y="4767696"/>
            <a:ext cx="1873682" cy="177817"/>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BDF61BCC-B1ED-0756-068C-8A5BB90278A2}"/>
              </a:ext>
            </a:extLst>
          </p:cNvPr>
          <p:cNvCxnSpPr>
            <a:cxnSpLocks/>
            <a:stCxn id="147" idx="1"/>
          </p:cNvCxnSpPr>
          <p:nvPr/>
        </p:nvCxnSpPr>
        <p:spPr>
          <a:xfrm flipH="1" flipV="1">
            <a:off x="5921920" y="4940493"/>
            <a:ext cx="1298446" cy="502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FA5FCB08-E603-5CEA-9AC8-84E0C654F1EB}"/>
              </a:ext>
            </a:extLst>
          </p:cNvPr>
          <p:cNvSpPr/>
          <p:nvPr/>
        </p:nvSpPr>
        <p:spPr>
          <a:xfrm>
            <a:off x="437967" y="4160424"/>
            <a:ext cx="2167091" cy="620879"/>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167" name="Straight Connector 166">
            <a:extLst>
              <a:ext uri="{FF2B5EF4-FFF2-40B4-BE49-F238E27FC236}">
                <a16:creationId xmlns:a16="http://schemas.microsoft.com/office/drawing/2014/main" id="{0A88AFC6-71A1-EB94-F97B-DE66587B1A99}"/>
              </a:ext>
            </a:extLst>
          </p:cNvPr>
          <p:cNvCxnSpPr>
            <a:cxnSpLocks/>
            <a:stCxn id="166" idx="3"/>
          </p:cNvCxnSpPr>
          <p:nvPr/>
        </p:nvCxnSpPr>
        <p:spPr>
          <a:xfrm>
            <a:off x="2605058" y="4470864"/>
            <a:ext cx="282352" cy="959833"/>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51E05FFA-C167-6C70-530A-209A39875962}"/>
              </a:ext>
            </a:extLst>
          </p:cNvPr>
          <p:cNvSpPr/>
          <p:nvPr/>
        </p:nvSpPr>
        <p:spPr>
          <a:xfrm>
            <a:off x="426771" y="2708326"/>
            <a:ext cx="1842010" cy="1282635"/>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196" name="Straight Connector 195">
            <a:extLst>
              <a:ext uri="{FF2B5EF4-FFF2-40B4-BE49-F238E27FC236}">
                <a16:creationId xmlns:a16="http://schemas.microsoft.com/office/drawing/2014/main" id="{11DCBDD5-7BC4-1850-1667-D89ED5C2196D}"/>
              </a:ext>
            </a:extLst>
          </p:cNvPr>
          <p:cNvCxnSpPr>
            <a:cxnSpLocks/>
            <a:stCxn id="197" idx="1"/>
          </p:cNvCxnSpPr>
          <p:nvPr/>
        </p:nvCxnSpPr>
        <p:spPr>
          <a:xfrm flipH="1">
            <a:off x="5553091" y="3164312"/>
            <a:ext cx="1613179" cy="525932"/>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2ED1FCC9-FD42-E713-5165-DAEAF3D99B3B}"/>
              </a:ext>
            </a:extLst>
          </p:cNvPr>
          <p:cNvSpPr/>
          <p:nvPr/>
        </p:nvSpPr>
        <p:spPr>
          <a:xfrm>
            <a:off x="7166270" y="2574138"/>
            <a:ext cx="1625761" cy="1180347"/>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sp>
        <p:nvSpPr>
          <p:cNvPr id="230" name="Rectangle 229">
            <a:extLst>
              <a:ext uri="{FF2B5EF4-FFF2-40B4-BE49-F238E27FC236}">
                <a16:creationId xmlns:a16="http://schemas.microsoft.com/office/drawing/2014/main" id="{FDBE4D55-7585-C2C1-4070-4334BF170775}"/>
              </a:ext>
            </a:extLst>
          </p:cNvPr>
          <p:cNvSpPr/>
          <p:nvPr/>
        </p:nvSpPr>
        <p:spPr>
          <a:xfrm>
            <a:off x="2586931" y="1367311"/>
            <a:ext cx="1331413" cy="1390647"/>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grpSp>
        <p:nvGrpSpPr>
          <p:cNvPr id="231" name="Group 230">
            <a:extLst>
              <a:ext uri="{FF2B5EF4-FFF2-40B4-BE49-F238E27FC236}">
                <a16:creationId xmlns:a16="http://schemas.microsoft.com/office/drawing/2014/main" id="{D84D5F60-20C9-DA58-2796-611D450DB180}"/>
              </a:ext>
            </a:extLst>
          </p:cNvPr>
          <p:cNvGrpSpPr/>
          <p:nvPr/>
        </p:nvGrpSpPr>
        <p:grpSpPr>
          <a:xfrm>
            <a:off x="390584" y="1512735"/>
            <a:ext cx="2962272" cy="917690"/>
            <a:chOff x="483114" y="2767940"/>
            <a:chExt cx="2962272" cy="917690"/>
          </a:xfrm>
        </p:grpSpPr>
        <p:sp>
          <p:nvSpPr>
            <p:cNvPr id="232" name="TextBox 231">
              <a:extLst>
                <a:ext uri="{FF2B5EF4-FFF2-40B4-BE49-F238E27FC236}">
                  <a16:creationId xmlns:a16="http://schemas.microsoft.com/office/drawing/2014/main" id="{FEC0D655-7EE9-F92C-8443-18FAB13499E3}"/>
                </a:ext>
              </a:extLst>
            </p:cNvPr>
            <p:cNvSpPr txBox="1"/>
            <p:nvPr/>
          </p:nvSpPr>
          <p:spPr>
            <a:xfrm>
              <a:off x="723044" y="3033750"/>
              <a:ext cx="272234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or</a:t>
              </a:r>
            </a:p>
          </p:txBody>
        </p:sp>
        <p:sp>
          <p:nvSpPr>
            <p:cNvPr id="233" name="TextBox 232">
              <a:extLst>
                <a:ext uri="{FF2B5EF4-FFF2-40B4-BE49-F238E27FC236}">
                  <a16:creationId xmlns:a16="http://schemas.microsoft.com/office/drawing/2014/main" id="{77374280-0F5D-85B0-367C-2AEDFB2D2407}"/>
                </a:ext>
              </a:extLst>
            </p:cNvPr>
            <p:cNvSpPr txBox="1"/>
            <p:nvPr/>
          </p:nvSpPr>
          <p:spPr>
            <a:xfrm>
              <a:off x="483114" y="2767940"/>
              <a:ext cx="94636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sng"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ating</a:t>
              </a:r>
            </a:p>
          </p:txBody>
        </p:sp>
        <p:grpSp>
          <p:nvGrpSpPr>
            <p:cNvPr id="234" name="Group 233">
              <a:extLst>
                <a:ext uri="{FF2B5EF4-FFF2-40B4-BE49-F238E27FC236}">
                  <a16:creationId xmlns:a16="http://schemas.microsoft.com/office/drawing/2014/main" id="{F2FC5DC6-1B2E-3E1C-9FD1-88E3ADA5DE8A}"/>
                </a:ext>
              </a:extLst>
            </p:cNvPr>
            <p:cNvGrpSpPr/>
            <p:nvPr/>
          </p:nvGrpSpPr>
          <p:grpSpPr>
            <a:xfrm>
              <a:off x="488717" y="3009952"/>
              <a:ext cx="179387" cy="675678"/>
              <a:chOff x="1394342" y="4180654"/>
              <a:chExt cx="144000" cy="528608"/>
            </a:xfrm>
          </p:grpSpPr>
          <p:sp>
            <p:nvSpPr>
              <p:cNvPr id="237" name="Oval 236">
                <a:extLst>
                  <a:ext uri="{FF2B5EF4-FFF2-40B4-BE49-F238E27FC236}">
                    <a16:creationId xmlns:a16="http://schemas.microsoft.com/office/drawing/2014/main" id="{A79668A3-6FB8-A2E3-6D18-827ABB9368F0}"/>
                  </a:ext>
                </a:extLst>
              </p:cNvPr>
              <p:cNvSpPr/>
              <p:nvPr/>
            </p:nvSpPr>
            <p:spPr>
              <a:xfrm>
                <a:off x="1394342" y="4372958"/>
                <a:ext cx="144000" cy="144000"/>
              </a:xfrm>
              <a:prstGeom prst="ellipse">
                <a:avLst/>
              </a:prstGeom>
              <a:solidFill>
                <a:schemeClr val="accent2">
                  <a:alpha val="50000"/>
                </a:scheme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8" name="Oval 237">
                <a:extLst>
                  <a:ext uri="{FF2B5EF4-FFF2-40B4-BE49-F238E27FC236}">
                    <a16:creationId xmlns:a16="http://schemas.microsoft.com/office/drawing/2014/main" id="{3E513C43-0315-EE46-B730-45EDDC4CCD3A}"/>
                  </a:ext>
                </a:extLst>
              </p:cNvPr>
              <p:cNvSpPr/>
              <p:nvPr/>
            </p:nvSpPr>
            <p:spPr>
              <a:xfrm>
                <a:off x="1394342" y="4180654"/>
                <a:ext cx="144000" cy="144000"/>
              </a:xfrm>
              <a:prstGeom prst="ellipse">
                <a:avLst/>
              </a:prstGeom>
              <a:solidFill>
                <a:srgbClr val="FF0000">
                  <a:alpha val="50000"/>
                </a:srgb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9" name="Oval 238">
                <a:extLst>
                  <a:ext uri="{FF2B5EF4-FFF2-40B4-BE49-F238E27FC236}">
                    <a16:creationId xmlns:a16="http://schemas.microsoft.com/office/drawing/2014/main" id="{2E24EC6C-0241-7153-8E45-71D20E8A5491}"/>
                  </a:ext>
                </a:extLst>
              </p:cNvPr>
              <p:cNvSpPr/>
              <p:nvPr/>
            </p:nvSpPr>
            <p:spPr>
              <a:xfrm>
                <a:off x="1394342" y="4565262"/>
                <a:ext cx="144000" cy="144000"/>
              </a:xfrm>
              <a:prstGeom prst="ellipse">
                <a:avLst/>
              </a:prstGeom>
              <a:solidFill>
                <a:srgbClr val="A6B727">
                  <a:alpha val="50000"/>
                </a:srgb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35" name="TextBox 234">
              <a:extLst>
                <a:ext uri="{FF2B5EF4-FFF2-40B4-BE49-F238E27FC236}">
                  <a16:creationId xmlns:a16="http://schemas.microsoft.com/office/drawing/2014/main" id="{98A00ADF-63A1-949C-0D76-8987E7F12806}"/>
                </a:ext>
              </a:extLst>
            </p:cNvPr>
            <p:cNvSpPr txBox="1"/>
            <p:nvPr/>
          </p:nvSpPr>
          <p:spPr>
            <a:xfrm>
              <a:off x="723044" y="3277292"/>
              <a:ext cx="208865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verage</a:t>
              </a:r>
            </a:p>
          </p:txBody>
        </p:sp>
        <p:sp>
          <p:nvSpPr>
            <p:cNvPr id="236" name="TextBox 235">
              <a:extLst>
                <a:ext uri="{FF2B5EF4-FFF2-40B4-BE49-F238E27FC236}">
                  <a16:creationId xmlns:a16="http://schemas.microsoft.com/office/drawing/2014/main" id="{EA931F24-1F6F-41D9-0580-17073845D77F}"/>
                </a:ext>
              </a:extLst>
            </p:cNvPr>
            <p:cNvSpPr txBox="1"/>
            <p:nvPr/>
          </p:nvSpPr>
          <p:spPr>
            <a:xfrm>
              <a:off x="723044" y="3521313"/>
              <a:ext cx="213392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ood</a:t>
              </a:r>
            </a:p>
          </p:txBody>
        </p:sp>
      </p:grpSp>
      <p:cxnSp>
        <p:nvCxnSpPr>
          <p:cNvPr id="240" name="Straight Connector 239">
            <a:extLst>
              <a:ext uri="{FF2B5EF4-FFF2-40B4-BE49-F238E27FC236}">
                <a16:creationId xmlns:a16="http://schemas.microsoft.com/office/drawing/2014/main" id="{387C09EC-F0CB-AC21-2CFF-7C4C67FA25CD}"/>
              </a:ext>
            </a:extLst>
          </p:cNvPr>
          <p:cNvCxnSpPr>
            <a:cxnSpLocks/>
            <a:stCxn id="230" idx="2"/>
          </p:cNvCxnSpPr>
          <p:nvPr/>
        </p:nvCxnSpPr>
        <p:spPr>
          <a:xfrm>
            <a:off x="3252638" y="2757958"/>
            <a:ext cx="735959" cy="900796"/>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99EFDD53-D8E7-660A-A94A-7C269666BA2B}"/>
              </a:ext>
            </a:extLst>
          </p:cNvPr>
          <p:cNvSpPr/>
          <p:nvPr/>
        </p:nvSpPr>
        <p:spPr>
          <a:xfrm>
            <a:off x="6724321" y="1434376"/>
            <a:ext cx="2067711" cy="554823"/>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highlight>
                <a:srgbClr val="FFFF00"/>
              </a:highlight>
              <a:uLnTx/>
              <a:uFillTx/>
              <a:latin typeface="Lato"/>
              <a:ea typeface="+mn-ea"/>
              <a:cs typeface="+mn-cs"/>
            </a:endParaRPr>
          </a:p>
        </p:txBody>
      </p:sp>
      <p:cxnSp>
        <p:nvCxnSpPr>
          <p:cNvPr id="5" name="Straight Connector 4">
            <a:extLst>
              <a:ext uri="{FF2B5EF4-FFF2-40B4-BE49-F238E27FC236}">
                <a16:creationId xmlns:a16="http://schemas.microsoft.com/office/drawing/2014/main" id="{61011DBE-3E37-529E-2F5D-89724F8CBFF9}"/>
              </a:ext>
            </a:extLst>
          </p:cNvPr>
          <p:cNvCxnSpPr>
            <a:cxnSpLocks/>
          </p:cNvCxnSpPr>
          <p:nvPr/>
        </p:nvCxnSpPr>
        <p:spPr>
          <a:xfrm flipH="1">
            <a:off x="4711042" y="1989199"/>
            <a:ext cx="2364297" cy="1829497"/>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259C176E-0C69-360C-66F3-A3E766234DBE}"/>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3" name="Oval 2">
            <a:extLst>
              <a:ext uri="{FF2B5EF4-FFF2-40B4-BE49-F238E27FC236}">
                <a16:creationId xmlns:a16="http://schemas.microsoft.com/office/drawing/2014/main" id="{E7643D00-AAEE-0C53-06C9-755ED92D7CD5}"/>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Rectangle 17">
            <a:extLst>
              <a:ext uri="{FF2B5EF4-FFF2-40B4-BE49-F238E27FC236}">
                <a16:creationId xmlns:a16="http://schemas.microsoft.com/office/drawing/2014/main" id="{DE28DF2D-4421-FA01-90AE-19BC0C174AB6}"/>
              </a:ext>
            </a:extLst>
          </p:cNvPr>
          <p:cNvSpPr/>
          <p:nvPr/>
        </p:nvSpPr>
        <p:spPr>
          <a:xfrm>
            <a:off x="437969" y="4892977"/>
            <a:ext cx="1529518" cy="141158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19" name="Straight Connector 18">
            <a:extLst>
              <a:ext uri="{FF2B5EF4-FFF2-40B4-BE49-F238E27FC236}">
                <a16:creationId xmlns:a16="http://schemas.microsoft.com/office/drawing/2014/main" id="{2E4BC577-98BA-C94B-86EE-EA7D18879CDB}"/>
              </a:ext>
            </a:extLst>
          </p:cNvPr>
          <p:cNvCxnSpPr>
            <a:cxnSpLocks/>
            <a:stCxn id="18" idx="3"/>
          </p:cNvCxnSpPr>
          <p:nvPr/>
        </p:nvCxnSpPr>
        <p:spPr>
          <a:xfrm flipV="1">
            <a:off x="1967487" y="5503064"/>
            <a:ext cx="301294" cy="95703"/>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55C2D82F-1651-4376-D861-DCCE5C01B3A9}"/>
              </a:ext>
            </a:extLst>
          </p:cNvPr>
          <p:cNvGrpSpPr/>
          <p:nvPr/>
        </p:nvGrpSpPr>
        <p:grpSpPr>
          <a:xfrm>
            <a:off x="2311225" y="3436197"/>
            <a:ext cx="576186" cy="538168"/>
            <a:chOff x="678956" y="3351477"/>
            <a:chExt cx="592797" cy="553684"/>
          </a:xfrm>
          <a:solidFill>
            <a:srgbClr val="F2F2F2"/>
          </a:solidFill>
        </p:grpSpPr>
        <p:sp>
          <p:nvSpPr>
            <p:cNvPr id="39" name="Rectangle 38">
              <a:extLst>
                <a:ext uri="{FF2B5EF4-FFF2-40B4-BE49-F238E27FC236}">
                  <a16:creationId xmlns:a16="http://schemas.microsoft.com/office/drawing/2014/main" id="{E8097B27-C356-B708-4E66-C80A58B3D545}"/>
                </a:ext>
              </a:extLst>
            </p:cNvPr>
            <p:cNvSpPr/>
            <p:nvPr/>
          </p:nvSpPr>
          <p:spPr>
            <a:xfrm rot="854645">
              <a:off x="961853" y="3356820"/>
              <a:ext cx="309900" cy="184666"/>
            </a:xfrm>
            <a:prstGeom prst="rect">
              <a:avLst/>
            </a:prstGeom>
            <a:grp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40" name="Group 39">
              <a:extLst>
                <a:ext uri="{FF2B5EF4-FFF2-40B4-BE49-F238E27FC236}">
                  <a16:creationId xmlns:a16="http://schemas.microsoft.com/office/drawing/2014/main" id="{E07AF50A-38AA-E257-3D43-EA92E678D409}"/>
                </a:ext>
              </a:extLst>
            </p:cNvPr>
            <p:cNvGrpSpPr/>
            <p:nvPr/>
          </p:nvGrpSpPr>
          <p:grpSpPr>
            <a:xfrm rot="205457">
              <a:off x="678956" y="3351477"/>
              <a:ext cx="579689" cy="553684"/>
              <a:chOff x="1089508" y="3225026"/>
              <a:chExt cx="1839211" cy="2231934"/>
            </a:xfrm>
            <a:grpFill/>
          </p:grpSpPr>
          <p:sp>
            <p:nvSpPr>
              <p:cNvPr id="41" name="Ireland" descr="© INSCALE GmbH, 05.05.2010&#10;http://www.presentationload.com/">
                <a:extLst>
                  <a:ext uri="{FF2B5EF4-FFF2-40B4-BE49-F238E27FC236}">
                    <a16:creationId xmlns:a16="http://schemas.microsoft.com/office/drawing/2014/main" id="{E2B409C7-80B9-65F6-ACA0-D084839CB768}"/>
                  </a:ext>
                </a:extLst>
              </p:cNvPr>
              <p:cNvSpPr>
                <a:spLocks/>
              </p:cNvSpPr>
              <p:nvPr/>
            </p:nvSpPr>
            <p:spPr bwMode="gray">
              <a:xfrm rot="21459838">
                <a:off x="1089508" y="3225026"/>
                <a:ext cx="1673462" cy="2231934"/>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lt1"/>
                  </a:solidFill>
                </a:endParaRPr>
              </a:p>
            </p:txBody>
          </p:sp>
          <p:sp>
            <p:nvSpPr>
              <p:cNvPr id="42" name="Freeform 17">
                <a:extLst>
                  <a:ext uri="{FF2B5EF4-FFF2-40B4-BE49-F238E27FC236}">
                    <a16:creationId xmlns:a16="http://schemas.microsoft.com/office/drawing/2014/main" id="{5DB83E03-F201-EAB7-953E-1CA60835D18E}"/>
                  </a:ext>
                </a:extLst>
              </p:cNvPr>
              <p:cNvSpPr>
                <a:spLocks noEditPoints="1"/>
              </p:cNvSpPr>
              <p:nvPr/>
            </p:nvSpPr>
            <p:spPr bwMode="auto">
              <a:xfrm rot="20940450">
                <a:off x="2001070" y="3248987"/>
                <a:ext cx="927649" cy="765679"/>
              </a:xfrm>
              <a:custGeom>
                <a:avLst/>
                <a:gdLst/>
                <a:ahLst/>
                <a:cxnLst>
                  <a:cxn ang="0">
                    <a:pos x="197" y="27"/>
                  </a:cxn>
                  <a:cxn ang="0">
                    <a:pos x="220" y="15"/>
                  </a:cxn>
                  <a:cxn ang="0">
                    <a:pos x="239" y="15"/>
                  </a:cxn>
                  <a:cxn ang="0">
                    <a:pos x="266" y="15"/>
                  </a:cxn>
                  <a:cxn ang="0">
                    <a:pos x="289" y="11"/>
                  </a:cxn>
                  <a:cxn ang="0">
                    <a:pos x="320" y="27"/>
                  </a:cxn>
                  <a:cxn ang="0">
                    <a:pos x="328" y="50"/>
                  </a:cxn>
                  <a:cxn ang="0">
                    <a:pos x="328" y="88"/>
                  </a:cxn>
                  <a:cxn ang="0">
                    <a:pos x="343" y="115"/>
                  </a:cxn>
                  <a:cxn ang="0">
                    <a:pos x="351" y="131"/>
                  </a:cxn>
                  <a:cxn ang="0">
                    <a:pos x="351" y="123"/>
                  </a:cxn>
                  <a:cxn ang="0">
                    <a:pos x="355" y="150"/>
                  </a:cxn>
                  <a:cxn ang="0">
                    <a:pos x="328" y="158"/>
                  </a:cxn>
                  <a:cxn ang="0">
                    <a:pos x="320" y="177"/>
                  </a:cxn>
                  <a:cxn ang="0">
                    <a:pos x="339" y="166"/>
                  </a:cxn>
                  <a:cxn ang="0">
                    <a:pos x="370" y="173"/>
                  </a:cxn>
                  <a:cxn ang="0">
                    <a:pos x="374" y="204"/>
                  </a:cxn>
                  <a:cxn ang="0">
                    <a:pos x="366" y="231"/>
                  </a:cxn>
                  <a:cxn ang="0">
                    <a:pos x="359" y="250"/>
                  </a:cxn>
                  <a:cxn ang="0">
                    <a:pos x="359" y="227"/>
                  </a:cxn>
                  <a:cxn ang="0">
                    <a:pos x="362" y="204"/>
                  </a:cxn>
                  <a:cxn ang="0">
                    <a:pos x="347" y="189"/>
                  </a:cxn>
                  <a:cxn ang="0">
                    <a:pos x="347" y="212"/>
                  </a:cxn>
                  <a:cxn ang="0">
                    <a:pos x="343" y="212"/>
                  </a:cxn>
                  <a:cxn ang="0">
                    <a:pos x="351" y="223"/>
                  </a:cxn>
                  <a:cxn ang="0">
                    <a:pos x="343" y="243"/>
                  </a:cxn>
                  <a:cxn ang="0">
                    <a:pos x="355" y="258"/>
                  </a:cxn>
                  <a:cxn ang="0">
                    <a:pos x="332" y="277"/>
                  </a:cxn>
                  <a:cxn ang="0">
                    <a:pos x="312" y="262"/>
                  </a:cxn>
                  <a:cxn ang="0">
                    <a:pos x="297" y="289"/>
                  </a:cxn>
                  <a:cxn ang="0">
                    <a:pos x="274" y="308"/>
                  </a:cxn>
                  <a:cxn ang="0">
                    <a:pos x="258" y="297"/>
                  </a:cxn>
                  <a:cxn ang="0">
                    <a:pos x="235" y="285"/>
                  </a:cxn>
                  <a:cxn ang="0">
                    <a:pos x="212" y="285"/>
                  </a:cxn>
                  <a:cxn ang="0">
                    <a:pos x="185" y="281"/>
                  </a:cxn>
                  <a:cxn ang="0">
                    <a:pos x="189" y="247"/>
                  </a:cxn>
                  <a:cxn ang="0">
                    <a:pos x="170" y="227"/>
                  </a:cxn>
                  <a:cxn ang="0">
                    <a:pos x="166" y="200"/>
                  </a:cxn>
                  <a:cxn ang="0">
                    <a:pos x="146" y="193"/>
                  </a:cxn>
                  <a:cxn ang="0">
                    <a:pos x="131" y="204"/>
                  </a:cxn>
                  <a:cxn ang="0">
                    <a:pos x="127" y="223"/>
                  </a:cxn>
                  <a:cxn ang="0">
                    <a:pos x="108" y="235"/>
                  </a:cxn>
                  <a:cxn ang="0">
                    <a:pos x="100" y="239"/>
                  </a:cxn>
                  <a:cxn ang="0">
                    <a:pos x="89" y="239"/>
                  </a:cxn>
                  <a:cxn ang="0">
                    <a:pos x="62" y="235"/>
                  </a:cxn>
                  <a:cxn ang="0">
                    <a:pos x="46" y="212"/>
                  </a:cxn>
                  <a:cxn ang="0">
                    <a:pos x="31" y="193"/>
                  </a:cxn>
                  <a:cxn ang="0">
                    <a:pos x="19" y="166"/>
                  </a:cxn>
                  <a:cxn ang="0">
                    <a:pos x="8" y="135"/>
                  </a:cxn>
                  <a:cxn ang="0">
                    <a:pos x="35" y="127"/>
                  </a:cxn>
                  <a:cxn ang="0">
                    <a:pos x="62" y="123"/>
                  </a:cxn>
                  <a:cxn ang="0">
                    <a:pos x="58" y="108"/>
                  </a:cxn>
                  <a:cxn ang="0">
                    <a:pos x="58" y="85"/>
                  </a:cxn>
                  <a:cxn ang="0">
                    <a:pos x="85" y="92"/>
                  </a:cxn>
                  <a:cxn ang="0">
                    <a:pos x="108" y="81"/>
                  </a:cxn>
                  <a:cxn ang="0">
                    <a:pos x="127" y="54"/>
                  </a:cxn>
                  <a:cxn ang="0">
                    <a:pos x="146" y="27"/>
                  </a:cxn>
                  <a:cxn ang="0">
                    <a:pos x="150" y="38"/>
                  </a:cxn>
                  <a:cxn ang="0">
                    <a:pos x="170" y="30"/>
                  </a:cxn>
                  <a:cxn ang="0">
                    <a:pos x="316" y="15"/>
                  </a:cxn>
                  <a:cxn ang="0">
                    <a:pos x="312" y="3"/>
                  </a:cxn>
                  <a:cxn ang="0">
                    <a:pos x="355" y="204"/>
                  </a:cxn>
                </a:cxnLst>
                <a:rect l="0" t="0" r="r" b="b"/>
                <a:pathLst>
                  <a:path w="378" h="312">
                    <a:moveTo>
                      <a:pt x="173" y="34"/>
                    </a:moveTo>
                    <a:lnTo>
                      <a:pt x="177" y="34"/>
                    </a:lnTo>
                    <a:lnTo>
                      <a:pt x="181" y="38"/>
                    </a:lnTo>
                    <a:lnTo>
                      <a:pt x="185" y="38"/>
                    </a:lnTo>
                    <a:lnTo>
                      <a:pt x="189" y="38"/>
                    </a:lnTo>
                    <a:lnTo>
                      <a:pt x="189" y="34"/>
                    </a:lnTo>
                    <a:lnTo>
                      <a:pt x="193" y="30"/>
                    </a:lnTo>
                    <a:lnTo>
                      <a:pt x="193" y="27"/>
                    </a:lnTo>
                    <a:lnTo>
                      <a:pt x="197" y="27"/>
                    </a:lnTo>
                    <a:lnTo>
                      <a:pt x="197" y="23"/>
                    </a:lnTo>
                    <a:lnTo>
                      <a:pt x="200" y="23"/>
                    </a:lnTo>
                    <a:lnTo>
                      <a:pt x="204" y="15"/>
                    </a:lnTo>
                    <a:lnTo>
                      <a:pt x="204" y="7"/>
                    </a:lnTo>
                    <a:lnTo>
                      <a:pt x="208" y="3"/>
                    </a:lnTo>
                    <a:lnTo>
                      <a:pt x="208" y="7"/>
                    </a:lnTo>
                    <a:lnTo>
                      <a:pt x="212" y="11"/>
                    </a:lnTo>
                    <a:lnTo>
                      <a:pt x="216" y="11"/>
                    </a:lnTo>
                    <a:lnTo>
                      <a:pt x="220" y="15"/>
                    </a:lnTo>
                    <a:lnTo>
                      <a:pt x="224" y="15"/>
                    </a:lnTo>
                    <a:lnTo>
                      <a:pt x="227" y="15"/>
                    </a:lnTo>
                    <a:lnTo>
                      <a:pt x="231" y="19"/>
                    </a:lnTo>
                    <a:lnTo>
                      <a:pt x="235" y="19"/>
                    </a:lnTo>
                    <a:lnTo>
                      <a:pt x="239" y="23"/>
                    </a:lnTo>
                    <a:lnTo>
                      <a:pt x="239" y="19"/>
                    </a:lnTo>
                    <a:lnTo>
                      <a:pt x="235" y="19"/>
                    </a:lnTo>
                    <a:lnTo>
                      <a:pt x="239" y="19"/>
                    </a:lnTo>
                    <a:lnTo>
                      <a:pt x="239" y="15"/>
                    </a:lnTo>
                    <a:lnTo>
                      <a:pt x="243" y="15"/>
                    </a:lnTo>
                    <a:lnTo>
                      <a:pt x="247" y="15"/>
                    </a:lnTo>
                    <a:lnTo>
                      <a:pt x="247" y="11"/>
                    </a:lnTo>
                    <a:lnTo>
                      <a:pt x="251" y="11"/>
                    </a:lnTo>
                    <a:lnTo>
                      <a:pt x="254" y="11"/>
                    </a:lnTo>
                    <a:lnTo>
                      <a:pt x="254" y="15"/>
                    </a:lnTo>
                    <a:lnTo>
                      <a:pt x="258" y="15"/>
                    </a:lnTo>
                    <a:lnTo>
                      <a:pt x="262" y="11"/>
                    </a:lnTo>
                    <a:lnTo>
                      <a:pt x="266" y="15"/>
                    </a:lnTo>
                    <a:lnTo>
                      <a:pt x="266" y="11"/>
                    </a:lnTo>
                    <a:lnTo>
                      <a:pt x="270" y="7"/>
                    </a:lnTo>
                    <a:lnTo>
                      <a:pt x="274" y="7"/>
                    </a:lnTo>
                    <a:lnTo>
                      <a:pt x="278" y="7"/>
                    </a:lnTo>
                    <a:lnTo>
                      <a:pt x="278" y="11"/>
                    </a:lnTo>
                    <a:lnTo>
                      <a:pt x="281" y="11"/>
                    </a:lnTo>
                    <a:lnTo>
                      <a:pt x="285" y="15"/>
                    </a:lnTo>
                    <a:lnTo>
                      <a:pt x="289" y="15"/>
                    </a:lnTo>
                    <a:lnTo>
                      <a:pt x="289" y="11"/>
                    </a:lnTo>
                    <a:lnTo>
                      <a:pt x="297" y="19"/>
                    </a:lnTo>
                    <a:lnTo>
                      <a:pt x="301" y="19"/>
                    </a:lnTo>
                    <a:lnTo>
                      <a:pt x="305" y="23"/>
                    </a:lnTo>
                    <a:lnTo>
                      <a:pt x="305" y="27"/>
                    </a:lnTo>
                    <a:lnTo>
                      <a:pt x="312" y="27"/>
                    </a:lnTo>
                    <a:lnTo>
                      <a:pt x="316" y="27"/>
                    </a:lnTo>
                    <a:lnTo>
                      <a:pt x="316" y="23"/>
                    </a:lnTo>
                    <a:lnTo>
                      <a:pt x="320" y="23"/>
                    </a:lnTo>
                    <a:lnTo>
                      <a:pt x="320" y="27"/>
                    </a:lnTo>
                    <a:lnTo>
                      <a:pt x="324" y="27"/>
                    </a:lnTo>
                    <a:lnTo>
                      <a:pt x="324" y="30"/>
                    </a:lnTo>
                    <a:lnTo>
                      <a:pt x="328" y="30"/>
                    </a:lnTo>
                    <a:lnTo>
                      <a:pt x="328" y="34"/>
                    </a:lnTo>
                    <a:lnTo>
                      <a:pt x="328" y="38"/>
                    </a:lnTo>
                    <a:lnTo>
                      <a:pt x="332" y="38"/>
                    </a:lnTo>
                    <a:lnTo>
                      <a:pt x="332" y="42"/>
                    </a:lnTo>
                    <a:lnTo>
                      <a:pt x="332" y="46"/>
                    </a:lnTo>
                    <a:lnTo>
                      <a:pt x="328" y="50"/>
                    </a:lnTo>
                    <a:lnTo>
                      <a:pt x="328" y="54"/>
                    </a:lnTo>
                    <a:lnTo>
                      <a:pt x="328" y="57"/>
                    </a:lnTo>
                    <a:lnTo>
                      <a:pt x="324" y="65"/>
                    </a:lnTo>
                    <a:lnTo>
                      <a:pt x="324" y="69"/>
                    </a:lnTo>
                    <a:lnTo>
                      <a:pt x="328" y="69"/>
                    </a:lnTo>
                    <a:lnTo>
                      <a:pt x="332" y="69"/>
                    </a:lnTo>
                    <a:lnTo>
                      <a:pt x="335" y="73"/>
                    </a:lnTo>
                    <a:lnTo>
                      <a:pt x="328" y="81"/>
                    </a:lnTo>
                    <a:lnTo>
                      <a:pt x="328" y="88"/>
                    </a:lnTo>
                    <a:lnTo>
                      <a:pt x="332" y="88"/>
                    </a:lnTo>
                    <a:lnTo>
                      <a:pt x="335" y="92"/>
                    </a:lnTo>
                    <a:lnTo>
                      <a:pt x="335" y="96"/>
                    </a:lnTo>
                    <a:lnTo>
                      <a:pt x="339" y="100"/>
                    </a:lnTo>
                    <a:lnTo>
                      <a:pt x="339" y="104"/>
                    </a:lnTo>
                    <a:lnTo>
                      <a:pt x="339" y="108"/>
                    </a:lnTo>
                    <a:lnTo>
                      <a:pt x="339" y="112"/>
                    </a:lnTo>
                    <a:lnTo>
                      <a:pt x="343" y="112"/>
                    </a:lnTo>
                    <a:lnTo>
                      <a:pt x="343" y="115"/>
                    </a:lnTo>
                    <a:lnTo>
                      <a:pt x="347" y="119"/>
                    </a:lnTo>
                    <a:lnTo>
                      <a:pt x="347" y="123"/>
                    </a:lnTo>
                    <a:lnTo>
                      <a:pt x="347" y="127"/>
                    </a:lnTo>
                    <a:lnTo>
                      <a:pt x="343" y="127"/>
                    </a:lnTo>
                    <a:lnTo>
                      <a:pt x="343" y="123"/>
                    </a:lnTo>
                    <a:lnTo>
                      <a:pt x="343" y="127"/>
                    </a:lnTo>
                    <a:lnTo>
                      <a:pt x="343" y="131"/>
                    </a:lnTo>
                    <a:lnTo>
                      <a:pt x="347" y="131"/>
                    </a:lnTo>
                    <a:lnTo>
                      <a:pt x="351" y="131"/>
                    </a:lnTo>
                    <a:lnTo>
                      <a:pt x="351" y="135"/>
                    </a:lnTo>
                    <a:lnTo>
                      <a:pt x="351" y="139"/>
                    </a:lnTo>
                    <a:lnTo>
                      <a:pt x="351" y="142"/>
                    </a:lnTo>
                    <a:lnTo>
                      <a:pt x="355" y="139"/>
                    </a:lnTo>
                    <a:lnTo>
                      <a:pt x="351" y="135"/>
                    </a:lnTo>
                    <a:lnTo>
                      <a:pt x="351" y="131"/>
                    </a:lnTo>
                    <a:lnTo>
                      <a:pt x="347" y="127"/>
                    </a:lnTo>
                    <a:lnTo>
                      <a:pt x="347" y="123"/>
                    </a:lnTo>
                    <a:lnTo>
                      <a:pt x="351" y="123"/>
                    </a:lnTo>
                    <a:lnTo>
                      <a:pt x="355" y="123"/>
                    </a:lnTo>
                    <a:lnTo>
                      <a:pt x="355" y="127"/>
                    </a:lnTo>
                    <a:lnTo>
                      <a:pt x="359" y="135"/>
                    </a:lnTo>
                    <a:lnTo>
                      <a:pt x="359" y="139"/>
                    </a:lnTo>
                    <a:lnTo>
                      <a:pt x="355" y="142"/>
                    </a:lnTo>
                    <a:lnTo>
                      <a:pt x="355" y="146"/>
                    </a:lnTo>
                    <a:lnTo>
                      <a:pt x="359" y="146"/>
                    </a:lnTo>
                    <a:lnTo>
                      <a:pt x="355" y="146"/>
                    </a:lnTo>
                    <a:lnTo>
                      <a:pt x="355" y="150"/>
                    </a:lnTo>
                    <a:lnTo>
                      <a:pt x="351" y="150"/>
                    </a:lnTo>
                    <a:lnTo>
                      <a:pt x="351" y="154"/>
                    </a:lnTo>
                    <a:lnTo>
                      <a:pt x="347" y="154"/>
                    </a:lnTo>
                    <a:lnTo>
                      <a:pt x="343" y="154"/>
                    </a:lnTo>
                    <a:lnTo>
                      <a:pt x="339" y="154"/>
                    </a:lnTo>
                    <a:lnTo>
                      <a:pt x="335" y="158"/>
                    </a:lnTo>
                    <a:lnTo>
                      <a:pt x="335" y="154"/>
                    </a:lnTo>
                    <a:lnTo>
                      <a:pt x="332" y="158"/>
                    </a:lnTo>
                    <a:lnTo>
                      <a:pt x="328" y="158"/>
                    </a:lnTo>
                    <a:lnTo>
                      <a:pt x="328" y="162"/>
                    </a:lnTo>
                    <a:lnTo>
                      <a:pt x="324" y="162"/>
                    </a:lnTo>
                    <a:lnTo>
                      <a:pt x="324" y="166"/>
                    </a:lnTo>
                    <a:lnTo>
                      <a:pt x="320" y="166"/>
                    </a:lnTo>
                    <a:lnTo>
                      <a:pt x="320" y="169"/>
                    </a:lnTo>
                    <a:lnTo>
                      <a:pt x="320" y="173"/>
                    </a:lnTo>
                    <a:lnTo>
                      <a:pt x="324" y="173"/>
                    </a:lnTo>
                    <a:lnTo>
                      <a:pt x="320" y="173"/>
                    </a:lnTo>
                    <a:lnTo>
                      <a:pt x="320" y="177"/>
                    </a:lnTo>
                    <a:lnTo>
                      <a:pt x="320" y="173"/>
                    </a:lnTo>
                    <a:lnTo>
                      <a:pt x="320" y="177"/>
                    </a:lnTo>
                    <a:lnTo>
                      <a:pt x="320" y="173"/>
                    </a:lnTo>
                    <a:lnTo>
                      <a:pt x="324" y="173"/>
                    </a:lnTo>
                    <a:lnTo>
                      <a:pt x="328" y="173"/>
                    </a:lnTo>
                    <a:lnTo>
                      <a:pt x="332" y="169"/>
                    </a:lnTo>
                    <a:lnTo>
                      <a:pt x="335" y="169"/>
                    </a:lnTo>
                    <a:lnTo>
                      <a:pt x="339" y="169"/>
                    </a:lnTo>
                    <a:lnTo>
                      <a:pt x="339" y="166"/>
                    </a:lnTo>
                    <a:lnTo>
                      <a:pt x="347" y="166"/>
                    </a:lnTo>
                    <a:lnTo>
                      <a:pt x="347" y="169"/>
                    </a:lnTo>
                    <a:lnTo>
                      <a:pt x="351" y="169"/>
                    </a:lnTo>
                    <a:lnTo>
                      <a:pt x="355" y="169"/>
                    </a:lnTo>
                    <a:lnTo>
                      <a:pt x="359" y="169"/>
                    </a:lnTo>
                    <a:lnTo>
                      <a:pt x="362" y="169"/>
                    </a:lnTo>
                    <a:lnTo>
                      <a:pt x="366" y="169"/>
                    </a:lnTo>
                    <a:lnTo>
                      <a:pt x="366" y="173"/>
                    </a:lnTo>
                    <a:lnTo>
                      <a:pt x="370" y="173"/>
                    </a:lnTo>
                    <a:lnTo>
                      <a:pt x="370" y="177"/>
                    </a:lnTo>
                    <a:lnTo>
                      <a:pt x="370" y="181"/>
                    </a:lnTo>
                    <a:lnTo>
                      <a:pt x="370" y="185"/>
                    </a:lnTo>
                    <a:lnTo>
                      <a:pt x="370" y="189"/>
                    </a:lnTo>
                    <a:lnTo>
                      <a:pt x="370" y="193"/>
                    </a:lnTo>
                    <a:lnTo>
                      <a:pt x="374" y="193"/>
                    </a:lnTo>
                    <a:lnTo>
                      <a:pt x="374" y="196"/>
                    </a:lnTo>
                    <a:lnTo>
                      <a:pt x="374" y="200"/>
                    </a:lnTo>
                    <a:lnTo>
                      <a:pt x="374" y="204"/>
                    </a:lnTo>
                    <a:lnTo>
                      <a:pt x="374" y="208"/>
                    </a:lnTo>
                    <a:lnTo>
                      <a:pt x="374" y="216"/>
                    </a:lnTo>
                    <a:lnTo>
                      <a:pt x="374" y="220"/>
                    </a:lnTo>
                    <a:lnTo>
                      <a:pt x="378" y="220"/>
                    </a:lnTo>
                    <a:lnTo>
                      <a:pt x="374" y="223"/>
                    </a:lnTo>
                    <a:lnTo>
                      <a:pt x="374" y="227"/>
                    </a:lnTo>
                    <a:lnTo>
                      <a:pt x="374" y="231"/>
                    </a:lnTo>
                    <a:lnTo>
                      <a:pt x="370" y="231"/>
                    </a:lnTo>
                    <a:lnTo>
                      <a:pt x="366" y="231"/>
                    </a:lnTo>
                    <a:lnTo>
                      <a:pt x="370" y="235"/>
                    </a:lnTo>
                    <a:lnTo>
                      <a:pt x="370" y="243"/>
                    </a:lnTo>
                    <a:lnTo>
                      <a:pt x="366" y="243"/>
                    </a:lnTo>
                    <a:lnTo>
                      <a:pt x="362" y="247"/>
                    </a:lnTo>
                    <a:lnTo>
                      <a:pt x="362" y="250"/>
                    </a:lnTo>
                    <a:lnTo>
                      <a:pt x="359" y="254"/>
                    </a:lnTo>
                    <a:lnTo>
                      <a:pt x="359" y="250"/>
                    </a:lnTo>
                    <a:lnTo>
                      <a:pt x="359" y="254"/>
                    </a:lnTo>
                    <a:lnTo>
                      <a:pt x="359" y="250"/>
                    </a:lnTo>
                    <a:lnTo>
                      <a:pt x="355" y="247"/>
                    </a:lnTo>
                    <a:lnTo>
                      <a:pt x="355" y="243"/>
                    </a:lnTo>
                    <a:lnTo>
                      <a:pt x="355" y="239"/>
                    </a:lnTo>
                    <a:lnTo>
                      <a:pt x="351" y="239"/>
                    </a:lnTo>
                    <a:lnTo>
                      <a:pt x="351" y="235"/>
                    </a:lnTo>
                    <a:lnTo>
                      <a:pt x="355" y="235"/>
                    </a:lnTo>
                    <a:lnTo>
                      <a:pt x="355" y="231"/>
                    </a:lnTo>
                    <a:lnTo>
                      <a:pt x="359" y="231"/>
                    </a:lnTo>
                    <a:lnTo>
                      <a:pt x="359" y="227"/>
                    </a:lnTo>
                    <a:lnTo>
                      <a:pt x="362" y="227"/>
                    </a:lnTo>
                    <a:lnTo>
                      <a:pt x="362" y="223"/>
                    </a:lnTo>
                    <a:lnTo>
                      <a:pt x="359" y="223"/>
                    </a:lnTo>
                    <a:lnTo>
                      <a:pt x="362" y="223"/>
                    </a:lnTo>
                    <a:lnTo>
                      <a:pt x="362" y="220"/>
                    </a:lnTo>
                    <a:lnTo>
                      <a:pt x="362" y="216"/>
                    </a:lnTo>
                    <a:lnTo>
                      <a:pt x="362" y="212"/>
                    </a:lnTo>
                    <a:lnTo>
                      <a:pt x="362" y="208"/>
                    </a:lnTo>
                    <a:lnTo>
                      <a:pt x="362" y="204"/>
                    </a:lnTo>
                    <a:lnTo>
                      <a:pt x="359" y="204"/>
                    </a:lnTo>
                    <a:lnTo>
                      <a:pt x="359" y="208"/>
                    </a:lnTo>
                    <a:lnTo>
                      <a:pt x="359" y="204"/>
                    </a:lnTo>
                    <a:lnTo>
                      <a:pt x="359" y="200"/>
                    </a:lnTo>
                    <a:lnTo>
                      <a:pt x="355" y="196"/>
                    </a:lnTo>
                    <a:lnTo>
                      <a:pt x="351" y="196"/>
                    </a:lnTo>
                    <a:lnTo>
                      <a:pt x="351" y="193"/>
                    </a:lnTo>
                    <a:lnTo>
                      <a:pt x="347" y="193"/>
                    </a:lnTo>
                    <a:lnTo>
                      <a:pt x="347" y="189"/>
                    </a:lnTo>
                    <a:lnTo>
                      <a:pt x="347" y="193"/>
                    </a:lnTo>
                    <a:lnTo>
                      <a:pt x="343" y="196"/>
                    </a:lnTo>
                    <a:lnTo>
                      <a:pt x="343" y="200"/>
                    </a:lnTo>
                    <a:lnTo>
                      <a:pt x="339" y="200"/>
                    </a:lnTo>
                    <a:lnTo>
                      <a:pt x="343" y="200"/>
                    </a:lnTo>
                    <a:lnTo>
                      <a:pt x="347" y="200"/>
                    </a:lnTo>
                    <a:lnTo>
                      <a:pt x="347" y="204"/>
                    </a:lnTo>
                    <a:lnTo>
                      <a:pt x="351" y="208"/>
                    </a:lnTo>
                    <a:lnTo>
                      <a:pt x="347" y="212"/>
                    </a:lnTo>
                    <a:lnTo>
                      <a:pt x="351" y="212"/>
                    </a:lnTo>
                    <a:lnTo>
                      <a:pt x="351" y="208"/>
                    </a:lnTo>
                    <a:lnTo>
                      <a:pt x="351" y="212"/>
                    </a:lnTo>
                    <a:lnTo>
                      <a:pt x="347" y="212"/>
                    </a:lnTo>
                    <a:lnTo>
                      <a:pt x="347" y="208"/>
                    </a:lnTo>
                    <a:lnTo>
                      <a:pt x="351" y="208"/>
                    </a:lnTo>
                    <a:lnTo>
                      <a:pt x="347" y="208"/>
                    </a:lnTo>
                    <a:lnTo>
                      <a:pt x="343" y="208"/>
                    </a:lnTo>
                    <a:lnTo>
                      <a:pt x="343" y="212"/>
                    </a:lnTo>
                    <a:lnTo>
                      <a:pt x="347" y="212"/>
                    </a:lnTo>
                    <a:lnTo>
                      <a:pt x="351" y="212"/>
                    </a:lnTo>
                    <a:lnTo>
                      <a:pt x="351" y="216"/>
                    </a:lnTo>
                    <a:lnTo>
                      <a:pt x="347" y="216"/>
                    </a:lnTo>
                    <a:lnTo>
                      <a:pt x="347" y="220"/>
                    </a:lnTo>
                    <a:lnTo>
                      <a:pt x="347" y="223"/>
                    </a:lnTo>
                    <a:lnTo>
                      <a:pt x="347" y="220"/>
                    </a:lnTo>
                    <a:lnTo>
                      <a:pt x="351" y="220"/>
                    </a:lnTo>
                    <a:lnTo>
                      <a:pt x="351" y="223"/>
                    </a:lnTo>
                    <a:lnTo>
                      <a:pt x="347" y="223"/>
                    </a:lnTo>
                    <a:lnTo>
                      <a:pt x="347" y="227"/>
                    </a:lnTo>
                    <a:lnTo>
                      <a:pt x="343" y="231"/>
                    </a:lnTo>
                    <a:lnTo>
                      <a:pt x="343" y="235"/>
                    </a:lnTo>
                    <a:lnTo>
                      <a:pt x="339" y="239"/>
                    </a:lnTo>
                    <a:lnTo>
                      <a:pt x="339" y="243"/>
                    </a:lnTo>
                    <a:lnTo>
                      <a:pt x="339" y="239"/>
                    </a:lnTo>
                    <a:lnTo>
                      <a:pt x="339" y="243"/>
                    </a:lnTo>
                    <a:lnTo>
                      <a:pt x="343" y="243"/>
                    </a:lnTo>
                    <a:lnTo>
                      <a:pt x="347" y="239"/>
                    </a:lnTo>
                    <a:lnTo>
                      <a:pt x="347" y="243"/>
                    </a:lnTo>
                    <a:lnTo>
                      <a:pt x="351" y="239"/>
                    </a:lnTo>
                    <a:lnTo>
                      <a:pt x="355" y="243"/>
                    </a:lnTo>
                    <a:lnTo>
                      <a:pt x="351" y="243"/>
                    </a:lnTo>
                    <a:lnTo>
                      <a:pt x="355" y="243"/>
                    </a:lnTo>
                    <a:lnTo>
                      <a:pt x="355" y="247"/>
                    </a:lnTo>
                    <a:lnTo>
                      <a:pt x="355" y="250"/>
                    </a:lnTo>
                    <a:lnTo>
                      <a:pt x="355" y="258"/>
                    </a:lnTo>
                    <a:lnTo>
                      <a:pt x="351" y="262"/>
                    </a:lnTo>
                    <a:lnTo>
                      <a:pt x="347" y="266"/>
                    </a:lnTo>
                    <a:lnTo>
                      <a:pt x="343" y="266"/>
                    </a:lnTo>
                    <a:lnTo>
                      <a:pt x="343" y="270"/>
                    </a:lnTo>
                    <a:lnTo>
                      <a:pt x="339" y="274"/>
                    </a:lnTo>
                    <a:lnTo>
                      <a:pt x="339" y="270"/>
                    </a:lnTo>
                    <a:lnTo>
                      <a:pt x="335" y="270"/>
                    </a:lnTo>
                    <a:lnTo>
                      <a:pt x="335" y="274"/>
                    </a:lnTo>
                    <a:lnTo>
                      <a:pt x="332" y="277"/>
                    </a:lnTo>
                    <a:lnTo>
                      <a:pt x="332" y="274"/>
                    </a:lnTo>
                    <a:lnTo>
                      <a:pt x="332" y="270"/>
                    </a:lnTo>
                    <a:lnTo>
                      <a:pt x="328" y="270"/>
                    </a:lnTo>
                    <a:lnTo>
                      <a:pt x="324" y="266"/>
                    </a:lnTo>
                    <a:lnTo>
                      <a:pt x="320" y="266"/>
                    </a:lnTo>
                    <a:lnTo>
                      <a:pt x="316" y="266"/>
                    </a:lnTo>
                    <a:lnTo>
                      <a:pt x="312" y="266"/>
                    </a:lnTo>
                    <a:lnTo>
                      <a:pt x="308" y="262"/>
                    </a:lnTo>
                    <a:lnTo>
                      <a:pt x="312" y="262"/>
                    </a:lnTo>
                    <a:lnTo>
                      <a:pt x="308" y="262"/>
                    </a:lnTo>
                    <a:lnTo>
                      <a:pt x="305" y="266"/>
                    </a:lnTo>
                    <a:lnTo>
                      <a:pt x="308" y="266"/>
                    </a:lnTo>
                    <a:lnTo>
                      <a:pt x="301" y="270"/>
                    </a:lnTo>
                    <a:lnTo>
                      <a:pt x="301" y="274"/>
                    </a:lnTo>
                    <a:lnTo>
                      <a:pt x="301" y="277"/>
                    </a:lnTo>
                    <a:lnTo>
                      <a:pt x="301" y="281"/>
                    </a:lnTo>
                    <a:lnTo>
                      <a:pt x="301" y="285"/>
                    </a:lnTo>
                    <a:lnTo>
                      <a:pt x="297" y="289"/>
                    </a:lnTo>
                    <a:lnTo>
                      <a:pt x="297" y="293"/>
                    </a:lnTo>
                    <a:lnTo>
                      <a:pt x="293" y="293"/>
                    </a:lnTo>
                    <a:lnTo>
                      <a:pt x="293" y="297"/>
                    </a:lnTo>
                    <a:lnTo>
                      <a:pt x="289" y="301"/>
                    </a:lnTo>
                    <a:lnTo>
                      <a:pt x="285" y="301"/>
                    </a:lnTo>
                    <a:lnTo>
                      <a:pt x="281" y="304"/>
                    </a:lnTo>
                    <a:lnTo>
                      <a:pt x="278" y="304"/>
                    </a:lnTo>
                    <a:lnTo>
                      <a:pt x="274" y="304"/>
                    </a:lnTo>
                    <a:lnTo>
                      <a:pt x="274" y="308"/>
                    </a:lnTo>
                    <a:lnTo>
                      <a:pt x="270" y="308"/>
                    </a:lnTo>
                    <a:lnTo>
                      <a:pt x="266" y="312"/>
                    </a:lnTo>
                    <a:lnTo>
                      <a:pt x="262" y="308"/>
                    </a:lnTo>
                    <a:lnTo>
                      <a:pt x="262" y="304"/>
                    </a:lnTo>
                    <a:lnTo>
                      <a:pt x="266" y="304"/>
                    </a:lnTo>
                    <a:lnTo>
                      <a:pt x="266" y="301"/>
                    </a:lnTo>
                    <a:lnTo>
                      <a:pt x="262" y="301"/>
                    </a:lnTo>
                    <a:lnTo>
                      <a:pt x="258" y="301"/>
                    </a:lnTo>
                    <a:lnTo>
                      <a:pt x="258" y="297"/>
                    </a:lnTo>
                    <a:lnTo>
                      <a:pt x="254" y="297"/>
                    </a:lnTo>
                    <a:lnTo>
                      <a:pt x="251" y="293"/>
                    </a:lnTo>
                    <a:lnTo>
                      <a:pt x="251" y="289"/>
                    </a:lnTo>
                    <a:lnTo>
                      <a:pt x="247" y="289"/>
                    </a:lnTo>
                    <a:lnTo>
                      <a:pt x="247" y="285"/>
                    </a:lnTo>
                    <a:lnTo>
                      <a:pt x="243" y="285"/>
                    </a:lnTo>
                    <a:lnTo>
                      <a:pt x="239" y="281"/>
                    </a:lnTo>
                    <a:lnTo>
                      <a:pt x="239" y="285"/>
                    </a:lnTo>
                    <a:lnTo>
                      <a:pt x="235" y="285"/>
                    </a:lnTo>
                    <a:lnTo>
                      <a:pt x="231" y="281"/>
                    </a:lnTo>
                    <a:lnTo>
                      <a:pt x="227" y="281"/>
                    </a:lnTo>
                    <a:lnTo>
                      <a:pt x="227" y="285"/>
                    </a:lnTo>
                    <a:lnTo>
                      <a:pt x="227" y="289"/>
                    </a:lnTo>
                    <a:lnTo>
                      <a:pt x="224" y="289"/>
                    </a:lnTo>
                    <a:lnTo>
                      <a:pt x="220" y="289"/>
                    </a:lnTo>
                    <a:lnTo>
                      <a:pt x="216" y="289"/>
                    </a:lnTo>
                    <a:lnTo>
                      <a:pt x="216" y="285"/>
                    </a:lnTo>
                    <a:lnTo>
                      <a:pt x="212" y="285"/>
                    </a:lnTo>
                    <a:lnTo>
                      <a:pt x="212" y="289"/>
                    </a:lnTo>
                    <a:lnTo>
                      <a:pt x="208" y="289"/>
                    </a:lnTo>
                    <a:lnTo>
                      <a:pt x="204" y="289"/>
                    </a:lnTo>
                    <a:lnTo>
                      <a:pt x="200" y="289"/>
                    </a:lnTo>
                    <a:lnTo>
                      <a:pt x="197" y="285"/>
                    </a:lnTo>
                    <a:lnTo>
                      <a:pt x="193" y="289"/>
                    </a:lnTo>
                    <a:lnTo>
                      <a:pt x="189" y="289"/>
                    </a:lnTo>
                    <a:lnTo>
                      <a:pt x="189" y="285"/>
                    </a:lnTo>
                    <a:lnTo>
                      <a:pt x="185" y="281"/>
                    </a:lnTo>
                    <a:lnTo>
                      <a:pt x="189" y="277"/>
                    </a:lnTo>
                    <a:lnTo>
                      <a:pt x="189" y="274"/>
                    </a:lnTo>
                    <a:lnTo>
                      <a:pt x="189" y="270"/>
                    </a:lnTo>
                    <a:lnTo>
                      <a:pt x="193" y="266"/>
                    </a:lnTo>
                    <a:lnTo>
                      <a:pt x="193" y="262"/>
                    </a:lnTo>
                    <a:lnTo>
                      <a:pt x="193" y="258"/>
                    </a:lnTo>
                    <a:lnTo>
                      <a:pt x="193" y="254"/>
                    </a:lnTo>
                    <a:lnTo>
                      <a:pt x="189" y="250"/>
                    </a:lnTo>
                    <a:lnTo>
                      <a:pt x="189" y="247"/>
                    </a:lnTo>
                    <a:lnTo>
                      <a:pt x="185" y="250"/>
                    </a:lnTo>
                    <a:lnTo>
                      <a:pt x="181" y="250"/>
                    </a:lnTo>
                    <a:lnTo>
                      <a:pt x="177" y="247"/>
                    </a:lnTo>
                    <a:lnTo>
                      <a:pt x="177" y="243"/>
                    </a:lnTo>
                    <a:lnTo>
                      <a:pt x="173" y="239"/>
                    </a:lnTo>
                    <a:lnTo>
                      <a:pt x="173" y="235"/>
                    </a:lnTo>
                    <a:lnTo>
                      <a:pt x="173" y="231"/>
                    </a:lnTo>
                    <a:lnTo>
                      <a:pt x="173" y="227"/>
                    </a:lnTo>
                    <a:lnTo>
                      <a:pt x="170" y="227"/>
                    </a:lnTo>
                    <a:lnTo>
                      <a:pt x="170" y="223"/>
                    </a:lnTo>
                    <a:lnTo>
                      <a:pt x="173" y="220"/>
                    </a:lnTo>
                    <a:lnTo>
                      <a:pt x="170" y="216"/>
                    </a:lnTo>
                    <a:lnTo>
                      <a:pt x="173" y="212"/>
                    </a:lnTo>
                    <a:lnTo>
                      <a:pt x="170" y="212"/>
                    </a:lnTo>
                    <a:lnTo>
                      <a:pt x="170" y="208"/>
                    </a:lnTo>
                    <a:lnTo>
                      <a:pt x="166" y="208"/>
                    </a:lnTo>
                    <a:lnTo>
                      <a:pt x="170" y="204"/>
                    </a:lnTo>
                    <a:lnTo>
                      <a:pt x="166" y="200"/>
                    </a:lnTo>
                    <a:lnTo>
                      <a:pt x="166" y="196"/>
                    </a:lnTo>
                    <a:lnTo>
                      <a:pt x="162" y="196"/>
                    </a:lnTo>
                    <a:lnTo>
                      <a:pt x="162" y="193"/>
                    </a:lnTo>
                    <a:lnTo>
                      <a:pt x="158" y="193"/>
                    </a:lnTo>
                    <a:lnTo>
                      <a:pt x="158" y="189"/>
                    </a:lnTo>
                    <a:lnTo>
                      <a:pt x="154" y="185"/>
                    </a:lnTo>
                    <a:lnTo>
                      <a:pt x="154" y="189"/>
                    </a:lnTo>
                    <a:lnTo>
                      <a:pt x="150" y="189"/>
                    </a:lnTo>
                    <a:lnTo>
                      <a:pt x="146" y="193"/>
                    </a:lnTo>
                    <a:lnTo>
                      <a:pt x="143" y="196"/>
                    </a:lnTo>
                    <a:lnTo>
                      <a:pt x="139" y="196"/>
                    </a:lnTo>
                    <a:lnTo>
                      <a:pt x="139" y="200"/>
                    </a:lnTo>
                    <a:lnTo>
                      <a:pt x="135" y="200"/>
                    </a:lnTo>
                    <a:lnTo>
                      <a:pt x="135" y="204"/>
                    </a:lnTo>
                    <a:lnTo>
                      <a:pt x="131" y="204"/>
                    </a:lnTo>
                    <a:lnTo>
                      <a:pt x="131" y="200"/>
                    </a:lnTo>
                    <a:lnTo>
                      <a:pt x="127" y="200"/>
                    </a:lnTo>
                    <a:lnTo>
                      <a:pt x="131" y="204"/>
                    </a:lnTo>
                    <a:lnTo>
                      <a:pt x="127" y="204"/>
                    </a:lnTo>
                    <a:lnTo>
                      <a:pt x="127" y="208"/>
                    </a:lnTo>
                    <a:lnTo>
                      <a:pt x="123" y="208"/>
                    </a:lnTo>
                    <a:lnTo>
                      <a:pt x="127" y="208"/>
                    </a:lnTo>
                    <a:lnTo>
                      <a:pt x="127" y="212"/>
                    </a:lnTo>
                    <a:lnTo>
                      <a:pt x="127" y="216"/>
                    </a:lnTo>
                    <a:lnTo>
                      <a:pt x="131" y="220"/>
                    </a:lnTo>
                    <a:lnTo>
                      <a:pt x="127" y="220"/>
                    </a:lnTo>
                    <a:lnTo>
                      <a:pt x="127" y="223"/>
                    </a:lnTo>
                    <a:lnTo>
                      <a:pt x="131" y="227"/>
                    </a:lnTo>
                    <a:lnTo>
                      <a:pt x="127" y="227"/>
                    </a:lnTo>
                    <a:lnTo>
                      <a:pt x="123" y="227"/>
                    </a:lnTo>
                    <a:lnTo>
                      <a:pt x="119" y="227"/>
                    </a:lnTo>
                    <a:lnTo>
                      <a:pt x="116" y="227"/>
                    </a:lnTo>
                    <a:lnTo>
                      <a:pt x="112" y="227"/>
                    </a:lnTo>
                    <a:lnTo>
                      <a:pt x="112" y="231"/>
                    </a:lnTo>
                    <a:lnTo>
                      <a:pt x="112" y="235"/>
                    </a:lnTo>
                    <a:lnTo>
                      <a:pt x="108" y="235"/>
                    </a:lnTo>
                    <a:lnTo>
                      <a:pt x="108" y="243"/>
                    </a:lnTo>
                    <a:lnTo>
                      <a:pt x="104" y="247"/>
                    </a:lnTo>
                    <a:lnTo>
                      <a:pt x="100" y="247"/>
                    </a:lnTo>
                    <a:lnTo>
                      <a:pt x="104" y="243"/>
                    </a:lnTo>
                    <a:lnTo>
                      <a:pt x="100" y="243"/>
                    </a:lnTo>
                    <a:lnTo>
                      <a:pt x="104" y="239"/>
                    </a:lnTo>
                    <a:lnTo>
                      <a:pt x="104" y="235"/>
                    </a:lnTo>
                    <a:lnTo>
                      <a:pt x="100" y="235"/>
                    </a:lnTo>
                    <a:lnTo>
                      <a:pt x="100" y="239"/>
                    </a:lnTo>
                    <a:lnTo>
                      <a:pt x="96" y="239"/>
                    </a:lnTo>
                    <a:lnTo>
                      <a:pt x="96" y="243"/>
                    </a:lnTo>
                    <a:lnTo>
                      <a:pt x="100" y="247"/>
                    </a:lnTo>
                    <a:lnTo>
                      <a:pt x="96" y="247"/>
                    </a:lnTo>
                    <a:lnTo>
                      <a:pt x="92" y="247"/>
                    </a:lnTo>
                    <a:lnTo>
                      <a:pt x="92" y="243"/>
                    </a:lnTo>
                    <a:lnTo>
                      <a:pt x="89" y="243"/>
                    </a:lnTo>
                    <a:lnTo>
                      <a:pt x="92" y="239"/>
                    </a:lnTo>
                    <a:lnTo>
                      <a:pt x="89" y="239"/>
                    </a:lnTo>
                    <a:lnTo>
                      <a:pt x="85" y="239"/>
                    </a:lnTo>
                    <a:lnTo>
                      <a:pt x="85" y="235"/>
                    </a:lnTo>
                    <a:lnTo>
                      <a:pt x="89" y="235"/>
                    </a:lnTo>
                    <a:lnTo>
                      <a:pt x="81" y="235"/>
                    </a:lnTo>
                    <a:lnTo>
                      <a:pt x="77" y="239"/>
                    </a:lnTo>
                    <a:lnTo>
                      <a:pt x="73" y="239"/>
                    </a:lnTo>
                    <a:lnTo>
                      <a:pt x="69" y="239"/>
                    </a:lnTo>
                    <a:lnTo>
                      <a:pt x="65" y="235"/>
                    </a:lnTo>
                    <a:lnTo>
                      <a:pt x="62" y="235"/>
                    </a:lnTo>
                    <a:lnTo>
                      <a:pt x="62" y="231"/>
                    </a:lnTo>
                    <a:lnTo>
                      <a:pt x="58" y="231"/>
                    </a:lnTo>
                    <a:lnTo>
                      <a:pt x="58" y="227"/>
                    </a:lnTo>
                    <a:lnTo>
                      <a:pt x="58" y="223"/>
                    </a:lnTo>
                    <a:lnTo>
                      <a:pt x="58" y="220"/>
                    </a:lnTo>
                    <a:lnTo>
                      <a:pt x="54" y="220"/>
                    </a:lnTo>
                    <a:lnTo>
                      <a:pt x="54" y="216"/>
                    </a:lnTo>
                    <a:lnTo>
                      <a:pt x="50" y="212"/>
                    </a:lnTo>
                    <a:lnTo>
                      <a:pt x="46" y="212"/>
                    </a:lnTo>
                    <a:lnTo>
                      <a:pt x="42" y="212"/>
                    </a:lnTo>
                    <a:lnTo>
                      <a:pt x="38" y="212"/>
                    </a:lnTo>
                    <a:lnTo>
                      <a:pt x="38" y="208"/>
                    </a:lnTo>
                    <a:lnTo>
                      <a:pt x="35" y="208"/>
                    </a:lnTo>
                    <a:lnTo>
                      <a:pt x="31" y="208"/>
                    </a:lnTo>
                    <a:lnTo>
                      <a:pt x="31" y="204"/>
                    </a:lnTo>
                    <a:lnTo>
                      <a:pt x="31" y="200"/>
                    </a:lnTo>
                    <a:lnTo>
                      <a:pt x="31" y="196"/>
                    </a:lnTo>
                    <a:lnTo>
                      <a:pt x="31" y="193"/>
                    </a:lnTo>
                    <a:lnTo>
                      <a:pt x="31" y="189"/>
                    </a:lnTo>
                    <a:lnTo>
                      <a:pt x="31" y="185"/>
                    </a:lnTo>
                    <a:lnTo>
                      <a:pt x="27" y="185"/>
                    </a:lnTo>
                    <a:lnTo>
                      <a:pt x="23" y="185"/>
                    </a:lnTo>
                    <a:lnTo>
                      <a:pt x="23" y="181"/>
                    </a:lnTo>
                    <a:lnTo>
                      <a:pt x="19" y="177"/>
                    </a:lnTo>
                    <a:lnTo>
                      <a:pt x="19" y="173"/>
                    </a:lnTo>
                    <a:lnTo>
                      <a:pt x="19" y="169"/>
                    </a:lnTo>
                    <a:lnTo>
                      <a:pt x="19" y="166"/>
                    </a:lnTo>
                    <a:lnTo>
                      <a:pt x="15" y="162"/>
                    </a:lnTo>
                    <a:lnTo>
                      <a:pt x="11" y="162"/>
                    </a:lnTo>
                    <a:lnTo>
                      <a:pt x="8" y="154"/>
                    </a:lnTo>
                    <a:lnTo>
                      <a:pt x="8" y="150"/>
                    </a:lnTo>
                    <a:lnTo>
                      <a:pt x="4" y="142"/>
                    </a:lnTo>
                    <a:lnTo>
                      <a:pt x="4" y="139"/>
                    </a:lnTo>
                    <a:lnTo>
                      <a:pt x="0" y="135"/>
                    </a:lnTo>
                    <a:lnTo>
                      <a:pt x="4" y="135"/>
                    </a:lnTo>
                    <a:lnTo>
                      <a:pt x="8" y="135"/>
                    </a:lnTo>
                    <a:lnTo>
                      <a:pt x="11" y="135"/>
                    </a:lnTo>
                    <a:lnTo>
                      <a:pt x="15" y="135"/>
                    </a:lnTo>
                    <a:lnTo>
                      <a:pt x="19" y="135"/>
                    </a:lnTo>
                    <a:lnTo>
                      <a:pt x="23" y="131"/>
                    </a:lnTo>
                    <a:lnTo>
                      <a:pt x="27" y="127"/>
                    </a:lnTo>
                    <a:lnTo>
                      <a:pt x="27" y="123"/>
                    </a:lnTo>
                    <a:lnTo>
                      <a:pt x="31" y="123"/>
                    </a:lnTo>
                    <a:lnTo>
                      <a:pt x="35" y="123"/>
                    </a:lnTo>
                    <a:lnTo>
                      <a:pt x="35" y="127"/>
                    </a:lnTo>
                    <a:lnTo>
                      <a:pt x="38" y="127"/>
                    </a:lnTo>
                    <a:lnTo>
                      <a:pt x="42" y="127"/>
                    </a:lnTo>
                    <a:lnTo>
                      <a:pt x="42" y="131"/>
                    </a:lnTo>
                    <a:lnTo>
                      <a:pt x="46" y="131"/>
                    </a:lnTo>
                    <a:lnTo>
                      <a:pt x="50" y="131"/>
                    </a:lnTo>
                    <a:lnTo>
                      <a:pt x="54" y="127"/>
                    </a:lnTo>
                    <a:lnTo>
                      <a:pt x="54" y="123"/>
                    </a:lnTo>
                    <a:lnTo>
                      <a:pt x="58" y="123"/>
                    </a:lnTo>
                    <a:lnTo>
                      <a:pt x="62" y="123"/>
                    </a:lnTo>
                    <a:lnTo>
                      <a:pt x="65" y="119"/>
                    </a:lnTo>
                    <a:lnTo>
                      <a:pt x="69" y="119"/>
                    </a:lnTo>
                    <a:lnTo>
                      <a:pt x="73" y="119"/>
                    </a:lnTo>
                    <a:lnTo>
                      <a:pt x="73" y="115"/>
                    </a:lnTo>
                    <a:lnTo>
                      <a:pt x="69" y="115"/>
                    </a:lnTo>
                    <a:lnTo>
                      <a:pt x="65" y="112"/>
                    </a:lnTo>
                    <a:lnTo>
                      <a:pt x="62" y="112"/>
                    </a:lnTo>
                    <a:lnTo>
                      <a:pt x="62" y="108"/>
                    </a:lnTo>
                    <a:lnTo>
                      <a:pt x="58" y="108"/>
                    </a:lnTo>
                    <a:lnTo>
                      <a:pt x="54" y="108"/>
                    </a:lnTo>
                    <a:lnTo>
                      <a:pt x="54" y="104"/>
                    </a:lnTo>
                    <a:lnTo>
                      <a:pt x="50" y="100"/>
                    </a:lnTo>
                    <a:lnTo>
                      <a:pt x="50" y="96"/>
                    </a:lnTo>
                    <a:lnTo>
                      <a:pt x="50" y="92"/>
                    </a:lnTo>
                    <a:lnTo>
                      <a:pt x="50" y="88"/>
                    </a:lnTo>
                    <a:lnTo>
                      <a:pt x="54" y="88"/>
                    </a:lnTo>
                    <a:lnTo>
                      <a:pt x="58" y="88"/>
                    </a:lnTo>
                    <a:lnTo>
                      <a:pt x="58" y="85"/>
                    </a:lnTo>
                    <a:lnTo>
                      <a:pt x="62" y="85"/>
                    </a:lnTo>
                    <a:lnTo>
                      <a:pt x="65" y="85"/>
                    </a:lnTo>
                    <a:lnTo>
                      <a:pt x="65" y="88"/>
                    </a:lnTo>
                    <a:lnTo>
                      <a:pt x="69" y="92"/>
                    </a:lnTo>
                    <a:lnTo>
                      <a:pt x="73" y="96"/>
                    </a:lnTo>
                    <a:lnTo>
                      <a:pt x="73" y="92"/>
                    </a:lnTo>
                    <a:lnTo>
                      <a:pt x="77" y="92"/>
                    </a:lnTo>
                    <a:lnTo>
                      <a:pt x="81" y="92"/>
                    </a:lnTo>
                    <a:lnTo>
                      <a:pt x="85" y="92"/>
                    </a:lnTo>
                    <a:lnTo>
                      <a:pt x="89" y="88"/>
                    </a:lnTo>
                    <a:lnTo>
                      <a:pt x="92" y="88"/>
                    </a:lnTo>
                    <a:lnTo>
                      <a:pt x="96" y="92"/>
                    </a:lnTo>
                    <a:lnTo>
                      <a:pt x="100" y="92"/>
                    </a:lnTo>
                    <a:lnTo>
                      <a:pt x="104" y="92"/>
                    </a:lnTo>
                    <a:lnTo>
                      <a:pt x="104" y="88"/>
                    </a:lnTo>
                    <a:lnTo>
                      <a:pt x="104" y="85"/>
                    </a:lnTo>
                    <a:lnTo>
                      <a:pt x="104" y="81"/>
                    </a:lnTo>
                    <a:lnTo>
                      <a:pt x="108" y="81"/>
                    </a:lnTo>
                    <a:lnTo>
                      <a:pt x="112" y="77"/>
                    </a:lnTo>
                    <a:lnTo>
                      <a:pt x="116" y="77"/>
                    </a:lnTo>
                    <a:lnTo>
                      <a:pt x="119" y="77"/>
                    </a:lnTo>
                    <a:lnTo>
                      <a:pt x="119" y="73"/>
                    </a:lnTo>
                    <a:lnTo>
                      <a:pt x="119" y="69"/>
                    </a:lnTo>
                    <a:lnTo>
                      <a:pt x="123" y="69"/>
                    </a:lnTo>
                    <a:lnTo>
                      <a:pt x="127" y="61"/>
                    </a:lnTo>
                    <a:lnTo>
                      <a:pt x="127" y="57"/>
                    </a:lnTo>
                    <a:lnTo>
                      <a:pt x="127" y="54"/>
                    </a:lnTo>
                    <a:lnTo>
                      <a:pt x="127" y="50"/>
                    </a:lnTo>
                    <a:lnTo>
                      <a:pt x="131" y="50"/>
                    </a:lnTo>
                    <a:lnTo>
                      <a:pt x="135" y="50"/>
                    </a:lnTo>
                    <a:lnTo>
                      <a:pt x="135" y="46"/>
                    </a:lnTo>
                    <a:lnTo>
                      <a:pt x="135" y="42"/>
                    </a:lnTo>
                    <a:lnTo>
                      <a:pt x="139" y="38"/>
                    </a:lnTo>
                    <a:lnTo>
                      <a:pt x="139" y="34"/>
                    </a:lnTo>
                    <a:lnTo>
                      <a:pt x="143" y="30"/>
                    </a:lnTo>
                    <a:lnTo>
                      <a:pt x="146" y="27"/>
                    </a:lnTo>
                    <a:lnTo>
                      <a:pt x="150" y="27"/>
                    </a:lnTo>
                    <a:lnTo>
                      <a:pt x="154" y="27"/>
                    </a:lnTo>
                    <a:lnTo>
                      <a:pt x="158" y="27"/>
                    </a:lnTo>
                    <a:lnTo>
                      <a:pt x="162" y="27"/>
                    </a:lnTo>
                    <a:lnTo>
                      <a:pt x="162" y="30"/>
                    </a:lnTo>
                    <a:lnTo>
                      <a:pt x="158" y="30"/>
                    </a:lnTo>
                    <a:lnTo>
                      <a:pt x="154" y="34"/>
                    </a:lnTo>
                    <a:lnTo>
                      <a:pt x="150" y="34"/>
                    </a:lnTo>
                    <a:lnTo>
                      <a:pt x="150" y="38"/>
                    </a:lnTo>
                    <a:lnTo>
                      <a:pt x="154" y="38"/>
                    </a:lnTo>
                    <a:lnTo>
                      <a:pt x="154" y="34"/>
                    </a:lnTo>
                    <a:lnTo>
                      <a:pt x="158" y="30"/>
                    </a:lnTo>
                    <a:lnTo>
                      <a:pt x="162" y="30"/>
                    </a:lnTo>
                    <a:lnTo>
                      <a:pt x="162" y="34"/>
                    </a:lnTo>
                    <a:lnTo>
                      <a:pt x="162" y="30"/>
                    </a:lnTo>
                    <a:lnTo>
                      <a:pt x="166" y="27"/>
                    </a:lnTo>
                    <a:lnTo>
                      <a:pt x="166" y="30"/>
                    </a:lnTo>
                    <a:lnTo>
                      <a:pt x="170" y="30"/>
                    </a:lnTo>
                    <a:lnTo>
                      <a:pt x="173" y="30"/>
                    </a:lnTo>
                    <a:lnTo>
                      <a:pt x="173" y="34"/>
                    </a:lnTo>
                    <a:close/>
                    <a:moveTo>
                      <a:pt x="312" y="3"/>
                    </a:moveTo>
                    <a:lnTo>
                      <a:pt x="316" y="3"/>
                    </a:lnTo>
                    <a:lnTo>
                      <a:pt x="320" y="3"/>
                    </a:lnTo>
                    <a:lnTo>
                      <a:pt x="320" y="7"/>
                    </a:lnTo>
                    <a:lnTo>
                      <a:pt x="316" y="7"/>
                    </a:lnTo>
                    <a:lnTo>
                      <a:pt x="316" y="11"/>
                    </a:lnTo>
                    <a:lnTo>
                      <a:pt x="316" y="15"/>
                    </a:lnTo>
                    <a:lnTo>
                      <a:pt x="312" y="15"/>
                    </a:lnTo>
                    <a:lnTo>
                      <a:pt x="312" y="11"/>
                    </a:lnTo>
                    <a:lnTo>
                      <a:pt x="316" y="7"/>
                    </a:lnTo>
                    <a:lnTo>
                      <a:pt x="312" y="3"/>
                    </a:lnTo>
                    <a:lnTo>
                      <a:pt x="308" y="3"/>
                    </a:lnTo>
                    <a:lnTo>
                      <a:pt x="305" y="3"/>
                    </a:lnTo>
                    <a:lnTo>
                      <a:pt x="305" y="0"/>
                    </a:lnTo>
                    <a:lnTo>
                      <a:pt x="308" y="0"/>
                    </a:lnTo>
                    <a:lnTo>
                      <a:pt x="312" y="3"/>
                    </a:lnTo>
                    <a:close/>
                    <a:moveTo>
                      <a:pt x="347" y="223"/>
                    </a:moveTo>
                    <a:lnTo>
                      <a:pt x="351" y="223"/>
                    </a:lnTo>
                    <a:lnTo>
                      <a:pt x="351" y="227"/>
                    </a:lnTo>
                    <a:lnTo>
                      <a:pt x="347" y="223"/>
                    </a:lnTo>
                    <a:close/>
                    <a:moveTo>
                      <a:pt x="370" y="169"/>
                    </a:moveTo>
                    <a:lnTo>
                      <a:pt x="374" y="173"/>
                    </a:lnTo>
                    <a:lnTo>
                      <a:pt x="370" y="173"/>
                    </a:lnTo>
                    <a:lnTo>
                      <a:pt x="370" y="169"/>
                    </a:lnTo>
                    <a:close/>
                    <a:moveTo>
                      <a:pt x="355" y="204"/>
                    </a:moveTo>
                    <a:lnTo>
                      <a:pt x="359" y="204"/>
                    </a:lnTo>
                    <a:lnTo>
                      <a:pt x="355" y="208"/>
                    </a:lnTo>
                    <a:lnTo>
                      <a:pt x="355" y="204"/>
                    </a:lnTo>
                    <a:close/>
                  </a:path>
                </a:pathLst>
              </a:custGeom>
              <a:grp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p>
            </p:txBody>
          </p:sp>
        </p:grpSp>
      </p:grpSp>
      <p:sp>
        <p:nvSpPr>
          <p:cNvPr id="104" name="TextBox 103">
            <a:extLst>
              <a:ext uri="{FF2B5EF4-FFF2-40B4-BE49-F238E27FC236}">
                <a16:creationId xmlns:a16="http://schemas.microsoft.com/office/drawing/2014/main" id="{E27D6FD4-F8D5-92A7-1C4D-C383503EAC90}"/>
              </a:ext>
            </a:extLst>
          </p:cNvPr>
          <p:cNvSpPr txBox="1"/>
          <p:nvPr/>
        </p:nvSpPr>
        <p:spPr>
          <a:xfrm>
            <a:off x="2425867" y="3615865"/>
            <a:ext cx="372009" cy="153888"/>
          </a:xfrm>
          <a:prstGeom prst="rect">
            <a:avLst/>
          </a:prstGeom>
          <a:solidFill>
            <a:srgbClr val="F2F2F2"/>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IRE</a:t>
            </a:r>
          </a:p>
        </p:txBody>
      </p:sp>
      <p:cxnSp>
        <p:nvCxnSpPr>
          <p:cNvPr id="182" name="Straight Connector 181">
            <a:extLst>
              <a:ext uri="{FF2B5EF4-FFF2-40B4-BE49-F238E27FC236}">
                <a16:creationId xmlns:a16="http://schemas.microsoft.com/office/drawing/2014/main" id="{4D214BBE-D9C8-E84A-6FD5-BEEF14FCE632}"/>
              </a:ext>
            </a:extLst>
          </p:cNvPr>
          <p:cNvCxnSpPr>
            <a:cxnSpLocks/>
            <a:stCxn id="181" idx="3"/>
          </p:cNvCxnSpPr>
          <p:nvPr/>
        </p:nvCxnSpPr>
        <p:spPr>
          <a:xfrm>
            <a:off x="2268781" y="3349644"/>
            <a:ext cx="804085" cy="29467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23" name="Text Placeholder 13">
            <a:extLst>
              <a:ext uri="{FF2B5EF4-FFF2-40B4-BE49-F238E27FC236}">
                <a16:creationId xmlns:a16="http://schemas.microsoft.com/office/drawing/2014/main" id="{54E9FD32-4CCE-8893-D44C-C994E973641D}"/>
              </a:ext>
            </a:extLst>
          </p:cNvPr>
          <p:cNvSpPr txBox="1">
            <a:spLocks/>
          </p:cNvSpPr>
          <p:nvPr/>
        </p:nvSpPr>
        <p:spPr>
          <a:xfrm>
            <a:off x="381000" y="6502391"/>
            <a:ext cx="8601074"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36834318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01EE8B9-9FA2-E30E-E7ED-1F5619D84B07}"/>
              </a:ext>
            </a:extLst>
          </p:cNvPr>
          <p:cNvGraphicFramePr>
            <a:graphicFrameLocks noChangeAspect="1"/>
          </p:cNvGraphicFramePr>
          <p:nvPr>
            <p:custDataLst>
              <p:tags r:id="rId1"/>
            </p:custDataLst>
            <p:extLst>
              <p:ext uri="{D42A27DB-BD31-4B8C-83A1-F6EECF244321}">
                <p14:modId xmlns:p14="http://schemas.microsoft.com/office/powerpoint/2010/main" val="64696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8" name="think-cell data - do not delete" hidden="1">
                        <a:extLst>
                          <a:ext uri="{FF2B5EF4-FFF2-40B4-BE49-F238E27FC236}">
                            <a16:creationId xmlns:a16="http://schemas.microsoft.com/office/drawing/2014/main" id="{201EE8B9-9FA2-E30E-E7ED-1F5619D84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19">
            <a:extLst>
              <a:ext uri="{FF2B5EF4-FFF2-40B4-BE49-F238E27FC236}">
                <a16:creationId xmlns:a16="http://schemas.microsoft.com/office/drawing/2014/main" id="{48BEDD48-051E-EF15-C9EB-952BCA0E678D}"/>
              </a:ext>
            </a:extLst>
          </p:cNvPr>
          <p:cNvGraphicFramePr>
            <a:graphicFrameLocks noGrp="1"/>
          </p:cNvGraphicFramePr>
          <p:nvPr>
            <p:extLst>
              <p:ext uri="{D42A27DB-BD31-4B8C-83A1-F6EECF244321}">
                <p14:modId xmlns:p14="http://schemas.microsoft.com/office/powerpoint/2010/main" val="111230538"/>
              </p:ext>
            </p:extLst>
          </p:nvPr>
        </p:nvGraphicFramePr>
        <p:xfrm>
          <a:off x="1896286" y="1886132"/>
          <a:ext cx="5766215" cy="1197649"/>
        </p:xfrm>
        <a:graphic>
          <a:graphicData uri="http://schemas.openxmlformats.org/drawingml/2006/table">
            <a:tbl>
              <a:tblPr firstRow="1" bandRow="1">
                <a:tableStyleId>{2D5ABB26-0587-4C30-8999-92F81FD0307C}</a:tableStyleId>
              </a:tblPr>
              <a:tblGrid>
                <a:gridCol w="5766215">
                  <a:extLst>
                    <a:ext uri="{9D8B030D-6E8A-4147-A177-3AD203B41FA5}">
                      <a16:colId xmlns:a16="http://schemas.microsoft.com/office/drawing/2014/main" val="303839564"/>
                    </a:ext>
                  </a:extLst>
                </a:gridCol>
              </a:tblGrid>
              <a:tr h="393525">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Strong policies in place allowing aggregation of </a:t>
                      </a:r>
                      <a:r>
                        <a:rPr lang="en-US" sz="1100" b="0" kern="1200" err="1">
                          <a:solidFill>
                            <a:schemeClr val="tx1"/>
                          </a:solidFill>
                          <a:latin typeface="+mn-lt"/>
                          <a:ea typeface="+mn-ea"/>
                          <a:cs typeface="+mn-cs"/>
                        </a:rPr>
                        <a:t>BtM</a:t>
                      </a:r>
                      <a:r>
                        <a:rPr lang="en-US" sz="1100" b="0" kern="1200">
                          <a:solidFill>
                            <a:schemeClr val="tx1"/>
                          </a:solidFill>
                          <a:latin typeface="+mn-lt"/>
                          <a:ea typeface="+mn-ea"/>
                          <a:cs typeface="+mn-cs"/>
                        </a:rPr>
                        <a:t> and/or demand side respon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393525">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Upcoming measures planned allowing aggregation of </a:t>
                      </a:r>
                      <a:r>
                        <a:rPr lang="en-US" sz="1100" b="0" kern="1200" err="1">
                          <a:solidFill>
                            <a:schemeClr val="tx1"/>
                          </a:solidFill>
                          <a:latin typeface="+mn-lt"/>
                          <a:ea typeface="+mn-ea"/>
                          <a:cs typeface="+mn-cs"/>
                        </a:rPr>
                        <a:t>BtM</a:t>
                      </a:r>
                      <a:r>
                        <a:rPr lang="en-US" sz="1100" b="0" kern="1200">
                          <a:solidFill>
                            <a:schemeClr val="tx1"/>
                          </a:solidFill>
                          <a:latin typeface="+mn-lt"/>
                          <a:ea typeface="+mn-ea"/>
                          <a:cs typeface="+mn-cs"/>
                        </a:rPr>
                        <a:t> and/or demand side respons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410599">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No specific measures allowing aggregation of BtM and/or demand side response, or temporary trials in place with no permanent policy announc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3" name="Text Placeholder 2">
            <a:extLst>
              <a:ext uri="{FF2B5EF4-FFF2-40B4-BE49-F238E27FC236}">
                <a16:creationId xmlns:a16="http://schemas.microsoft.com/office/drawing/2014/main" id="{7FC8B20E-9558-CD4D-B5AF-D8209C814723}"/>
              </a:ext>
            </a:extLst>
          </p:cNvPr>
          <p:cNvSpPr>
            <a:spLocks noGrp="1"/>
          </p:cNvSpPr>
          <p:nvPr>
            <p:ph type="body" sz="quarter" idx="22"/>
          </p:nvPr>
        </p:nvSpPr>
        <p:spPr/>
        <p:txBody>
          <a:bodyPr/>
          <a:lstStyle/>
          <a:p>
            <a:endParaRPr lang="en-GB"/>
          </a:p>
        </p:txBody>
      </p:sp>
      <p:sp>
        <p:nvSpPr>
          <p:cNvPr id="4" name="Title 3">
            <a:extLst>
              <a:ext uri="{FF2B5EF4-FFF2-40B4-BE49-F238E27FC236}">
                <a16:creationId xmlns:a16="http://schemas.microsoft.com/office/drawing/2014/main" id="{8A8216C4-14BE-CBF6-84F4-1AD357D59228}"/>
              </a:ext>
            </a:extLst>
          </p:cNvPr>
          <p:cNvSpPr>
            <a:spLocks noGrp="1"/>
          </p:cNvSpPr>
          <p:nvPr>
            <p:ph type="title"/>
          </p:nvPr>
        </p:nvSpPr>
        <p:spPr/>
        <p:txBody>
          <a:bodyPr vert="horz"/>
          <a:lstStyle/>
          <a:p>
            <a:r>
              <a:rPr lang="en-GB"/>
              <a:t>Competitive risk arises from supportive policies on demand-side and </a:t>
            </a:r>
            <a:r>
              <a:rPr lang="en-GB" err="1"/>
              <a:t>BtM</a:t>
            </a:r>
            <a:r>
              <a:rPr lang="en-GB"/>
              <a:t> aggregation, electrolysers and electric vehicles</a:t>
            </a:r>
          </a:p>
        </p:txBody>
      </p:sp>
      <p:sp>
        <p:nvSpPr>
          <p:cNvPr id="5" name="Text Placeholder 4">
            <a:extLst>
              <a:ext uri="{FF2B5EF4-FFF2-40B4-BE49-F238E27FC236}">
                <a16:creationId xmlns:a16="http://schemas.microsoft.com/office/drawing/2014/main" id="{90472BC8-8821-5238-F322-E5218F23773D}"/>
              </a:ext>
            </a:extLst>
          </p:cNvPr>
          <p:cNvSpPr>
            <a:spLocks noGrp="1"/>
          </p:cNvSpPr>
          <p:nvPr>
            <p:ph type="body" sz="quarter" idx="32"/>
          </p:nvPr>
        </p:nvSpPr>
        <p:spPr/>
        <p:txBody>
          <a:bodyPr/>
          <a:lstStyle/>
          <a:p>
            <a:r>
              <a:rPr lang="en-GB"/>
              <a:t>1) The competitive risk metric considers only policies and regulations favouring or hindering the rise of competitive flexibility assets, but it does not consider their market share.</a:t>
            </a:r>
          </a:p>
        </p:txBody>
      </p:sp>
      <p:sp>
        <p:nvSpPr>
          <p:cNvPr id="6" name="Text Placeholder 5">
            <a:extLst>
              <a:ext uri="{FF2B5EF4-FFF2-40B4-BE49-F238E27FC236}">
                <a16:creationId xmlns:a16="http://schemas.microsoft.com/office/drawing/2014/main" id="{6356C1CE-0FD2-2CC8-3159-7BE16B888690}"/>
              </a:ext>
            </a:extLst>
          </p:cNvPr>
          <p:cNvSpPr>
            <a:spLocks noGrp="1"/>
          </p:cNvSpPr>
          <p:nvPr>
            <p:ph type="body" sz="quarter" idx="31"/>
          </p:nvPr>
        </p:nvSpPr>
        <p:spPr>
          <a:xfrm>
            <a:off x="381599" y="79401"/>
            <a:ext cx="5606022" cy="184666"/>
          </a:xfrm>
        </p:spPr>
        <p:txBody>
          <a:bodyPr/>
          <a:lstStyle/>
          <a:p>
            <a:r>
              <a:rPr lang="en-GB"/>
              <a:t>		Policy and regulatory environment - Regulatory challenges and opportunities</a:t>
            </a:r>
          </a:p>
        </p:txBody>
      </p:sp>
      <p:sp>
        <p:nvSpPr>
          <p:cNvPr id="7" name="Rectangle: Rounded Corners 6">
            <a:extLst>
              <a:ext uri="{FF2B5EF4-FFF2-40B4-BE49-F238E27FC236}">
                <a16:creationId xmlns:a16="http://schemas.microsoft.com/office/drawing/2014/main" id="{258B3164-7E21-1FB8-4B28-97B5247B0BF7}"/>
              </a:ext>
            </a:extLst>
          </p:cNvPr>
          <p:cNvSpPr/>
          <p:nvPr/>
        </p:nvSpPr>
        <p:spPr>
          <a:xfrm>
            <a:off x="8686800" y="2296733"/>
            <a:ext cx="2990193" cy="3700973"/>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3" name="Rectangle: Rounded Corners 12">
            <a:extLst>
              <a:ext uri="{FF2B5EF4-FFF2-40B4-BE49-F238E27FC236}">
                <a16:creationId xmlns:a16="http://schemas.microsoft.com/office/drawing/2014/main" id="{4FCFD3BC-9FB6-A6C4-ECCC-75AEC8770603}"/>
              </a:ext>
            </a:extLst>
          </p:cNvPr>
          <p:cNvSpPr/>
          <p:nvPr/>
        </p:nvSpPr>
        <p:spPr>
          <a:xfrm>
            <a:off x="841414" y="1841706"/>
            <a:ext cx="6700599" cy="1269426"/>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6" name="Oval 11">
            <a:extLst>
              <a:ext uri="{FF2B5EF4-FFF2-40B4-BE49-F238E27FC236}">
                <a16:creationId xmlns:a16="http://schemas.microsoft.com/office/drawing/2014/main" id="{F791AEB5-C5BA-3579-538B-1019FFE30A26}"/>
              </a:ext>
            </a:extLst>
          </p:cNvPr>
          <p:cNvSpPr>
            <a:spLocks/>
          </p:cNvSpPr>
          <p:nvPr/>
        </p:nvSpPr>
        <p:spPr>
          <a:xfrm>
            <a:off x="393105" y="1766652"/>
            <a:ext cx="1137026" cy="1419534"/>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3C3C3B"/>
              </a:solidFill>
              <a:effectLst/>
              <a:uLnTx/>
              <a:uFillTx/>
              <a:latin typeface="Lato"/>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3C3C3B"/>
              </a:solidFill>
              <a:effectLst/>
              <a:uLnTx/>
              <a:uFillTx/>
              <a:latin typeface="Lato"/>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rgbClr val="3C3C3B"/>
              </a:solidFill>
              <a:latin typeface="Lato"/>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Demand-side </a:t>
            </a:r>
            <a:r>
              <a:rPr kumimoji="0" lang="en-GB" sz="1100" b="1" i="0" u="none" strike="noStrike" kern="1200" cap="none" spc="0" normalizeH="0" baseline="0" noProof="0" err="1">
                <a:ln>
                  <a:noFill/>
                </a:ln>
                <a:solidFill>
                  <a:srgbClr val="3C3C3B"/>
                </a:solidFill>
                <a:effectLst/>
                <a:uLnTx/>
                <a:uFillTx/>
                <a:latin typeface="Lato"/>
                <a:ea typeface="+mn-ea"/>
                <a:cs typeface="+mn-cs"/>
              </a:rPr>
              <a:t>respons</a:t>
            </a:r>
            <a:r>
              <a:rPr lang="en-GB" sz="1100" b="1">
                <a:solidFill>
                  <a:srgbClr val="3C3C3B"/>
                </a:solidFill>
                <a:latin typeface="Lato"/>
              </a:rPr>
              <a:t>e</a:t>
            </a:r>
          </a:p>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a:solidFill>
                  <a:srgbClr val="3C3C3B"/>
                </a:solidFill>
                <a:latin typeface="Lato"/>
              </a:rPr>
              <a:t>and </a:t>
            </a:r>
            <a:r>
              <a:rPr lang="en-GB" sz="1100" b="1" err="1">
                <a:solidFill>
                  <a:srgbClr val="3C3C3B"/>
                </a:solidFill>
                <a:latin typeface="Lato"/>
              </a:rPr>
              <a:t>BtM</a:t>
            </a:r>
            <a:r>
              <a:rPr lang="en-GB" sz="1100" b="1">
                <a:solidFill>
                  <a:srgbClr val="3C3C3B"/>
                </a:solidFill>
                <a:latin typeface="Lato"/>
              </a:rPr>
              <a:t> aggregation</a:t>
            </a:r>
            <a:endParaRPr kumimoji="0" lang="en-GB" sz="1100" b="1" i="0" u="none" strike="noStrike" kern="1200" cap="none" spc="0" normalizeH="0" baseline="0" noProof="0">
              <a:ln>
                <a:noFill/>
              </a:ln>
              <a:solidFill>
                <a:srgbClr val="3C3C3B"/>
              </a:solidFill>
              <a:effectLst/>
              <a:uLnTx/>
              <a:uFillTx/>
              <a:latin typeface="Lato"/>
              <a:ea typeface="+mn-ea"/>
              <a:cs typeface="+mn-cs"/>
            </a:endParaRPr>
          </a:p>
        </p:txBody>
      </p:sp>
      <p:sp>
        <p:nvSpPr>
          <p:cNvPr id="19" name="Oval 11">
            <a:extLst>
              <a:ext uri="{FF2B5EF4-FFF2-40B4-BE49-F238E27FC236}">
                <a16:creationId xmlns:a16="http://schemas.microsoft.com/office/drawing/2014/main" id="{CF8611B6-A9F2-CB49-CDA9-E7E0CF53BBF2}"/>
              </a:ext>
            </a:extLst>
          </p:cNvPr>
          <p:cNvSpPr>
            <a:spLocks/>
          </p:cNvSpPr>
          <p:nvPr/>
        </p:nvSpPr>
        <p:spPr>
          <a:xfrm>
            <a:off x="8548194" y="2143754"/>
            <a:ext cx="1054952" cy="3957724"/>
          </a:xfrm>
          <a:prstGeom prst="roundRect">
            <a:avLst>
              <a:gd name="adj" fmla="val 21670"/>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Competition risk</a:t>
            </a:r>
          </a:p>
        </p:txBody>
      </p:sp>
      <p:sp>
        <p:nvSpPr>
          <p:cNvPr id="21" name="Text Placeholder 14">
            <a:extLst>
              <a:ext uri="{FF2B5EF4-FFF2-40B4-BE49-F238E27FC236}">
                <a16:creationId xmlns:a16="http://schemas.microsoft.com/office/drawing/2014/main" id="{08E98E9B-1675-A5B8-24BE-188A42E1EE8C}"/>
              </a:ext>
            </a:extLst>
          </p:cNvPr>
          <p:cNvSpPr txBox="1">
            <a:spLocks/>
          </p:cNvSpPr>
          <p:nvPr/>
        </p:nvSpPr>
        <p:spPr>
          <a:xfrm>
            <a:off x="1798947" y="1920159"/>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22" name="Text Placeholder 14">
            <a:extLst>
              <a:ext uri="{FF2B5EF4-FFF2-40B4-BE49-F238E27FC236}">
                <a16:creationId xmlns:a16="http://schemas.microsoft.com/office/drawing/2014/main" id="{4F7B6183-6C1B-8134-6C78-539BB56EA809}"/>
              </a:ext>
            </a:extLst>
          </p:cNvPr>
          <p:cNvSpPr txBox="1">
            <a:spLocks/>
          </p:cNvSpPr>
          <p:nvPr/>
        </p:nvSpPr>
        <p:spPr>
          <a:xfrm>
            <a:off x="1798947" y="2316852"/>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2</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3" name="Text Placeholder 14">
            <a:extLst>
              <a:ext uri="{FF2B5EF4-FFF2-40B4-BE49-F238E27FC236}">
                <a16:creationId xmlns:a16="http://schemas.microsoft.com/office/drawing/2014/main" id="{6B82DE55-0E2D-A04F-57A1-E8C0B29985DB}"/>
              </a:ext>
            </a:extLst>
          </p:cNvPr>
          <p:cNvSpPr txBox="1">
            <a:spLocks/>
          </p:cNvSpPr>
          <p:nvPr/>
        </p:nvSpPr>
        <p:spPr>
          <a:xfrm>
            <a:off x="1798947" y="2713545"/>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3</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aphicFrame>
        <p:nvGraphicFramePr>
          <p:cNvPr id="27" name="Table 26">
            <a:extLst>
              <a:ext uri="{FF2B5EF4-FFF2-40B4-BE49-F238E27FC236}">
                <a16:creationId xmlns:a16="http://schemas.microsoft.com/office/drawing/2014/main" id="{9330E38A-4D1A-50BA-1832-C0729CF6CE42}"/>
              </a:ext>
            </a:extLst>
          </p:cNvPr>
          <p:cNvGraphicFramePr>
            <a:graphicFrameLocks noGrp="1"/>
          </p:cNvGraphicFramePr>
          <p:nvPr>
            <p:extLst>
              <p:ext uri="{D42A27DB-BD31-4B8C-83A1-F6EECF244321}">
                <p14:modId xmlns:p14="http://schemas.microsoft.com/office/powerpoint/2010/main" val="3654961263"/>
              </p:ext>
            </p:extLst>
          </p:nvPr>
        </p:nvGraphicFramePr>
        <p:xfrm>
          <a:off x="10246623" y="3413179"/>
          <a:ext cx="2113063" cy="1404000"/>
        </p:xfrm>
        <a:graphic>
          <a:graphicData uri="http://schemas.openxmlformats.org/drawingml/2006/table">
            <a:tbl>
              <a:tblPr firstRow="1" bandRow="1">
                <a:tableStyleId>{2D5ABB26-0587-4C30-8999-92F81FD0307C}</a:tableStyleId>
              </a:tblPr>
              <a:tblGrid>
                <a:gridCol w="2113063">
                  <a:extLst>
                    <a:ext uri="{9D8B030D-6E8A-4147-A177-3AD203B41FA5}">
                      <a16:colId xmlns:a16="http://schemas.microsoft.com/office/drawing/2014/main" val="303839564"/>
                    </a:ext>
                  </a:extLst>
                </a:gridCol>
              </a:tblGrid>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High</a:t>
                      </a:r>
                      <a:r>
                        <a:rPr lang="en-US" sz="1100" kern="1200">
                          <a:solidFill>
                            <a:schemeClr val="tx1"/>
                          </a:solidFill>
                          <a:latin typeface="+mn-lt"/>
                          <a:ea typeface="+mn-ea"/>
                          <a:cs typeface="+mn-cs"/>
                        </a:rPr>
                        <a:t> risk</a:t>
                      </a: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Medium </a:t>
                      </a:r>
                      <a:r>
                        <a:rPr lang="en-US" sz="1100" b="0" kern="1200">
                          <a:solidFill>
                            <a:schemeClr val="tx1"/>
                          </a:solidFill>
                          <a:latin typeface="+mn-lt"/>
                          <a:ea typeface="+mn-ea"/>
                          <a:cs typeface="+mn-cs"/>
                        </a:rPr>
                        <a:t>risk</a:t>
                      </a:r>
                      <a:endParaRPr lang="en-US" sz="1100" kern="1200">
                        <a:solidFill>
                          <a:schemeClr val="tx1"/>
                        </a:solidFill>
                        <a:latin typeface="+mn-lt"/>
                        <a:ea typeface="+mn-ea"/>
                        <a:cs typeface="+mn-cs"/>
                      </a:endParaRP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4680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1200">
                          <a:solidFill>
                            <a:schemeClr val="tx1"/>
                          </a:solidFill>
                          <a:latin typeface="+mn-lt"/>
                          <a:ea typeface="+mn-ea"/>
                          <a:cs typeface="+mn-cs"/>
                        </a:rPr>
                        <a:t>Low</a:t>
                      </a:r>
                      <a:r>
                        <a:rPr lang="en-US" sz="1100" b="0" kern="1200">
                          <a:solidFill>
                            <a:schemeClr val="tx1"/>
                          </a:solidFill>
                          <a:latin typeface="+mn-lt"/>
                          <a:ea typeface="+mn-ea"/>
                          <a:cs typeface="+mn-cs"/>
                        </a:rPr>
                        <a:t> risk</a:t>
                      </a:r>
                      <a:endParaRPr lang="en-US" sz="1100" b="1" kern="1200">
                        <a:solidFill>
                          <a:schemeClr val="tx1"/>
                        </a:solidFill>
                        <a:latin typeface="+mn-lt"/>
                        <a:ea typeface="+mn-ea"/>
                        <a:cs typeface="+mn-cs"/>
                      </a:endParaRPr>
                    </a:p>
                  </a:txBody>
                  <a:tcPr marL="5715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28" name="Rectangle: Rounded Corners 27">
            <a:extLst>
              <a:ext uri="{FF2B5EF4-FFF2-40B4-BE49-F238E27FC236}">
                <a16:creationId xmlns:a16="http://schemas.microsoft.com/office/drawing/2014/main" id="{C9B2FBD8-D8DF-BE8C-793B-9200B84B548D}"/>
              </a:ext>
            </a:extLst>
          </p:cNvPr>
          <p:cNvSpPr/>
          <p:nvPr/>
        </p:nvSpPr>
        <p:spPr>
          <a:xfrm>
            <a:off x="9766675" y="3489206"/>
            <a:ext cx="622300" cy="332185"/>
          </a:xfrm>
          <a:prstGeom prst="roundRect">
            <a:avLst/>
          </a:prstGeom>
          <a:solidFill>
            <a:srgbClr val="FF7F7F"/>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3-4</a:t>
            </a:r>
          </a:p>
        </p:txBody>
      </p:sp>
      <p:sp>
        <p:nvSpPr>
          <p:cNvPr id="29" name="Rectangle: Rounded Corners 28">
            <a:extLst>
              <a:ext uri="{FF2B5EF4-FFF2-40B4-BE49-F238E27FC236}">
                <a16:creationId xmlns:a16="http://schemas.microsoft.com/office/drawing/2014/main" id="{CEE1F00B-C827-30FF-9EC6-CC9F9BB9014A}"/>
              </a:ext>
            </a:extLst>
          </p:cNvPr>
          <p:cNvSpPr/>
          <p:nvPr/>
        </p:nvSpPr>
        <p:spPr>
          <a:xfrm>
            <a:off x="9777888" y="4382922"/>
            <a:ext cx="622300" cy="332185"/>
          </a:xfrm>
          <a:prstGeom prst="roundRect">
            <a:avLst/>
          </a:prstGeom>
          <a:solidFill>
            <a:srgbClr val="D2DB93"/>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8-9</a:t>
            </a:r>
          </a:p>
        </p:txBody>
      </p:sp>
      <p:sp>
        <p:nvSpPr>
          <p:cNvPr id="30" name="Rectangle: Rounded Corners 29">
            <a:extLst>
              <a:ext uri="{FF2B5EF4-FFF2-40B4-BE49-F238E27FC236}">
                <a16:creationId xmlns:a16="http://schemas.microsoft.com/office/drawing/2014/main" id="{20279FCF-7C3E-9AD9-4083-5285711CE5C8}"/>
              </a:ext>
            </a:extLst>
          </p:cNvPr>
          <p:cNvSpPr/>
          <p:nvPr/>
        </p:nvSpPr>
        <p:spPr>
          <a:xfrm>
            <a:off x="9777888" y="3936064"/>
            <a:ext cx="622300" cy="332185"/>
          </a:xfrm>
          <a:prstGeom prst="roundRect">
            <a:avLst/>
          </a:prstGeom>
          <a:solidFill>
            <a:srgbClr val="FFE57F"/>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5-7</a:t>
            </a:r>
          </a:p>
        </p:txBody>
      </p:sp>
      <p:sp>
        <p:nvSpPr>
          <p:cNvPr id="31" name="Isosceles Triangle 30">
            <a:extLst>
              <a:ext uri="{FF2B5EF4-FFF2-40B4-BE49-F238E27FC236}">
                <a16:creationId xmlns:a16="http://schemas.microsoft.com/office/drawing/2014/main" id="{E4EC22BE-84A4-A8D5-D8B9-0A4F26A740BE}"/>
              </a:ext>
            </a:extLst>
          </p:cNvPr>
          <p:cNvSpPr/>
          <p:nvPr/>
        </p:nvSpPr>
        <p:spPr>
          <a:xfrm rot="5400000">
            <a:off x="6035159" y="3868970"/>
            <a:ext cx="4049298" cy="415719"/>
          </a:xfrm>
          <a:prstGeom prst="triangle">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2" name="TextBox 31">
            <a:extLst>
              <a:ext uri="{FF2B5EF4-FFF2-40B4-BE49-F238E27FC236}">
                <a16:creationId xmlns:a16="http://schemas.microsoft.com/office/drawing/2014/main" id="{5501D237-D829-080F-D717-9228239B99D2}"/>
              </a:ext>
            </a:extLst>
          </p:cNvPr>
          <p:cNvSpPr txBox="1"/>
          <p:nvPr/>
        </p:nvSpPr>
        <p:spPr>
          <a:xfrm>
            <a:off x="9777888" y="3094500"/>
            <a:ext cx="1803400" cy="184666"/>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b="1" u="sng"/>
              <a:t>Traffic Light Score Legend</a:t>
            </a:r>
          </a:p>
        </p:txBody>
      </p:sp>
      <p:graphicFrame>
        <p:nvGraphicFramePr>
          <p:cNvPr id="40" name="Table 39">
            <a:extLst>
              <a:ext uri="{FF2B5EF4-FFF2-40B4-BE49-F238E27FC236}">
                <a16:creationId xmlns:a16="http://schemas.microsoft.com/office/drawing/2014/main" id="{A1EBFA99-5AD3-B524-5E58-96EAE1E5A5B9}"/>
              </a:ext>
            </a:extLst>
          </p:cNvPr>
          <p:cNvGraphicFramePr>
            <a:graphicFrameLocks noGrp="1"/>
          </p:cNvGraphicFramePr>
          <p:nvPr>
            <p:extLst>
              <p:ext uri="{D42A27DB-BD31-4B8C-83A1-F6EECF244321}">
                <p14:modId xmlns:p14="http://schemas.microsoft.com/office/powerpoint/2010/main" val="2772277145"/>
              </p:ext>
            </p:extLst>
          </p:nvPr>
        </p:nvGraphicFramePr>
        <p:xfrm>
          <a:off x="1896287" y="4984687"/>
          <a:ext cx="5645724" cy="1153513"/>
        </p:xfrm>
        <a:graphic>
          <a:graphicData uri="http://schemas.openxmlformats.org/drawingml/2006/table">
            <a:tbl>
              <a:tblPr firstRow="1" bandRow="1">
                <a:tableStyleId>{2D5ABB26-0587-4C30-8999-92F81FD0307C}</a:tableStyleId>
              </a:tblPr>
              <a:tblGrid>
                <a:gridCol w="5645724">
                  <a:extLst>
                    <a:ext uri="{9D8B030D-6E8A-4147-A177-3AD203B41FA5}">
                      <a16:colId xmlns:a16="http://schemas.microsoft.com/office/drawing/2014/main" val="303839564"/>
                    </a:ext>
                  </a:extLst>
                </a:gridCol>
              </a:tblGrid>
              <a:tr h="440922">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Strong measures in place </a:t>
                      </a:r>
                      <a:r>
                        <a:rPr lang="en-US" sz="1100" b="0" kern="1200" err="1">
                          <a:solidFill>
                            <a:schemeClr val="tx1"/>
                          </a:solidFill>
                          <a:latin typeface="+mn-lt"/>
                          <a:ea typeface="+mn-ea"/>
                          <a:cs typeface="+mn-cs"/>
                        </a:rPr>
                        <a:t>incentivising</a:t>
                      </a:r>
                      <a:r>
                        <a:rPr lang="en-US" sz="1100" b="0" kern="1200">
                          <a:solidFill>
                            <a:schemeClr val="tx1"/>
                          </a:solidFill>
                          <a:latin typeface="+mn-lt"/>
                          <a:ea typeface="+mn-ea"/>
                          <a:cs typeface="+mn-cs"/>
                        </a:rPr>
                        <a:t> EV adoption and clear policy for aggregation of flexible EVs into wholesale and flexibility markets</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440922">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Some policy support in place or measures planned for EV adoption; discussion ongoing in policy allowing aggregation of flexible EVs in wholesale and flexibility markets</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271669">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No specific measures for EV adoption, no market access for wholesale or flexibility</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41" name="Rectangle: Rounded Corners 40">
            <a:extLst>
              <a:ext uri="{FF2B5EF4-FFF2-40B4-BE49-F238E27FC236}">
                <a16:creationId xmlns:a16="http://schemas.microsoft.com/office/drawing/2014/main" id="{D94AB895-7899-BB21-E7CB-ADA6621D68CA}"/>
              </a:ext>
            </a:extLst>
          </p:cNvPr>
          <p:cNvSpPr/>
          <p:nvPr/>
        </p:nvSpPr>
        <p:spPr>
          <a:xfrm>
            <a:off x="841414" y="4940262"/>
            <a:ext cx="6700597" cy="1269426"/>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2" name="Oval 11">
            <a:extLst>
              <a:ext uri="{FF2B5EF4-FFF2-40B4-BE49-F238E27FC236}">
                <a16:creationId xmlns:a16="http://schemas.microsoft.com/office/drawing/2014/main" id="{AE2F9599-467F-72C9-B3ED-0707151F893E}"/>
              </a:ext>
            </a:extLst>
          </p:cNvPr>
          <p:cNvSpPr>
            <a:spLocks/>
          </p:cNvSpPr>
          <p:nvPr/>
        </p:nvSpPr>
        <p:spPr>
          <a:xfrm>
            <a:off x="393105" y="4865208"/>
            <a:ext cx="1137026" cy="1419534"/>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3C3C3B"/>
              </a:solidFill>
              <a:effectLst/>
              <a:uLnTx/>
              <a:uFillTx/>
              <a:latin typeface="Lato"/>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rgbClr val="3C3C3B"/>
              </a:solidFill>
              <a:latin typeface="Lato"/>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Electric vehicles</a:t>
            </a:r>
          </a:p>
        </p:txBody>
      </p:sp>
      <p:sp>
        <p:nvSpPr>
          <p:cNvPr id="43" name="Text Placeholder 14">
            <a:extLst>
              <a:ext uri="{FF2B5EF4-FFF2-40B4-BE49-F238E27FC236}">
                <a16:creationId xmlns:a16="http://schemas.microsoft.com/office/drawing/2014/main" id="{13B30E0A-3BDF-E6AD-B72A-A03EE1258B50}"/>
              </a:ext>
            </a:extLst>
          </p:cNvPr>
          <p:cNvSpPr txBox="1">
            <a:spLocks/>
          </p:cNvSpPr>
          <p:nvPr/>
        </p:nvSpPr>
        <p:spPr>
          <a:xfrm>
            <a:off x="1798947" y="5018715"/>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44" name="Text Placeholder 14">
            <a:extLst>
              <a:ext uri="{FF2B5EF4-FFF2-40B4-BE49-F238E27FC236}">
                <a16:creationId xmlns:a16="http://schemas.microsoft.com/office/drawing/2014/main" id="{425A8D90-D5EB-98F7-313B-546468DF6406}"/>
              </a:ext>
            </a:extLst>
          </p:cNvPr>
          <p:cNvSpPr txBox="1">
            <a:spLocks/>
          </p:cNvSpPr>
          <p:nvPr/>
        </p:nvSpPr>
        <p:spPr>
          <a:xfrm>
            <a:off x="1798947" y="5440808"/>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2</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 name="Text Placeholder 14">
            <a:extLst>
              <a:ext uri="{FF2B5EF4-FFF2-40B4-BE49-F238E27FC236}">
                <a16:creationId xmlns:a16="http://schemas.microsoft.com/office/drawing/2014/main" id="{34CC463B-9D9E-7375-0AFD-886E073F1C68}"/>
              </a:ext>
            </a:extLst>
          </p:cNvPr>
          <p:cNvSpPr txBox="1">
            <a:spLocks/>
          </p:cNvSpPr>
          <p:nvPr/>
        </p:nvSpPr>
        <p:spPr>
          <a:xfrm>
            <a:off x="1798947" y="5850201"/>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3</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aphicFrame>
        <p:nvGraphicFramePr>
          <p:cNvPr id="46" name="Table 45">
            <a:extLst>
              <a:ext uri="{FF2B5EF4-FFF2-40B4-BE49-F238E27FC236}">
                <a16:creationId xmlns:a16="http://schemas.microsoft.com/office/drawing/2014/main" id="{16D22013-4661-1308-3A06-20E7C5BED64C}"/>
              </a:ext>
            </a:extLst>
          </p:cNvPr>
          <p:cNvGraphicFramePr>
            <a:graphicFrameLocks noGrp="1"/>
          </p:cNvGraphicFramePr>
          <p:nvPr>
            <p:extLst>
              <p:ext uri="{D42A27DB-BD31-4B8C-83A1-F6EECF244321}">
                <p14:modId xmlns:p14="http://schemas.microsoft.com/office/powerpoint/2010/main" val="4192755791"/>
              </p:ext>
            </p:extLst>
          </p:nvPr>
        </p:nvGraphicFramePr>
        <p:xfrm>
          <a:off x="1896287" y="3434301"/>
          <a:ext cx="5645726" cy="1235822"/>
        </p:xfrm>
        <a:graphic>
          <a:graphicData uri="http://schemas.openxmlformats.org/drawingml/2006/table">
            <a:tbl>
              <a:tblPr firstRow="1" bandRow="1">
                <a:tableStyleId>{2D5ABB26-0587-4C30-8999-92F81FD0307C}</a:tableStyleId>
              </a:tblPr>
              <a:tblGrid>
                <a:gridCol w="5645726">
                  <a:extLst>
                    <a:ext uri="{9D8B030D-6E8A-4147-A177-3AD203B41FA5}">
                      <a16:colId xmlns:a16="http://schemas.microsoft.com/office/drawing/2014/main" val="303839564"/>
                    </a:ext>
                  </a:extLst>
                </a:gridCol>
              </a:tblGrid>
              <a:tr h="391300">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Strong supportive policies for hydrogen in place; electrolysers can charge from the grid and participation in flexibility markets is allowed</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490119"/>
                  </a:ext>
                </a:extLst>
              </a:tr>
              <a:tr h="418512">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Some policy support in place or upcoming policy support for electrolysers is planned or in discussion; electrolysers face some restricted access to grid charging and/or flexibility market access</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274055"/>
                  </a:ext>
                </a:extLst>
              </a:tr>
              <a:tr h="305602">
                <a:tc>
                  <a:txBody>
                    <a:bodyPr/>
                    <a:lstStyle/>
                    <a:p>
                      <a:pPr marL="266700" marR="0" lvl="0" indent="-26670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kern="1200">
                          <a:solidFill>
                            <a:schemeClr val="tx1"/>
                          </a:solidFill>
                          <a:latin typeface="+mn-lt"/>
                          <a:ea typeface="+mn-ea"/>
                          <a:cs typeface="+mn-cs"/>
                        </a:rPr>
                        <a:t>No specific policies or measures planned</a:t>
                      </a:r>
                    </a:p>
                  </a:txBody>
                  <a:tcPr marL="0" marR="3600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8807788"/>
                  </a:ext>
                </a:extLst>
              </a:tr>
            </a:tbl>
          </a:graphicData>
        </a:graphic>
      </p:graphicFrame>
      <p:sp>
        <p:nvSpPr>
          <p:cNvPr id="47" name="Rectangle: Rounded Corners 46">
            <a:extLst>
              <a:ext uri="{FF2B5EF4-FFF2-40B4-BE49-F238E27FC236}">
                <a16:creationId xmlns:a16="http://schemas.microsoft.com/office/drawing/2014/main" id="{6881719D-82AD-8AE6-3905-C3CEBC836D34}"/>
              </a:ext>
            </a:extLst>
          </p:cNvPr>
          <p:cNvSpPr/>
          <p:nvPr/>
        </p:nvSpPr>
        <p:spPr>
          <a:xfrm>
            <a:off x="841415" y="3389875"/>
            <a:ext cx="6700596" cy="1269426"/>
          </a:xfrm>
          <a:prstGeom prst="roundRect">
            <a:avLst/>
          </a:prstGeom>
          <a:no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8" name="Oval 11">
            <a:extLst>
              <a:ext uri="{FF2B5EF4-FFF2-40B4-BE49-F238E27FC236}">
                <a16:creationId xmlns:a16="http://schemas.microsoft.com/office/drawing/2014/main" id="{E9C92F52-BEBF-3E76-64E3-7032E1FA1FD5}"/>
              </a:ext>
            </a:extLst>
          </p:cNvPr>
          <p:cNvSpPr>
            <a:spLocks/>
          </p:cNvSpPr>
          <p:nvPr/>
        </p:nvSpPr>
        <p:spPr>
          <a:xfrm>
            <a:off x="393105" y="3314821"/>
            <a:ext cx="1137026" cy="1419534"/>
          </a:xfrm>
          <a:prstGeom prst="roundRect">
            <a:avLst>
              <a:gd name="adj" fmla="val 21670"/>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3C3C3B"/>
              </a:solidFill>
              <a:effectLst/>
              <a:uLnTx/>
              <a:uFillTx/>
              <a:latin typeface="Lato"/>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100" b="1">
              <a:solidFill>
                <a:srgbClr val="3C3C3B"/>
              </a:solidFill>
              <a:latin typeface="Lato"/>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Electrolysers</a:t>
            </a:r>
          </a:p>
        </p:txBody>
      </p:sp>
      <p:sp>
        <p:nvSpPr>
          <p:cNvPr id="49" name="Text Placeholder 14">
            <a:extLst>
              <a:ext uri="{FF2B5EF4-FFF2-40B4-BE49-F238E27FC236}">
                <a16:creationId xmlns:a16="http://schemas.microsoft.com/office/drawing/2014/main" id="{A4F51579-667A-6404-389D-67F8FF9691F7}"/>
              </a:ext>
            </a:extLst>
          </p:cNvPr>
          <p:cNvSpPr txBox="1">
            <a:spLocks/>
          </p:cNvSpPr>
          <p:nvPr/>
        </p:nvSpPr>
        <p:spPr>
          <a:xfrm>
            <a:off x="1798947" y="3468328"/>
            <a:ext cx="288000" cy="288000"/>
          </a:xfrm>
          <a:prstGeom prst="ellipse">
            <a:avLst/>
          </a:prstGeom>
          <a:solidFill>
            <a:srgbClr val="FF7F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b="1" i="0" u="none" strike="noStrike" kern="1200" cap="none" spc="0" normalizeH="0" baseline="0" noProof="0">
                <a:ln>
                  <a:noFill/>
                </a:ln>
                <a:solidFill>
                  <a:srgbClr val="3C3C3B"/>
                </a:solidFill>
                <a:effectLst/>
                <a:uLnTx/>
                <a:uFillTx/>
                <a:latin typeface="Lato"/>
                <a:sym typeface="Lato" panose="020F0502020204030203" pitchFamily="34" charset="0"/>
              </a:rPr>
              <a:t>1</a:t>
            </a:r>
          </a:p>
        </p:txBody>
      </p:sp>
      <p:sp>
        <p:nvSpPr>
          <p:cNvPr id="50" name="Text Placeholder 14">
            <a:extLst>
              <a:ext uri="{FF2B5EF4-FFF2-40B4-BE49-F238E27FC236}">
                <a16:creationId xmlns:a16="http://schemas.microsoft.com/office/drawing/2014/main" id="{8758B586-33F7-B63B-5200-40B22D9F16A6}"/>
              </a:ext>
            </a:extLst>
          </p:cNvPr>
          <p:cNvSpPr txBox="1">
            <a:spLocks/>
          </p:cNvSpPr>
          <p:nvPr/>
        </p:nvSpPr>
        <p:spPr>
          <a:xfrm>
            <a:off x="1798947" y="3877721"/>
            <a:ext cx="288000" cy="288000"/>
          </a:xfrm>
          <a:prstGeom prst="ellipse">
            <a:avLst/>
          </a:prstGeom>
          <a:solidFill>
            <a:srgbClr val="FFE57F"/>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2</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1" name="Text Placeholder 14">
            <a:extLst>
              <a:ext uri="{FF2B5EF4-FFF2-40B4-BE49-F238E27FC236}">
                <a16:creationId xmlns:a16="http://schemas.microsoft.com/office/drawing/2014/main" id="{A38A65D0-6185-462F-AD7D-69FBEA49A017}"/>
              </a:ext>
            </a:extLst>
          </p:cNvPr>
          <p:cNvSpPr txBox="1">
            <a:spLocks/>
          </p:cNvSpPr>
          <p:nvPr/>
        </p:nvSpPr>
        <p:spPr>
          <a:xfrm>
            <a:off x="1798947" y="4337914"/>
            <a:ext cx="288000" cy="288000"/>
          </a:xfrm>
          <a:prstGeom prst="ellipse">
            <a:avLst/>
          </a:prstGeom>
          <a:solidFill>
            <a:srgbClr val="D2DB93"/>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lang="en-GB" b="1">
                <a:solidFill>
                  <a:srgbClr val="3C3C3B"/>
                </a:solidFill>
                <a:latin typeface="Lato"/>
              </a:rPr>
              <a:t>3</a:t>
            </a:r>
            <a:endParaRPr kumimoji="0" lang="en-GB"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pic>
        <p:nvPicPr>
          <p:cNvPr id="25" name="Graphic 24" descr="Electric car with solid fill">
            <a:extLst>
              <a:ext uri="{FF2B5EF4-FFF2-40B4-BE49-F238E27FC236}">
                <a16:creationId xmlns:a16="http://schemas.microsoft.com/office/drawing/2014/main" id="{7209DA88-AB9D-4277-FB35-ACCF541356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6377" y="5056177"/>
            <a:ext cx="590482" cy="590482"/>
          </a:xfrm>
          <a:prstGeom prst="rect">
            <a:avLst/>
          </a:prstGeom>
        </p:spPr>
      </p:pic>
      <p:sp>
        <p:nvSpPr>
          <p:cNvPr id="26" name="TextBox 25">
            <a:extLst>
              <a:ext uri="{FF2B5EF4-FFF2-40B4-BE49-F238E27FC236}">
                <a16:creationId xmlns:a16="http://schemas.microsoft.com/office/drawing/2014/main" id="{524BA9E3-027A-A6F6-8685-91B18A75E19C}"/>
              </a:ext>
            </a:extLst>
          </p:cNvPr>
          <p:cNvSpPr txBox="1"/>
          <p:nvPr/>
        </p:nvSpPr>
        <p:spPr>
          <a:xfrm>
            <a:off x="765573" y="3734980"/>
            <a:ext cx="392091" cy="307777"/>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2000" b="1">
                <a:solidFill>
                  <a:schemeClr val="tx2"/>
                </a:solidFill>
              </a:rPr>
              <a:t>H</a:t>
            </a:r>
            <a:r>
              <a:rPr lang="en-GB" sz="2000" b="1" baseline="-25000">
                <a:solidFill>
                  <a:schemeClr val="tx2"/>
                </a:solidFill>
              </a:rPr>
              <a:t>2</a:t>
            </a:r>
            <a:endParaRPr lang="en-GB" sz="2000" b="1">
              <a:solidFill>
                <a:schemeClr val="tx2"/>
              </a:solidFill>
            </a:endParaRPr>
          </a:p>
        </p:txBody>
      </p:sp>
      <p:pic>
        <p:nvPicPr>
          <p:cNvPr id="33" name="Graphic 32" descr="Cycle with people with solid fill">
            <a:extLst>
              <a:ext uri="{FF2B5EF4-FFF2-40B4-BE49-F238E27FC236}">
                <a16:creationId xmlns:a16="http://schemas.microsoft.com/office/drawing/2014/main" id="{113005F2-5EDA-3C76-002A-173EE9AD37E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3809" y="1793765"/>
            <a:ext cx="555619" cy="555619"/>
          </a:xfrm>
          <a:prstGeom prst="rect">
            <a:avLst/>
          </a:prstGeom>
        </p:spPr>
      </p:pic>
      <p:sp>
        <p:nvSpPr>
          <p:cNvPr id="12" name="Text Placeholder 17">
            <a:extLst>
              <a:ext uri="{FF2B5EF4-FFF2-40B4-BE49-F238E27FC236}">
                <a16:creationId xmlns:a16="http://schemas.microsoft.com/office/drawing/2014/main" id="{061556CA-A8E9-9A93-182F-0BD3B82C4B48}"/>
              </a:ext>
            </a:extLst>
          </p:cNvPr>
          <p:cNvSpPr txBox="1">
            <a:spLocks/>
          </p:cNvSpPr>
          <p:nvPr/>
        </p:nvSpPr>
        <p:spPr>
          <a:xfrm>
            <a:off x="381599" y="1263129"/>
            <a:ext cx="11295394" cy="369332"/>
          </a:xfrm>
          <a:prstGeom prst="rect">
            <a:avLst/>
          </a:prstGeom>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r>
              <a:rPr lang="en-US"/>
              <a:t>This report ranks markets in Europe for their competitive risks from competing flexible technologies to grid-scale storage, assessed based on policy support</a:t>
            </a:r>
            <a:r>
              <a:rPr lang="en-US" baseline="30000"/>
              <a:t>1</a:t>
            </a:r>
            <a:r>
              <a:rPr lang="en-US"/>
              <a:t> and regulatory access to wholesale or flexibility markets for competitive technologies.</a:t>
            </a:r>
            <a:endParaRPr lang="en-GB"/>
          </a:p>
        </p:txBody>
      </p:sp>
      <p:sp>
        <p:nvSpPr>
          <p:cNvPr id="2" name="Oval 1">
            <a:extLst>
              <a:ext uri="{FF2B5EF4-FFF2-40B4-BE49-F238E27FC236}">
                <a16:creationId xmlns:a16="http://schemas.microsoft.com/office/drawing/2014/main" id="{B135CE7D-4BC9-F7EE-3A41-DC02860155E9}"/>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9" name="Oval 8">
            <a:extLst>
              <a:ext uri="{FF2B5EF4-FFF2-40B4-BE49-F238E27FC236}">
                <a16:creationId xmlns:a16="http://schemas.microsoft.com/office/drawing/2014/main" id="{C089476D-FE34-BDC3-FB1D-58628C937E43}"/>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8217995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think-cell data - do not delete" hidden="1">
            <a:extLst>
              <a:ext uri="{FF2B5EF4-FFF2-40B4-BE49-F238E27FC236}">
                <a16:creationId xmlns:a16="http://schemas.microsoft.com/office/drawing/2014/main" id="{2A1FD4BC-FEFF-120F-B359-A46238D59C27}"/>
              </a:ext>
            </a:extLst>
          </p:cNvPr>
          <p:cNvGraphicFramePr>
            <a:graphicFrameLocks noChangeAspect="1"/>
          </p:cNvGraphicFramePr>
          <p:nvPr>
            <p:custDataLst>
              <p:tags r:id="rId1"/>
            </p:custDataLst>
            <p:extLst>
              <p:ext uri="{D42A27DB-BD31-4B8C-83A1-F6EECF244321}">
                <p14:modId xmlns:p14="http://schemas.microsoft.com/office/powerpoint/2010/main" val="3842770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0" name="think-cell data - do not delete" hidden="1">
                        <a:extLst>
                          <a:ext uri="{FF2B5EF4-FFF2-40B4-BE49-F238E27FC236}">
                            <a16:creationId xmlns:a16="http://schemas.microsoft.com/office/drawing/2014/main" id="{2A1FD4BC-FEFF-120F-B359-A46238D59C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B45E0E44-8983-9F93-9004-1C7C0FA37718}"/>
              </a:ext>
            </a:extLst>
          </p:cNvPr>
          <p:cNvGrpSpPr/>
          <p:nvPr/>
        </p:nvGrpSpPr>
        <p:grpSpPr>
          <a:xfrm>
            <a:off x="2232477" y="79401"/>
            <a:ext cx="4734483" cy="6267872"/>
            <a:chOff x="3197227" y="326350"/>
            <a:chExt cx="4338969" cy="5744256"/>
          </a:xfrm>
          <a:solidFill>
            <a:srgbClr val="F2F2F2"/>
          </a:solidFill>
        </p:grpSpPr>
        <p:grpSp>
          <p:nvGrpSpPr>
            <p:cNvPr id="4" name="Group 3">
              <a:extLst>
                <a:ext uri="{FF2B5EF4-FFF2-40B4-BE49-F238E27FC236}">
                  <a16:creationId xmlns:a16="http://schemas.microsoft.com/office/drawing/2014/main" id="{FF4EAE0C-E536-43C1-8D8C-5EC1681B200A}"/>
                </a:ext>
              </a:extLst>
            </p:cNvPr>
            <p:cNvGrpSpPr/>
            <p:nvPr/>
          </p:nvGrpSpPr>
          <p:grpSpPr>
            <a:xfrm>
              <a:off x="3197227" y="418605"/>
              <a:ext cx="4338969" cy="5652001"/>
              <a:chOff x="3208002" y="1289216"/>
              <a:chExt cx="3857445" cy="5024752"/>
            </a:xfrm>
            <a:grpFill/>
          </p:grpSpPr>
          <p:sp>
            <p:nvSpPr>
              <p:cNvPr id="51" name="United Kingdom" descr="© INSCALE GmbH, 05.05.2010&#10;http://www.presentationload.com/">
                <a:extLst>
                  <a:ext uri="{FF2B5EF4-FFF2-40B4-BE49-F238E27FC236}">
                    <a16:creationId xmlns:a16="http://schemas.microsoft.com/office/drawing/2014/main" id="{F88BCB8B-62AB-461B-DC37-905807C79544}"/>
                  </a:ext>
                </a:extLst>
              </p:cNvPr>
              <p:cNvSpPr/>
              <p:nvPr/>
            </p:nvSpPr>
            <p:spPr bwMode="gray">
              <a:xfrm>
                <a:off x="3516121" y="3250523"/>
                <a:ext cx="876959" cy="1250269"/>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2" name="Switzerland" descr="© INSCALE GmbH, 05.05.2010&#10;http://www.presentationload.com/">
                <a:extLst>
                  <a:ext uri="{FF2B5EF4-FFF2-40B4-BE49-F238E27FC236}">
                    <a16:creationId xmlns:a16="http://schemas.microsoft.com/office/drawing/2014/main" id="{B7BE279A-47B7-5922-3E3D-F7756AAFB489}"/>
                  </a:ext>
                </a:extLst>
              </p:cNvPr>
              <p:cNvSpPr/>
              <p:nvPr/>
            </p:nvSpPr>
            <p:spPr bwMode="gray">
              <a:xfrm>
                <a:off x="4772309" y="4743730"/>
                <a:ext cx="438483" cy="242946"/>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3" name="Sweden" descr="© INSCALE GmbH, 05.05.2010&#10;http://www.presentationload.com/">
                <a:extLst>
                  <a:ext uri="{FF2B5EF4-FFF2-40B4-BE49-F238E27FC236}">
                    <a16:creationId xmlns:a16="http://schemas.microsoft.com/office/drawing/2014/main" id="{3FB326EA-A0F8-CE80-EBF2-25833779CB79}"/>
                  </a:ext>
                </a:extLst>
              </p:cNvPr>
              <p:cNvSpPr/>
              <p:nvPr/>
            </p:nvSpPr>
            <p:spPr bwMode="gray">
              <a:xfrm>
                <a:off x="5270046" y="2361712"/>
                <a:ext cx="1048802" cy="149913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54" name="Spain" descr="© INSCALE GmbH, 05.05.2010&#10;http://www.presentationload.com/">
                <a:extLst>
                  <a:ext uri="{FF2B5EF4-FFF2-40B4-BE49-F238E27FC236}">
                    <a16:creationId xmlns:a16="http://schemas.microsoft.com/office/drawing/2014/main" id="{666AA418-B03A-F334-C0EF-D6EBC5A47D5E}"/>
                  </a:ext>
                </a:extLst>
              </p:cNvPr>
              <p:cNvSpPr/>
              <p:nvPr/>
            </p:nvSpPr>
            <p:spPr bwMode="gray">
              <a:xfrm>
                <a:off x="3261326" y="5235542"/>
                <a:ext cx="1327293" cy="93621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tx1"/>
                  </a:solidFill>
                  <a:effectLst/>
                  <a:uLnTx/>
                  <a:uFillTx/>
                  <a:latin typeface="Lato"/>
                  <a:ea typeface="+mn-ea"/>
                  <a:cs typeface="+mn-cs"/>
                </a:endParaRPr>
              </a:p>
            </p:txBody>
          </p:sp>
          <p:sp>
            <p:nvSpPr>
              <p:cNvPr id="56" name="Slovenia" descr="© INSCALE GmbH, 05.05.2010&#10;http://www.presentationload.com/">
                <a:extLst>
                  <a:ext uri="{FF2B5EF4-FFF2-40B4-BE49-F238E27FC236}">
                    <a16:creationId xmlns:a16="http://schemas.microsoft.com/office/drawing/2014/main" id="{1B6B2CEE-17F8-4CCC-F639-E5C9E13895BC}"/>
                  </a:ext>
                </a:extLst>
              </p:cNvPr>
              <p:cNvSpPr/>
              <p:nvPr/>
            </p:nvSpPr>
            <p:spPr bwMode="gray">
              <a:xfrm>
                <a:off x="5471502" y="4850387"/>
                <a:ext cx="319973" cy="183690"/>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48" name="Slovakia" descr="© INSCALE GmbH, 05.05.2010&#10;http://www.presentationload.com/">
                <a:extLst>
                  <a:ext uri="{FF2B5EF4-FFF2-40B4-BE49-F238E27FC236}">
                    <a16:creationId xmlns:a16="http://schemas.microsoft.com/office/drawing/2014/main" id="{614F1B58-E3E1-02F4-DF2C-8058E53F4C73}"/>
                  </a:ext>
                </a:extLst>
              </p:cNvPr>
              <p:cNvSpPr/>
              <p:nvPr/>
            </p:nvSpPr>
            <p:spPr bwMode="gray">
              <a:xfrm>
                <a:off x="5797401" y="4542264"/>
                <a:ext cx="539218" cy="219242"/>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49" name="Serbia" descr="© INSCALE GmbH, 05.05.2010&#10;http://www.presentationload.com/">
                <a:extLst>
                  <a:ext uri="{FF2B5EF4-FFF2-40B4-BE49-F238E27FC236}">
                    <a16:creationId xmlns:a16="http://schemas.microsoft.com/office/drawing/2014/main" id="{25A88C44-00C5-14EE-DD51-D1ADEA3BEBB4}"/>
                  </a:ext>
                </a:extLst>
              </p:cNvPr>
              <p:cNvSpPr/>
              <p:nvPr/>
            </p:nvSpPr>
            <p:spPr bwMode="gray">
              <a:xfrm>
                <a:off x="6004795" y="4945193"/>
                <a:ext cx="414779" cy="45476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0" name="Romania" descr="© INSCALE GmbH, 05.05.2010&#10;http://www.presentationload.com/">
                <a:extLst>
                  <a:ext uri="{FF2B5EF4-FFF2-40B4-BE49-F238E27FC236}">
                    <a16:creationId xmlns:a16="http://schemas.microsoft.com/office/drawing/2014/main" id="{F18D56BC-2B8E-6824-D4D2-5AD37D674D55}"/>
                  </a:ext>
                </a:extLst>
              </p:cNvPr>
              <p:cNvSpPr/>
              <p:nvPr/>
            </p:nvSpPr>
            <p:spPr bwMode="gray">
              <a:xfrm>
                <a:off x="6135155" y="4696331"/>
                <a:ext cx="930292" cy="556986"/>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1" name="Portugal" descr="© INSCALE GmbH, 05.05.2010&#10;http://www.presentationload.com/">
                <a:extLst>
                  <a:ext uri="{FF2B5EF4-FFF2-40B4-BE49-F238E27FC236}">
                    <a16:creationId xmlns:a16="http://schemas.microsoft.com/office/drawing/2014/main" id="{8FAE9D88-D071-7DFB-F917-66754625F383}"/>
                  </a:ext>
                </a:extLst>
              </p:cNvPr>
              <p:cNvSpPr/>
              <p:nvPr/>
            </p:nvSpPr>
            <p:spPr bwMode="gray">
              <a:xfrm>
                <a:off x="3208002" y="5437002"/>
                <a:ext cx="343676" cy="622173"/>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tx1"/>
                  </a:solidFill>
                  <a:effectLst/>
                  <a:uLnTx/>
                  <a:uFillTx/>
                  <a:latin typeface="Lato"/>
                  <a:ea typeface="+mn-ea"/>
                  <a:cs typeface="+mn-cs"/>
                </a:endParaRPr>
              </a:p>
            </p:txBody>
          </p:sp>
          <p:sp>
            <p:nvSpPr>
              <p:cNvPr id="452" name="Poland" descr="© INSCALE GmbH, 05.05.2010&#10;http://www.presentationload.com/">
                <a:extLst>
                  <a:ext uri="{FF2B5EF4-FFF2-40B4-BE49-F238E27FC236}">
                    <a16:creationId xmlns:a16="http://schemas.microsoft.com/office/drawing/2014/main" id="{433CCF4B-61BB-417C-A1A2-AB77290B6FDA}"/>
                  </a:ext>
                </a:extLst>
              </p:cNvPr>
              <p:cNvSpPr/>
              <p:nvPr/>
            </p:nvSpPr>
            <p:spPr bwMode="gray">
              <a:xfrm>
                <a:off x="5536686" y="3926023"/>
                <a:ext cx="948069" cy="68142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3" name="Norway" descr="© INSCALE GmbH, 05.05.2010&#10;http://www.presentationload.com/">
                <a:extLst>
                  <a:ext uri="{FF2B5EF4-FFF2-40B4-BE49-F238E27FC236}">
                    <a16:creationId xmlns:a16="http://schemas.microsoft.com/office/drawing/2014/main" id="{5D5AE031-2682-1663-B19A-46AC0D5710A0}"/>
                  </a:ext>
                </a:extLst>
              </p:cNvPr>
              <p:cNvSpPr/>
              <p:nvPr/>
            </p:nvSpPr>
            <p:spPr bwMode="gray">
              <a:xfrm>
                <a:off x="4736757" y="1289216"/>
                <a:ext cx="2062041" cy="2269435"/>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4" name="Netherlands" descr="© INSCALE GmbH, 05.05.2010&#10;http://www.presentationload.com/">
                <a:extLst>
                  <a:ext uri="{FF2B5EF4-FFF2-40B4-BE49-F238E27FC236}">
                    <a16:creationId xmlns:a16="http://schemas.microsoft.com/office/drawing/2014/main" id="{A3D07856-CF4B-A0C8-9481-79172C7B73FE}"/>
                  </a:ext>
                </a:extLst>
              </p:cNvPr>
              <p:cNvSpPr/>
              <p:nvPr/>
            </p:nvSpPr>
            <p:spPr bwMode="gray">
              <a:xfrm>
                <a:off x="4499740" y="4086012"/>
                <a:ext cx="408854" cy="319970"/>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5" name="Montenegro" descr="© INSCALE GmbH, 05.05.2010&#10;http://www.presentationload.com/">
                <a:extLst>
                  <a:ext uri="{FF2B5EF4-FFF2-40B4-BE49-F238E27FC236}">
                    <a16:creationId xmlns:a16="http://schemas.microsoft.com/office/drawing/2014/main" id="{C9B38576-15D4-6087-23E2-294A5C9A838A}"/>
                  </a:ext>
                </a:extLst>
              </p:cNvPr>
              <p:cNvSpPr/>
              <p:nvPr/>
            </p:nvSpPr>
            <p:spPr bwMode="gray">
              <a:xfrm>
                <a:off x="5975166" y="5253319"/>
                <a:ext cx="171836" cy="207391"/>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6" name="Moldova" descr="© INSCALE GmbH, 05.05.2010&#10;http://www.presentationload.com/">
                <a:extLst>
                  <a:ext uri="{FF2B5EF4-FFF2-40B4-BE49-F238E27FC236}">
                    <a16:creationId xmlns:a16="http://schemas.microsoft.com/office/drawing/2014/main" id="{E56CE49E-590C-408B-29ED-7B1794A682E0}"/>
                  </a:ext>
                </a:extLst>
              </p:cNvPr>
              <p:cNvSpPr/>
              <p:nvPr/>
            </p:nvSpPr>
            <p:spPr bwMode="gray">
              <a:xfrm>
                <a:off x="6739544" y="4672621"/>
                <a:ext cx="325901" cy="361449"/>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7" name="Macedonia" descr="© INSCALE GmbH, 05.05.2010&#10;http://www.presentationload.com/">
                <a:extLst>
                  <a:ext uri="{FF2B5EF4-FFF2-40B4-BE49-F238E27FC236}">
                    <a16:creationId xmlns:a16="http://schemas.microsoft.com/office/drawing/2014/main" id="{2871DE7F-41D9-C9C1-7A31-AED5A59EF1FC}"/>
                  </a:ext>
                </a:extLst>
              </p:cNvPr>
              <p:cNvSpPr/>
              <p:nvPr/>
            </p:nvSpPr>
            <p:spPr bwMode="gray">
              <a:xfrm>
                <a:off x="6188479" y="5395526"/>
                <a:ext cx="248867" cy="195541"/>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8" name="Luxembourg" descr="© INSCALE GmbH, 05.05.2010&#10;http://www.presentationload.com/">
                <a:extLst>
                  <a:ext uri="{FF2B5EF4-FFF2-40B4-BE49-F238E27FC236}">
                    <a16:creationId xmlns:a16="http://schemas.microsoft.com/office/drawing/2014/main" id="{9DFEF05F-2486-5984-1154-58B815C64A51}"/>
                  </a:ext>
                </a:extLst>
              </p:cNvPr>
              <p:cNvSpPr/>
              <p:nvPr/>
            </p:nvSpPr>
            <p:spPr bwMode="gray">
              <a:xfrm>
                <a:off x="4748608" y="4477088"/>
                <a:ext cx="77031" cy="65184"/>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59" name="Lithuania" descr="© INSCALE GmbH, 05.05.2010&#10;http://www.presentationload.com/">
                <a:extLst>
                  <a:ext uri="{FF2B5EF4-FFF2-40B4-BE49-F238E27FC236}">
                    <a16:creationId xmlns:a16="http://schemas.microsoft.com/office/drawing/2014/main" id="{7A0DE961-C9A6-C9AC-7F43-721C56474918}"/>
                  </a:ext>
                </a:extLst>
              </p:cNvPr>
              <p:cNvSpPr/>
              <p:nvPr/>
            </p:nvSpPr>
            <p:spPr bwMode="gray">
              <a:xfrm>
                <a:off x="6147009" y="3736410"/>
                <a:ext cx="515514" cy="296272"/>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0" name="Liechtenstein" descr="© INSCALE GmbH, 05.05.2010&#10;http://www.presentationload.com/">
                <a:extLst>
                  <a:ext uri="{FF2B5EF4-FFF2-40B4-BE49-F238E27FC236}">
                    <a16:creationId xmlns:a16="http://schemas.microsoft.com/office/drawing/2014/main" id="{A667A371-B706-2392-694D-B9BD4E4F0B3B}"/>
                  </a:ext>
                </a:extLst>
              </p:cNvPr>
              <p:cNvSpPr/>
              <p:nvPr/>
            </p:nvSpPr>
            <p:spPr bwMode="gray">
              <a:xfrm>
                <a:off x="5092282" y="4808913"/>
                <a:ext cx="23701" cy="35551"/>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1" name="Latvia" descr="© INSCALE GmbH, 05.05.2010&#10;http://www.presentationload.com/">
                <a:extLst>
                  <a:ext uri="{FF2B5EF4-FFF2-40B4-BE49-F238E27FC236}">
                    <a16:creationId xmlns:a16="http://schemas.microsoft.com/office/drawing/2014/main" id="{700451DC-0147-DBDB-970D-99325966E0D5}"/>
                  </a:ext>
                </a:extLst>
              </p:cNvPr>
              <p:cNvSpPr/>
              <p:nvPr/>
            </p:nvSpPr>
            <p:spPr bwMode="gray">
              <a:xfrm>
                <a:off x="6135155" y="3552720"/>
                <a:ext cx="645871" cy="272568"/>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2" name="Kosovo" descr="© INSCALE GmbH, 05.05.2010&#10;http://www.presentationload.com/">
                <a:extLst>
                  <a:ext uri="{FF2B5EF4-FFF2-40B4-BE49-F238E27FC236}">
                    <a16:creationId xmlns:a16="http://schemas.microsoft.com/office/drawing/2014/main" id="{3F52B43A-F99A-D528-C722-E82854D4B3BA}"/>
                  </a:ext>
                </a:extLst>
              </p:cNvPr>
              <p:cNvSpPr/>
              <p:nvPr/>
            </p:nvSpPr>
            <p:spPr bwMode="gray">
              <a:xfrm>
                <a:off x="6140364" y="5258042"/>
                <a:ext cx="195287" cy="19673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3" name="Italy" descr="© INSCALE GmbH, 05.05.2010&#10;http://www.presentationload.com/">
                <a:extLst>
                  <a:ext uri="{FF2B5EF4-FFF2-40B4-BE49-F238E27FC236}">
                    <a16:creationId xmlns:a16="http://schemas.microsoft.com/office/drawing/2014/main" id="{3596D2D5-D08F-FFDA-9E85-093DA97D28B1}"/>
                  </a:ext>
                </a:extLst>
              </p:cNvPr>
              <p:cNvSpPr/>
              <p:nvPr/>
            </p:nvSpPr>
            <p:spPr bwMode="gray">
              <a:xfrm>
                <a:off x="4819713" y="4832611"/>
                <a:ext cx="1179159" cy="1256188"/>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4" name="Ireland" descr="© INSCALE GmbH, 05.05.2010&#10;http://www.presentationload.com/">
                <a:extLst>
                  <a:ext uri="{FF2B5EF4-FFF2-40B4-BE49-F238E27FC236}">
                    <a16:creationId xmlns:a16="http://schemas.microsoft.com/office/drawing/2014/main" id="{7D0753C5-51E5-4669-2D4D-49674415597B}"/>
                  </a:ext>
                </a:extLst>
              </p:cNvPr>
              <p:cNvSpPr/>
              <p:nvPr/>
            </p:nvSpPr>
            <p:spPr bwMode="gray">
              <a:xfrm>
                <a:off x="3273175" y="3872696"/>
                <a:ext cx="426629" cy="450330"/>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5" name="Hungary" descr="© INSCALE GmbH, 05.05.2010&#10;http://www.presentationload.com/">
                <a:extLst>
                  <a:ext uri="{FF2B5EF4-FFF2-40B4-BE49-F238E27FC236}">
                    <a16:creationId xmlns:a16="http://schemas.microsoft.com/office/drawing/2014/main" id="{0A1A7F60-563D-0D36-0460-44CF4A068483}"/>
                  </a:ext>
                </a:extLst>
              </p:cNvPr>
              <p:cNvSpPr/>
              <p:nvPr/>
            </p:nvSpPr>
            <p:spPr bwMode="gray">
              <a:xfrm>
                <a:off x="5744081" y="4660774"/>
                <a:ext cx="645871" cy="337752"/>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6" name="Greece" descr="© INSCALE GmbH, 05.05.2010&#10;http://www.presentationload.com/">
                <a:extLst>
                  <a:ext uri="{FF2B5EF4-FFF2-40B4-BE49-F238E27FC236}">
                    <a16:creationId xmlns:a16="http://schemas.microsoft.com/office/drawing/2014/main" id="{25DDB74E-7CC5-ECCC-C88F-D3A0D9F60AAC}"/>
                  </a:ext>
                </a:extLst>
              </p:cNvPr>
              <p:cNvSpPr/>
              <p:nvPr/>
            </p:nvSpPr>
            <p:spPr bwMode="gray">
              <a:xfrm>
                <a:off x="6182553" y="5478481"/>
                <a:ext cx="805854" cy="835487"/>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7" name="Germany" descr="© INSCALE GmbH, 05.05.2010&#10;http://www.presentationload.com/">
                <a:extLst>
                  <a:ext uri="{FF2B5EF4-FFF2-40B4-BE49-F238E27FC236}">
                    <a16:creationId xmlns:a16="http://schemas.microsoft.com/office/drawing/2014/main" id="{7D3A6234-2313-EBAA-9EFB-7B48BD543DEB}"/>
                  </a:ext>
                </a:extLst>
              </p:cNvPr>
              <p:cNvSpPr/>
              <p:nvPr/>
            </p:nvSpPr>
            <p:spPr bwMode="gray">
              <a:xfrm>
                <a:off x="4772309" y="3914172"/>
                <a:ext cx="853262" cy="894738"/>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highlight>
                    <a:srgbClr val="FF7F7F"/>
                  </a:highlight>
                  <a:uLnTx/>
                  <a:uFillTx/>
                  <a:latin typeface="Lato"/>
                  <a:ea typeface="+mn-ea"/>
                  <a:cs typeface="+mn-cs"/>
                </a:endParaRPr>
              </a:p>
            </p:txBody>
          </p:sp>
          <p:sp>
            <p:nvSpPr>
              <p:cNvPr id="468" name="France" descr="© INSCALE GmbH, 05.05.2010&#10;http://www.presentationload.com/">
                <a:extLst>
                  <a:ext uri="{FF2B5EF4-FFF2-40B4-BE49-F238E27FC236}">
                    <a16:creationId xmlns:a16="http://schemas.microsoft.com/office/drawing/2014/main" id="{D4B882F3-80DA-55BF-000D-E063E4D14B7B}"/>
                  </a:ext>
                </a:extLst>
              </p:cNvPr>
              <p:cNvSpPr/>
              <p:nvPr/>
            </p:nvSpPr>
            <p:spPr bwMode="gray">
              <a:xfrm>
                <a:off x="3735359" y="4346727"/>
                <a:ext cx="1380626" cy="1191013"/>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69" name="Finland" descr="© INSCALE GmbH, 05.05.2010&#10;http://www.presentationload.com/">
                <a:extLst>
                  <a:ext uri="{FF2B5EF4-FFF2-40B4-BE49-F238E27FC236}">
                    <a16:creationId xmlns:a16="http://schemas.microsoft.com/office/drawing/2014/main" id="{A955AF3B-4853-ADE0-07B9-F5DD6D966CFC}"/>
                  </a:ext>
                </a:extLst>
              </p:cNvPr>
              <p:cNvSpPr/>
              <p:nvPr/>
            </p:nvSpPr>
            <p:spPr bwMode="gray">
              <a:xfrm>
                <a:off x="5998866" y="2260982"/>
                <a:ext cx="953997" cy="1084354"/>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70" name="Estonia" descr="© INSCALE GmbH, 05.05.2010&#10;http://www.presentationload.com/">
                <a:extLst>
                  <a:ext uri="{FF2B5EF4-FFF2-40B4-BE49-F238E27FC236}">
                    <a16:creationId xmlns:a16="http://schemas.microsoft.com/office/drawing/2014/main" id="{A5908158-3066-B6A1-9A63-36724597AECC}"/>
                  </a:ext>
                </a:extLst>
              </p:cNvPr>
              <p:cNvSpPr/>
              <p:nvPr/>
            </p:nvSpPr>
            <p:spPr bwMode="gray">
              <a:xfrm>
                <a:off x="6188479" y="3380889"/>
                <a:ext cx="527364" cy="237017"/>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71" name="Denmark" descr="© INSCALE GmbH, 05.05.2010&#10;http://www.presentationload.com/">
                <a:extLst>
                  <a:ext uri="{FF2B5EF4-FFF2-40B4-BE49-F238E27FC236}">
                    <a16:creationId xmlns:a16="http://schemas.microsoft.com/office/drawing/2014/main" id="{1CBCB305-A309-ACB1-8EA0-32B37EBF1CA1}"/>
                  </a:ext>
                </a:extLst>
              </p:cNvPr>
              <p:cNvSpPr/>
              <p:nvPr/>
            </p:nvSpPr>
            <p:spPr bwMode="gray">
              <a:xfrm>
                <a:off x="4979700" y="3606053"/>
                <a:ext cx="420707" cy="355521"/>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72" name="Czech Republic" descr="© INSCALE GmbH, 05.05.2010&#10;http://www.presentationload.com/">
                <a:extLst>
                  <a:ext uri="{FF2B5EF4-FFF2-40B4-BE49-F238E27FC236}">
                    <a16:creationId xmlns:a16="http://schemas.microsoft.com/office/drawing/2014/main" id="{DA7587E8-639A-7C9D-7ADE-E54366256048}"/>
                  </a:ext>
                </a:extLst>
              </p:cNvPr>
              <p:cNvSpPr/>
              <p:nvPr/>
            </p:nvSpPr>
            <p:spPr bwMode="gray">
              <a:xfrm>
                <a:off x="5352999" y="4370430"/>
                <a:ext cx="639943" cy="290346"/>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73" name="Croatia" descr="© INSCALE GmbH, 05.05.2010&#10;http://www.presentationload.com/">
                <a:extLst>
                  <a:ext uri="{FF2B5EF4-FFF2-40B4-BE49-F238E27FC236}">
                    <a16:creationId xmlns:a16="http://schemas.microsoft.com/office/drawing/2014/main" id="{8B4ACC0B-F04E-EC17-A4B9-AD0A9CCFF076}"/>
                  </a:ext>
                </a:extLst>
              </p:cNvPr>
              <p:cNvSpPr/>
              <p:nvPr/>
            </p:nvSpPr>
            <p:spPr bwMode="gray">
              <a:xfrm>
                <a:off x="5507063" y="4909641"/>
                <a:ext cx="556990" cy="414775"/>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74" name="Bulgaria" descr="© INSCALE GmbH, 05.05.2010&#10;http://www.presentationload.com/">
                <a:extLst>
                  <a:ext uri="{FF2B5EF4-FFF2-40B4-BE49-F238E27FC236}">
                    <a16:creationId xmlns:a16="http://schemas.microsoft.com/office/drawing/2014/main" id="{BD725347-277C-12BA-7C34-E703B9487E2C}"/>
                  </a:ext>
                </a:extLst>
              </p:cNvPr>
              <p:cNvSpPr/>
              <p:nvPr/>
            </p:nvSpPr>
            <p:spPr bwMode="gray">
              <a:xfrm>
                <a:off x="6366245" y="5188138"/>
                <a:ext cx="598469" cy="343674"/>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75" name="Bosnia and Herzegovina" descr="© INSCALE GmbH, 05.05.2010&#10;http://www.presentationload.com/">
                <a:extLst>
                  <a:ext uri="{FF2B5EF4-FFF2-40B4-BE49-F238E27FC236}">
                    <a16:creationId xmlns:a16="http://schemas.microsoft.com/office/drawing/2014/main" id="{FF11F1BF-CF57-3CE3-AECD-DFD62AF634F0}"/>
                  </a:ext>
                </a:extLst>
              </p:cNvPr>
              <p:cNvSpPr/>
              <p:nvPr/>
            </p:nvSpPr>
            <p:spPr bwMode="gray">
              <a:xfrm>
                <a:off x="5690751" y="5051852"/>
                <a:ext cx="402925" cy="355521"/>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91" name="Belgium" descr="© INSCALE GmbH, 05.05.2010&#10;http://www.presentationload.com/">
                <a:extLst>
                  <a:ext uri="{FF2B5EF4-FFF2-40B4-BE49-F238E27FC236}">
                    <a16:creationId xmlns:a16="http://schemas.microsoft.com/office/drawing/2014/main" id="{2E5CFE2E-9E94-38AD-0F6B-E768701BA977}"/>
                  </a:ext>
                </a:extLst>
              </p:cNvPr>
              <p:cNvSpPr/>
              <p:nvPr/>
            </p:nvSpPr>
            <p:spPr bwMode="gray">
              <a:xfrm>
                <a:off x="4481965" y="4323029"/>
                <a:ext cx="337752" cy="231092"/>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92" name="Austria" descr="© INSCALE GmbH, 05.05.2010&#10;http://www.presentationload.com/">
                <a:extLst>
                  <a:ext uri="{FF2B5EF4-FFF2-40B4-BE49-F238E27FC236}">
                    <a16:creationId xmlns:a16="http://schemas.microsoft.com/office/drawing/2014/main" id="{B9541BB5-392F-B894-2EA0-81057C9A67E5}"/>
                  </a:ext>
                </a:extLst>
              </p:cNvPr>
              <p:cNvSpPr/>
              <p:nvPr/>
            </p:nvSpPr>
            <p:spPr bwMode="gray">
              <a:xfrm>
                <a:off x="5115988" y="4607448"/>
                <a:ext cx="693272" cy="30811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94" name="Andorra" descr="© INSCALE GmbH, 05.05.2010&#10;http://www.presentationload.com/">
                <a:extLst>
                  <a:ext uri="{FF2B5EF4-FFF2-40B4-BE49-F238E27FC236}">
                    <a16:creationId xmlns:a16="http://schemas.microsoft.com/office/drawing/2014/main" id="{9F561B04-5BA4-2080-E4A6-6002C3E8A896}"/>
                  </a:ext>
                </a:extLst>
              </p:cNvPr>
              <p:cNvSpPr/>
              <p:nvPr/>
            </p:nvSpPr>
            <p:spPr bwMode="gray">
              <a:xfrm>
                <a:off x="4310134" y="5371829"/>
                <a:ext cx="47405" cy="23701"/>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sp>
            <p:nvSpPr>
              <p:cNvPr id="495" name="Albania" descr="© INSCALE GmbH, 05.05.2010&#10;http://www.presentationload.com/">
                <a:extLst>
                  <a:ext uri="{FF2B5EF4-FFF2-40B4-BE49-F238E27FC236}">
                    <a16:creationId xmlns:a16="http://schemas.microsoft.com/office/drawing/2014/main" id="{7D865D47-713B-D933-7585-9F4A7F85745E}"/>
                  </a:ext>
                </a:extLst>
              </p:cNvPr>
              <p:cNvSpPr/>
              <p:nvPr/>
            </p:nvSpPr>
            <p:spPr bwMode="gray">
              <a:xfrm>
                <a:off x="6034434" y="5371818"/>
                <a:ext cx="219242" cy="373303"/>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Lato"/>
                  <a:ea typeface="+mn-ea"/>
                  <a:cs typeface="+mn-cs"/>
                </a:endParaRPr>
              </a:p>
            </p:txBody>
          </p:sp>
        </p:grpSp>
        <p:sp>
          <p:nvSpPr>
            <p:cNvPr id="5" name="Oval 4">
              <a:extLst>
                <a:ext uri="{FF2B5EF4-FFF2-40B4-BE49-F238E27FC236}">
                  <a16:creationId xmlns:a16="http://schemas.microsoft.com/office/drawing/2014/main" id="{2B581370-82D8-5D2F-493F-EB66B8077659}"/>
                </a:ext>
              </a:extLst>
            </p:cNvPr>
            <p:cNvSpPr/>
            <p:nvPr/>
          </p:nvSpPr>
          <p:spPr>
            <a:xfrm>
              <a:off x="5392800" y="326350"/>
              <a:ext cx="1413367" cy="493301"/>
            </a:xfrm>
            <a:prstGeom prst="ellipse">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grpSp>
      <p:sp>
        <p:nvSpPr>
          <p:cNvPr id="89" name="Text Placeholder 88">
            <a:extLst>
              <a:ext uri="{FF2B5EF4-FFF2-40B4-BE49-F238E27FC236}">
                <a16:creationId xmlns:a16="http://schemas.microsoft.com/office/drawing/2014/main" id="{0E7401EA-E164-0FCE-0053-10A79A237332}"/>
              </a:ext>
            </a:extLst>
          </p:cNvPr>
          <p:cNvSpPr>
            <a:spLocks noGrp="1"/>
          </p:cNvSpPr>
          <p:nvPr>
            <p:ph type="body" sz="quarter" idx="32"/>
          </p:nvPr>
        </p:nvSpPr>
        <p:spPr>
          <a:xfrm>
            <a:off x="381000" y="6720890"/>
            <a:ext cx="8601074" cy="110800"/>
          </a:xfrm>
        </p:spPr>
        <p:txBody>
          <a:bodyPr/>
          <a:lstStyle/>
          <a:p>
            <a:r>
              <a:rPr kumimoji="0" lang="en-US" sz="800" b="0" i="0" u="none" strike="noStrike" kern="1200" cap="none" spc="0" normalizeH="0" baseline="0" noProof="0">
                <a:ln>
                  <a:noFill/>
                </a:ln>
                <a:solidFill>
                  <a:srgbClr val="3C3C3B"/>
                </a:solidFill>
                <a:effectLst/>
                <a:uLnTx/>
                <a:uFillTx/>
                <a:latin typeface="Lato"/>
                <a:ea typeface="+mn-ea"/>
                <a:cs typeface="+mn-cs"/>
              </a:rPr>
              <a:t>Source: Aurora Energy Research.</a:t>
            </a:r>
            <a:endParaRPr lang="en-GB"/>
          </a:p>
        </p:txBody>
      </p:sp>
      <p:sp>
        <p:nvSpPr>
          <p:cNvPr id="88" name="Text Placeholder 87">
            <a:extLst>
              <a:ext uri="{FF2B5EF4-FFF2-40B4-BE49-F238E27FC236}">
                <a16:creationId xmlns:a16="http://schemas.microsoft.com/office/drawing/2014/main" id="{D10EE7CE-C4B9-0DBD-3E07-2D3B844170B3}"/>
              </a:ext>
            </a:extLst>
          </p:cNvPr>
          <p:cNvSpPr>
            <a:spLocks noGrp="1"/>
          </p:cNvSpPr>
          <p:nvPr>
            <p:ph type="body" sz="quarter" idx="31"/>
          </p:nvPr>
        </p:nvSpPr>
        <p:spPr>
          <a:xfrm>
            <a:off x="381599" y="79401"/>
            <a:ext cx="5606022" cy="184666"/>
          </a:xfrm>
        </p:spPr>
        <p:txBody>
          <a:bodyPr/>
          <a:lstStyle/>
          <a:p>
            <a:r>
              <a:rPr lang="en-GB"/>
              <a:t>		Policy and regulatory environment - Regulatory challenges and opportunities</a:t>
            </a:r>
          </a:p>
        </p:txBody>
      </p:sp>
      <p:sp>
        <p:nvSpPr>
          <p:cNvPr id="60" name="TextBox 59">
            <a:extLst>
              <a:ext uri="{FF2B5EF4-FFF2-40B4-BE49-F238E27FC236}">
                <a16:creationId xmlns:a16="http://schemas.microsoft.com/office/drawing/2014/main" id="{7D066415-AB61-07D5-3FF7-F3349B034D93}"/>
              </a:ext>
            </a:extLst>
          </p:cNvPr>
          <p:cNvSpPr txBox="1"/>
          <p:nvPr/>
        </p:nvSpPr>
        <p:spPr>
          <a:xfrm>
            <a:off x="4912400" y="2433656"/>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SWE</a:t>
            </a:r>
          </a:p>
        </p:txBody>
      </p:sp>
      <p:sp>
        <p:nvSpPr>
          <p:cNvPr id="61" name="TextBox 60">
            <a:extLst>
              <a:ext uri="{FF2B5EF4-FFF2-40B4-BE49-F238E27FC236}">
                <a16:creationId xmlns:a16="http://schemas.microsoft.com/office/drawing/2014/main" id="{64358117-C525-D77B-977E-4D87E641EA6B}"/>
              </a:ext>
            </a:extLst>
          </p:cNvPr>
          <p:cNvSpPr txBox="1"/>
          <p:nvPr/>
        </p:nvSpPr>
        <p:spPr>
          <a:xfrm>
            <a:off x="5531795" y="4478132"/>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HUN</a:t>
            </a:r>
          </a:p>
        </p:txBody>
      </p:sp>
      <p:sp>
        <p:nvSpPr>
          <p:cNvPr id="62" name="TextBox 61">
            <a:extLst>
              <a:ext uri="{FF2B5EF4-FFF2-40B4-BE49-F238E27FC236}">
                <a16:creationId xmlns:a16="http://schemas.microsoft.com/office/drawing/2014/main" id="{9052BF58-E889-D093-B191-5B166D456790}"/>
              </a:ext>
            </a:extLst>
          </p:cNvPr>
          <p:cNvSpPr txBox="1"/>
          <p:nvPr/>
        </p:nvSpPr>
        <p:spPr>
          <a:xfrm>
            <a:off x="6346436" y="4655784"/>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ROU</a:t>
            </a:r>
          </a:p>
        </p:txBody>
      </p:sp>
      <p:sp>
        <p:nvSpPr>
          <p:cNvPr id="63" name="TextBox 62">
            <a:extLst>
              <a:ext uri="{FF2B5EF4-FFF2-40B4-BE49-F238E27FC236}">
                <a16:creationId xmlns:a16="http://schemas.microsoft.com/office/drawing/2014/main" id="{87662466-5E4C-A689-35D5-58C8D14C35CA}"/>
              </a:ext>
            </a:extLst>
          </p:cNvPr>
          <p:cNvSpPr txBox="1"/>
          <p:nvPr/>
        </p:nvSpPr>
        <p:spPr>
          <a:xfrm>
            <a:off x="6360205" y="5049091"/>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BGR</a:t>
            </a:r>
          </a:p>
        </p:txBody>
      </p:sp>
      <p:sp>
        <p:nvSpPr>
          <p:cNvPr id="64" name="TextBox 63">
            <a:extLst>
              <a:ext uri="{FF2B5EF4-FFF2-40B4-BE49-F238E27FC236}">
                <a16:creationId xmlns:a16="http://schemas.microsoft.com/office/drawing/2014/main" id="{6BBFF2D7-2243-12AE-585D-9AA5813944A6}"/>
              </a:ext>
            </a:extLst>
          </p:cNvPr>
          <p:cNvSpPr txBox="1"/>
          <p:nvPr/>
        </p:nvSpPr>
        <p:spPr>
          <a:xfrm>
            <a:off x="6007005" y="5584714"/>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GRC</a:t>
            </a:r>
          </a:p>
        </p:txBody>
      </p:sp>
      <p:sp>
        <p:nvSpPr>
          <p:cNvPr id="65" name="TextBox 64">
            <a:extLst>
              <a:ext uri="{FF2B5EF4-FFF2-40B4-BE49-F238E27FC236}">
                <a16:creationId xmlns:a16="http://schemas.microsoft.com/office/drawing/2014/main" id="{56D53372-9E04-C7C9-7F5E-57F71CEFC1A5}"/>
              </a:ext>
            </a:extLst>
          </p:cNvPr>
          <p:cNvSpPr txBox="1"/>
          <p:nvPr/>
        </p:nvSpPr>
        <p:spPr>
          <a:xfrm>
            <a:off x="3100129" y="3575805"/>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GBR</a:t>
            </a:r>
          </a:p>
        </p:txBody>
      </p:sp>
      <p:sp>
        <p:nvSpPr>
          <p:cNvPr id="66" name="TextBox 65">
            <a:extLst>
              <a:ext uri="{FF2B5EF4-FFF2-40B4-BE49-F238E27FC236}">
                <a16:creationId xmlns:a16="http://schemas.microsoft.com/office/drawing/2014/main" id="{3BB516AC-7F76-4DDA-4F7F-6CE41FAAA724}"/>
              </a:ext>
            </a:extLst>
          </p:cNvPr>
          <p:cNvSpPr txBox="1"/>
          <p:nvPr/>
        </p:nvSpPr>
        <p:spPr>
          <a:xfrm>
            <a:off x="2420372" y="3623969"/>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IRE</a:t>
            </a:r>
          </a:p>
        </p:txBody>
      </p:sp>
      <p:sp>
        <p:nvSpPr>
          <p:cNvPr id="67" name="TextBox 66">
            <a:extLst>
              <a:ext uri="{FF2B5EF4-FFF2-40B4-BE49-F238E27FC236}">
                <a16:creationId xmlns:a16="http://schemas.microsoft.com/office/drawing/2014/main" id="{7841D17F-BD51-AFD7-CC62-E33096ACC3E3}"/>
              </a:ext>
            </a:extLst>
          </p:cNvPr>
          <p:cNvSpPr txBox="1"/>
          <p:nvPr/>
        </p:nvSpPr>
        <p:spPr>
          <a:xfrm>
            <a:off x="2875080" y="5433939"/>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ESP</a:t>
            </a:r>
          </a:p>
        </p:txBody>
      </p:sp>
      <p:sp>
        <p:nvSpPr>
          <p:cNvPr id="68" name="TextBox 67">
            <a:extLst>
              <a:ext uri="{FF2B5EF4-FFF2-40B4-BE49-F238E27FC236}">
                <a16:creationId xmlns:a16="http://schemas.microsoft.com/office/drawing/2014/main" id="{92ACF4C5-D34C-A2BC-73DE-6EA584BD9FF7}"/>
              </a:ext>
            </a:extLst>
          </p:cNvPr>
          <p:cNvSpPr txBox="1"/>
          <p:nvPr/>
        </p:nvSpPr>
        <p:spPr>
          <a:xfrm>
            <a:off x="2239230" y="5395192"/>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PRT</a:t>
            </a:r>
          </a:p>
        </p:txBody>
      </p:sp>
      <p:sp>
        <p:nvSpPr>
          <p:cNvPr id="69" name="TextBox 68">
            <a:extLst>
              <a:ext uri="{FF2B5EF4-FFF2-40B4-BE49-F238E27FC236}">
                <a16:creationId xmlns:a16="http://schemas.microsoft.com/office/drawing/2014/main" id="{9B4AE525-36A6-1D21-8E20-F8AB2220703A}"/>
              </a:ext>
            </a:extLst>
          </p:cNvPr>
          <p:cNvSpPr txBox="1"/>
          <p:nvPr/>
        </p:nvSpPr>
        <p:spPr>
          <a:xfrm>
            <a:off x="3649503" y="4468395"/>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FRA</a:t>
            </a:r>
          </a:p>
        </p:txBody>
      </p:sp>
      <p:sp>
        <p:nvSpPr>
          <p:cNvPr id="70" name="TextBox 69">
            <a:extLst>
              <a:ext uri="{FF2B5EF4-FFF2-40B4-BE49-F238E27FC236}">
                <a16:creationId xmlns:a16="http://schemas.microsoft.com/office/drawing/2014/main" id="{524B8369-8453-EDBA-7905-0AE817E49E50}"/>
              </a:ext>
            </a:extLst>
          </p:cNvPr>
          <p:cNvSpPr txBox="1"/>
          <p:nvPr/>
        </p:nvSpPr>
        <p:spPr>
          <a:xfrm>
            <a:off x="4694735" y="4973932"/>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ITA</a:t>
            </a:r>
          </a:p>
        </p:txBody>
      </p:sp>
      <p:sp>
        <p:nvSpPr>
          <p:cNvPr id="71" name="TextBox 70">
            <a:extLst>
              <a:ext uri="{FF2B5EF4-FFF2-40B4-BE49-F238E27FC236}">
                <a16:creationId xmlns:a16="http://schemas.microsoft.com/office/drawing/2014/main" id="{AB6A646C-F520-B211-9245-718052EEE229}"/>
              </a:ext>
            </a:extLst>
          </p:cNvPr>
          <p:cNvSpPr txBox="1"/>
          <p:nvPr/>
        </p:nvSpPr>
        <p:spPr>
          <a:xfrm>
            <a:off x="4496094" y="3950533"/>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DEU</a:t>
            </a:r>
          </a:p>
        </p:txBody>
      </p:sp>
      <p:sp>
        <p:nvSpPr>
          <p:cNvPr id="72" name="TextBox 71">
            <a:extLst>
              <a:ext uri="{FF2B5EF4-FFF2-40B4-BE49-F238E27FC236}">
                <a16:creationId xmlns:a16="http://schemas.microsoft.com/office/drawing/2014/main" id="{12EC8169-DFA3-6C96-9090-C2EB61D976B1}"/>
              </a:ext>
            </a:extLst>
          </p:cNvPr>
          <p:cNvSpPr txBox="1"/>
          <p:nvPr/>
        </p:nvSpPr>
        <p:spPr>
          <a:xfrm>
            <a:off x="5463305" y="3793070"/>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POL</a:t>
            </a:r>
          </a:p>
        </p:txBody>
      </p:sp>
      <p:sp>
        <p:nvSpPr>
          <p:cNvPr id="73" name="TextBox 72">
            <a:extLst>
              <a:ext uri="{FF2B5EF4-FFF2-40B4-BE49-F238E27FC236}">
                <a16:creationId xmlns:a16="http://schemas.microsoft.com/office/drawing/2014/main" id="{C3D178E2-F902-CCA0-307A-6AE262790EB6}"/>
              </a:ext>
            </a:extLst>
          </p:cNvPr>
          <p:cNvSpPr txBox="1"/>
          <p:nvPr/>
        </p:nvSpPr>
        <p:spPr>
          <a:xfrm>
            <a:off x="4390540" y="3148834"/>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DNK</a:t>
            </a:r>
          </a:p>
        </p:txBody>
      </p:sp>
      <p:sp>
        <p:nvSpPr>
          <p:cNvPr id="74" name="TextBox 73">
            <a:extLst>
              <a:ext uri="{FF2B5EF4-FFF2-40B4-BE49-F238E27FC236}">
                <a16:creationId xmlns:a16="http://schemas.microsoft.com/office/drawing/2014/main" id="{E043F4CA-0894-4F61-4A2B-2523AB2B5B6E}"/>
              </a:ext>
            </a:extLst>
          </p:cNvPr>
          <p:cNvSpPr txBox="1"/>
          <p:nvPr/>
        </p:nvSpPr>
        <p:spPr>
          <a:xfrm>
            <a:off x="6146831" y="1988126"/>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FIN</a:t>
            </a:r>
          </a:p>
        </p:txBody>
      </p:sp>
      <p:sp>
        <p:nvSpPr>
          <p:cNvPr id="75" name="TextBox 74">
            <a:extLst>
              <a:ext uri="{FF2B5EF4-FFF2-40B4-BE49-F238E27FC236}">
                <a16:creationId xmlns:a16="http://schemas.microsoft.com/office/drawing/2014/main" id="{4D691541-C88F-1C25-F5D9-92F31AEF686C}"/>
              </a:ext>
            </a:extLst>
          </p:cNvPr>
          <p:cNvSpPr txBox="1"/>
          <p:nvPr/>
        </p:nvSpPr>
        <p:spPr>
          <a:xfrm>
            <a:off x="3970105" y="3637468"/>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NLD</a:t>
            </a:r>
          </a:p>
        </p:txBody>
      </p:sp>
      <p:sp>
        <p:nvSpPr>
          <p:cNvPr id="76" name="TextBox 75">
            <a:extLst>
              <a:ext uri="{FF2B5EF4-FFF2-40B4-BE49-F238E27FC236}">
                <a16:creationId xmlns:a16="http://schemas.microsoft.com/office/drawing/2014/main" id="{B509B4E9-52ED-6455-4273-6A35C9B25B1D}"/>
              </a:ext>
            </a:extLst>
          </p:cNvPr>
          <p:cNvSpPr txBox="1"/>
          <p:nvPr/>
        </p:nvSpPr>
        <p:spPr>
          <a:xfrm>
            <a:off x="3848233" y="3954606"/>
            <a:ext cx="37623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BEL</a:t>
            </a:r>
          </a:p>
        </p:txBody>
      </p:sp>
      <p:sp>
        <p:nvSpPr>
          <p:cNvPr id="77" name="TextBox 76">
            <a:extLst>
              <a:ext uri="{FF2B5EF4-FFF2-40B4-BE49-F238E27FC236}">
                <a16:creationId xmlns:a16="http://schemas.microsoft.com/office/drawing/2014/main" id="{6E3DC848-3206-BB9B-22BD-E6B05F0EAE96}"/>
              </a:ext>
            </a:extLst>
          </p:cNvPr>
          <p:cNvSpPr txBox="1"/>
          <p:nvPr/>
        </p:nvSpPr>
        <p:spPr>
          <a:xfrm>
            <a:off x="5953279" y="3246159"/>
            <a:ext cx="32968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LTU</a:t>
            </a:r>
          </a:p>
        </p:txBody>
      </p:sp>
      <p:sp>
        <p:nvSpPr>
          <p:cNvPr id="78" name="TextBox 77">
            <a:extLst>
              <a:ext uri="{FF2B5EF4-FFF2-40B4-BE49-F238E27FC236}">
                <a16:creationId xmlns:a16="http://schemas.microsoft.com/office/drawing/2014/main" id="{E6414B2D-358B-9F59-8315-D453ECBAD4E0}"/>
              </a:ext>
            </a:extLst>
          </p:cNvPr>
          <p:cNvSpPr txBox="1"/>
          <p:nvPr/>
        </p:nvSpPr>
        <p:spPr>
          <a:xfrm>
            <a:off x="6288191" y="3044064"/>
            <a:ext cx="32968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LVA</a:t>
            </a:r>
          </a:p>
        </p:txBody>
      </p:sp>
      <p:sp>
        <p:nvSpPr>
          <p:cNvPr id="79" name="TextBox 78">
            <a:extLst>
              <a:ext uri="{FF2B5EF4-FFF2-40B4-BE49-F238E27FC236}">
                <a16:creationId xmlns:a16="http://schemas.microsoft.com/office/drawing/2014/main" id="{458819AA-1728-D49D-F0F0-007F8BD461D0}"/>
              </a:ext>
            </a:extLst>
          </p:cNvPr>
          <p:cNvSpPr txBox="1"/>
          <p:nvPr/>
        </p:nvSpPr>
        <p:spPr>
          <a:xfrm>
            <a:off x="6115979" y="2774844"/>
            <a:ext cx="32968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EST</a:t>
            </a:r>
          </a:p>
        </p:txBody>
      </p:sp>
      <p:sp>
        <p:nvSpPr>
          <p:cNvPr id="80" name="TextBox 79">
            <a:extLst>
              <a:ext uri="{FF2B5EF4-FFF2-40B4-BE49-F238E27FC236}">
                <a16:creationId xmlns:a16="http://schemas.microsoft.com/office/drawing/2014/main" id="{58136EDD-6A7E-A55C-7C19-B03178385CF0}"/>
              </a:ext>
            </a:extLst>
          </p:cNvPr>
          <p:cNvSpPr txBox="1"/>
          <p:nvPr/>
        </p:nvSpPr>
        <p:spPr>
          <a:xfrm>
            <a:off x="5766306" y="4867209"/>
            <a:ext cx="32968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SRB</a:t>
            </a:r>
          </a:p>
        </p:txBody>
      </p:sp>
      <p:sp>
        <p:nvSpPr>
          <p:cNvPr id="81" name="TextBox 80">
            <a:extLst>
              <a:ext uri="{FF2B5EF4-FFF2-40B4-BE49-F238E27FC236}">
                <a16:creationId xmlns:a16="http://schemas.microsoft.com/office/drawing/2014/main" id="{42779EED-9636-4B1E-FC2E-A7FB909564C1}"/>
              </a:ext>
            </a:extLst>
          </p:cNvPr>
          <p:cNvSpPr txBox="1"/>
          <p:nvPr/>
        </p:nvSpPr>
        <p:spPr>
          <a:xfrm>
            <a:off x="5023238" y="4564308"/>
            <a:ext cx="32968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SVN</a:t>
            </a:r>
          </a:p>
        </p:txBody>
      </p:sp>
      <p:sp>
        <p:nvSpPr>
          <p:cNvPr id="82" name="TextBox 81">
            <a:extLst>
              <a:ext uri="{FF2B5EF4-FFF2-40B4-BE49-F238E27FC236}">
                <a16:creationId xmlns:a16="http://schemas.microsoft.com/office/drawing/2014/main" id="{9E377D77-FD35-F721-DD68-E1DBCD107301}"/>
              </a:ext>
            </a:extLst>
          </p:cNvPr>
          <p:cNvSpPr txBox="1"/>
          <p:nvPr/>
        </p:nvSpPr>
        <p:spPr>
          <a:xfrm>
            <a:off x="5195428" y="4934697"/>
            <a:ext cx="32968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3C3C3B"/>
                </a:solidFill>
                <a:effectLst/>
                <a:uLnTx/>
                <a:uFillTx/>
                <a:latin typeface="Lato"/>
                <a:ea typeface="+mn-ea"/>
                <a:cs typeface="+mn-cs"/>
              </a:rPr>
              <a:t>HRV</a:t>
            </a:r>
          </a:p>
        </p:txBody>
      </p:sp>
      <p:cxnSp>
        <p:nvCxnSpPr>
          <p:cNvPr id="93" name="Straight Connector 92">
            <a:extLst>
              <a:ext uri="{FF2B5EF4-FFF2-40B4-BE49-F238E27FC236}">
                <a16:creationId xmlns:a16="http://schemas.microsoft.com/office/drawing/2014/main" id="{16F727A0-32CF-6CB7-82CE-4A0CD59F1EF1}"/>
              </a:ext>
            </a:extLst>
          </p:cNvPr>
          <p:cNvCxnSpPr>
            <a:cxnSpLocks/>
          </p:cNvCxnSpPr>
          <p:nvPr/>
        </p:nvCxnSpPr>
        <p:spPr>
          <a:xfrm>
            <a:off x="3665148" y="2194584"/>
            <a:ext cx="545483" cy="1301491"/>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31F982C1-5435-88F0-1F87-8947CDD43175}"/>
              </a:ext>
            </a:extLst>
          </p:cNvPr>
          <p:cNvSpPr/>
          <p:nvPr/>
        </p:nvSpPr>
        <p:spPr>
          <a:xfrm>
            <a:off x="288546" y="4306485"/>
            <a:ext cx="1995946" cy="424283"/>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Lato"/>
              <a:ea typeface="+mn-ea"/>
              <a:cs typeface="+mn-cs"/>
            </a:endParaRPr>
          </a:p>
        </p:txBody>
      </p:sp>
      <p:cxnSp>
        <p:nvCxnSpPr>
          <p:cNvPr id="105" name="Straight Connector 104">
            <a:extLst>
              <a:ext uri="{FF2B5EF4-FFF2-40B4-BE49-F238E27FC236}">
                <a16:creationId xmlns:a16="http://schemas.microsoft.com/office/drawing/2014/main" id="{5A4BE7D6-68EC-FD34-D836-441BB8A73B1D}"/>
              </a:ext>
            </a:extLst>
          </p:cNvPr>
          <p:cNvCxnSpPr>
            <a:cxnSpLocks/>
            <a:stCxn id="109" idx="3"/>
          </p:cNvCxnSpPr>
          <p:nvPr/>
        </p:nvCxnSpPr>
        <p:spPr>
          <a:xfrm flipV="1">
            <a:off x="2101549" y="5596094"/>
            <a:ext cx="210920" cy="33599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75412DE2-B9F6-90CA-879A-1BBE117085C3}"/>
              </a:ext>
            </a:extLst>
          </p:cNvPr>
          <p:cNvSpPr/>
          <p:nvPr/>
        </p:nvSpPr>
        <p:spPr>
          <a:xfrm>
            <a:off x="345870" y="5596094"/>
            <a:ext cx="1755679" cy="671979"/>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Lato"/>
              <a:ea typeface="+mn-ea"/>
              <a:cs typeface="+mn-cs"/>
            </a:endParaRPr>
          </a:p>
        </p:txBody>
      </p:sp>
      <p:cxnSp>
        <p:nvCxnSpPr>
          <p:cNvPr id="112" name="Straight Connector 111">
            <a:extLst>
              <a:ext uri="{FF2B5EF4-FFF2-40B4-BE49-F238E27FC236}">
                <a16:creationId xmlns:a16="http://schemas.microsoft.com/office/drawing/2014/main" id="{ACA34199-B771-FBF6-0B4F-B85C565231D2}"/>
              </a:ext>
            </a:extLst>
          </p:cNvPr>
          <p:cNvCxnSpPr>
            <a:cxnSpLocks/>
            <a:stCxn id="109" idx="3"/>
          </p:cNvCxnSpPr>
          <p:nvPr/>
        </p:nvCxnSpPr>
        <p:spPr>
          <a:xfrm flipV="1">
            <a:off x="2101549" y="5661937"/>
            <a:ext cx="778188" cy="270147"/>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ED8140C-8E8E-940B-4247-153C56FE254C}"/>
              </a:ext>
            </a:extLst>
          </p:cNvPr>
          <p:cNvCxnSpPr>
            <a:cxnSpLocks/>
          </p:cNvCxnSpPr>
          <p:nvPr/>
        </p:nvCxnSpPr>
        <p:spPr>
          <a:xfrm>
            <a:off x="2112870" y="2807959"/>
            <a:ext cx="985050" cy="418275"/>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68800E02-C721-F5D1-B096-24692603F148}"/>
              </a:ext>
            </a:extLst>
          </p:cNvPr>
          <p:cNvSpPr/>
          <p:nvPr/>
        </p:nvSpPr>
        <p:spPr>
          <a:xfrm>
            <a:off x="288546" y="2464657"/>
            <a:ext cx="1835898" cy="1135189"/>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endParaRPr kumimoji="0" lang="en-GB" sz="1000" b="0" i="0" u="none" strike="noStrike" kern="1200" cap="none" spc="0" normalizeH="0" baseline="0" noProof="0">
              <a:ln>
                <a:noFill/>
              </a:ln>
              <a:solidFill>
                <a:srgbClr val="FF0000"/>
              </a:solidFill>
              <a:effectLst/>
              <a:uLnTx/>
              <a:uFillTx/>
              <a:latin typeface="Lato"/>
              <a:ea typeface="+mn-ea"/>
              <a:cs typeface="+mn-cs"/>
            </a:endParaRPr>
          </a:p>
        </p:txBody>
      </p:sp>
      <p:cxnSp>
        <p:nvCxnSpPr>
          <p:cNvPr id="131" name="Straight Connector 130">
            <a:extLst>
              <a:ext uri="{FF2B5EF4-FFF2-40B4-BE49-F238E27FC236}">
                <a16:creationId xmlns:a16="http://schemas.microsoft.com/office/drawing/2014/main" id="{057443F7-4FB5-0334-B4F4-6B61DA74355A}"/>
              </a:ext>
            </a:extLst>
          </p:cNvPr>
          <p:cNvCxnSpPr>
            <a:cxnSpLocks/>
          </p:cNvCxnSpPr>
          <p:nvPr/>
        </p:nvCxnSpPr>
        <p:spPr>
          <a:xfrm>
            <a:off x="2284492" y="4358279"/>
            <a:ext cx="1162439" cy="26536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3EE2D32C-770C-E081-9AD4-2E6A64EA870C}"/>
              </a:ext>
            </a:extLst>
          </p:cNvPr>
          <p:cNvSpPr/>
          <p:nvPr/>
        </p:nvSpPr>
        <p:spPr>
          <a:xfrm>
            <a:off x="6921829" y="1631373"/>
            <a:ext cx="2104692" cy="956608"/>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endParaRPr kumimoji="0" lang="en-GB" sz="1000" b="0" i="0" u="none" strike="noStrike" kern="1200" cap="none" spc="0" normalizeH="0" baseline="0" noProof="0">
              <a:ln>
                <a:noFill/>
              </a:ln>
              <a:solidFill>
                <a:schemeClr val="tx1"/>
              </a:solidFill>
              <a:effectLst/>
              <a:uLnTx/>
              <a:uFillTx/>
              <a:latin typeface="Lato"/>
              <a:ea typeface="+mn-ea"/>
              <a:cs typeface="+mn-cs"/>
            </a:endParaRPr>
          </a:p>
        </p:txBody>
      </p:sp>
      <p:cxnSp>
        <p:nvCxnSpPr>
          <p:cNvPr id="134" name="Straight Connector 133">
            <a:extLst>
              <a:ext uri="{FF2B5EF4-FFF2-40B4-BE49-F238E27FC236}">
                <a16:creationId xmlns:a16="http://schemas.microsoft.com/office/drawing/2014/main" id="{C811A8F6-2419-F51D-BC99-B5847EEF5022}"/>
              </a:ext>
            </a:extLst>
          </p:cNvPr>
          <p:cNvCxnSpPr>
            <a:cxnSpLocks/>
            <a:stCxn id="133" idx="1"/>
            <a:endCxn id="74" idx="3"/>
          </p:cNvCxnSpPr>
          <p:nvPr/>
        </p:nvCxnSpPr>
        <p:spPr>
          <a:xfrm flipH="1" flipV="1">
            <a:off x="6523070" y="2065070"/>
            <a:ext cx="398759" cy="44607"/>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AAECAE8-8C90-450A-BACD-B8820614CC1E}"/>
              </a:ext>
            </a:extLst>
          </p:cNvPr>
          <p:cNvCxnSpPr>
            <a:cxnSpLocks/>
            <a:stCxn id="133" idx="1"/>
            <a:endCxn id="60" idx="3"/>
          </p:cNvCxnSpPr>
          <p:nvPr/>
        </p:nvCxnSpPr>
        <p:spPr>
          <a:xfrm flipH="1">
            <a:off x="5288639" y="2109677"/>
            <a:ext cx="1633190" cy="400923"/>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2B788550-A15F-7A7A-A18A-1ED776133513}"/>
              </a:ext>
            </a:extLst>
          </p:cNvPr>
          <p:cNvSpPr/>
          <p:nvPr/>
        </p:nvSpPr>
        <p:spPr>
          <a:xfrm>
            <a:off x="7155228" y="4798195"/>
            <a:ext cx="1822008" cy="156654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i="0" u="none" strike="noStrike" kern="1200" cap="none" spc="0" normalizeH="0" baseline="0" noProof="0">
              <a:ln>
                <a:noFill/>
              </a:ln>
              <a:solidFill>
                <a:srgbClr val="FF0000"/>
              </a:solidFill>
              <a:effectLst/>
              <a:uLnTx/>
              <a:uFillTx/>
              <a:latin typeface="Lato"/>
              <a:ea typeface="+mn-ea"/>
              <a:cs typeface="+mn-cs"/>
            </a:endParaRPr>
          </a:p>
        </p:txBody>
      </p:sp>
      <p:sp>
        <p:nvSpPr>
          <p:cNvPr id="151" name="Rectangle 150">
            <a:extLst>
              <a:ext uri="{FF2B5EF4-FFF2-40B4-BE49-F238E27FC236}">
                <a16:creationId xmlns:a16="http://schemas.microsoft.com/office/drawing/2014/main" id="{9A1CD816-8F4E-D852-E4F3-485A1E3AB305}"/>
              </a:ext>
            </a:extLst>
          </p:cNvPr>
          <p:cNvSpPr/>
          <p:nvPr/>
        </p:nvSpPr>
        <p:spPr>
          <a:xfrm>
            <a:off x="6695607" y="3376484"/>
            <a:ext cx="2419688" cy="823433"/>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168" name="Straight Connector 167">
            <a:extLst>
              <a:ext uri="{FF2B5EF4-FFF2-40B4-BE49-F238E27FC236}">
                <a16:creationId xmlns:a16="http://schemas.microsoft.com/office/drawing/2014/main" id="{1FE071C6-BA02-423C-1BEE-71125600E46D}"/>
              </a:ext>
            </a:extLst>
          </p:cNvPr>
          <p:cNvCxnSpPr>
            <a:cxnSpLocks/>
            <a:stCxn id="133" idx="1"/>
          </p:cNvCxnSpPr>
          <p:nvPr/>
        </p:nvCxnSpPr>
        <p:spPr>
          <a:xfrm flipH="1">
            <a:off x="4574261" y="2109677"/>
            <a:ext cx="2347568" cy="977373"/>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84" name="Title 83">
            <a:extLst>
              <a:ext uri="{FF2B5EF4-FFF2-40B4-BE49-F238E27FC236}">
                <a16:creationId xmlns:a16="http://schemas.microsoft.com/office/drawing/2014/main" id="{B2FC38F3-7805-5320-CF80-4BD5F8A4165F}"/>
              </a:ext>
            </a:extLst>
          </p:cNvPr>
          <p:cNvSpPr>
            <a:spLocks noGrp="1"/>
          </p:cNvSpPr>
          <p:nvPr>
            <p:ph type="title"/>
          </p:nvPr>
        </p:nvSpPr>
        <p:spPr/>
        <p:txBody>
          <a:bodyPr vert="horz"/>
          <a:lstStyle/>
          <a:p>
            <a:r>
              <a:rPr lang="en-GB">
                <a:solidFill>
                  <a:srgbClr val="808080"/>
                </a:solidFill>
                <a:highlight>
                  <a:srgbClr val="808080"/>
                </a:highlight>
                <a:ea typeface="Lato"/>
                <a:cs typeface="Lato"/>
              </a:rPr>
              <a:t>XXXXX</a:t>
            </a:r>
            <a:r>
              <a:rPr lang="en-GB"/>
              <a:t>, </a:t>
            </a:r>
            <a:r>
              <a:rPr lang="en-GB">
                <a:solidFill>
                  <a:srgbClr val="808080"/>
                </a:solidFill>
                <a:highlight>
                  <a:srgbClr val="808080"/>
                </a:highlight>
                <a:ea typeface="Lato"/>
                <a:cs typeface="Lato"/>
              </a:rPr>
              <a:t>XXXXX </a:t>
            </a:r>
            <a:r>
              <a:rPr lang="en-GB"/>
              <a:t>and </a:t>
            </a:r>
            <a:r>
              <a:rPr lang="en-GB">
                <a:solidFill>
                  <a:srgbClr val="808080"/>
                </a:solidFill>
                <a:highlight>
                  <a:srgbClr val="808080"/>
                </a:highlight>
                <a:ea typeface="Lato"/>
                <a:cs typeface="Lato"/>
              </a:rPr>
              <a:t>XXXXX</a:t>
            </a:r>
            <a:r>
              <a:rPr lang="en-GB"/>
              <a:t> see the highest competitive risk to batteries, where aggregation into ancillary markets is enabled</a:t>
            </a:r>
          </a:p>
        </p:txBody>
      </p:sp>
      <p:sp>
        <p:nvSpPr>
          <p:cNvPr id="11" name="Text Placeholder 33">
            <a:extLst>
              <a:ext uri="{FF2B5EF4-FFF2-40B4-BE49-F238E27FC236}">
                <a16:creationId xmlns:a16="http://schemas.microsoft.com/office/drawing/2014/main" id="{3EBB3550-71BC-CE8C-3CD4-FA96276B5631}"/>
              </a:ext>
            </a:extLst>
          </p:cNvPr>
          <p:cNvSpPr txBox="1">
            <a:spLocks/>
          </p:cNvSpPr>
          <p:nvPr/>
        </p:nvSpPr>
        <p:spPr>
          <a:xfrm>
            <a:off x="381599" y="1213521"/>
            <a:ext cx="7688827" cy="175654"/>
          </a:xfrm>
          <a:prstGeom prst="rect">
            <a:avLst/>
          </a:prstGeom>
        </p:spPr>
        <p:txBody>
          <a:bodyPr l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rPr>
              <a:t>Competitive risks</a:t>
            </a:r>
          </a:p>
        </p:txBody>
      </p:sp>
      <p:sp>
        <p:nvSpPr>
          <p:cNvPr id="83" name="Rectangle 82">
            <a:extLst>
              <a:ext uri="{FF2B5EF4-FFF2-40B4-BE49-F238E27FC236}">
                <a16:creationId xmlns:a16="http://schemas.microsoft.com/office/drawing/2014/main" id="{661BFD14-3CC0-4C95-33EB-CCDA5CA39920}"/>
              </a:ext>
            </a:extLst>
          </p:cNvPr>
          <p:cNvSpPr/>
          <p:nvPr/>
        </p:nvSpPr>
        <p:spPr>
          <a:xfrm>
            <a:off x="2306454" y="1208790"/>
            <a:ext cx="2427601" cy="1159185"/>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0000"/>
              </a:solidFill>
              <a:effectLst/>
              <a:uLnTx/>
              <a:uFillTx/>
              <a:latin typeface="Lato"/>
              <a:ea typeface="+mn-ea"/>
              <a:cs typeface="+mn-cs"/>
            </a:endParaRPr>
          </a:p>
        </p:txBody>
      </p:sp>
      <p:cxnSp>
        <p:nvCxnSpPr>
          <p:cNvPr id="493" name="Straight Connector 492">
            <a:extLst>
              <a:ext uri="{FF2B5EF4-FFF2-40B4-BE49-F238E27FC236}">
                <a16:creationId xmlns:a16="http://schemas.microsoft.com/office/drawing/2014/main" id="{F153B36D-3B8B-DC5B-3378-0639845E9E67}"/>
              </a:ext>
            </a:extLst>
          </p:cNvPr>
          <p:cNvCxnSpPr>
            <a:cxnSpLocks/>
            <a:stCxn id="148" idx="1"/>
          </p:cNvCxnSpPr>
          <p:nvPr/>
        </p:nvCxnSpPr>
        <p:spPr>
          <a:xfrm flipH="1">
            <a:off x="5403335" y="5581465"/>
            <a:ext cx="1751893" cy="157137"/>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C8A39159-0A39-4825-FC0F-43E836FF8813}"/>
              </a:ext>
            </a:extLst>
          </p:cNvPr>
          <p:cNvCxnSpPr>
            <a:cxnSpLocks/>
            <a:stCxn id="151" idx="1"/>
          </p:cNvCxnSpPr>
          <p:nvPr/>
        </p:nvCxnSpPr>
        <p:spPr>
          <a:xfrm flipH="1">
            <a:off x="6195715" y="3788201"/>
            <a:ext cx="499892" cy="1697022"/>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499" name="Straight Connector 498">
            <a:extLst>
              <a:ext uri="{FF2B5EF4-FFF2-40B4-BE49-F238E27FC236}">
                <a16:creationId xmlns:a16="http://schemas.microsoft.com/office/drawing/2014/main" id="{1DF8ABBB-1C5C-6E6B-3B15-4B19DAB5D05F}"/>
              </a:ext>
            </a:extLst>
          </p:cNvPr>
          <p:cNvCxnSpPr>
            <a:cxnSpLocks/>
            <a:stCxn id="151" idx="1"/>
          </p:cNvCxnSpPr>
          <p:nvPr/>
        </p:nvCxnSpPr>
        <p:spPr>
          <a:xfrm flipH="1">
            <a:off x="5890602" y="3788201"/>
            <a:ext cx="805005" cy="631816"/>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3CAEFB40-513E-0CD5-FC30-F23970522634}"/>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7" name="Oval 6">
            <a:extLst>
              <a:ext uri="{FF2B5EF4-FFF2-40B4-BE49-F238E27FC236}">
                <a16:creationId xmlns:a16="http://schemas.microsoft.com/office/drawing/2014/main" id="{F44ED4A9-71CA-23D2-121B-1A39FCEB166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9" name="Group 8">
            <a:extLst>
              <a:ext uri="{FF2B5EF4-FFF2-40B4-BE49-F238E27FC236}">
                <a16:creationId xmlns:a16="http://schemas.microsoft.com/office/drawing/2014/main" id="{3F64C9E9-0AB8-640E-8C48-A6C84132EB44}"/>
              </a:ext>
            </a:extLst>
          </p:cNvPr>
          <p:cNvGrpSpPr/>
          <p:nvPr/>
        </p:nvGrpSpPr>
        <p:grpSpPr>
          <a:xfrm>
            <a:off x="368812" y="1403878"/>
            <a:ext cx="2962272" cy="917690"/>
            <a:chOff x="483114" y="2767940"/>
            <a:chExt cx="2962272" cy="917690"/>
          </a:xfrm>
        </p:grpSpPr>
        <p:sp>
          <p:nvSpPr>
            <p:cNvPr id="13" name="TextBox 12">
              <a:extLst>
                <a:ext uri="{FF2B5EF4-FFF2-40B4-BE49-F238E27FC236}">
                  <a16:creationId xmlns:a16="http://schemas.microsoft.com/office/drawing/2014/main" id="{2F496B2D-9B65-BAC0-4EA2-46BE3A8CAA27}"/>
                </a:ext>
              </a:extLst>
            </p:cNvPr>
            <p:cNvSpPr txBox="1"/>
            <p:nvPr/>
          </p:nvSpPr>
          <p:spPr>
            <a:xfrm>
              <a:off x="723044" y="3033750"/>
              <a:ext cx="272234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000">
                  <a:solidFill>
                    <a:srgbClr val="3C3C3B"/>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gh</a:t>
              </a:r>
              <a:endParaRPr kumimoji="0" lang="en-GB" sz="10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 name="TextBox 14">
              <a:extLst>
                <a:ext uri="{FF2B5EF4-FFF2-40B4-BE49-F238E27FC236}">
                  <a16:creationId xmlns:a16="http://schemas.microsoft.com/office/drawing/2014/main" id="{3DE111BC-CC0B-0DC6-D99A-2F822A082C5B}"/>
                </a:ext>
              </a:extLst>
            </p:cNvPr>
            <p:cNvSpPr txBox="1"/>
            <p:nvPr/>
          </p:nvSpPr>
          <p:spPr>
            <a:xfrm>
              <a:off x="483114" y="2767940"/>
              <a:ext cx="94636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0" u="sng"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ating</a:t>
              </a:r>
            </a:p>
          </p:txBody>
        </p:sp>
        <p:grpSp>
          <p:nvGrpSpPr>
            <p:cNvPr id="16" name="Group 15">
              <a:extLst>
                <a:ext uri="{FF2B5EF4-FFF2-40B4-BE49-F238E27FC236}">
                  <a16:creationId xmlns:a16="http://schemas.microsoft.com/office/drawing/2014/main" id="{7EFF876B-803E-2E27-DE49-8ADBC4228E90}"/>
                </a:ext>
              </a:extLst>
            </p:cNvPr>
            <p:cNvGrpSpPr/>
            <p:nvPr/>
          </p:nvGrpSpPr>
          <p:grpSpPr>
            <a:xfrm>
              <a:off x="488717" y="3009952"/>
              <a:ext cx="179387" cy="675678"/>
              <a:chOff x="1394342" y="4180654"/>
              <a:chExt cx="144000" cy="528608"/>
            </a:xfrm>
          </p:grpSpPr>
          <p:sp>
            <p:nvSpPr>
              <p:cNvPr id="19" name="Oval 18">
                <a:extLst>
                  <a:ext uri="{FF2B5EF4-FFF2-40B4-BE49-F238E27FC236}">
                    <a16:creationId xmlns:a16="http://schemas.microsoft.com/office/drawing/2014/main" id="{4A90794D-6C34-47BA-2984-F8C16062A1EA}"/>
                  </a:ext>
                </a:extLst>
              </p:cNvPr>
              <p:cNvSpPr/>
              <p:nvPr/>
            </p:nvSpPr>
            <p:spPr>
              <a:xfrm>
                <a:off x="1394342" y="4372958"/>
                <a:ext cx="144000" cy="144000"/>
              </a:xfrm>
              <a:prstGeom prst="ellipse">
                <a:avLst/>
              </a:prstGeom>
              <a:solidFill>
                <a:schemeClr val="accent2">
                  <a:alpha val="50000"/>
                </a:scheme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0" name="Oval 19">
                <a:extLst>
                  <a:ext uri="{FF2B5EF4-FFF2-40B4-BE49-F238E27FC236}">
                    <a16:creationId xmlns:a16="http://schemas.microsoft.com/office/drawing/2014/main" id="{7B6E5C7D-82F2-3C8D-C4B4-DA031F3C19B1}"/>
                  </a:ext>
                </a:extLst>
              </p:cNvPr>
              <p:cNvSpPr/>
              <p:nvPr/>
            </p:nvSpPr>
            <p:spPr>
              <a:xfrm>
                <a:off x="1394342" y="4180654"/>
                <a:ext cx="144000" cy="144000"/>
              </a:xfrm>
              <a:prstGeom prst="ellipse">
                <a:avLst/>
              </a:prstGeom>
              <a:solidFill>
                <a:srgbClr val="FF0000">
                  <a:alpha val="50000"/>
                </a:srgb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 name="Oval 20">
                <a:extLst>
                  <a:ext uri="{FF2B5EF4-FFF2-40B4-BE49-F238E27FC236}">
                    <a16:creationId xmlns:a16="http://schemas.microsoft.com/office/drawing/2014/main" id="{BB9C5537-E581-B408-B625-7D0A4449DBB8}"/>
                  </a:ext>
                </a:extLst>
              </p:cNvPr>
              <p:cNvSpPr/>
              <p:nvPr/>
            </p:nvSpPr>
            <p:spPr>
              <a:xfrm>
                <a:off x="1394342" y="4565262"/>
                <a:ext cx="144000" cy="144000"/>
              </a:xfrm>
              <a:prstGeom prst="ellipse">
                <a:avLst/>
              </a:prstGeom>
              <a:solidFill>
                <a:srgbClr val="A6B727">
                  <a:alpha val="50000"/>
                </a:srgbClr>
              </a:solidFill>
              <a:ln w="3175">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7" name="TextBox 16">
              <a:extLst>
                <a:ext uri="{FF2B5EF4-FFF2-40B4-BE49-F238E27FC236}">
                  <a16:creationId xmlns:a16="http://schemas.microsoft.com/office/drawing/2014/main" id="{CEE1B259-AAEE-B3C5-1599-5A2FDF9942FC}"/>
                </a:ext>
              </a:extLst>
            </p:cNvPr>
            <p:cNvSpPr txBox="1"/>
            <p:nvPr/>
          </p:nvSpPr>
          <p:spPr>
            <a:xfrm>
              <a:off x="723044" y="3277292"/>
              <a:ext cx="208865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edium</a:t>
              </a:r>
            </a:p>
          </p:txBody>
        </p:sp>
        <p:sp>
          <p:nvSpPr>
            <p:cNvPr id="18" name="TextBox 17">
              <a:extLst>
                <a:ext uri="{FF2B5EF4-FFF2-40B4-BE49-F238E27FC236}">
                  <a16:creationId xmlns:a16="http://schemas.microsoft.com/office/drawing/2014/main" id="{460F6796-F905-A110-C41B-55A6B3C0AEE5}"/>
                </a:ext>
              </a:extLst>
            </p:cNvPr>
            <p:cNvSpPr txBox="1"/>
            <p:nvPr/>
          </p:nvSpPr>
          <p:spPr>
            <a:xfrm>
              <a:off x="723044" y="3521313"/>
              <a:ext cx="213392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ow</a:t>
              </a:r>
            </a:p>
          </p:txBody>
        </p:sp>
      </p:grpSp>
      <p:sp>
        <p:nvSpPr>
          <p:cNvPr id="8" name="Text Placeholder 16">
            <a:extLst>
              <a:ext uri="{FF2B5EF4-FFF2-40B4-BE49-F238E27FC236}">
                <a16:creationId xmlns:a16="http://schemas.microsoft.com/office/drawing/2014/main" id="{9ADA049A-9573-45F1-7A97-497FF5265E5D}"/>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10" name="Text Placeholder 13">
            <a:extLst>
              <a:ext uri="{FF2B5EF4-FFF2-40B4-BE49-F238E27FC236}">
                <a16:creationId xmlns:a16="http://schemas.microsoft.com/office/drawing/2014/main" id="{E8186C75-E7BD-79E2-FDB1-BC901999C13D}"/>
              </a:ext>
            </a:extLst>
          </p:cNvPr>
          <p:cNvSpPr txBox="1">
            <a:spLocks/>
          </p:cNvSpPr>
          <p:nvPr/>
        </p:nvSpPr>
        <p:spPr>
          <a:xfrm>
            <a:off x="381000" y="6502391"/>
            <a:ext cx="8601074"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13480611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extLst>
              <p:ext uri="{D42A27DB-BD31-4B8C-83A1-F6EECF244321}">
                <p14:modId xmlns:p14="http://schemas.microsoft.com/office/powerpoint/2010/main" val="319508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7">
            <a:hlinkClick r:id="rId6" action="ppaction://hlinksldjump"/>
            <a:extLst>
              <a:ext uri="{FF2B5EF4-FFF2-40B4-BE49-F238E27FC236}">
                <a16:creationId xmlns:a16="http://schemas.microsoft.com/office/drawing/2014/main" id="{4D5795D6-4479-12C0-2634-3A3670FA5536}"/>
              </a:ext>
            </a:extLst>
          </p:cNvPr>
          <p:cNvSpPr txBox="1">
            <a:spLocks/>
          </p:cNvSpPr>
          <p:nvPr/>
        </p:nvSpPr>
        <p:spPr>
          <a:xfrm>
            <a:off x="0" y="3486934"/>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2636786"/>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650906"/>
          </a:xfrm>
        </p:spPr>
        <p:txBody>
          <a:bodyPr/>
          <a:lstStyle/>
          <a:p>
            <a:r>
              <a:rPr lang="en-GB" sz="1400" dirty="0">
                <a:hlinkClick r:id="rId7" action="ppaction://hlinksldjump"/>
              </a:rPr>
              <a:t>Executive summary</a:t>
            </a:r>
            <a:endParaRPr lang="en-GB" sz="1400" dirty="0"/>
          </a:p>
          <a:p>
            <a:r>
              <a:rPr lang="en-GB" sz="1400" dirty="0">
                <a:hlinkClick r:id="rId8" action="ppaction://hlinksldjump"/>
              </a:rPr>
              <a:t>Introduction to battery storage </a:t>
            </a:r>
            <a:r>
              <a:rPr lang="en-GB" sz="1400" dirty="0"/>
              <a:t>	</a:t>
            </a:r>
          </a:p>
          <a:p>
            <a:r>
              <a:rPr lang="en-GB" sz="1400" dirty="0">
                <a:hlinkClick r:id="" action="ppaction://noaction"/>
              </a:rPr>
              <a:t>Market size and outlook </a:t>
            </a:r>
            <a:endParaRPr lang="en-GB" sz="1400" dirty="0"/>
          </a:p>
          <a:p>
            <a:r>
              <a:rPr lang="en-GB" sz="1400" dirty="0">
                <a:hlinkClick r:id="rId9" action="ppaction://hlinksldjump"/>
              </a:rPr>
              <a:t>Policy and regulatory environment</a:t>
            </a:r>
            <a:endParaRPr lang="en-GB" sz="1400" dirty="0"/>
          </a:p>
          <a:p>
            <a:pPr lvl="1"/>
            <a:r>
              <a:rPr lang="en-GB" sz="1400" dirty="0"/>
              <a:t>Battery storage policies, targets and subsidies </a:t>
            </a:r>
          </a:p>
          <a:p>
            <a:pPr lvl="1"/>
            <a:r>
              <a:rPr lang="en-GB" sz="1400" dirty="0"/>
              <a:t>Regulatory challenges and opportunities</a:t>
            </a:r>
          </a:p>
          <a:p>
            <a:pPr lvl="1"/>
            <a:r>
              <a:rPr lang="en-GB" sz="1400" dirty="0"/>
              <a:t>Revenue opportunities</a:t>
            </a:r>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sp>
        <p:nvSpPr>
          <p:cNvPr id="15" name="Text Placeholder 7">
            <a:hlinkClick r:id="" action="ppaction://noaction"/>
            <a:extLst>
              <a:ext uri="{FF2B5EF4-FFF2-40B4-BE49-F238E27FC236}">
                <a16:creationId xmlns:a16="http://schemas.microsoft.com/office/drawing/2014/main" id="{4D5795D6-4479-12C0-2634-3A3670FA5536}"/>
              </a:ext>
            </a:extLst>
          </p:cNvPr>
          <p:cNvSpPr txBox="1">
            <a:spLocks/>
          </p:cNvSpPr>
          <p:nvPr/>
        </p:nvSpPr>
        <p:spPr>
          <a:xfrm>
            <a:off x="0" y="3777611"/>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grpSp>
        <p:nvGrpSpPr>
          <p:cNvPr id="2" name="Group 1">
            <a:extLst>
              <a:ext uri="{FF2B5EF4-FFF2-40B4-BE49-F238E27FC236}">
                <a16:creationId xmlns:a16="http://schemas.microsoft.com/office/drawing/2014/main" id="{F7B67351-62CA-C6CE-0899-E381DBD09585}"/>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AE1DB758-6CC2-77E1-2B76-CE020C57A605}"/>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6" name="TextBox 5">
              <a:extLst>
                <a:ext uri="{FF2B5EF4-FFF2-40B4-BE49-F238E27FC236}">
                  <a16:creationId xmlns:a16="http://schemas.microsoft.com/office/drawing/2014/main" id="{503893AE-69D6-A91A-8892-7EFE2E38C4E2}"/>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662219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51775E95-ACA9-475A-8393-BFACCBD63D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9" name="Object 38" hidden="1">
                        <a:extLst>
                          <a:ext uri="{FF2B5EF4-FFF2-40B4-BE49-F238E27FC236}">
                            <a16:creationId xmlns:a16="http://schemas.microsoft.com/office/drawing/2014/main" id="{51775E95-ACA9-475A-8393-BFACCBD63D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7075FF9-D471-49A1-818B-DF20837995F9}"/>
              </a:ext>
            </a:extLst>
          </p:cNvPr>
          <p:cNvSpPr/>
          <p:nvPr/>
        </p:nvSpPr>
        <p:spPr>
          <a:xfrm>
            <a:off x="380999" y="1298107"/>
            <a:ext cx="11437429" cy="5150256"/>
          </a:xfrm>
          <a:prstGeom prst="rect">
            <a:avLst/>
          </a:prstGeom>
          <a:noFill/>
          <a:ln w="190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 name="Text Placeholder 1">
            <a:extLst>
              <a:ext uri="{FF2B5EF4-FFF2-40B4-BE49-F238E27FC236}">
                <a16:creationId xmlns:a16="http://schemas.microsoft.com/office/drawing/2014/main" id="{F78D82A1-8DDB-38F2-67A4-726F9093480B}"/>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40" name="Title 470">
            <a:extLst>
              <a:ext uri="{FF2B5EF4-FFF2-40B4-BE49-F238E27FC236}">
                <a16:creationId xmlns:a16="http://schemas.microsoft.com/office/drawing/2014/main" id="{6E4CE088-685A-4C78-AA35-E3D7C77CB557}"/>
              </a:ext>
            </a:extLst>
          </p:cNvPr>
          <p:cNvSpPr>
            <a:spLocks noGrp="1"/>
          </p:cNvSpPr>
          <p:nvPr>
            <p:ph type="title"/>
          </p:nvPr>
        </p:nvSpPr>
        <p:spPr/>
        <p:txBody>
          <a:bodyPr vert="horz"/>
          <a:lstStyle/>
          <a:p>
            <a:r>
              <a:rPr lang="en-GB"/>
              <a:t>Flexibility Market add-on service: </a:t>
            </a:r>
            <a:r>
              <a:rPr lang="en-GB" b="0">
                <a:solidFill>
                  <a:schemeClr val="tx1"/>
                </a:solidFill>
              </a:rPr>
              <a:t>Provides detailed power market analysis and investment cases for batteries in 14 European markets</a:t>
            </a:r>
            <a:endParaRPr lang="en-GB" b="0"/>
          </a:p>
        </p:txBody>
      </p:sp>
      <p:sp>
        <p:nvSpPr>
          <p:cNvPr id="7" name="Text Placeholder 6">
            <a:extLst>
              <a:ext uri="{FF2B5EF4-FFF2-40B4-BE49-F238E27FC236}">
                <a16:creationId xmlns:a16="http://schemas.microsoft.com/office/drawing/2014/main" id="{702AC8F6-BC48-1DC9-E675-622C73267D90}"/>
              </a:ext>
            </a:extLst>
          </p:cNvPr>
          <p:cNvSpPr>
            <a:spLocks noGrp="1"/>
          </p:cNvSpPr>
          <p:nvPr>
            <p:ph type="body" sz="quarter" idx="32"/>
          </p:nvPr>
        </p:nvSpPr>
        <p:spPr/>
        <p:txBody>
          <a:bodyPr/>
          <a:lstStyle/>
          <a:p>
            <a:endParaRPr lang="en-GB"/>
          </a:p>
        </p:txBody>
      </p:sp>
      <p:sp>
        <p:nvSpPr>
          <p:cNvPr id="6" name="Text Placeholder 5">
            <a:extLst>
              <a:ext uri="{FF2B5EF4-FFF2-40B4-BE49-F238E27FC236}">
                <a16:creationId xmlns:a16="http://schemas.microsoft.com/office/drawing/2014/main" id="{F3361FD0-2CD2-B41C-71D1-005066788895}"/>
              </a:ext>
            </a:extLst>
          </p:cNvPr>
          <p:cNvSpPr>
            <a:spLocks noGrp="1"/>
          </p:cNvSpPr>
          <p:nvPr>
            <p:ph type="body" sz="quarter" idx="31"/>
          </p:nvPr>
        </p:nvSpPr>
        <p:spPr>
          <a:xfrm>
            <a:off x="381599" y="79401"/>
            <a:ext cx="3920945" cy="184666"/>
          </a:xfrm>
        </p:spPr>
        <p:txBody>
          <a:bodyPr/>
          <a:lstStyle/>
          <a:p>
            <a:r>
              <a:rPr lang="en-GB"/>
              <a:t>Aurora European Battery Markets Attractiveness Report</a:t>
            </a:r>
          </a:p>
        </p:txBody>
      </p:sp>
      <p:sp>
        <p:nvSpPr>
          <p:cNvPr id="13" name="TextBox 12">
            <a:extLst>
              <a:ext uri="{FF2B5EF4-FFF2-40B4-BE49-F238E27FC236}">
                <a16:creationId xmlns:a16="http://schemas.microsoft.com/office/drawing/2014/main" id="{6C797216-C49E-4673-9A9A-179510D65EF3}"/>
              </a:ext>
            </a:extLst>
          </p:cNvPr>
          <p:cNvSpPr txBox="1"/>
          <p:nvPr/>
        </p:nvSpPr>
        <p:spPr>
          <a:xfrm>
            <a:off x="4733447" y="1325683"/>
            <a:ext cx="2725105" cy="215444"/>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400" b="1"/>
              <a:t>Flexibility Market add-on service</a:t>
            </a:r>
          </a:p>
        </p:txBody>
      </p:sp>
      <p:sp>
        <p:nvSpPr>
          <p:cNvPr id="9" name="Rectangle 8">
            <a:extLst>
              <a:ext uri="{FF2B5EF4-FFF2-40B4-BE49-F238E27FC236}">
                <a16:creationId xmlns:a16="http://schemas.microsoft.com/office/drawing/2014/main" id="{B43017CB-7967-4364-A480-732FD9620FFB}"/>
              </a:ext>
            </a:extLst>
          </p:cNvPr>
          <p:cNvSpPr/>
          <p:nvPr/>
        </p:nvSpPr>
        <p:spPr>
          <a:xfrm>
            <a:off x="620713" y="1688166"/>
            <a:ext cx="5388676" cy="4657145"/>
          </a:xfrm>
          <a:prstGeom prst="rect">
            <a:avLst/>
          </a:prstGeom>
          <a:solidFill>
            <a:schemeClr val="bg1">
              <a:lumMod val="95000"/>
            </a:schemeClr>
          </a:solidFill>
          <a:ln w="1905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2">
                  <a:lumMod val="50000"/>
                </a:schemeClr>
              </a:solidFill>
            </a:endParaRPr>
          </a:p>
        </p:txBody>
      </p:sp>
      <p:sp>
        <p:nvSpPr>
          <p:cNvPr id="16" name="Rectangle 15">
            <a:extLst>
              <a:ext uri="{FF2B5EF4-FFF2-40B4-BE49-F238E27FC236}">
                <a16:creationId xmlns:a16="http://schemas.microsoft.com/office/drawing/2014/main" id="{469FCB2B-FD44-4DAB-B559-391F6DB6D1D9}"/>
              </a:ext>
            </a:extLst>
          </p:cNvPr>
          <p:cNvSpPr/>
          <p:nvPr/>
        </p:nvSpPr>
        <p:spPr>
          <a:xfrm>
            <a:off x="6202671" y="1700212"/>
            <a:ext cx="5375973" cy="4645099"/>
          </a:xfrm>
          <a:prstGeom prst="rect">
            <a:avLst/>
          </a:prstGeom>
          <a:solidFill>
            <a:schemeClr val="bg1">
              <a:lumMod val="95000"/>
            </a:schemeClr>
          </a:solidFill>
          <a:ln w="1905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7" name="TextBox 16">
            <a:extLst>
              <a:ext uri="{FF2B5EF4-FFF2-40B4-BE49-F238E27FC236}">
                <a16:creationId xmlns:a16="http://schemas.microsoft.com/office/drawing/2014/main" id="{E3C53A23-3A9F-4543-B497-0655FA68C2E6}"/>
              </a:ext>
            </a:extLst>
          </p:cNvPr>
          <p:cNvSpPr txBox="1"/>
          <p:nvPr/>
        </p:nvSpPr>
        <p:spPr>
          <a:xfrm>
            <a:off x="6182612" y="1566499"/>
            <a:ext cx="5400000" cy="288000"/>
          </a:xfrm>
          <a:prstGeom prst="rect">
            <a:avLst/>
          </a:prstGeom>
          <a:solidFill>
            <a:srgbClr val="4E5F6E"/>
          </a:solidFill>
          <a:ln>
            <a:solidFill>
              <a:srgbClr val="4E5F6E"/>
            </a:solidFill>
          </a:ln>
        </p:spPr>
        <p:txBody>
          <a:bodyPr wrap="square" lIns="36000" tIns="36000" rIns="36000" bIns="36000" rtlCol="0" anchor="ctr">
            <a:noAutofit/>
          </a:bodyPr>
          <a:lstStyle>
            <a:defPPr>
              <a:defRPr lang="en-US"/>
            </a:defPPr>
            <a:lvl1pPr indent="0" algn="ctr">
              <a:spcBef>
                <a:spcPts val="600"/>
              </a:spcBef>
              <a:buFont typeface="Wingdings" panose="05000000000000000000" pitchFamily="2" charset="2"/>
              <a:buNone/>
              <a:defRPr sz="1400" b="1"/>
            </a:lvl1pPr>
          </a:lstStyle>
          <a:p>
            <a:r>
              <a:rPr lang="en-GB">
                <a:solidFill>
                  <a:schemeClr val="bg1"/>
                </a:solidFill>
              </a:rPr>
              <a:t>Investment cases</a:t>
            </a:r>
          </a:p>
        </p:txBody>
      </p:sp>
      <p:sp>
        <p:nvSpPr>
          <p:cNvPr id="10" name="TextBox 9">
            <a:extLst>
              <a:ext uri="{FF2B5EF4-FFF2-40B4-BE49-F238E27FC236}">
                <a16:creationId xmlns:a16="http://schemas.microsoft.com/office/drawing/2014/main" id="{5E3A45FF-42B0-4298-BC62-6104CB0A2A0E}"/>
              </a:ext>
            </a:extLst>
          </p:cNvPr>
          <p:cNvSpPr txBox="1"/>
          <p:nvPr/>
        </p:nvSpPr>
        <p:spPr>
          <a:xfrm>
            <a:off x="609768" y="1566499"/>
            <a:ext cx="5400000" cy="275394"/>
          </a:xfrm>
          <a:prstGeom prst="rect">
            <a:avLst/>
          </a:prstGeom>
          <a:solidFill>
            <a:srgbClr val="4E5F6E"/>
          </a:solidFill>
          <a:ln>
            <a:solidFill>
              <a:srgbClr val="4E5F6E"/>
            </a:solidFill>
          </a:ln>
        </p:spPr>
        <p:txBody>
          <a:bodyPr wrap="square" lIns="36000" tIns="36000" rIns="36000" bIns="36000" rtlCol="0" anchor="ctr">
            <a:noAutofit/>
          </a:bodyPr>
          <a:lstStyle/>
          <a:p>
            <a:pPr marL="0" indent="0" algn="ctr">
              <a:spcBef>
                <a:spcPts val="600"/>
              </a:spcBef>
              <a:buFont typeface="Wingdings" panose="05000000000000000000" pitchFamily="2" charset="2"/>
              <a:buNone/>
            </a:pPr>
            <a:r>
              <a:rPr lang="en-GB" sz="1400" b="1">
                <a:solidFill>
                  <a:schemeClr val="bg1"/>
                </a:solidFill>
              </a:rPr>
              <a:t>Forecast reports &amp; data</a:t>
            </a:r>
          </a:p>
        </p:txBody>
      </p:sp>
      <p:sp>
        <p:nvSpPr>
          <p:cNvPr id="24" name="Rectangle 23">
            <a:extLst>
              <a:ext uri="{FF2B5EF4-FFF2-40B4-BE49-F238E27FC236}">
                <a16:creationId xmlns:a16="http://schemas.microsoft.com/office/drawing/2014/main" id="{964CED26-CDD2-4DEC-AF56-C75077D06D59}"/>
              </a:ext>
            </a:extLst>
          </p:cNvPr>
          <p:cNvSpPr/>
          <p:nvPr/>
        </p:nvSpPr>
        <p:spPr>
          <a:xfrm>
            <a:off x="695366" y="1927366"/>
            <a:ext cx="3940167" cy="226485"/>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600"/>
              </a:spcBef>
            </a:pPr>
            <a:r>
              <a:rPr lang="en-GB" sz="1400" b="1">
                <a:solidFill>
                  <a:schemeClr val="tx2">
                    <a:lumMod val="50000"/>
                  </a:schemeClr>
                </a:solidFill>
              </a:rPr>
              <a:t>Technology and market development reports</a:t>
            </a:r>
          </a:p>
        </p:txBody>
      </p:sp>
      <p:sp>
        <p:nvSpPr>
          <p:cNvPr id="27" name="TextBox 26">
            <a:extLst>
              <a:ext uri="{FF2B5EF4-FFF2-40B4-BE49-F238E27FC236}">
                <a16:creationId xmlns:a16="http://schemas.microsoft.com/office/drawing/2014/main" id="{3FBD9439-F3F6-4EC8-8425-32456A581AD2}"/>
              </a:ext>
            </a:extLst>
          </p:cNvPr>
          <p:cNvSpPr txBox="1"/>
          <p:nvPr/>
        </p:nvSpPr>
        <p:spPr>
          <a:xfrm>
            <a:off x="745712" y="2262317"/>
            <a:ext cx="3555705" cy="1443121"/>
          </a:xfrm>
          <a:prstGeom prst="rect">
            <a:avLst/>
          </a:prstGeom>
          <a:noFill/>
        </p:spPr>
        <p:txBody>
          <a:bodyPr wrap="square" lIns="0" tIns="0" rIns="0" bIns="0" rtlCol="0" anchor="t">
            <a:noAutofit/>
          </a:bodyPr>
          <a:lstStyle/>
          <a:p>
            <a:pPr marL="182880" marR="0" lvl="1" indent="-182880" fontAlgn="base">
              <a:lnSpc>
                <a:spcPct val="100000"/>
              </a:lnSpc>
              <a:spcBef>
                <a:spcPts val="600"/>
              </a:spcBef>
              <a:spcAft>
                <a:spcPct val="0"/>
              </a:spcAft>
              <a:buClr>
                <a:srgbClr val="3C3C3B"/>
              </a:buClr>
              <a:buSzPct val="100000"/>
              <a:buFont typeface="Wingdings" panose="05000000000000000000" pitchFamily="2" charset="2"/>
              <a:buChar char="§"/>
              <a:tabLst/>
              <a:defRPr/>
            </a:pPr>
            <a:r>
              <a:rPr lang="en-GB" sz="1200" bmk="">
                <a:solidFill>
                  <a:schemeClr val="tx2">
                    <a:lumMod val="50000"/>
                  </a:schemeClr>
                </a:solidFill>
                <a:sym typeface="Lato" panose="020F0502020204030203" pitchFamily="34" charset="0"/>
              </a:rPr>
              <a:t>Overview of battery pipeline development</a:t>
            </a:r>
          </a:p>
          <a:p>
            <a:pPr marL="182880" lvl="1" indent="-182880" fontAlgn="base">
              <a:spcBef>
                <a:spcPts val="600"/>
              </a:spcBef>
              <a:spcAft>
                <a:spcPct val="0"/>
              </a:spcAft>
              <a:buClr>
                <a:srgbClr val="3C3C3B"/>
              </a:buClr>
              <a:buSzPct val="100000"/>
              <a:buFont typeface="Wingdings" panose="05000000000000000000" pitchFamily="2" charset="2"/>
              <a:buChar char="§"/>
              <a:defRPr/>
            </a:pPr>
            <a:r>
              <a:rPr lang="en-GB" sz="1200" bmk="">
                <a:solidFill>
                  <a:schemeClr val="tx2">
                    <a:lumMod val="50000"/>
                  </a:schemeClr>
                </a:solidFill>
                <a:sym typeface="Lato" panose="020F0502020204030203" pitchFamily="34" charset="0"/>
              </a:rPr>
              <a:t>Overview of regulatory framework for batteries</a:t>
            </a:r>
          </a:p>
          <a:p>
            <a:pPr marL="182880" lvl="1" indent="-182880" fontAlgn="base">
              <a:spcBef>
                <a:spcPts val="600"/>
              </a:spcBef>
              <a:spcAft>
                <a:spcPct val="0"/>
              </a:spcAft>
              <a:buClr>
                <a:srgbClr val="3C3C3B"/>
              </a:buClr>
              <a:buSzPct val="100000"/>
              <a:buFont typeface="Wingdings" panose="05000000000000000000" pitchFamily="2" charset="2"/>
              <a:buChar char="§"/>
              <a:defRPr/>
            </a:pPr>
            <a:r>
              <a:rPr lang="en-GB" sz="1200" bmk="">
                <a:solidFill>
                  <a:schemeClr val="tx2">
                    <a:lumMod val="50000"/>
                  </a:schemeClr>
                </a:solidFill>
                <a:sym typeface="Lato" panose="020F0502020204030203" pitchFamily="34" charset="0"/>
              </a:rPr>
              <a:t>Revenue stacking models for batteries</a:t>
            </a:r>
          </a:p>
          <a:p>
            <a:pPr marL="182880" marR="0" lvl="1" indent="-182880" fontAlgn="base">
              <a:lnSpc>
                <a:spcPct val="100000"/>
              </a:lnSpc>
              <a:spcBef>
                <a:spcPts val="600"/>
              </a:spcBef>
              <a:spcAft>
                <a:spcPct val="0"/>
              </a:spcAft>
              <a:buClr>
                <a:srgbClr val="3C3C3B"/>
              </a:buClr>
              <a:buSzPct val="100000"/>
              <a:buFont typeface="Wingdings" panose="05000000000000000000" pitchFamily="2" charset="2"/>
              <a:buChar char="§"/>
              <a:tabLst/>
              <a:defRPr/>
            </a:pPr>
            <a:r>
              <a:rPr lang="en-GB" sz="1200" bmk="">
                <a:solidFill>
                  <a:schemeClr val="tx2">
                    <a:lumMod val="50000"/>
                  </a:schemeClr>
                </a:solidFill>
                <a:sym typeface="Lato" panose="020F0502020204030203" pitchFamily="34" charset="0"/>
              </a:rPr>
              <a:t>Projections for battery CAPEX and OPEX by delivery year</a:t>
            </a:r>
          </a:p>
          <a:p>
            <a:pPr marL="182880" marR="0" lvl="1" indent="-182880" fontAlgn="base">
              <a:lnSpc>
                <a:spcPct val="100000"/>
              </a:lnSpc>
              <a:spcBef>
                <a:spcPts val="600"/>
              </a:spcBef>
              <a:spcAft>
                <a:spcPct val="0"/>
              </a:spcAft>
              <a:buClr>
                <a:srgbClr val="3C3C3B"/>
              </a:buClr>
              <a:buSzPct val="100000"/>
              <a:buFont typeface="Wingdings" panose="05000000000000000000" pitchFamily="2" charset="2"/>
              <a:buChar char="§"/>
              <a:tabLst/>
              <a:defRPr/>
            </a:pPr>
            <a:r>
              <a:rPr lang="en-GB" sz="1200" bmk="">
                <a:solidFill>
                  <a:schemeClr val="tx2">
                    <a:lumMod val="50000"/>
                  </a:schemeClr>
                </a:solidFill>
              </a:rPr>
              <a:t>Reports and datasets follow the same format with content tailored to specific markets</a:t>
            </a:r>
          </a:p>
        </p:txBody>
      </p:sp>
      <p:sp>
        <p:nvSpPr>
          <p:cNvPr id="29" name="TextBox 28">
            <a:extLst>
              <a:ext uri="{FF2B5EF4-FFF2-40B4-BE49-F238E27FC236}">
                <a16:creationId xmlns:a16="http://schemas.microsoft.com/office/drawing/2014/main" id="{3E998D07-3881-4B2B-A452-8D85EF7C3C04}"/>
              </a:ext>
            </a:extLst>
          </p:cNvPr>
          <p:cNvSpPr txBox="1"/>
          <p:nvPr/>
        </p:nvSpPr>
        <p:spPr>
          <a:xfrm>
            <a:off x="768352" y="4257349"/>
            <a:ext cx="3308348" cy="1244349"/>
          </a:xfrm>
          <a:prstGeom prst="rect">
            <a:avLst/>
          </a:prstGeom>
          <a:noFill/>
        </p:spPr>
        <p:txBody>
          <a:bodyPr wrap="square" lIns="0" tIns="0" rIns="0" bIns="0" rtlCol="0" anchor="t">
            <a:noAutofit/>
          </a:bodyPr>
          <a:lstStyle/>
          <a:p>
            <a:pPr marL="182880" indent="-182880" algn="l">
              <a:spcBef>
                <a:spcPts val="600"/>
              </a:spcBef>
              <a:buFont typeface="Wingdings" panose="05000000000000000000" pitchFamily="2" charset="2"/>
              <a:buChar char="§"/>
            </a:pPr>
            <a:r>
              <a:rPr lang="en-GB" sz="1200">
                <a:solidFill>
                  <a:schemeClr val="tx2">
                    <a:lumMod val="50000"/>
                  </a:schemeClr>
                </a:solidFill>
              </a:rPr>
              <a:t>Central case forecast prices provided at settlement period granularity until 2050</a:t>
            </a:r>
          </a:p>
          <a:p>
            <a:pPr marL="365760" lvl="1" indent="-182880">
              <a:spcBef>
                <a:spcPts val="600"/>
              </a:spcBef>
              <a:buFont typeface="Symbol" panose="05050102010706020507" pitchFamily="18" charset="2"/>
              <a:buChar char="-"/>
            </a:pPr>
            <a:r>
              <a:rPr lang="en-GB" sz="1200">
                <a:solidFill>
                  <a:schemeClr val="tx2">
                    <a:lumMod val="50000"/>
                  </a:schemeClr>
                </a:solidFill>
              </a:rPr>
              <a:t>Wholesale power prices</a:t>
            </a:r>
          </a:p>
          <a:p>
            <a:pPr marL="365760" lvl="1" indent="-182880">
              <a:spcBef>
                <a:spcPts val="600"/>
              </a:spcBef>
              <a:buFont typeface="Symbol" panose="05050102010706020507" pitchFamily="18" charset="2"/>
              <a:buChar char="-"/>
            </a:pPr>
            <a:r>
              <a:rPr lang="en-GB" sz="1200">
                <a:solidFill>
                  <a:schemeClr val="tx2">
                    <a:lumMod val="50000"/>
                  </a:schemeClr>
                </a:solidFill>
              </a:rPr>
              <a:t>Balancing market prices</a:t>
            </a:r>
          </a:p>
          <a:p>
            <a:pPr marL="365760" lvl="1" indent="-182880">
              <a:spcBef>
                <a:spcPts val="600"/>
              </a:spcBef>
              <a:buFont typeface="Symbol" panose="05050102010706020507" pitchFamily="18" charset="2"/>
              <a:buChar char="-"/>
            </a:pPr>
            <a:r>
              <a:rPr lang="en-GB" sz="1200">
                <a:solidFill>
                  <a:schemeClr val="tx2">
                    <a:lumMod val="50000"/>
                  </a:schemeClr>
                </a:solidFill>
              </a:rPr>
              <a:t>Ancillary services prices</a:t>
            </a:r>
          </a:p>
        </p:txBody>
      </p:sp>
      <p:sp>
        <p:nvSpPr>
          <p:cNvPr id="31" name="Rectangle 30">
            <a:extLst>
              <a:ext uri="{FF2B5EF4-FFF2-40B4-BE49-F238E27FC236}">
                <a16:creationId xmlns:a16="http://schemas.microsoft.com/office/drawing/2014/main" id="{B08246B8-3085-4B1F-97F4-E02AD071184A}"/>
              </a:ext>
            </a:extLst>
          </p:cNvPr>
          <p:cNvSpPr/>
          <p:nvPr/>
        </p:nvSpPr>
        <p:spPr>
          <a:xfrm>
            <a:off x="666954" y="3967131"/>
            <a:ext cx="1356155" cy="238281"/>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600"/>
              </a:spcBef>
            </a:pPr>
            <a:r>
              <a:rPr lang="en-GB" sz="1400" b="1">
                <a:solidFill>
                  <a:schemeClr val="tx2">
                    <a:lumMod val="50000"/>
                  </a:schemeClr>
                </a:solidFill>
              </a:rPr>
              <a:t>Forecast data</a:t>
            </a:r>
          </a:p>
        </p:txBody>
      </p:sp>
      <p:sp>
        <p:nvSpPr>
          <p:cNvPr id="36" name="Rectangle 35">
            <a:extLst>
              <a:ext uri="{FF2B5EF4-FFF2-40B4-BE49-F238E27FC236}">
                <a16:creationId xmlns:a16="http://schemas.microsoft.com/office/drawing/2014/main" id="{601DCF9C-821F-4465-ABBA-2D700936E6E2}"/>
              </a:ext>
            </a:extLst>
          </p:cNvPr>
          <p:cNvSpPr/>
          <p:nvPr/>
        </p:nvSpPr>
        <p:spPr>
          <a:xfrm>
            <a:off x="6241022" y="1917105"/>
            <a:ext cx="2102877" cy="247009"/>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600"/>
              </a:spcBef>
            </a:pPr>
            <a:r>
              <a:rPr lang="en-GB" sz="1400" b="1">
                <a:solidFill>
                  <a:schemeClr val="tx2">
                    <a:lumMod val="50000"/>
                  </a:schemeClr>
                </a:solidFill>
              </a:rPr>
              <a:t>Standalone Battery</a:t>
            </a:r>
          </a:p>
        </p:txBody>
      </p:sp>
      <p:sp>
        <p:nvSpPr>
          <p:cNvPr id="38" name="Rectangle 37">
            <a:extLst>
              <a:ext uri="{FF2B5EF4-FFF2-40B4-BE49-F238E27FC236}">
                <a16:creationId xmlns:a16="http://schemas.microsoft.com/office/drawing/2014/main" id="{5B352960-4B15-4ECD-B89D-370C84886830}"/>
              </a:ext>
            </a:extLst>
          </p:cNvPr>
          <p:cNvSpPr/>
          <p:nvPr/>
        </p:nvSpPr>
        <p:spPr>
          <a:xfrm>
            <a:off x="6241022" y="3926693"/>
            <a:ext cx="2839477" cy="276221"/>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600"/>
              </a:spcBef>
            </a:pPr>
            <a:r>
              <a:rPr lang="en-GB" sz="1400" b="1">
                <a:solidFill>
                  <a:schemeClr val="tx2">
                    <a:lumMod val="50000"/>
                  </a:schemeClr>
                </a:solidFill>
              </a:rPr>
              <a:t>Co-location  </a:t>
            </a:r>
          </a:p>
        </p:txBody>
      </p:sp>
      <p:sp>
        <p:nvSpPr>
          <p:cNvPr id="42" name="TextBox 41">
            <a:extLst>
              <a:ext uri="{FF2B5EF4-FFF2-40B4-BE49-F238E27FC236}">
                <a16:creationId xmlns:a16="http://schemas.microsoft.com/office/drawing/2014/main" id="{EF25D38D-8BC5-4A3D-AF21-D3CE770CCDA2}"/>
              </a:ext>
            </a:extLst>
          </p:cNvPr>
          <p:cNvSpPr txBox="1"/>
          <p:nvPr/>
        </p:nvSpPr>
        <p:spPr>
          <a:xfrm>
            <a:off x="6299677" y="2198817"/>
            <a:ext cx="3593623" cy="1470899"/>
          </a:xfrm>
          <a:prstGeom prst="rect">
            <a:avLst/>
          </a:prstGeom>
          <a:noFill/>
        </p:spPr>
        <p:txBody>
          <a:bodyPr wrap="square" lIns="0" tIns="0" rIns="0" bIns="0" rtlCol="0" anchor="t">
            <a:noAutofit/>
          </a:bodyPr>
          <a:lstStyle>
            <a:defPPr>
              <a:defRPr lang="en-US"/>
            </a:defPPr>
            <a:lvl1pPr indent="0">
              <a:spcBef>
                <a:spcPts val="600"/>
              </a:spcBef>
              <a:buFont typeface="Wingdings" panose="05000000000000000000" pitchFamily="2" charset="2"/>
              <a:buNone/>
              <a:defRPr sz="1200">
                <a:solidFill>
                  <a:schemeClr val="tx2">
                    <a:lumMod val="50000"/>
                  </a:schemeClr>
                </a:solidFill>
              </a:defRPr>
            </a:lvl1pPr>
          </a:lstStyle>
          <a:p>
            <a:pPr marL="182880" indent="-182880">
              <a:buFont typeface="Wingdings" panose="05000000000000000000" pitchFamily="2" charset="2"/>
              <a:buChar char="§"/>
            </a:pPr>
            <a:r>
              <a:rPr lang="en-GB" altLang="zh-CN" bmk=""/>
              <a:t>At least six investment cases per country or zone including:</a:t>
            </a:r>
          </a:p>
          <a:p>
            <a:pPr marL="365760" lvl="2" indent="-182880">
              <a:spcBef>
                <a:spcPts val="600"/>
              </a:spcBef>
              <a:buFont typeface="Symbol" panose="05050102010706020507" pitchFamily="18" charset="2"/>
              <a:buChar char="-"/>
            </a:pPr>
            <a:r>
              <a:rPr lang="en-GB" sz="1200" bmk="">
                <a:solidFill>
                  <a:schemeClr val="tx2">
                    <a:lumMod val="50000"/>
                  </a:schemeClr>
                </a:solidFill>
              </a:rPr>
              <a:t>Arbitrage of wholesale market and balancing market</a:t>
            </a:r>
          </a:p>
          <a:p>
            <a:pPr marL="365760" lvl="2" indent="-182880">
              <a:spcBef>
                <a:spcPts val="600"/>
              </a:spcBef>
              <a:buFont typeface="Symbol" panose="05050102010706020507" pitchFamily="18" charset="2"/>
              <a:buChar char="-"/>
            </a:pPr>
            <a:r>
              <a:rPr lang="en-GB" sz="1200" bmk="">
                <a:solidFill>
                  <a:schemeClr val="tx2">
                    <a:lumMod val="50000"/>
                  </a:schemeClr>
                </a:solidFill>
              </a:rPr>
              <a:t>Focused participation in frequency control market (if applicable)</a:t>
            </a:r>
          </a:p>
          <a:p>
            <a:pPr marL="171450" lvl="1" indent="-171450">
              <a:spcBef>
                <a:spcPts val="600"/>
              </a:spcBef>
              <a:buFont typeface="Wingdings" panose="05000000000000000000" pitchFamily="2" charset="2"/>
              <a:buChar char="§"/>
            </a:pPr>
            <a:r>
              <a:rPr lang="en-GB" sz="1200" bmk="">
                <a:solidFill>
                  <a:schemeClr val="tx2">
                    <a:lumMod val="50000"/>
                  </a:schemeClr>
                </a:solidFill>
              </a:rPr>
              <a:t>Annual project margins to 2050. IRR and NPV for at least two entry years</a:t>
            </a:r>
          </a:p>
        </p:txBody>
      </p:sp>
      <p:sp>
        <p:nvSpPr>
          <p:cNvPr id="43" name="TextBox 42">
            <a:extLst>
              <a:ext uri="{FF2B5EF4-FFF2-40B4-BE49-F238E27FC236}">
                <a16:creationId xmlns:a16="http://schemas.microsoft.com/office/drawing/2014/main" id="{5D253DCB-7BA7-4D07-89D4-7E462867049B}"/>
              </a:ext>
            </a:extLst>
          </p:cNvPr>
          <p:cNvSpPr txBox="1"/>
          <p:nvPr/>
        </p:nvSpPr>
        <p:spPr>
          <a:xfrm>
            <a:off x="6294245" y="4180601"/>
            <a:ext cx="3585342" cy="830510"/>
          </a:xfrm>
          <a:prstGeom prst="rect">
            <a:avLst/>
          </a:prstGeom>
          <a:noFill/>
        </p:spPr>
        <p:txBody>
          <a:bodyPr wrap="square" lIns="0" tIns="0" rIns="0" bIns="0" rtlCol="0" anchor="t">
            <a:noAutofit/>
          </a:bodyPr>
          <a:lstStyle/>
          <a:p>
            <a:pPr marL="182880" indent="-182880">
              <a:spcBef>
                <a:spcPts val="600"/>
              </a:spcBef>
              <a:buFont typeface="Wingdings" panose="05000000000000000000" pitchFamily="2" charset="2"/>
              <a:buChar char="§"/>
            </a:pPr>
            <a:r>
              <a:rPr lang="en-GB" sz="1200" bmk="">
                <a:solidFill>
                  <a:schemeClr val="tx2">
                    <a:lumMod val="50000"/>
                  </a:schemeClr>
                </a:solidFill>
                <a:sym typeface="Lato" panose="020F0502020204030203" pitchFamily="34" charset="0"/>
              </a:rPr>
              <a:t>Provided in markets with favourable economic or regulatory opportunities</a:t>
            </a:r>
          </a:p>
          <a:p>
            <a:pPr marL="182880" indent="-182880">
              <a:spcBef>
                <a:spcPts val="600"/>
              </a:spcBef>
              <a:buFont typeface="Wingdings" panose="05000000000000000000" pitchFamily="2" charset="2"/>
              <a:buChar char="§"/>
            </a:pPr>
            <a:r>
              <a:rPr lang="en-GB" sz="1200" bmk="">
                <a:solidFill>
                  <a:schemeClr val="tx2">
                    <a:lumMod val="50000"/>
                  </a:schemeClr>
                </a:solidFill>
                <a:sym typeface="Lato" panose="020F0502020204030203" pitchFamily="34" charset="0"/>
              </a:rPr>
              <a:t>At least two investment cases for battery co-located with solar PV and/or onshore wind </a:t>
            </a:r>
          </a:p>
          <a:p>
            <a:pPr marL="182880" lvl="1" indent="-182880">
              <a:spcBef>
                <a:spcPts val="600"/>
              </a:spcBef>
              <a:buFont typeface="Wingdings" panose="05000000000000000000" pitchFamily="2" charset="2"/>
              <a:buChar char="§"/>
            </a:pPr>
            <a:r>
              <a:rPr lang="en-GB" sz="1200" bmk="">
                <a:solidFill>
                  <a:schemeClr val="tx2">
                    <a:lumMod val="50000"/>
                  </a:schemeClr>
                </a:solidFill>
              </a:rPr>
              <a:t>Annual project margins to 2050. IRR and NPV for at least two entry years</a:t>
            </a:r>
          </a:p>
        </p:txBody>
      </p:sp>
      <p:sp>
        <p:nvSpPr>
          <p:cNvPr id="51" name="TextBox 50">
            <a:extLst>
              <a:ext uri="{FF2B5EF4-FFF2-40B4-BE49-F238E27FC236}">
                <a16:creationId xmlns:a16="http://schemas.microsoft.com/office/drawing/2014/main" id="{6906EE5C-597A-407F-93B3-66707140E581}"/>
              </a:ext>
            </a:extLst>
          </p:cNvPr>
          <p:cNvSpPr txBox="1"/>
          <p:nvPr/>
        </p:nvSpPr>
        <p:spPr>
          <a:xfrm>
            <a:off x="2042992" y="5589081"/>
            <a:ext cx="8512365" cy="681017"/>
          </a:xfrm>
          <a:prstGeom prst="rect">
            <a:avLst/>
          </a:prstGeom>
          <a:solidFill>
            <a:schemeClr val="accent6">
              <a:lumMod val="20000"/>
              <a:lumOff val="80000"/>
            </a:schemeClr>
          </a:solidFill>
          <a:ln w="19050">
            <a:solidFill>
              <a:schemeClr val="tx2"/>
            </a:solidFill>
            <a:prstDash val="dash"/>
          </a:ln>
        </p:spPr>
        <p:txBody>
          <a:bodyPr wrap="square" lIns="0" tIns="0" rIns="0" bIns="0" rtlCol="0">
            <a:noAutofit/>
          </a:bodyPr>
          <a:lstStyle/>
          <a:p>
            <a:pPr marL="0" indent="0" algn="l">
              <a:spcBef>
                <a:spcPts val="600"/>
              </a:spcBef>
              <a:buFont typeface="Wingdings" panose="05000000000000000000" pitchFamily="2" charset="2"/>
              <a:buNone/>
            </a:pPr>
            <a:endParaRPr lang="en-GB" sz="1200"/>
          </a:p>
        </p:txBody>
      </p:sp>
      <p:sp>
        <p:nvSpPr>
          <p:cNvPr id="52" name="TextBox 51">
            <a:extLst>
              <a:ext uri="{FF2B5EF4-FFF2-40B4-BE49-F238E27FC236}">
                <a16:creationId xmlns:a16="http://schemas.microsoft.com/office/drawing/2014/main" id="{C73F2D9E-E275-4B3F-8497-5A4718703C4C}"/>
              </a:ext>
            </a:extLst>
          </p:cNvPr>
          <p:cNvSpPr txBox="1"/>
          <p:nvPr/>
        </p:nvSpPr>
        <p:spPr>
          <a:xfrm>
            <a:off x="2151037" y="5727665"/>
            <a:ext cx="8296275" cy="442035"/>
          </a:xfrm>
          <a:prstGeom prst="rect">
            <a:avLst/>
          </a:prstGeom>
          <a:noFill/>
          <a:ln w="19050">
            <a:noFill/>
            <a:prstDash val="dash"/>
          </a:ln>
        </p:spPr>
        <p:txBody>
          <a:bodyPr wrap="square" lIns="72000" tIns="36000" rIns="36000" bIns="36000" rtlCol="0" anchor="ctr">
            <a:spAutoFit/>
          </a:bodyPr>
          <a:lstStyle/>
          <a:p>
            <a:pPr>
              <a:spcBef>
                <a:spcPts val="600"/>
              </a:spcBef>
            </a:pPr>
            <a:r>
              <a:rPr lang="en-GB" altLang="ja-JP" sz="1200" bmk="">
                <a:solidFill>
                  <a:schemeClr val="tx2">
                    <a:lumMod val="50000"/>
                  </a:schemeClr>
                </a:solidFill>
              </a:rPr>
              <a:t>Throughout the year you can contact us to discuss questions related to our analysis and our thoughts on flexibility market and policy developments.</a:t>
            </a:r>
            <a:endParaRPr lang="en-GB" sz="1200">
              <a:solidFill>
                <a:schemeClr val="tx2">
                  <a:lumMod val="50000"/>
                </a:schemeClr>
              </a:solidFill>
            </a:endParaRPr>
          </a:p>
        </p:txBody>
      </p:sp>
      <p:sp>
        <p:nvSpPr>
          <p:cNvPr id="53" name="Rectangle 52">
            <a:extLst>
              <a:ext uri="{FF2B5EF4-FFF2-40B4-BE49-F238E27FC236}">
                <a16:creationId xmlns:a16="http://schemas.microsoft.com/office/drawing/2014/main" id="{916F1BF4-41C7-4C4B-B6E0-3ACC54FBE8DE}"/>
              </a:ext>
            </a:extLst>
          </p:cNvPr>
          <p:cNvSpPr/>
          <p:nvPr/>
        </p:nvSpPr>
        <p:spPr>
          <a:xfrm>
            <a:off x="3769665" y="5467445"/>
            <a:ext cx="5059018" cy="229123"/>
          </a:xfrm>
          <a:prstGeom prst="rect">
            <a:avLst/>
          </a:prstGeom>
          <a:solidFill>
            <a:srgbClr val="4E5F6E"/>
          </a:solidFill>
        </p:spPr>
        <p:txBody>
          <a:bodyPr wrap="square" lIns="36000" tIns="36000" rIns="36000" bIns="36000" rtlCol="0" anchor="ctr">
            <a:noAutofit/>
          </a:bodyPr>
          <a:lstStyle/>
          <a:p>
            <a:pPr algn="ctr">
              <a:spcBef>
                <a:spcPts val="600"/>
              </a:spcBef>
            </a:pPr>
            <a:r>
              <a:rPr lang="en-GB" sz="1200" b="1">
                <a:solidFill>
                  <a:schemeClr val="bg1"/>
                </a:solidFill>
              </a:rPr>
              <a:t>Ongoing analyst support</a:t>
            </a:r>
          </a:p>
        </p:txBody>
      </p:sp>
      <p:pic>
        <p:nvPicPr>
          <p:cNvPr id="55" name="Picture 54">
            <a:extLst>
              <a:ext uri="{FF2B5EF4-FFF2-40B4-BE49-F238E27FC236}">
                <a16:creationId xmlns:a16="http://schemas.microsoft.com/office/drawing/2014/main" id="{90811985-67E6-4D1B-AABD-B84A0C5414E3}"/>
              </a:ext>
            </a:extLst>
          </p:cNvPr>
          <p:cNvPicPr>
            <a:picLocks noChangeAspect="1"/>
          </p:cNvPicPr>
          <p:nvPr/>
        </p:nvPicPr>
        <p:blipFill>
          <a:blip r:embed="rId6"/>
          <a:stretch>
            <a:fillRect/>
          </a:stretch>
        </p:blipFill>
        <p:spPr>
          <a:xfrm>
            <a:off x="9889616" y="2399228"/>
            <a:ext cx="1633700" cy="918957"/>
          </a:xfrm>
          <a:prstGeom prst="rect">
            <a:avLst/>
          </a:prstGeom>
          <a:ln w="1270">
            <a:solidFill>
              <a:schemeClr val="tx1"/>
            </a:solidFill>
          </a:ln>
        </p:spPr>
      </p:pic>
      <p:pic>
        <p:nvPicPr>
          <p:cNvPr id="56" name="Picture 55">
            <a:extLst>
              <a:ext uri="{FF2B5EF4-FFF2-40B4-BE49-F238E27FC236}">
                <a16:creationId xmlns:a16="http://schemas.microsoft.com/office/drawing/2014/main" id="{08CBBF79-23A5-46BF-AB38-A3D443AEF2B0}"/>
              </a:ext>
            </a:extLst>
          </p:cNvPr>
          <p:cNvPicPr>
            <a:picLocks noChangeAspect="1"/>
          </p:cNvPicPr>
          <p:nvPr/>
        </p:nvPicPr>
        <p:blipFill>
          <a:blip r:embed="rId7"/>
          <a:stretch>
            <a:fillRect/>
          </a:stretch>
        </p:blipFill>
        <p:spPr>
          <a:xfrm>
            <a:off x="4280029" y="2416561"/>
            <a:ext cx="1553674" cy="873942"/>
          </a:xfrm>
          <a:prstGeom prst="rect">
            <a:avLst/>
          </a:prstGeom>
          <a:ln w="1270">
            <a:solidFill>
              <a:schemeClr val="tx1"/>
            </a:solidFill>
          </a:ln>
        </p:spPr>
      </p:pic>
      <p:pic>
        <p:nvPicPr>
          <p:cNvPr id="57" name="Picture 23">
            <a:extLst>
              <a:ext uri="{FF2B5EF4-FFF2-40B4-BE49-F238E27FC236}">
                <a16:creationId xmlns:a16="http://schemas.microsoft.com/office/drawing/2014/main" id="{DF7AA714-FB87-4860-85A8-D907B5C9AA9E}"/>
              </a:ext>
            </a:extLst>
          </p:cNvPr>
          <p:cNvPicPr>
            <a:picLocks/>
          </p:cNvPicPr>
          <p:nvPr/>
        </p:nvPicPr>
        <p:blipFill rotWithShape="1">
          <a:blip r:embed="rId8" cstate="print">
            <a:extLst>
              <a:ext uri="{28A0092B-C50C-407E-A947-70E740481C1C}">
                <a14:useLocalDpi xmlns:a14="http://schemas.microsoft.com/office/drawing/2010/main"/>
              </a:ext>
            </a:extLst>
          </a:blip>
          <a:srcRect l="2656" r="24405"/>
          <a:stretch/>
        </p:blipFill>
        <p:spPr>
          <a:xfrm>
            <a:off x="4262928" y="4131915"/>
            <a:ext cx="1553672" cy="1027863"/>
          </a:xfrm>
          <a:prstGeom prst="rect">
            <a:avLst/>
          </a:prstGeom>
          <a:ln w="1270">
            <a:solidFill>
              <a:schemeClr val="tx1"/>
            </a:solidFill>
          </a:ln>
          <a:effectLst>
            <a:outerShdw blurRad="63500" sx="102000" sy="102000" algn="ctr" rotWithShape="0">
              <a:schemeClr val="accent5">
                <a:alpha val="40000"/>
              </a:schemeClr>
            </a:outerShdw>
          </a:effectLst>
        </p:spPr>
      </p:pic>
      <p:pic>
        <p:nvPicPr>
          <p:cNvPr id="58" name="Picture 57">
            <a:extLst>
              <a:ext uri="{FF2B5EF4-FFF2-40B4-BE49-F238E27FC236}">
                <a16:creationId xmlns:a16="http://schemas.microsoft.com/office/drawing/2014/main" id="{7D3B4743-44A8-4856-BD69-69888F690090}"/>
              </a:ext>
            </a:extLst>
          </p:cNvPr>
          <p:cNvPicPr>
            <a:picLocks noChangeAspect="1"/>
          </p:cNvPicPr>
          <p:nvPr/>
        </p:nvPicPr>
        <p:blipFill>
          <a:blip r:embed="rId9"/>
          <a:stretch>
            <a:fillRect/>
          </a:stretch>
        </p:blipFill>
        <p:spPr>
          <a:xfrm>
            <a:off x="9889616" y="4208876"/>
            <a:ext cx="1553673" cy="873942"/>
          </a:xfrm>
          <a:prstGeom prst="rect">
            <a:avLst/>
          </a:prstGeom>
          <a:ln w="1270">
            <a:solidFill>
              <a:schemeClr val="tx1"/>
            </a:solidFill>
          </a:ln>
        </p:spPr>
      </p:pic>
    </p:spTree>
    <p:extLst>
      <p:ext uri="{BB962C8B-B14F-4D97-AF65-F5344CB8AC3E}">
        <p14:creationId xmlns:p14="http://schemas.microsoft.com/office/powerpoint/2010/main" val="30155315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7A197A65-F63D-4424-BC92-A58BBC93AF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20" name="Object 19" hidden="1">
                        <a:extLst>
                          <a:ext uri="{FF2B5EF4-FFF2-40B4-BE49-F238E27FC236}">
                            <a16:creationId xmlns:a16="http://schemas.microsoft.com/office/drawing/2014/main" id="{7A197A65-F63D-4424-BC92-A58BBC93AF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a:solidFill>
                <a:schemeClr val="tx1"/>
              </a:solidFill>
              <a:latin typeface="Lato" panose="020F0502020204030203"/>
              <a:sym typeface="Lato" panose="020F0502020204030203"/>
            </a:endParaRPr>
          </a:p>
        </p:txBody>
      </p:sp>
      <p:sp>
        <p:nvSpPr>
          <p:cNvPr id="10" name="Text Placeholder 9">
            <a:extLst>
              <a:ext uri="{FF2B5EF4-FFF2-40B4-BE49-F238E27FC236}">
                <a16:creationId xmlns:a16="http://schemas.microsoft.com/office/drawing/2014/main" id="{8FB65BD7-6B95-4546-B35D-70802A2A9406}"/>
              </a:ext>
            </a:extLst>
          </p:cNvPr>
          <p:cNvSpPr>
            <a:spLocks noGrp="1"/>
          </p:cNvSpPr>
          <p:nvPr>
            <p:ph type="body" sz="quarter" idx="27"/>
          </p:nvPr>
        </p:nvSpPr>
        <p:spPr>
          <a:xfrm>
            <a:off x="381599" y="1270033"/>
            <a:ext cx="11428800" cy="184666"/>
          </a:xfrm>
        </p:spPr>
        <p:txBody>
          <a:bodyPr/>
          <a:lstStyle/>
          <a:p>
            <a:r>
              <a:rPr lang="en-GB">
                <a:solidFill>
                  <a:schemeClr val="tx1"/>
                </a:solidFill>
              </a:rPr>
              <a:t> </a:t>
            </a:r>
          </a:p>
        </p:txBody>
      </p:sp>
      <p:sp>
        <p:nvSpPr>
          <p:cNvPr id="24" name="Text Placeholder 23">
            <a:extLst>
              <a:ext uri="{FF2B5EF4-FFF2-40B4-BE49-F238E27FC236}">
                <a16:creationId xmlns:a16="http://schemas.microsoft.com/office/drawing/2014/main" id="{4A0D9E8E-061D-4764-934A-DF30E1D56280}"/>
              </a:ext>
            </a:extLst>
          </p:cNvPr>
          <p:cNvSpPr>
            <a:spLocks noGrp="1"/>
          </p:cNvSpPr>
          <p:nvPr>
            <p:ph type="body" sz="quarter" idx="22"/>
          </p:nvPr>
        </p:nvSpPr>
        <p:spPr>
          <a:xfrm>
            <a:off x="381001" y="6715169"/>
            <a:ext cx="2766783" cy="110800"/>
          </a:xfrm>
        </p:spPr>
        <p:txBody>
          <a:bodyPr/>
          <a:lstStyle/>
          <a:p>
            <a:r>
              <a:rPr lang="en-GB"/>
              <a:t>Sources: Aurora Energy Research, BEIS, National Grid, Ofgem</a:t>
            </a:r>
          </a:p>
        </p:txBody>
      </p:sp>
      <p:sp>
        <p:nvSpPr>
          <p:cNvPr id="11" name="Title 10">
            <a:extLst>
              <a:ext uri="{FF2B5EF4-FFF2-40B4-BE49-F238E27FC236}">
                <a16:creationId xmlns:a16="http://schemas.microsoft.com/office/drawing/2014/main" id="{A8E60CA5-93AD-429B-BD5C-40E42A6D38E2}"/>
              </a:ext>
            </a:extLst>
          </p:cNvPr>
          <p:cNvSpPr>
            <a:spLocks noGrp="1"/>
          </p:cNvSpPr>
          <p:nvPr>
            <p:ph type="title"/>
          </p:nvPr>
        </p:nvSpPr>
        <p:spPr/>
        <p:txBody>
          <a:bodyPr vert="horz"/>
          <a:lstStyle/>
          <a:p>
            <a:r>
              <a:rPr lang="en-GB">
                <a:solidFill>
                  <a:schemeClr val="tx1"/>
                </a:solidFill>
              </a:rPr>
              <a:t>Grid scale battery storage assets typically participate in up to four types of markets, with further access to additional ancillary services</a:t>
            </a:r>
          </a:p>
        </p:txBody>
      </p:sp>
      <p:sp>
        <p:nvSpPr>
          <p:cNvPr id="3" name="Text Placeholder 2">
            <a:extLst>
              <a:ext uri="{FF2B5EF4-FFF2-40B4-BE49-F238E27FC236}">
                <a16:creationId xmlns:a16="http://schemas.microsoft.com/office/drawing/2014/main" id="{6A56B860-08EF-533D-6044-64199A05E039}"/>
              </a:ext>
            </a:extLst>
          </p:cNvPr>
          <p:cNvSpPr>
            <a:spLocks noGrp="1"/>
          </p:cNvSpPr>
          <p:nvPr>
            <p:ph type="body" sz="quarter" idx="32"/>
          </p:nvPr>
        </p:nvSpPr>
        <p:spPr>
          <a:xfrm>
            <a:off x="381600" y="6474841"/>
            <a:ext cx="11428800" cy="221599"/>
          </a:xfrm>
        </p:spPr>
        <p:txBody>
          <a:bodyPr/>
          <a:lstStyle/>
          <a:p>
            <a:r>
              <a:rPr lang="en-GB"/>
              <a:t>1) Includes Balancing Mechanisms in Great Britain and Ireland and frequency products with full activation time &gt; 10 minutes such as </a:t>
            </a:r>
            <a:r>
              <a:rPr lang="en-GB" err="1"/>
              <a:t>mFRR</a:t>
            </a:r>
            <a:r>
              <a:rPr lang="en-GB"/>
              <a:t>, RR, and Secondary/Tertiary Reserves within Italy’s MSD; 2) Includes frequency products with full activation time &lt; 10 minutes such as FFR, FCR and </a:t>
            </a:r>
            <a:r>
              <a:rPr lang="en-GB" err="1"/>
              <a:t>aFRR</a:t>
            </a:r>
            <a:endParaRPr lang="en-GB"/>
          </a:p>
        </p:txBody>
      </p:sp>
      <p:sp>
        <p:nvSpPr>
          <p:cNvPr id="12" name="Text Placeholder 11">
            <a:extLst>
              <a:ext uri="{FF2B5EF4-FFF2-40B4-BE49-F238E27FC236}">
                <a16:creationId xmlns:a16="http://schemas.microsoft.com/office/drawing/2014/main" id="{5934FC2C-3887-4C4D-A2AD-D28B8845993F}"/>
              </a:ext>
            </a:extLst>
          </p:cNvPr>
          <p:cNvSpPr>
            <a:spLocks noGrp="1"/>
          </p:cNvSpPr>
          <p:nvPr>
            <p:ph type="body" sz="quarter" idx="31"/>
          </p:nvPr>
        </p:nvSpPr>
        <p:spPr>
          <a:xfrm>
            <a:off x="381599" y="79401"/>
            <a:ext cx="4431021" cy="184666"/>
          </a:xfrm>
        </p:spPr>
        <p:txBody>
          <a:bodyPr/>
          <a:lstStyle/>
          <a:p>
            <a:r>
              <a:rPr lang="en-GB"/>
              <a:t>		Policy and regulatory environment - Revenue opportunities</a:t>
            </a:r>
          </a:p>
        </p:txBody>
      </p:sp>
      <p:sp>
        <p:nvSpPr>
          <p:cNvPr id="35" name="Arrow: Right 10"/>
          <p:cNvSpPr/>
          <p:nvPr/>
        </p:nvSpPr>
        <p:spPr>
          <a:xfrm>
            <a:off x="381000" y="1587082"/>
            <a:ext cx="11428799" cy="583474"/>
          </a:xfrm>
          <a:prstGeom prst="rightArrow">
            <a:avLst>
              <a:gd name="adj1" fmla="val 50000"/>
              <a:gd name="adj2" fmla="val 60883"/>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9" name="TextBox 38"/>
          <p:cNvSpPr txBox="1"/>
          <p:nvPr/>
        </p:nvSpPr>
        <p:spPr>
          <a:xfrm>
            <a:off x="11232633" y="1282996"/>
            <a:ext cx="588303" cy="184666"/>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effectLst/>
                <a:uLnTx/>
                <a:uFillTx/>
                <a:latin typeface="Lato" panose="020F0502020204030203" pitchFamily="34" charset="0"/>
                <a:ea typeface="Lato" panose="020F0502020204030203" pitchFamily="34" charset="0"/>
                <a:cs typeface="Lato" panose="020F0502020204030203" pitchFamily="34" charset="0"/>
              </a:rPr>
              <a:t>Delivery</a:t>
            </a:r>
          </a:p>
        </p:txBody>
      </p:sp>
      <p:sp>
        <p:nvSpPr>
          <p:cNvPr id="42" name="TextBox 41"/>
          <p:cNvSpPr txBox="1"/>
          <p:nvPr/>
        </p:nvSpPr>
        <p:spPr>
          <a:xfrm>
            <a:off x="381000" y="1271956"/>
            <a:ext cx="1005083" cy="184666"/>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effectLst/>
                <a:uLnTx/>
                <a:uFillTx/>
                <a:latin typeface="Lato" panose="020F0502020204030203" pitchFamily="34" charset="0"/>
                <a:ea typeface="Lato" panose="020F0502020204030203" pitchFamily="34" charset="0"/>
                <a:cs typeface="Lato" panose="020F0502020204030203" pitchFamily="34" charset="0"/>
              </a:rPr>
              <a:t>Response time</a:t>
            </a:r>
          </a:p>
        </p:txBody>
      </p:sp>
      <p:sp>
        <p:nvSpPr>
          <p:cNvPr id="45" name="Isosceles Triangle 44"/>
          <p:cNvSpPr/>
          <p:nvPr/>
        </p:nvSpPr>
        <p:spPr>
          <a:xfrm rot="10800000">
            <a:off x="11677708" y="1516278"/>
            <a:ext cx="145992" cy="227965"/>
          </a:xfrm>
          <a:prstGeom prst="triangle">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3" name="TextBox 52"/>
          <p:cNvSpPr txBox="1"/>
          <p:nvPr/>
        </p:nvSpPr>
        <p:spPr>
          <a:xfrm>
            <a:off x="708537" y="1786486"/>
            <a:ext cx="1123406"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effectLst/>
                <a:uLnTx/>
                <a:uFillTx/>
                <a:latin typeface="Lato" panose="020F0502020204030203" pitchFamily="34" charset="0"/>
                <a:ea typeface="Lato" panose="020F0502020204030203" pitchFamily="34" charset="0"/>
                <a:cs typeface="Lato" panose="020F0502020204030203" pitchFamily="34" charset="0"/>
              </a:rPr>
              <a:t>Years</a:t>
            </a:r>
          </a:p>
        </p:txBody>
      </p:sp>
      <p:sp>
        <p:nvSpPr>
          <p:cNvPr id="57" name="TextBox 56"/>
          <p:cNvSpPr txBox="1"/>
          <p:nvPr/>
        </p:nvSpPr>
        <p:spPr>
          <a:xfrm>
            <a:off x="3800293" y="1786486"/>
            <a:ext cx="1123406"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effectLst/>
                <a:uLnTx/>
                <a:uFillTx/>
                <a:latin typeface="Lato" panose="020F0502020204030203" pitchFamily="34" charset="0"/>
                <a:ea typeface="Lato" panose="020F0502020204030203" pitchFamily="34" charset="0"/>
                <a:cs typeface="Lato" panose="020F0502020204030203" pitchFamily="34" charset="0"/>
              </a:rPr>
              <a:t>Hours</a:t>
            </a:r>
          </a:p>
        </p:txBody>
      </p:sp>
      <p:sp>
        <p:nvSpPr>
          <p:cNvPr id="58" name="TextBox 57"/>
          <p:cNvSpPr txBox="1"/>
          <p:nvPr/>
        </p:nvSpPr>
        <p:spPr>
          <a:xfrm>
            <a:off x="6892049" y="1786486"/>
            <a:ext cx="1264894"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effectLst/>
                <a:uLnTx/>
                <a:uFillTx/>
                <a:latin typeface="Lato" panose="020F0502020204030203" pitchFamily="34" charset="0"/>
                <a:ea typeface="Lato" panose="020F0502020204030203" pitchFamily="34" charset="0"/>
                <a:cs typeface="Lato" panose="020F0502020204030203" pitchFamily="34" charset="0"/>
              </a:rPr>
              <a:t>Minutes</a:t>
            </a:r>
          </a:p>
        </p:txBody>
      </p:sp>
      <p:sp>
        <p:nvSpPr>
          <p:cNvPr id="62" name="TextBox 61"/>
          <p:cNvSpPr txBox="1"/>
          <p:nvPr/>
        </p:nvSpPr>
        <p:spPr>
          <a:xfrm>
            <a:off x="10125292" y="1786486"/>
            <a:ext cx="1264894"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effectLst/>
                <a:uLnTx/>
                <a:uFillTx/>
                <a:latin typeface="Lato" panose="020F0502020204030203" pitchFamily="34" charset="0"/>
                <a:ea typeface="Lato" panose="020F0502020204030203" pitchFamily="34" charset="0"/>
                <a:cs typeface="Lato" panose="020F0502020204030203" pitchFamily="34" charset="0"/>
              </a:rPr>
              <a:t>Seconds</a:t>
            </a:r>
          </a:p>
        </p:txBody>
      </p:sp>
      <p:sp>
        <p:nvSpPr>
          <p:cNvPr id="43" name="TextBox 42">
            <a:extLst>
              <a:ext uri="{FF2B5EF4-FFF2-40B4-BE49-F238E27FC236}">
                <a16:creationId xmlns:a16="http://schemas.microsoft.com/office/drawing/2014/main" id="{14C12ADA-717B-40BD-962F-99C9EA88BA44}"/>
              </a:ext>
            </a:extLst>
          </p:cNvPr>
          <p:cNvSpPr txBox="1"/>
          <p:nvPr/>
        </p:nvSpPr>
        <p:spPr>
          <a:xfrm>
            <a:off x="3230081" y="2209800"/>
            <a:ext cx="2411624" cy="252000"/>
          </a:xfrm>
          <a:prstGeom prst="rect">
            <a:avLst/>
          </a:prstGeom>
          <a:solidFill>
            <a:schemeClr val="accent6">
              <a:lumMod val="40000"/>
              <a:lumOff val="60000"/>
            </a:schemeClr>
          </a:solidFill>
          <a:ln w="28575">
            <a:noFill/>
          </a:ln>
        </p:spPr>
        <p:txBody>
          <a:bodyPr wrap="square" lIns="72000" tIns="72000" rIns="72000" bIns="72000" rtlCol="0" anchor="ctr" anchorCtr="0">
            <a:noAutofit/>
          </a:bodyPr>
          <a:lstStyle>
            <a:defPPr>
              <a:defRPr lang="en-US"/>
            </a:defPPr>
            <a:lvl1pPr lvl="0" algn="ctr">
              <a:spcAft>
                <a:spcPts val="600"/>
              </a:spcAft>
              <a:defRPr sz="1000" b="1">
                <a:solidFill>
                  <a:srgbClr val="000000"/>
                </a:solidFill>
                <a:latin typeface="+mj-lt"/>
              </a:defRPr>
            </a:lvl1pPr>
          </a:lstStyle>
          <a:p>
            <a:pPr algn="r">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Wholesale &amp; Intraday Markets     </a:t>
            </a:r>
          </a:p>
        </p:txBody>
      </p:sp>
      <p:sp>
        <p:nvSpPr>
          <p:cNvPr id="44" name="TextBox 43">
            <a:extLst>
              <a:ext uri="{FF2B5EF4-FFF2-40B4-BE49-F238E27FC236}">
                <a16:creationId xmlns:a16="http://schemas.microsoft.com/office/drawing/2014/main" id="{D48CFD99-D83E-42C3-AC66-1AC01C5B7EA2}"/>
              </a:ext>
            </a:extLst>
          </p:cNvPr>
          <p:cNvSpPr txBox="1"/>
          <p:nvPr/>
        </p:nvSpPr>
        <p:spPr>
          <a:xfrm>
            <a:off x="3176833" y="2514599"/>
            <a:ext cx="2464872" cy="2503867"/>
          </a:xfrm>
          <a:prstGeom prst="rect">
            <a:avLst/>
          </a:prstGeom>
          <a:noFill/>
          <a:ln w="28575">
            <a:solidFill>
              <a:schemeClr val="accent6"/>
            </a:solidFill>
          </a:ln>
        </p:spPr>
        <p:txBody>
          <a:bodyPr vert="horz" lIns="108000" tIns="108000" rIns="108000" bIns="108000" rtlCol="0" anchor="t" anchorCtr="0">
            <a:noAutofit/>
          </a:bodyPr>
          <a:lstStyle>
            <a:defPPr>
              <a:defRPr lang="en-US"/>
            </a:defPPr>
            <a:lvl1pPr marL="285750" indent="-285750" defTabSz="685783">
              <a:lnSpc>
                <a:spcPct val="110000"/>
              </a:lnSpc>
              <a:spcBef>
                <a:spcPts val="600"/>
              </a:spcBef>
              <a:spcAft>
                <a:spcPts val="600"/>
              </a:spcAft>
              <a:buFont typeface="Wingdings" panose="05000000000000000000" pitchFamily="2" charset="2"/>
              <a:buChar char="§"/>
              <a:defRPr sz="1200"/>
            </a:lvl1pPr>
            <a:lvl2pPr marL="216000" lvl="1" indent="-216000" defTabSz="685783">
              <a:lnSpc>
                <a:spcPct val="100000"/>
              </a:lnSpc>
              <a:spcBef>
                <a:spcPts val="0"/>
              </a:spcBef>
              <a:spcAft>
                <a:spcPts val="600"/>
              </a:spcAft>
              <a:buFont typeface="Wingdings" panose="05000000000000000000" pitchFamily="2" charset="2"/>
              <a:buChar char="§"/>
              <a:defRPr sz="1200">
                <a:solidFill>
                  <a:srgbClr val="000000"/>
                </a:solidFill>
              </a:defRPr>
            </a:lvl2pPr>
            <a:lvl3pPr marL="971532" indent="-285750" defTabSz="685783">
              <a:lnSpc>
                <a:spcPct val="90000"/>
              </a:lnSpc>
              <a:spcBef>
                <a:spcPts val="375"/>
              </a:spcBef>
              <a:buFontTx/>
              <a:buChar char="-"/>
              <a:defRPr sz="1400"/>
            </a:lvl3pPr>
            <a:lvl4pPr marL="1314424" indent="-285750" defTabSz="685783">
              <a:lnSpc>
                <a:spcPct val="90000"/>
              </a:lnSpc>
              <a:spcBef>
                <a:spcPts val="375"/>
              </a:spcBef>
              <a:buSzPct val="80000"/>
              <a:buFontTx/>
              <a:buChar char="-"/>
              <a:defRPr sz="1400"/>
            </a:lvl4pPr>
            <a:lvl5pPr marL="1657316" indent="-285750" defTabSz="685783">
              <a:lnSpc>
                <a:spcPct val="90000"/>
              </a:lnSpc>
              <a:spcBef>
                <a:spcPts val="375"/>
              </a:spcBef>
              <a:buFontTx/>
              <a:buChar char="-"/>
              <a:defRPr sz="1400"/>
            </a:lvl5pPr>
            <a:lvl6pPr marL="1885903" indent="-171446" defTabSz="685783">
              <a:lnSpc>
                <a:spcPct val="90000"/>
              </a:lnSpc>
              <a:spcBef>
                <a:spcPts val="375"/>
              </a:spcBef>
              <a:buFont typeface="Arial" panose="020B0604020202020204" pitchFamily="34" charset="0"/>
              <a:buChar char="•"/>
              <a:defRPr sz="1350"/>
            </a:lvl6pPr>
            <a:lvl7pPr marL="2228795" indent="-171446" defTabSz="685783">
              <a:lnSpc>
                <a:spcPct val="90000"/>
              </a:lnSpc>
              <a:spcBef>
                <a:spcPts val="375"/>
              </a:spcBef>
              <a:buFont typeface="Arial" panose="020B0604020202020204" pitchFamily="34" charset="0"/>
              <a:buChar char="•"/>
              <a:defRPr sz="1350"/>
            </a:lvl7pPr>
            <a:lvl8pPr marL="2571686" indent="-171446" defTabSz="685783">
              <a:lnSpc>
                <a:spcPct val="90000"/>
              </a:lnSpc>
              <a:spcBef>
                <a:spcPts val="375"/>
              </a:spcBef>
              <a:buFont typeface="Arial" panose="020B0604020202020204" pitchFamily="34" charset="0"/>
              <a:buChar char="•"/>
              <a:defRPr sz="1350"/>
            </a:lvl8pPr>
            <a:lvl9pPr marL="2914577" indent="-171446" defTabSz="685783">
              <a:lnSpc>
                <a:spcPct val="90000"/>
              </a:lnSpc>
              <a:spcBef>
                <a:spcPts val="375"/>
              </a:spcBef>
              <a:buFont typeface="Arial" panose="020B0604020202020204" pitchFamily="34" charset="0"/>
              <a:buChar char="•"/>
              <a:defRPr sz="1350"/>
            </a:lvl9pPr>
          </a:lstStyle>
          <a:p>
            <a:pPr marL="182880" lvl="1" indent="-182880">
              <a:spcAft>
                <a:spcPts val="300"/>
              </a:spcAft>
              <a:buFont typeface="Wingdings" panose="05000000000000000000" pitchFamily="2" charset="2"/>
              <a:buChar char="§"/>
            </a:pPr>
            <a:r>
              <a:rPr lang="en-GB" sz="1100" kern="1200">
                <a:solidFill>
                  <a:schemeClr val="tx1"/>
                </a:solidFill>
                <a:latin typeface="Lato" panose="020F0502020204030203" pitchFamily="34" charset="0"/>
                <a:ea typeface="Lato" panose="020F0502020204030203" pitchFamily="34" charset="0"/>
                <a:cs typeface="Lato" panose="020F0502020204030203" pitchFamily="34" charset="0"/>
              </a:rPr>
              <a:t>The day-ahead market provides a platform to buy and sell power to meet demand every hour </a:t>
            </a:r>
          </a:p>
          <a:p>
            <a:pPr marL="182880" lvl="1" indent="-182880">
              <a:spcAft>
                <a:spcPts val="300"/>
              </a:spcAft>
              <a:buFont typeface="Wingdings" panose="05000000000000000000" pitchFamily="2" charset="2"/>
              <a:buChar char="§"/>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T</a:t>
            </a:r>
            <a:r>
              <a:rPr lang="en-GB" sz="1100" kern="1200">
                <a:solidFill>
                  <a:schemeClr val="tx1"/>
                </a:solidFill>
                <a:latin typeface="Lato" panose="020F0502020204030203" pitchFamily="34" charset="0"/>
                <a:ea typeface="Lato" panose="020F0502020204030203" pitchFamily="34" charset="0"/>
                <a:cs typeface="Lato" panose="020F0502020204030203" pitchFamily="34" charset="0"/>
              </a:rPr>
              <a:t>he intraday market procures continuous trading during the day</a:t>
            </a:r>
          </a:p>
          <a:p>
            <a:pPr marL="182880" lvl="1" indent="-182880">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Contracted from years ahead to T-1 hour trading</a:t>
            </a:r>
            <a:endParaRPr lang="en-GB" sz="1100" kern="1200">
              <a:solidFill>
                <a:schemeClr val="tx1"/>
              </a:solidFill>
              <a:latin typeface="Lato" panose="020F0502020204030203" pitchFamily="34" charset="0"/>
              <a:ea typeface="Lato" panose="020F0502020204030203" pitchFamily="34" charset="0"/>
              <a:cs typeface="Lato" panose="020F0502020204030203" pitchFamily="34" charset="0"/>
            </a:endParaRPr>
          </a:p>
          <a:p>
            <a:pPr marL="182880" lvl="1" indent="-182880">
              <a:spcAft>
                <a:spcPts val="300"/>
              </a:spcAft>
              <a:buFont typeface="Wingdings" panose="05000000000000000000" pitchFamily="2" charset="2"/>
              <a:buChar char="§"/>
            </a:pPr>
            <a:r>
              <a:rPr lang="en-GB" sz="1100" kern="1200">
                <a:solidFill>
                  <a:schemeClr val="tx1"/>
                </a:solidFill>
                <a:latin typeface="Lato" panose="020F0502020204030203" pitchFamily="34" charset="0"/>
                <a:ea typeface="Lato" panose="020F0502020204030203" pitchFamily="34" charset="0"/>
                <a:cs typeface="Lato" panose="020F0502020204030203" pitchFamily="34" charset="0"/>
              </a:rPr>
              <a:t>Batteries can take advantage of arbitrage opportunities on both the day-ahead and the intraday markets</a:t>
            </a:r>
          </a:p>
        </p:txBody>
      </p:sp>
      <p:sp>
        <p:nvSpPr>
          <p:cNvPr id="46" name="TextBox 45">
            <a:extLst>
              <a:ext uri="{FF2B5EF4-FFF2-40B4-BE49-F238E27FC236}">
                <a16:creationId xmlns:a16="http://schemas.microsoft.com/office/drawing/2014/main" id="{14C12ADA-717B-40BD-962F-99C9EA88BA44}"/>
              </a:ext>
            </a:extLst>
          </p:cNvPr>
          <p:cNvSpPr txBox="1"/>
          <p:nvPr/>
        </p:nvSpPr>
        <p:spPr>
          <a:xfrm>
            <a:off x="5866044" y="2209801"/>
            <a:ext cx="3011256" cy="252000"/>
          </a:xfrm>
          <a:prstGeom prst="rect">
            <a:avLst/>
          </a:prstGeom>
          <a:solidFill>
            <a:schemeClr val="accent6">
              <a:lumMod val="40000"/>
              <a:lumOff val="60000"/>
            </a:schemeClr>
          </a:solidFill>
          <a:ln w="28575">
            <a:noFill/>
          </a:ln>
        </p:spPr>
        <p:txBody>
          <a:bodyPr wrap="square" lIns="72000" tIns="72000" rIns="72000" bIns="72000" rtlCol="0" anchor="ctr" anchorCtr="0">
            <a:noAutofit/>
          </a:bodyPr>
          <a:lstStyle>
            <a:defPPr>
              <a:defRPr lang="en-US"/>
            </a:defPPr>
            <a:lvl1pPr lvl="0" algn="ctr">
              <a:spcAft>
                <a:spcPts val="600"/>
              </a:spcAft>
              <a:defRPr sz="1000" b="1">
                <a:solidFill>
                  <a:srgbClr val="000000"/>
                </a:solidFill>
                <a:latin typeface="+mj-lt"/>
              </a:defRPr>
            </a:lvl1pPr>
          </a:lstStyle>
          <a:p>
            <a:pPr>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Balancing and Restoration Services</a:t>
            </a:r>
            <a:r>
              <a:rPr lang="en-GB" sz="1100" baseline="30000">
                <a:solidFill>
                  <a:schemeClr val="tx1"/>
                </a:solidFill>
                <a:latin typeface="Lato" panose="020F0502020204030203" pitchFamily="34" charset="0"/>
                <a:ea typeface="Lato" panose="020F0502020204030203" pitchFamily="34" charset="0"/>
                <a:cs typeface="Lato" panose="020F0502020204030203" pitchFamily="34" charset="0"/>
              </a:rPr>
              <a:t>1</a:t>
            </a:r>
          </a:p>
        </p:txBody>
      </p:sp>
      <p:sp>
        <p:nvSpPr>
          <p:cNvPr id="47" name="TextBox 46">
            <a:extLst>
              <a:ext uri="{FF2B5EF4-FFF2-40B4-BE49-F238E27FC236}">
                <a16:creationId xmlns:a16="http://schemas.microsoft.com/office/drawing/2014/main" id="{D48CFD99-D83E-42C3-AC66-1AC01C5B7EA2}"/>
              </a:ext>
            </a:extLst>
          </p:cNvPr>
          <p:cNvSpPr txBox="1"/>
          <p:nvPr/>
        </p:nvSpPr>
        <p:spPr>
          <a:xfrm>
            <a:off x="5866042" y="2514598"/>
            <a:ext cx="3011258" cy="2489866"/>
          </a:xfrm>
          <a:prstGeom prst="rect">
            <a:avLst/>
          </a:prstGeom>
          <a:noFill/>
          <a:ln w="28575">
            <a:solidFill>
              <a:schemeClr val="accent6"/>
            </a:solidFill>
          </a:ln>
        </p:spPr>
        <p:txBody>
          <a:bodyPr vert="horz" lIns="108000" tIns="108000" rIns="36000" bIns="108000" rtlCol="0" anchor="t" anchorCtr="0">
            <a:noAutofit/>
          </a:bodyPr>
          <a:lstStyle>
            <a:defPPr>
              <a:defRPr lang="en-US"/>
            </a:defPPr>
            <a:lvl1pPr marL="285750" indent="-285750" defTabSz="685783">
              <a:lnSpc>
                <a:spcPct val="110000"/>
              </a:lnSpc>
              <a:spcBef>
                <a:spcPts val="600"/>
              </a:spcBef>
              <a:spcAft>
                <a:spcPts val="600"/>
              </a:spcAft>
              <a:buFont typeface="Wingdings" panose="05000000000000000000" pitchFamily="2" charset="2"/>
              <a:buChar char="§"/>
              <a:defRPr sz="1200"/>
            </a:lvl1pPr>
            <a:lvl2pPr marL="216000" lvl="1" indent="-216000" defTabSz="685783">
              <a:lnSpc>
                <a:spcPct val="100000"/>
              </a:lnSpc>
              <a:spcBef>
                <a:spcPts val="0"/>
              </a:spcBef>
              <a:spcAft>
                <a:spcPts val="600"/>
              </a:spcAft>
              <a:buFont typeface="Wingdings" panose="05000000000000000000" pitchFamily="2" charset="2"/>
              <a:buChar char="§"/>
              <a:defRPr sz="1200">
                <a:solidFill>
                  <a:srgbClr val="000000"/>
                </a:solidFill>
              </a:defRPr>
            </a:lvl2pPr>
            <a:lvl3pPr marL="971532" indent="-285750" defTabSz="685783">
              <a:lnSpc>
                <a:spcPct val="90000"/>
              </a:lnSpc>
              <a:spcBef>
                <a:spcPts val="375"/>
              </a:spcBef>
              <a:buFontTx/>
              <a:buChar char="-"/>
              <a:defRPr sz="1400"/>
            </a:lvl3pPr>
            <a:lvl4pPr marL="1314424" indent="-285750" defTabSz="685783">
              <a:lnSpc>
                <a:spcPct val="90000"/>
              </a:lnSpc>
              <a:spcBef>
                <a:spcPts val="375"/>
              </a:spcBef>
              <a:buSzPct val="80000"/>
              <a:buFontTx/>
              <a:buChar char="-"/>
              <a:defRPr sz="1400"/>
            </a:lvl4pPr>
            <a:lvl5pPr marL="1657316" indent="-285750" defTabSz="685783">
              <a:lnSpc>
                <a:spcPct val="90000"/>
              </a:lnSpc>
              <a:spcBef>
                <a:spcPts val="375"/>
              </a:spcBef>
              <a:buFontTx/>
              <a:buChar char="-"/>
              <a:defRPr sz="1400"/>
            </a:lvl5pPr>
            <a:lvl6pPr marL="1885903" indent="-171446" defTabSz="685783">
              <a:lnSpc>
                <a:spcPct val="90000"/>
              </a:lnSpc>
              <a:spcBef>
                <a:spcPts val="375"/>
              </a:spcBef>
              <a:buFont typeface="Arial" panose="020B0604020202020204" pitchFamily="34" charset="0"/>
              <a:buChar char="•"/>
              <a:defRPr sz="1350"/>
            </a:lvl6pPr>
            <a:lvl7pPr marL="2228795" indent="-171446" defTabSz="685783">
              <a:lnSpc>
                <a:spcPct val="90000"/>
              </a:lnSpc>
              <a:spcBef>
                <a:spcPts val="375"/>
              </a:spcBef>
              <a:buFont typeface="Arial" panose="020B0604020202020204" pitchFamily="34" charset="0"/>
              <a:buChar char="•"/>
              <a:defRPr sz="1350"/>
            </a:lvl7pPr>
            <a:lvl8pPr marL="2571686" indent="-171446" defTabSz="685783">
              <a:lnSpc>
                <a:spcPct val="90000"/>
              </a:lnSpc>
              <a:spcBef>
                <a:spcPts val="375"/>
              </a:spcBef>
              <a:buFont typeface="Arial" panose="020B0604020202020204" pitchFamily="34" charset="0"/>
              <a:buChar char="•"/>
              <a:defRPr sz="1350"/>
            </a:lvl8pPr>
            <a:lvl9pPr marL="2914577" indent="-171446" defTabSz="685783">
              <a:lnSpc>
                <a:spcPct val="90000"/>
              </a:lnSpc>
              <a:spcBef>
                <a:spcPts val="375"/>
              </a:spcBef>
              <a:buFont typeface="Arial" panose="020B0604020202020204" pitchFamily="34" charset="0"/>
              <a:buChar char="•"/>
              <a:defRPr sz="1350"/>
            </a:lvl9pPr>
          </a:lstStyle>
          <a:p>
            <a:pPr marL="182880" lvl="1" indent="-182880">
              <a:spcAft>
                <a:spcPts val="300"/>
              </a:spcAft>
            </a:pPr>
            <a:r>
              <a:rPr lang="en-GB" sz="1100">
                <a:solidFill>
                  <a:schemeClr val="tx1"/>
                </a:solidFill>
                <a:latin typeface="Lato"/>
                <a:ea typeface="Lato"/>
                <a:cs typeface="Lato"/>
              </a:rPr>
              <a:t>Balancing markets and slower frequency response services (e.g</a:t>
            </a:r>
            <a:r>
              <a:rPr lang="en-GB" sz="1100">
                <a:solidFill>
                  <a:schemeClr val="tx1"/>
                </a:solidFill>
                <a:ea typeface="Lato"/>
                <a:cs typeface="Lato"/>
              </a:rPr>
              <a:t>. </a:t>
            </a:r>
            <a:r>
              <a:rPr lang="en-GB" sz="1100" err="1">
                <a:solidFill>
                  <a:schemeClr val="tx1"/>
                </a:solidFill>
                <a:latin typeface="Lato"/>
                <a:ea typeface="Lato"/>
                <a:cs typeface="Lato"/>
              </a:rPr>
              <a:t>mFRR</a:t>
            </a:r>
            <a:r>
              <a:rPr lang="en-GB" sz="1100">
                <a:solidFill>
                  <a:schemeClr val="tx1"/>
                </a:solidFill>
                <a:latin typeface="Lato"/>
                <a:ea typeface="Lato"/>
                <a:cs typeface="Lato"/>
              </a:rPr>
              <a:t> and Replacement Reserve) ensure balance is maintained in the power system in each daily trading period </a:t>
            </a:r>
            <a:endParaRPr lang="en-GB" sz="1100">
              <a:solidFill>
                <a:schemeClr val="tx1"/>
              </a:solidFill>
              <a:latin typeface="Lato" panose="020F0502020204030203" pitchFamily="34" charset="0"/>
              <a:ea typeface="Lato" panose="020F0502020204030203" pitchFamily="34" charset="0"/>
              <a:cs typeface="Lato" panose="020F0502020204030203" pitchFamily="34" charset="0"/>
            </a:endParaRPr>
          </a:p>
          <a:p>
            <a:pPr marL="182880" lvl="1" indent="-182880">
              <a:spcAft>
                <a:spcPts val="300"/>
              </a:spcAft>
            </a:pPr>
            <a:r>
              <a:rPr lang="en-GB" sz="1100">
                <a:solidFill>
                  <a:schemeClr val="tx1"/>
                </a:solidFill>
                <a:latin typeface="Lato"/>
                <a:ea typeface="Lato"/>
                <a:cs typeface="Lato"/>
              </a:rPr>
              <a:t>Such services typically have higher and longer-lasting energy requirements</a:t>
            </a:r>
          </a:p>
          <a:p>
            <a:pPr marL="182880" indent="-182880">
              <a:lnSpc>
                <a:spcPct val="100000"/>
              </a:lnSpc>
              <a:spcBef>
                <a:spcPts val="0"/>
              </a:spcBef>
              <a:spcAft>
                <a:spcPts val="0"/>
              </a:spcAft>
              <a:defRPr/>
            </a:pPr>
            <a:r>
              <a:rPr lang="en-GB" sz="1100">
                <a:latin typeface="Lato"/>
                <a:ea typeface="Lato"/>
                <a:cs typeface="Lato"/>
              </a:rPr>
              <a:t>Batteries can</a:t>
            </a:r>
            <a:r>
              <a:rPr lang="en-GB" sz="1100" kern="1200">
                <a:latin typeface="Lato"/>
                <a:ea typeface="Lato"/>
                <a:cs typeface="Lato"/>
              </a:rPr>
              <a:t> take advantage of arbitrage opportunities and revenues from provision of such services</a:t>
            </a:r>
            <a:endParaRPr lang="en-GB" sz="1100">
              <a:latin typeface="Lato"/>
              <a:ea typeface="Lato"/>
              <a:cs typeface="Lato"/>
            </a:endParaRPr>
          </a:p>
        </p:txBody>
      </p:sp>
      <p:sp>
        <p:nvSpPr>
          <p:cNvPr id="40" name="TextBox 39">
            <a:extLst>
              <a:ext uri="{FF2B5EF4-FFF2-40B4-BE49-F238E27FC236}">
                <a16:creationId xmlns:a16="http://schemas.microsoft.com/office/drawing/2014/main" id="{14C12ADA-717B-40BD-962F-99C9EA88BA44}"/>
              </a:ext>
            </a:extLst>
          </p:cNvPr>
          <p:cNvSpPr txBox="1"/>
          <p:nvPr/>
        </p:nvSpPr>
        <p:spPr>
          <a:xfrm>
            <a:off x="594120" y="2209800"/>
            <a:ext cx="2411624" cy="252000"/>
          </a:xfrm>
          <a:prstGeom prst="rect">
            <a:avLst/>
          </a:prstGeom>
          <a:solidFill>
            <a:schemeClr val="accent6">
              <a:lumMod val="40000"/>
              <a:lumOff val="60000"/>
            </a:schemeClr>
          </a:solidFill>
          <a:ln w="28575">
            <a:noFill/>
          </a:ln>
        </p:spPr>
        <p:txBody>
          <a:bodyPr wrap="square" lIns="72000" tIns="72000" rIns="72000" bIns="72000" rtlCol="0" anchor="ctr" anchorCtr="0">
            <a:noAutofit/>
          </a:bodyPr>
          <a:lstStyle>
            <a:defPPr>
              <a:defRPr lang="en-US"/>
            </a:defPPr>
            <a:lvl1pPr lvl="0" algn="ctr">
              <a:spcAft>
                <a:spcPts val="600"/>
              </a:spcAft>
              <a:defRPr sz="1000" b="1">
                <a:solidFill>
                  <a:srgbClr val="000000"/>
                </a:solidFill>
                <a:latin typeface="+mj-lt"/>
              </a:defRPr>
            </a:lvl1pPr>
          </a:lstStyle>
          <a:p>
            <a:pPr>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Capacity Market</a:t>
            </a:r>
          </a:p>
        </p:txBody>
      </p:sp>
      <p:sp>
        <p:nvSpPr>
          <p:cNvPr id="41" name="TextBox 40">
            <a:extLst>
              <a:ext uri="{FF2B5EF4-FFF2-40B4-BE49-F238E27FC236}">
                <a16:creationId xmlns:a16="http://schemas.microsoft.com/office/drawing/2014/main" id="{D48CFD99-D83E-42C3-AC66-1AC01C5B7EA2}"/>
              </a:ext>
            </a:extLst>
          </p:cNvPr>
          <p:cNvSpPr txBox="1"/>
          <p:nvPr/>
        </p:nvSpPr>
        <p:spPr>
          <a:xfrm>
            <a:off x="578379" y="2514599"/>
            <a:ext cx="2411624" cy="3543300"/>
          </a:xfrm>
          <a:prstGeom prst="rect">
            <a:avLst/>
          </a:prstGeom>
          <a:noFill/>
          <a:ln w="28575">
            <a:solidFill>
              <a:schemeClr val="accent6"/>
            </a:solidFill>
          </a:ln>
        </p:spPr>
        <p:txBody>
          <a:bodyPr vert="horz" lIns="108000" tIns="108000" rIns="108000" bIns="108000" rtlCol="0" anchor="t" anchorCtr="0">
            <a:noAutofit/>
          </a:bodyPr>
          <a:lstStyle>
            <a:defPPr>
              <a:defRPr lang="en-US"/>
            </a:defPPr>
            <a:lvl1pPr marL="285750" indent="-285750" defTabSz="685783">
              <a:lnSpc>
                <a:spcPct val="110000"/>
              </a:lnSpc>
              <a:spcBef>
                <a:spcPts val="600"/>
              </a:spcBef>
              <a:spcAft>
                <a:spcPts val="600"/>
              </a:spcAft>
              <a:buFont typeface="Wingdings" panose="05000000000000000000" pitchFamily="2" charset="2"/>
              <a:buChar char="§"/>
              <a:defRPr sz="1200"/>
            </a:lvl1pPr>
            <a:lvl2pPr marL="216000" lvl="1" indent="-216000" defTabSz="685783">
              <a:lnSpc>
                <a:spcPct val="100000"/>
              </a:lnSpc>
              <a:spcBef>
                <a:spcPts val="0"/>
              </a:spcBef>
              <a:spcAft>
                <a:spcPts val="600"/>
              </a:spcAft>
              <a:buFont typeface="Wingdings" panose="05000000000000000000" pitchFamily="2" charset="2"/>
              <a:buChar char="§"/>
              <a:defRPr sz="1200">
                <a:solidFill>
                  <a:srgbClr val="000000"/>
                </a:solidFill>
              </a:defRPr>
            </a:lvl2pPr>
            <a:lvl3pPr marL="971532" indent="-285750" defTabSz="685783">
              <a:lnSpc>
                <a:spcPct val="90000"/>
              </a:lnSpc>
              <a:spcBef>
                <a:spcPts val="375"/>
              </a:spcBef>
              <a:buFontTx/>
              <a:buChar char="-"/>
              <a:defRPr sz="1400"/>
            </a:lvl3pPr>
            <a:lvl4pPr marL="1314424" indent="-285750" defTabSz="685783">
              <a:lnSpc>
                <a:spcPct val="90000"/>
              </a:lnSpc>
              <a:spcBef>
                <a:spcPts val="375"/>
              </a:spcBef>
              <a:buSzPct val="80000"/>
              <a:buFontTx/>
              <a:buChar char="-"/>
              <a:defRPr sz="1400"/>
            </a:lvl4pPr>
            <a:lvl5pPr marL="1657316" indent="-285750" defTabSz="685783">
              <a:lnSpc>
                <a:spcPct val="90000"/>
              </a:lnSpc>
              <a:spcBef>
                <a:spcPts val="375"/>
              </a:spcBef>
              <a:buFontTx/>
              <a:buChar char="-"/>
              <a:defRPr sz="1400"/>
            </a:lvl5pPr>
            <a:lvl6pPr marL="1885903" indent="-171446" defTabSz="685783">
              <a:lnSpc>
                <a:spcPct val="90000"/>
              </a:lnSpc>
              <a:spcBef>
                <a:spcPts val="375"/>
              </a:spcBef>
              <a:buFont typeface="Arial" panose="020B0604020202020204" pitchFamily="34" charset="0"/>
              <a:buChar char="•"/>
              <a:defRPr sz="1350"/>
            </a:lvl6pPr>
            <a:lvl7pPr marL="2228795" indent="-171446" defTabSz="685783">
              <a:lnSpc>
                <a:spcPct val="90000"/>
              </a:lnSpc>
              <a:spcBef>
                <a:spcPts val="375"/>
              </a:spcBef>
              <a:buFont typeface="Arial" panose="020B0604020202020204" pitchFamily="34" charset="0"/>
              <a:buChar char="•"/>
              <a:defRPr sz="1350"/>
            </a:lvl7pPr>
            <a:lvl8pPr marL="2571686" indent="-171446" defTabSz="685783">
              <a:lnSpc>
                <a:spcPct val="90000"/>
              </a:lnSpc>
              <a:spcBef>
                <a:spcPts val="375"/>
              </a:spcBef>
              <a:buFont typeface="Arial" panose="020B0604020202020204" pitchFamily="34" charset="0"/>
              <a:buChar char="•"/>
              <a:defRPr sz="1350"/>
            </a:lvl8pPr>
            <a:lvl9pPr marL="2914577" indent="-171446" defTabSz="685783">
              <a:lnSpc>
                <a:spcPct val="90000"/>
              </a:lnSpc>
              <a:spcBef>
                <a:spcPts val="375"/>
              </a:spcBef>
              <a:buFont typeface="Arial" panose="020B0604020202020204" pitchFamily="34" charset="0"/>
              <a:buChar char="•"/>
              <a:defRPr sz="1350"/>
            </a:lvl9pPr>
          </a:lstStyle>
          <a:p>
            <a:pPr marL="182563" lvl="1" indent="-182563">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Ensures security of supply by procuring a sufficient level of firm capacity to meet peak electricity demand</a:t>
            </a:r>
          </a:p>
          <a:p>
            <a:pPr marL="182563" lvl="1" indent="-182563">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Contracts are awarded either one or four years in advance for lengths of 1-15 years</a:t>
            </a:r>
          </a:p>
          <a:p>
            <a:pPr marL="182563" lvl="1" indent="-182563">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Payments are made on a capacity basis in kW/year and de-rated based on contribution to security of supply</a:t>
            </a:r>
          </a:p>
          <a:p>
            <a:pPr marL="182563" lvl="1" indent="-182563">
              <a:spcAft>
                <a:spcPts val="300"/>
              </a:spcAft>
              <a:buFont typeface="Wingdings" panose="05000000000000000000" pitchFamily="2" charset="2"/>
              <a:buChar char="§"/>
            </a:pPr>
            <a:r>
              <a:rPr lang="en-GB" sz="1100" kern="1200">
                <a:solidFill>
                  <a:schemeClr val="tx1"/>
                </a:solidFill>
                <a:latin typeface="Lato" panose="020F0502020204030203" pitchFamily="34" charset="0"/>
                <a:ea typeface="Lato" panose="020F0502020204030203" pitchFamily="34" charset="0"/>
                <a:cs typeface="Lato" panose="020F0502020204030203" pitchFamily="34" charset="0"/>
              </a:rPr>
              <a:t>Although typically heavily derated, batteries can take advantage of the additional revenues without impacts to degradation</a:t>
            </a:r>
          </a:p>
        </p:txBody>
      </p:sp>
      <p:sp>
        <p:nvSpPr>
          <p:cNvPr id="63" name="TextBox 62">
            <a:extLst>
              <a:ext uri="{FF2B5EF4-FFF2-40B4-BE49-F238E27FC236}">
                <a16:creationId xmlns:a16="http://schemas.microsoft.com/office/drawing/2014/main" id="{14C12ADA-717B-40BD-962F-99C9EA88BA44}"/>
              </a:ext>
            </a:extLst>
          </p:cNvPr>
          <p:cNvSpPr txBox="1"/>
          <p:nvPr/>
        </p:nvSpPr>
        <p:spPr>
          <a:xfrm>
            <a:off x="9051685" y="2209801"/>
            <a:ext cx="2758112" cy="252000"/>
          </a:xfrm>
          <a:prstGeom prst="rect">
            <a:avLst/>
          </a:prstGeom>
          <a:solidFill>
            <a:schemeClr val="accent6">
              <a:lumMod val="40000"/>
              <a:lumOff val="60000"/>
            </a:schemeClr>
          </a:solidFill>
          <a:ln w="28575">
            <a:noFill/>
          </a:ln>
        </p:spPr>
        <p:txBody>
          <a:bodyPr wrap="square" lIns="91440" tIns="91440" rIns="91440" bIns="91440" rtlCol="0" anchor="ctr" anchorCtr="0">
            <a:noAutofit/>
          </a:bodyPr>
          <a:lstStyle>
            <a:defPPr>
              <a:defRPr lang="en-US"/>
            </a:defPPr>
            <a:lvl1pPr lvl="0" algn="ctr">
              <a:spcAft>
                <a:spcPts val="600"/>
              </a:spcAft>
              <a:defRPr sz="1000" b="1">
                <a:solidFill>
                  <a:srgbClr val="000000"/>
                </a:solidFill>
                <a:latin typeface="+mj-lt"/>
              </a:defRPr>
            </a:lvl1pPr>
          </a:lstStyle>
          <a:p>
            <a:r>
              <a:rPr lang="en-GB" sz="1100">
                <a:solidFill>
                  <a:schemeClr val="tx1"/>
                </a:solidFill>
                <a:latin typeface="Lato" panose="020F0502020204030203" pitchFamily="34" charset="0"/>
                <a:ea typeface="Lato" panose="020F0502020204030203" pitchFamily="34" charset="0"/>
                <a:cs typeface="Lato" panose="020F0502020204030203" pitchFamily="34" charset="0"/>
              </a:rPr>
              <a:t>  Frequency Response Services</a:t>
            </a:r>
            <a:r>
              <a:rPr lang="en-GB" sz="1100" baseline="30000">
                <a:solidFill>
                  <a:schemeClr val="tx1"/>
                </a:solidFill>
                <a:latin typeface="Lato" panose="020F0502020204030203" pitchFamily="34" charset="0"/>
                <a:ea typeface="Lato" panose="020F0502020204030203" pitchFamily="34" charset="0"/>
                <a:cs typeface="Lato" panose="020F0502020204030203" pitchFamily="34" charset="0"/>
              </a:rPr>
              <a:t>2</a:t>
            </a:r>
          </a:p>
        </p:txBody>
      </p:sp>
      <p:sp>
        <p:nvSpPr>
          <p:cNvPr id="64" name="TextBox 63">
            <a:extLst>
              <a:ext uri="{FF2B5EF4-FFF2-40B4-BE49-F238E27FC236}">
                <a16:creationId xmlns:a16="http://schemas.microsoft.com/office/drawing/2014/main" id="{D48CFD99-D83E-42C3-AC66-1AC01C5B7EA2}"/>
              </a:ext>
            </a:extLst>
          </p:cNvPr>
          <p:cNvSpPr txBox="1"/>
          <p:nvPr/>
        </p:nvSpPr>
        <p:spPr>
          <a:xfrm>
            <a:off x="8982069" y="2514598"/>
            <a:ext cx="2827727" cy="2489866"/>
          </a:xfrm>
          <a:prstGeom prst="rect">
            <a:avLst/>
          </a:prstGeom>
          <a:noFill/>
          <a:ln w="28575">
            <a:solidFill>
              <a:schemeClr val="accent6"/>
            </a:solidFill>
          </a:ln>
        </p:spPr>
        <p:txBody>
          <a:bodyPr vert="horz" wrap="square" lIns="91440" tIns="91440" rIns="91440" bIns="91440" rtlCol="0" anchor="t" anchorCtr="0">
            <a:noAutofit/>
          </a:bodyPr>
          <a:lstStyle>
            <a:defPPr>
              <a:defRPr lang="en-US"/>
            </a:defPPr>
            <a:lvl1pPr marL="285750" indent="-285750" defTabSz="685783">
              <a:lnSpc>
                <a:spcPct val="110000"/>
              </a:lnSpc>
              <a:spcBef>
                <a:spcPts val="600"/>
              </a:spcBef>
              <a:spcAft>
                <a:spcPts val="600"/>
              </a:spcAft>
              <a:buFont typeface="Wingdings" panose="05000000000000000000" pitchFamily="2" charset="2"/>
              <a:buChar char="§"/>
              <a:defRPr sz="1200"/>
            </a:lvl1pPr>
            <a:lvl2pPr marL="216000" lvl="1" indent="-216000" defTabSz="685783">
              <a:lnSpc>
                <a:spcPct val="100000"/>
              </a:lnSpc>
              <a:spcBef>
                <a:spcPts val="400"/>
              </a:spcBef>
              <a:spcAft>
                <a:spcPts val="0"/>
              </a:spcAft>
              <a:buFont typeface="Wingdings" panose="05000000000000000000" pitchFamily="2" charset="2"/>
              <a:buChar char="§"/>
              <a:defRPr sz="1200">
                <a:solidFill>
                  <a:srgbClr val="000000"/>
                </a:solidFill>
              </a:defRPr>
            </a:lvl2pPr>
            <a:lvl3pPr marL="971532" indent="-285750" defTabSz="685783">
              <a:lnSpc>
                <a:spcPct val="90000"/>
              </a:lnSpc>
              <a:spcBef>
                <a:spcPts val="375"/>
              </a:spcBef>
              <a:buFontTx/>
              <a:buChar char="-"/>
              <a:defRPr sz="1400"/>
            </a:lvl3pPr>
            <a:lvl4pPr marL="1314424" indent="-285750" defTabSz="685783">
              <a:lnSpc>
                <a:spcPct val="90000"/>
              </a:lnSpc>
              <a:spcBef>
                <a:spcPts val="375"/>
              </a:spcBef>
              <a:buSzPct val="80000"/>
              <a:buFontTx/>
              <a:buChar char="-"/>
              <a:defRPr sz="1400"/>
            </a:lvl4pPr>
            <a:lvl5pPr marL="1657316" indent="-285750" defTabSz="685783">
              <a:lnSpc>
                <a:spcPct val="90000"/>
              </a:lnSpc>
              <a:spcBef>
                <a:spcPts val="375"/>
              </a:spcBef>
              <a:buFontTx/>
              <a:buChar char="-"/>
              <a:defRPr sz="1400"/>
            </a:lvl5pPr>
            <a:lvl6pPr marL="1885903" indent="-171446" defTabSz="685783">
              <a:lnSpc>
                <a:spcPct val="90000"/>
              </a:lnSpc>
              <a:spcBef>
                <a:spcPts val="375"/>
              </a:spcBef>
              <a:buFont typeface="Arial" panose="020B0604020202020204" pitchFamily="34" charset="0"/>
              <a:buChar char="•"/>
              <a:defRPr sz="1350"/>
            </a:lvl6pPr>
            <a:lvl7pPr marL="2228795" indent="-171446" defTabSz="685783">
              <a:lnSpc>
                <a:spcPct val="90000"/>
              </a:lnSpc>
              <a:spcBef>
                <a:spcPts val="375"/>
              </a:spcBef>
              <a:buFont typeface="Arial" panose="020B0604020202020204" pitchFamily="34" charset="0"/>
              <a:buChar char="•"/>
              <a:defRPr sz="1350"/>
            </a:lvl7pPr>
            <a:lvl8pPr marL="2571686" indent="-171446" defTabSz="685783">
              <a:lnSpc>
                <a:spcPct val="90000"/>
              </a:lnSpc>
              <a:spcBef>
                <a:spcPts val="375"/>
              </a:spcBef>
              <a:buFont typeface="Arial" panose="020B0604020202020204" pitchFamily="34" charset="0"/>
              <a:buChar char="•"/>
              <a:defRPr sz="1350"/>
            </a:lvl8pPr>
            <a:lvl9pPr marL="2914577" indent="-171446" defTabSz="685783">
              <a:lnSpc>
                <a:spcPct val="90000"/>
              </a:lnSpc>
              <a:spcBef>
                <a:spcPts val="375"/>
              </a:spcBef>
              <a:buFont typeface="Arial" panose="020B0604020202020204" pitchFamily="34" charset="0"/>
              <a:buChar char="•"/>
              <a:defRPr sz="1350"/>
            </a:lvl9pPr>
          </a:lstStyle>
          <a:p>
            <a:pPr marL="182880" lvl="1" indent="-182880">
              <a:spcBef>
                <a:spcPts val="0"/>
              </a:spcBef>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Maintains operational grid requirements and provides fast-acting power injection to arrest fast changes in system frequency, through sub-second to minutes long response</a:t>
            </a:r>
          </a:p>
          <a:p>
            <a:pPr marL="182880" lvl="1" indent="-182880">
              <a:spcBef>
                <a:spcPts val="0"/>
              </a:spcBef>
              <a:spcAft>
                <a:spcPts val="300"/>
              </a:spcAft>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Mostly procured on a capacity basis day ahead (e.g. FCR) or otherwise contracted in advance</a:t>
            </a:r>
          </a:p>
          <a:p>
            <a:pPr marL="182880" lvl="1" indent="-182880">
              <a:spcBef>
                <a:spcPts val="0"/>
              </a:spcBef>
              <a:spcAft>
                <a:spcPts val="300"/>
              </a:spcAft>
              <a:buFont typeface="Wingdings" panose="05000000000000000000" pitchFamily="2" charset="2"/>
              <a:buChar char="§"/>
            </a:pPr>
            <a:r>
              <a:rPr lang="en-GB" sz="1100" kern="1200">
                <a:solidFill>
                  <a:schemeClr val="tx1"/>
                </a:solidFill>
                <a:latin typeface="Lato" panose="020F0502020204030203" pitchFamily="34" charset="0"/>
                <a:ea typeface="Lato" panose="020F0502020204030203" pitchFamily="34" charset="0"/>
                <a:cs typeface="Lato" panose="020F0502020204030203" pitchFamily="34" charset="0"/>
              </a:rPr>
              <a:t>Batteries can gain revenues from</a:t>
            </a:r>
            <a:r>
              <a:rPr lang="en-GB" sz="1100">
                <a:solidFill>
                  <a:schemeClr val="tx1"/>
                </a:solidFill>
                <a:latin typeface="Lato" panose="020F0502020204030203" pitchFamily="34" charset="0"/>
                <a:ea typeface="Lato" panose="020F0502020204030203" pitchFamily="34" charset="0"/>
                <a:cs typeface="Lato" panose="020F0502020204030203" pitchFamily="34" charset="0"/>
              </a:rPr>
              <a:t> the</a:t>
            </a:r>
            <a:r>
              <a:rPr lang="en-GB" sz="1100" kern="1200">
                <a:solidFill>
                  <a:schemeClr val="tx1"/>
                </a:solidFill>
                <a:latin typeface="Lato" panose="020F0502020204030203" pitchFamily="34" charset="0"/>
                <a:ea typeface="Lato" panose="020F0502020204030203" pitchFamily="34" charset="0"/>
                <a:cs typeface="Lato" panose="020F0502020204030203" pitchFamily="34" charset="0"/>
              </a:rPr>
              <a:t> provision of frequency services</a:t>
            </a:r>
            <a:endParaRPr lang="en-GB" sz="1100">
              <a:solidFill>
                <a:srgbClr val="FF0000"/>
              </a:solidFill>
              <a:latin typeface="Lato" panose="020F0502020204030203" pitchFamily="34" charset="0"/>
              <a:ea typeface="Lato" panose="020F0502020204030203" pitchFamily="34" charset="0"/>
              <a:cs typeface="Lato" panose="020F0502020204030203" pitchFamily="34" charset="0"/>
            </a:endParaRPr>
          </a:p>
        </p:txBody>
      </p:sp>
      <p:sp>
        <p:nvSpPr>
          <p:cNvPr id="33" name="Oval 11">
            <a:extLst>
              <a:ext uri="{FF2B5EF4-FFF2-40B4-BE49-F238E27FC236}">
                <a16:creationId xmlns:a16="http://schemas.microsoft.com/office/drawing/2014/main" id="{95B4068B-D697-40F8-BA40-6552CBB60679}"/>
              </a:ext>
            </a:extLst>
          </p:cNvPr>
          <p:cNvSpPr>
            <a:spLocks/>
          </p:cNvSpPr>
          <p:nvPr/>
        </p:nvSpPr>
        <p:spPr>
          <a:xfrm>
            <a:off x="381000" y="2209800"/>
            <a:ext cx="500199" cy="252000"/>
          </a:xfrm>
          <a:prstGeom prst="roundRect">
            <a:avLst>
              <a:gd name="adj" fmla="val 50000"/>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M</a:t>
            </a:r>
          </a:p>
        </p:txBody>
      </p:sp>
      <p:sp>
        <p:nvSpPr>
          <p:cNvPr id="34" name="Oval 11">
            <a:extLst>
              <a:ext uri="{FF2B5EF4-FFF2-40B4-BE49-F238E27FC236}">
                <a16:creationId xmlns:a16="http://schemas.microsoft.com/office/drawing/2014/main" id="{95B4068B-D697-40F8-BA40-6552CBB60679}"/>
              </a:ext>
            </a:extLst>
          </p:cNvPr>
          <p:cNvSpPr>
            <a:spLocks/>
          </p:cNvSpPr>
          <p:nvPr/>
        </p:nvSpPr>
        <p:spPr>
          <a:xfrm>
            <a:off x="3065846" y="2207629"/>
            <a:ext cx="500199" cy="252000"/>
          </a:xfrm>
          <a:prstGeom prst="roundRect">
            <a:avLst>
              <a:gd name="adj" fmla="val 50000"/>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M</a:t>
            </a:r>
          </a:p>
        </p:txBody>
      </p:sp>
      <p:sp>
        <p:nvSpPr>
          <p:cNvPr id="36" name="Oval 11">
            <a:extLst>
              <a:ext uri="{FF2B5EF4-FFF2-40B4-BE49-F238E27FC236}">
                <a16:creationId xmlns:a16="http://schemas.microsoft.com/office/drawing/2014/main" id="{95B4068B-D697-40F8-BA40-6552CBB60679}"/>
              </a:ext>
            </a:extLst>
          </p:cNvPr>
          <p:cNvSpPr>
            <a:spLocks/>
          </p:cNvSpPr>
          <p:nvPr/>
        </p:nvSpPr>
        <p:spPr>
          <a:xfrm>
            <a:off x="5691186" y="2209800"/>
            <a:ext cx="500199" cy="252000"/>
          </a:xfrm>
          <a:prstGeom prst="roundRect">
            <a:avLst>
              <a:gd name="adj" fmla="val 50000"/>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S</a:t>
            </a:r>
          </a:p>
        </p:txBody>
      </p:sp>
      <p:sp>
        <p:nvSpPr>
          <p:cNvPr id="37" name="Oval 11">
            <a:extLst>
              <a:ext uri="{FF2B5EF4-FFF2-40B4-BE49-F238E27FC236}">
                <a16:creationId xmlns:a16="http://schemas.microsoft.com/office/drawing/2014/main" id="{95B4068B-D697-40F8-BA40-6552CBB60679}"/>
              </a:ext>
            </a:extLst>
          </p:cNvPr>
          <p:cNvSpPr>
            <a:spLocks/>
          </p:cNvSpPr>
          <p:nvPr/>
        </p:nvSpPr>
        <p:spPr>
          <a:xfrm>
            <a:off x="8971942" y="2210377"/>
            <a:ext cx="500199" cy="252000"/>
          </a:xfrm>
          <a:prstGeom prst="roundRect">
            <a:avLst>
              <a:gd name="adj" fmla="val 50000"/>
            </a:avLst>
          </a:prstGeom>
          <a:solidFill>
            <a:srgbClr val="B876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R</a:t>
            </a:r>
          </a:p>
        </p:txBody>
      </p:sp>
      <p:sp>
        <p:nvSpPr>
          <p:cNvPr id="48" name="TextBox 47">
            <a:extLst>
              <a:ext uri="{FF2B5EF4-FFF2-40B4-BE49-F238E27FC236}">
                <a16:creationId xmlns:a16="http://schemas.microsoft.com/office/drawing/2014/main" id="{459F8574-8567-4C6C-9B85-1B209337FC12}"/>
              </a:ext>
            </a:extLst>
          </p:cNvPr>
          <p:cNvSpPr txBox="1"/>
          <p:nvPr/>
        </p:nvSpPr>
        <p:spPr>
          <a:xfrm>
            <a:off x="3315946" y="5147994"/>
            <a:ext cx="8507754" cy="252000"/>
          </a:xfrm>
          <a:prstGeom prst="rect">
            <a:avLst/>
          </a:prstGeom>
          <a:solidFill>
            <a:schemeClr val="accent6">
              <a:lumMod val="40000"/>
              <a:lumOff val="60000"/>
            </a:schemeClr>
          </a:solidFill>
          <a:ln w="28575">
            <a:noFill/>
          </a:ln>
        </p:spPr>
        <p:txBody>
          <a:bodyPr wrap="square" lIns="91440" tIns="91440" rIns="91440" bIns="91440" rtlCol="0" anchor="ctr" anchorCtr="0">
            <a:noAutofit/>
          </a:bodyPr>
          <a:lstStyle>
            <a:defPPr>
              <a:defRPr lang="en-US"/>
            </a:defPPr>
            <a:lvl1pPr lvl="0" algn="ctr">
              <a:spcAft>
                <a:spcPts val="600"/>
              </a:spcAft>
              <a:defRPr sz="1000" b="1">
                <a:solidFill>
                  <a:srgbClr val="000000"/>
                </a:solidFill>
                <a:latin typeface="+mj-lt"/>
              </a:defRPr>
            </a:lvl1pPr>
          </a:lstStyle>
          <a:p>
            <a:r>
              <a:rPr lang="en-GB" sz="1100">
                <a:solidFill>
                  <a:schemeClr val="tx1"/>
                </a:solidFill>
                <a:latin typeface="Lato" panose="020F0502020204030203" pitchFamily="34" charset="0"/>
                <a:ea typeface="Lato" panose="020F0502020204030203" pitchFamily="34" charset="0"/>
                <a:cs typeface="Lato" panose="020F0502020204030203" pitchFamily="34" charset="0"/>
              </a:rPr>
              <a:t>Other ancillary services and benefits</a:t>
            </a:r>
          </a:p>
        </p:txBody>
      </p:sp>
      <p:sp>
        <p:nvSpPr>
          <p:cNvPr id="49" name="Oval 11">
            <a:extLst>
              <a:ext uri="{FF2B5EF4-FFF2-40B4-BE49-F238E27FC236}">
                <a16:creationId xmlns:a16="http://schemas.microsoft.com/office/drawing/2014/main" id="{420983BA-B25C-4B6B-930D-BADFAD2017DE}"/>
              </a:ext>
            </a:extLst>
          </p:cNvPr>
          <p:cNvSpPr>
            <a:spLocks/>
          </p:cNvSpPr>
          <p:nvPr/>
        </p:nvSpPr>
        <p:spPr>
          <a:xfrm>
            <a:off x="3141088" y="5147994"/>
            <a:ext cx="500199" cy="252000"/>
          </a:xfrm>
          <a:prstGeom prst="roundRect">
            <a:avLst>
              <a:gd name="adj" fmla="val 50000"/>
            </a:avLst>
          </a:prstGeom>
          <a:solidFill>
            <a:srgbClr val="7B4F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S</a:t>
            </a:r>
          </a:p>
        </p:txBody>
      </p:sp>
      <p:sp>
        <p:nvSpPr>
          <p:cNvPr id="56" name="TextBox 55">
            <a:extLst>
              <a:ext uri="{FF2B5EF4-FFF2-40B4-BE49-F238E27FC236}">
                <a16:creationId xmlns:a16="http://schemas.microsoft.com/office/drawing/2014/main" id="{291EEC50-F8CD-4793-A099-F135FE1E8DC1}"/>
              </a:ext>
            </a:extLst>
          </p:cNvPr>
          <p:cNvSpPr txBox="1"/>
          <p:nvPr/>
        </p:nvSpPr>
        <p:spPr>
          <a:xfrm>
            <a:off x="3176833" y="5480703"/>
            <a:ext cx="8619484" cy="577196"/>
          </a:xfrm>
          <a:prstGeom prst="rect">
            <a:avLst/>
          </a:prstGeom>
          <a:noFill/>
          <a:ln w="28575">
            <a:solidFill>
              <a:schemeClr val="accent6"/>
            </a:solidFill>
          </a:ln>
        </p:spPr>
        <p:txBody>
          <a:bodyPr vert="horz" wrap="square" lIns="91440" tIns="91440" rIns="91440" bIns="91440" rtlCol="0" anchor="ctr" anchorCtr="0">
            <a:noAutofit/>
          </a:bodyPr>
          <a:lstStyle>
            <a:defPPr>
              <a:defRPr lang="en-US"/>
            </a:defPPr>
            <a:lvl1pPr marL="285750" indent="-285750" defTabSz="685783">
              <a:lnSpc>
                <a:spcPct val="110000"/>
              </a:lnSpc>
              <a:spcBef>
                <a:spcPts val="600"/>
              </a:spcBef>
              <a:spcAft>
                <a:spcPts val="600"/>
              </a:spcAft>
              <a:buFont typeface="Wingdings" panose="05000000000000000000" pitchFamily="2" charset="2"/>
              <a:buChar char="§"/>
              <a:defRPr sz="1200"/>
            </a:lvl1pPr>
            <a:lvl2pPr marL="216000" lvl="1" indent="-216000" defTabSz="685783">
              <a:lnSpc>
                <a:spcPct val="100000"/>
              </a:lnSpc>
              <a:spcBef>
                <a:spcPts val="400"/>
              </a:spcBef>
              <a:spcAft>
                <a:spcPts val="0"/>
              </a:spcAft>
              <a:buFont typeface="Wingdings" panose="05000000000000000000" pitchFamily="2" charset="2"/>
              <a:buChar char="§"/>
              <a:defRPr sz="1200">
                <a:solidFill>
                  <a:srgbClr val="000000"/>
                </a:solidFill>
              </a:defRPr>
            </a:lvl2pPr>
            <a:lvl3pPr marL="971532" indent="-285750" defTabSz="685783">
              <a:lnSpc>
                <a:spcPct val="90000"/>
              </a:lnSpc>
              <a:spcBef>
                <a:spcPts val="375"/>
              </a:spcBef>
              <a:buFontTx/>
              <a:buChar char="-"/>
              <a:defRPr sz="1400"/>
            </a:lvl3pPr>
            <a:lvl4pPr marL="1314424" indent="-285750" defTabSz="685783">
              <a:lnSpc>
                <a:spcPct val="90000"/>
              </a:lnSpc>
              <a:spcBef>
                <a:spcPts val="375"/>
              </a:spcBef>
              <a:buSzPct val="80000"/>
              <a:buFontTx/>
              <a:buChar char="-"/>
              <a:defRPr sz="1400"/>
            </a:lvl4pPr>
            <a:lvl5pPr marL="1657316" indent="-285750" defTabSz="685783">
              <a:lnSpc>
                <a:spcPct val="90000"/>
              </a:lnSpc>
              <a:spcBef>
                <a:spcPts val="375"/>
              </a:spcBef>
              <a:buFontTx/>
              <a:buChar char="-"/>
              <a:defRPr sz="1400"/>
            </a:lvl5pPr>
            <a:lvl6pPr marL="1885903" indent="-171446" defTabSz="685783">
              <a:lnSpc>
                <a:spcPct val="90000"/>
              </a:lnSpc>
              <a:spcBef>
                <a:spcPts val="375"/>
              </a:spcBef>
              <a:buFont typeface="Arial" panose="020B0604020202020204" pitchFamily="34" charset="0"/>
              <a:buChar char="•"/>
              <a:defRPr sz="1350"/>
            </a:lvl6pPr>
            <a:lvl7pPr marL="2228795" indent="-171446" defTabSz="685783">
              <a:lnSpc>
                <a:spcPct val="90000"/>
              </a:lnSpc>
              <a:spcBef>
                <a:spcPts val="375"/>
              </a:spcBef>
              <a:buFont typeface="Arial" panose="020B0604020202020204" pitchFamily="34" charset="0"/>
              <a:buChar char="•"/>
              <a:defRPr sz="1350"/>
            </a:lvl7pPr>
            <a:lvl8pPr marL="2571686" indent="-171446" defTabSz="685783">
              <a:lnSpc>
                <a:spcPct val="90000"/>
              </a:lnSpc>
              <a:spcBef>
                <a:spcPts val="375"/>
              </a:spcBef>
              <a:buFont typeface="Arial" panose="020B0604020202020204" pitchFamily="34" charset="0"/>
              <a:buChar char="•"/>
              <a:defRPr sz="1350"/>
            </a:lvl8pPr>
            <a:lvl9pPr marL="2914577" indent="-171446" defTabSz="685783">
              <a:lnSpc>
                <a:spcPct val="90000"/>
              </a:lnSpc>
              <a:spcBef>
                <a:spcPts val="375"/>
              </a:spcBef>
              <a:buFont typeface="Arial" panose="020B0604020202020204" pitchFamily="34" charset="0"/>
              <a:buChar char="•"/>
              <a:defRPr sz="1350"/>
            </a:lvl9pPr>
          </a:lstStyle>
          <a:p>
            <a:pPr marL="182880" marR="0" lvl="1" indent="-182880" fontAlgn="auto">
              <a:spcBef>
                <a:spcPts val="0"/>
              </a:spcBef>
              <a:spcAft>
                <a:spcPts val="300"/>
              </a:spcAft>
              <a:buClrTx/>
              <a:buSzTx/>
              <a:tabLst/>
              <a:defRPr/>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Additional trading markets exist to procure non-frequency ancillary services to maintain grid operability such as inertia and local congestion mitigation services, which creates additional revenue opportunities for batteries </a:t>
            </a:r>
          </a:p>
          <a:p>
            <a:pPr marL="182880" marR="0" lvl="1" indent="-182880" fontAlgn="auto">
              <a:spcBef>
                <a:spcPts val="0"/>
              </a:spcBef>
              <a:spcAft>
                <a:spcPts val="300"/>
              </a:spcAft>
              <a:buClrTx/>
              <a:buSzTx/>
              <a:tabLst/>
              <a:defRPr/>
            </a:pPr>
            <a:r>
              <a:rPr lang="en-GB" sz="1100">
                <a:solidFill>
                  <a:schemeClr val="tx1"/>
                </a:solidFill>
                <a:latin typeface="Lato" panose="020F0502020204030203" pitchFamily="34" charset="0"/>
                <a:ea typeface="Lato" panose="020F0502020204030203" pitchFamily="34" charset="0"/>
                <a:cs typeface="Lato" panose="020F0502020204030203" pitchFamily="34" charset="0"/>
              </a:rPr>
              <a:t>Grid charge credits or avoidance in specific countries could potentially provide additional benefits for batteries</a:t>
            </a:r>
          </a:p>
        </p:txBody>
      </p:sp>
      <p:sp>
        <p:nvSpPr>
          <p:cNvPr id="32" name="Oval 31">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38" name="Oval 37">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Tree>
    <p:extLst>
      <p:ext uri="{BB962C8B-B14F-4D97-AF65-F5344CB8AC3E}">
        <p14:creationId xmlns:p14="http://schemas.microsoft.com/office/powerpoint/2010/main" val="41815768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164814-1E4A-47CD-829C-4E37A8D8FA53}"/>
              </a:ext>
            </a:extLst>
          </p:cNvPr>
          <p:cNvGraphicFramePr>
            <a:graphicFrameLocks noChangeAspect="1"/>
          </p:cNvGraphicFramePr>
          <p:nvPr>
            <p:custDataLst>
              <p:tags r:id="rId1"/>
            </p:custDataLst>
            <p:extLst>
              <p:ext uri="{D42A27DB-BD31-4B8C-83A1-F6EECF244321}">
                <p14:modId xmlns:p14="http://schemas.microsoft.com/office/powerpoint/2010/main" val="482100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CE164814-1E4A-47CD-829C-4E37A8D8FA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8CE5C4F-EED9-4C51-807B-B486DB66715D}"/>
              </a:ext>
            </a:extLst>
          </p:cNvPr>
          <p:cNvSpPr>
            <a:spLocks noGrp="1"/>
          </p:cNvSpPr>
          <p:nvPr>
            <p:ph type="title"/>
          </p:nvPr>
        </p:nvSpPr>
        <p:spPr/>
        <p:txBody>
          <a:bodyPr vert="horz"/>
          <a:lstStyle/>
          <a:p>
            <a:r>
              <a:rPr lang="en-GB"/>
              <a:t>Most countries allow for batteries to stack various revenue streams, however contractual revenues are limited (1/2)</a:t>
            </a:r>
          </a:p>
        </p:txBody>
      </p:sp>
      <p:sp>
        <p:nvSpPr>
          <p:cNvPr id="13" name="Text Placeholder 12">
            <a:extLst>
              <a:ext uri="{FF2B5EF4-FFF2-40B4-BE49-F238E27FC236}">
                <a16:creationId xmlns:a16="http://schemas.microsoft.com/office/drawing/2014/main" id="{20F934CD-1AA3-C51D-F626-23266512FC5B}"/>
              </a:ext>
            </a:extLst>
          </p:cNvPr>
          <p:cNvSpPr>
            <a:spLocks noGrp="1"/>
          </p:cNvSpPr>
          <p:nvPr>
            <p:ph type="body" sz="quarter" idx="32"/>
          </p:nvPr>
        </p:nvSpPr>
        <p:spPr>
          <a:xfrm>
            <a:off x="381000" y="6747539"/>
            <a:ext cx="11428800" cy="103875"/>
          </a:xfrm>
        </p:spPr>
        <p:txBody>
          <a:bodyPr/>
          <a:lstStyle/>
          <a:p>
            <a:r>
              <a:rPr lang="en-GB" sz="750"/>
              <a:t>Sources: Aurora Energy Research</a:t>
            </a:r>
            <a:endParaRPr lang="en-GB" sz="750" b="0" i="0" u="none" strike="noStrike" kern="1200">
              <a:solidFill>
                <a:schemeClr val="tx1"/>
              </a:solidFill>
              <a:effectLst/>
              <a:latin typeface="+mn-lt"/>
              <a:ea typeface="+mn-ea"/>
              <a:cs typeface="+mn-cs"/>
            </a:endParaRPr>
          </a:p>
        </p:txBody>
      </p:sp>
      <p:sp>
        <p:nvSpPr>
          <p:cNvPr id="12" name="Text Placeholder 11">
            <a:extLst>
              <a:ext uri="{FF2B5EF4-FFF2-40B4-BE49-F238E27FC236}">
                <a16:creationId xmlns:a16="http://schemas.microsoft.com/office/drawing/2014/main" id="{D694A58F-80B1-980B-F39A-7B3D86AEE9E4}"/>
              </a:ext>
            </a:extLst>
          </p:cNvPr>
          <p:cNvSpPr>
            <a:spLocks noGrp="1"/>
          </p:cNvSpPr>
          <p:nvPr>
            <p:ph type="body" sz="quarter" idx="31"/>
          </p:nvPr>
        </p:nvSpPr>
        <p:spPr>
          <a:xfrm>
            <a:off x="381599" y="79401"/>
            <a:ext cx="4431021" cy="184666"/>
          </a:xfrm>
        </p:spPr>
        <p:txBody>
          <a:bodyPr/>
          <a:lstStyle/>
          <a:p>
            <a:r>
              <a:rPr lang="en-GB"/>
              <a:t>		Policy and regulatory environment - Revenue opportunities</a:t>
            </a:r>
          </a:p>
        </p:txBody>
      </p:sp>
      <p:graphicFrame>
        <p:nvGraphicFramePr>
          <p:cNvPr id="23" name="Tabelle 7">
            <a:extLst>
              <a:ext uri="{FF2B5EF4-FFF2-40B4-BE49-F238E27FC236}">
                <a16:creationId xmlns:a16="http://schemas.microsoft.com/office/drawing/2014/main" id="{DAC418FC-6D8F-4F8A-0644-DC27B5DFF506}"/>
              </a:ext>
            </a:extLst>
          </p:cNvPr>
          <p:cNvGraphicFramePr>
            <a:graphicFrameLocks noGrp="1"/>
          </p:cNvGraphicFramePr>
          <p:nvPr>
            <p:custDataLst>
              <p:tags r:id="rId2"/>
            </p:custDataLst>
            <p:extLst>
              <p:ext uri="{D42A27DB-BD31-4B8C-83A1-F6EECF244321}">
                <p14:modId xmlns:p14="http://schemas.microsoft.com/office/powerpoint/2010/main" val="683828432"/>
              </p:ext>
            </p:extLst>
          </p:nvPr>
        </p:nvGraphicFramePr>
        <p:xfrm>
          <a:off x="381000" y="1259409"/>
          <a:ext cx="11457656" cy="4765817"/>
        </p:xfrm>
        <a:graphic>
          <a:graphicData uri="http://schemas.openxmlformats.org/drawingml/2006/table">
            <a:tbl>
              <a:tblPr firstRow="1" bandRow="1">
                <a:effectLst/>
                <a:tableStyleId>{5C22544A-7EE6-4342-B048-85BDC9FD1C3A}</a:tableStyleId>
              </a:tblPr>
              <a:tblGrid>
                <a:gridCol w="944888">
                  <a:extLst>
                    <a:ext uri="{9D8B030D-6E8A-4147-A177-3AD203B41FA5}">
                      <a16:colId xmlns:a16="http://schemas.microsoft.com/office/drawing/2014/main" val="20000"/>
                    </a:ext>
                  </a:extLst>
                </a:gridCol>
                <a:gridCol w="79400">
                  <a:extLst>
                    <a:ext uri="{9D8B030D-6E8A-4147-A177-3AD203B41FA5}">
                      <a16:colId xmlns:a16="http://schemas.microsoft.com/office/drawing/2014/main" val="2133620686"/>
                    </a:ext>
                  </a:extLst>
                </a:gridCol>
                <a:gridCol w="868199">
                  <a:extLst>
                    <a:ext uri="{9D8B030D-6E8A-4147-A177-3AD203B41FA5}">
                      <a16:colId xmlns:a16="http://schemas.microsoft.com/office/drawing/2014/main" val="2869966819"/>
                    </a:ext>
                  </a:extLst>
                </a:gridCol>
                <a:gridCol w="868199">
                  <a:extLst>
                    <a:ext uri="{9D8B030D-6E8A-4147-A177-3AD203B41FA5}">
                      <a16:colId xmlns:a16="http://schemas.microsoft.com/office/drawing/2014/main" val="269816602"/>
                    </a:ext>
                  </a:extLst>
                </a:gridCol>
                <a:gridCol w="868199">
                  <a:extLst>
                    <a:ext uri="{9D8B030D-6E8A-4147-A177-3AD203B41FA5}">
                      <a16:colId xmlns:a16="http://schemas.microsoft.com/office/drawing/2014/main" val="2503764876"/>
                    </a:ext>
                  </a:extLst>
                </a:gridCol>
                <a:gridCol w="868199">
                  <a:extLst>
                    <a:ext uri="{9D8B030D-6E8A-4147-A177-3AD203B41FA5}">
                      <a16:colId xmlns:a16="http://schemas.microsoft.com/office/drawing/2014/main" val="1898705773"/>
                    </a:ext>
                  </a:extLst>
                </a:gridCol>
                <a:gridCol w="868199">
                  <a:extLst>
                    <a:ext uri="{9D8B030D-6E8A-4147-A177-3AD203B41FA5}">
                      <a16:colId xmlns:a16="http://schemas.microsoft.com/office/drawing/2014/main" val="1499112570"/>
                    </a:ext>
                  </a:extLst>
                </a:gridCol>
                <a:gridCol w="79400">
                  <a:extLst>
                    <a:ext uri="{9D8B030D-6E8A-4147-A177-3AD203B41FA5}">
                      <a16:colId xmlns:a16="http://schemas.microsoft.com/office/drawing/2014/main" val="384909411"/>
                    </a:ext>
                  </a:extLst>
                </a:gridCol>
                <a:gridCol w="6012973">
                  <a:extLst>
                    <a:ext uri="{9D8B030D-6E8A-4147-A177-3AD203B41FA5}">
                      <a16:colId xmlns:a16="http://schemas.microsoft.com/office/drawing/2014/main" val="164549094"/>
                    </a:ext>
                  </a:extLst>
                </a:gridCol>
              </a:tblGrid>
              <a:tr h="252752">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0" marR="54000" marT="36000" marB="36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Availability of long-term contractual revenues</a:t>
                      </a: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353624">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pattFill prst="wdDnDiag">
                      <a:fgClr>
                        <a:srgbClr val="FF7F7F"/>
                      </a:fgClr>
                      <a:bgClr>
                        <a:srgbClr val="D2DB93"/>
                      </a:bgClr>
                    </a:pattFill>
                  </a:tcPr>
                </a:tc>
                <a:tc>
                  <a:txBody>
                    <a:bodyPr/>
                    <a:lstStyle/>
                    <a:p>
                      <a:pPr marL="171450" marR="0" lvl="0"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1"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b" latinLnBrk="0" hangingPunct="1">
                        <a:lnSpc>
                          <a:spcPct val="100000"/>
                        </a:lnSpc>
                        <a:spcBef>
                          <a:spcPts val="0"/>
                        </a:spcBef>
                        <a:spcAft>
                          <a:spcPts val="0"/>
                        </a:spcAft>
                        <a:buClr>
                          <a:srgbClr val="00B050"/>
                        </a:buClr>
                        <a:buSzPct val="120000"/>
                        <a:buFont typeface="Wingdings" panose="05000000000000000000" pitchFamily="2" charset="2"/>
                        <a:buChar char="ü"/>
                        <a:tabLst/>
                        <a:defRPr/>
                      </a:pPr>
                      <a:endParaRPr lang="en-GB" sz="1100" b="0"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9039608"/>
                  </a:ext>
                </a:extLst>
              </a:tr>
              <a:tr h="300634">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indent="-171450" algn="l" rtl="0" fontAlgn="b">
                        <a:lnSpc>
                          <a:spcPct val="100000"/>
                        </a:lnSpc>
                        <a:buFont typeface="Wingdings" panose="05000000000000000000" pitchFamily="2" charset="2"/>
                        <a:buChar cha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
                          <a:srgbClr val="3C3C3B"/>
                        </a:buClr>
                        <a:buSzPct val="100000"/>
                        <a:buFont typeface="Wingdings" panose="05000000000000000000" pitchFamily="2" charset="2"/>
                        <a:buChar char="§"/>
                        <a:tabLst/>
                        <a:defRPr/>
                      </a:pPr>
                      <a:endParaRPr kumimoji="0" lang="en-GB" sz="1100" b="0" i="0" u="none" strike="noStrike" kern="1200" cap="none" spc="0" normalizeH="0" baseline="0" noProof="0">
                        <a:ln>
                          <a:noFill/>
                        </a:ln>
                        <a:solidFill>
                          <a:srgbClr val="3C3C3B"/>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2178625"/>
                  </a:ext>
                </a:extLst>
              </a:tr>
              <a:tr h="300634">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
                          <a:srgbClr val="3C3C3B"/>
                        </a:buClr>
                        <a:buSzPct val="100000"/>
                        <a:buFont typeface="Wingdings" panose="05000000000000000000" pitchFamily="2" charset="2"/>
                        <a:buChar char="§"/>
                        <a:tabLst/>
                        <a:defRPr/>
                      </a:pPr>
                      <a:endParaRPr kumimoji="0" lang="en-GB" sz="1100" b="0" i="0" u="none" strike="noStrike" kern="1200" cap="none" spc="0" normalizeH="0" baseline="0" noProof="0">
                        <a:ln>
                          <a:noFill/>
                        </a:ln>
                        <a:solidFill>
                          <a:srgbClr val="3C3C3B"/>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2223629"/>
                  </a:ext>
                </a:extLst>
              </a:tr>
              <a:tr h="304722">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1" indent="-18288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22823"/>
                  </a:ext>
                </a:extLst>
              </a:tr>
              <a:tr h="300634">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highlight>
                          <a:srgbClr val="FFFF00"/>
                        </a:highligh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1" indent="-182880" algn="l" defTabSz="685783" rtl="0" eaLnBrk="1" fontAlgn="b" latinLnBrk="0" hangingPunct="1">
                        <a:lnSpc>
                          <a:spcPct val="100000"/>
                        </a:lnSpc>
                        <a:spcBef>
                          <a:spcPts val="0"/>
                        </a:spcBef>
                        <a:spcAft>
                          <a:spcPts val="0"/>
                        </a:spcAft>
                        <a:buClr>
                          <a:schemeClr val="tx1"/>
                        </a:buClr>
                        <a:buSzPct val="100000"/>
                        <a:buFont typeface="Wingdings" panose="05000000000000000000" pitchFamily="2" charset="2"/>
                        <a:buChar char="§"/>
                        <a:tabLst/>
                        <a:defRPr/>
                      </a:pPr>
                      <a:endParaRPr lang="en-GB" sz="1100" b="1" i="0" u="none" strike="noStrike" baseline="0">
                        <a:solidFill>
                          <a:srgbClr val="6699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209203"/>
                  </a:ext>
                </a:extLst>
              </a:tr>
              <a:tr h="353624">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highlight>
                          <a:srgbClr val="FFFF00"/>
                        </a:highligh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1" indent="-18288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1278944"/>
                  </a:ext>
                </a:extLst>
              </a:tr>
              <a:tr h="353624">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indent="-171450" algn="l" rtl="0" fontAlgn="b">
                        <a:lnSpc>
                          <a:spcPct val="100000"/>
                        </a:lnSpc>
                        <a:buFont typeface="Wingdings" panose="05000000000000000000" pitchFamily="2" charset="2"/>
                        <a:buChar cha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rtl="0" fontAlgn="b">
                        <a:lnSpc>
                          <a:spcPct val="100000"/>
                        </a:lnSpc>
                        <a:buClr>
                          <a:srgbClr val="00B050"/>
                        </a:buClr>
                        <a:buSzPct val="120000"/>
                        <a:buFont typeface="Wingdings" panose="05000000000000000000" pitchFamily="2" charset="2"/>
                        <a:buChar char="ü"/>
                      </a:pPr>
                      <a:endParaRPr lang="en-GB" sz="1100" b="0"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3783319"/>
                  </a:ext>
                </a:extLst>
              </a:tr>
              <a:tr h="530437">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1"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1" indent="-182880" algn="l" defTabSz="685783" rtl="0" eaLnBrk="1" fontAlgn="b" latinLnBrk="0" hangingPunct="1">
                        <a:lnSpc>
                          <a:spcPct val="100000"/>
                        </a:lnSpc>
                        <a:spcBef>
                          <a:spcPts val="0"/>
                        </a:spcBef>
                        <a:spcAft>
                          <a:spcPts val="0"/>
                        </a:spcAft>
                        <a:buClr>
                          <a:srgbClr val="00B050"/>
                        </a:buClr>
                        <a:buSzPct val="120000"/>
                        <a:buFont typeface="Wingdings" panose="05000000000000000000" pitchFamily="2" charset="2"/>
                        <a:buChar char="ü"/>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9458741"/>
                  </a:ext>
                </a:extLst>
              </a:tr>
              <a:tr h="300634">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fontAlgn="b" latinLnBrk="0" hangingPunct="1">
                        <a:lnSpc>
                          <a:spcPts val="920"/>
                        </a:lnSpc>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1" indent="-182880" algn="l" defTabSz="685783" rtl="0" eaLnBrk="1" fontAlgn="b" latinLnBrk="0" hangingPunct="1">
                        <a:lnSpc>
                          <a:spcPct val="100000"/>
                        </a:lnSpc>
                        <a:spcBef>
                          <a:spcPts val="0"/>
                        </a:spcBef>
                        <a:spcAft>
                          <a:spcPts val="0"/>
                        </a:spcAft>
                        <a:buClr>
                          <a:srgbClr val="00B050"/>
                        </a:buClr>
                        <a:buSzPct val="120000"/>
                        <a:buFont typeface="Wingdings" panose="05000000000000000000" pitchFamily="2" charset="2"/>
                        <a:buChar char="ü"/>
                        <a:tabLst/>
                        <a:defRPr/>
                      </a:pPr>
                      <a:endParaRPr lang="en-GB" sz="1100" b="0"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36829"/>
                  </a:ext>
                </a:extLst>
              </a:tr>
              <a:tr h="530437">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indent="-171450" algn="l" rtl="0" fontAlgn="b">
                        <a:lnSpc>
                          <a:spcPct val="100000"/>
                        </a:lnSpc>
                        <a:buFont typeface="Wingdings" panose="05000000000000000000" pitchFamily="2" charset="2"/>
                        <a:buChar cha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rtl="0" fontAlgn="b">
                        <a:lnSpc>
                          <a:spcPct val="100000"/>
                        </a:lnSpc>
                        <a:buClr>
                          <a:srgbClr val="00B050"/>
                        </a:buClr>
                        <a:buSzPct val="120000"/>
                        <a:buFont typeface="Wingdings" panose="05000000000000000000" pitchFamily="2" charset="2"/>
                        <a:buChar char="ü"/>
                      </a:pPr>
                      <a:endParaRPr lang="en-GB" sz="11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3313797"/>
                  </a:ext>
                </a:extLst>
              </a:tr>
              <a:tr h="530437">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indent="-171450" algn="l" rtl="0" fontAlgn="b">
                        <a:lnSpc>
                          <a:spcPct val="100000"/>
                        </a:lnSpc>
                        <a:buFont typeface="Wingdings" panose="05000000000000000000" pitchFamily="2" charset="2"/>
                        <a:buChar cha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b" latinLnBrk="0" hangingPunct="1">
                        <a:lnSpc>
                          <a:spcPct val="100000"/>
                        </a:lnSpc>
                        <a:spcBef>
                          <a:spcPts val="0"/>
                        </a:spcBef>
                        <a:spcAft>
                          <a:spcPts val="0"/>
                        </a:spcAft>
                        <a:buClr>
                          <a:srgbClr val="00B050"/>
                        </a:buClr>
                        <a:buSzPct val="120000"/>
                        <a:buFont typeface="Wingdings" panose="05000000000000000000" pitchFamily="2" charset="2"/>
                        <a:buChar char="ü"/>
                        <a:tabLst/>
                        <a:defRPr/>
                      </a:pPr>
                      <a:endParaRPr lang="en-GB" sz="1100" b="0"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5630380"/>
                  </a:ext>
                </a:extLst>
              </a:tr>
              <a:tr h="353624">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fontAlgn="b" latinLnBrk="0" hangingPunct="1">
                        <a:lnSpc>
                          <a:spcPts val="920"/>
                        </a:lnSpc>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wdDnDiag">
                      <a:fgClr>
                        <a:srgbClr val="FF7F7F"/>
                      </a:fgClr>
                      <a:bgClr>
                        <a:srgbClr val="D2DB93"/>
                      </a:bgClr>
                    </a:patt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wdDnDiag">
                      <a:fgClr>
                        <a:srgbClr val="FF7F7F"/>
                      </a:fgClr>
                      <a:bgClr>
                        <a:srgbClr val="FF7F7F"/>
                      </a:bgClr>
                    </a:patt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1" indent="-182880" algn="l" defTabSz="685783" rtl="0" eaLnBrk="1" fontAlgn="b" latinLnBrk="0" hangingPunct="1">
                        <a:lnSpc>
                          <a:spcPct val="100000"/>
                        </a:lnSpc>
                        <a:spcBef>
                          <a:spcPts val="0"/>
                        </a:spcBef>
                        <a:spcAft>
                          <a:spcPts val="0"/>
                        </a:spcAft>
                        <a:buClr>
                          <a:srgbClr val="00B050"/>
                        </a:buClr>
                        <a:buSzPct val="120000"/>
                        <a:buFont typeface="Wingdings" panose="05000000000000000000" pitchFamily="2" charset="2"/>
                        <a:buChar char="ü"/>
                        <a:tabLst/>
                        <a:defRPr/>
                      </a:pPr>
                      <a:endParaRPr lang="en-GB" sz="1100" b="0"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7950479"/>
                  </a:ext>
                </a:extLst>
              </a:tr>
            </a:tbl>
          </a:graphicData>
        </a:graphic>
      </p:graphicFrame>
      <p:sp>
        <p:nvSpPr>
          <p:cNvPr id="21" name="TextBox 20">
            <a:extLst>
              <a:ext uri="{FF2B5EF4-FFF2-40B4-BE49-F238E27FC236}">
                <a16:creationId xmlns:a16="http://schemas.microsoft.com/office/drawing/2014/main" id="{52C6BBD2-9353-E322-D281-E2C377791966}"/>
              </a:ext>
            </a:extLst>
          </p:cNvPr>
          <p:cNvSpPr txBox="1"/>
          <p:nvPr/>
        </p:nvSpPr>
        <p:spPr>
          <a:xfrm>
            <a:off x="1095372" y="6184250"/>
            <a:ext cx="2456350"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Not available / relevant for battery storage</a:t>
            </a:r>
          </a:p>
        </p:txBody>
      </p:sp>
      <p:sp>
        <p:nvSpPr>
          <p:cNvPr id="25" name="Rectangle 24">
            <a:extLst>
              <a:ext uri="{FF2B5EF4-FFF2-40B4-BE49-F238E27FC236}">
                <a16:creationId xmlns:a16="http://schemas.microsoft.com/office/drawing/2014/main" id="{D046DB09-B7BE-C5AD-38EB-F798696E9D6F}"/>
              </a:ext>
            </a:extLst>
          </p:cNvPr>
          <p:cNvSpPr/>
          <p:nvPr/>
        </p:nvSpPr>
        <p:spPr>
          <a:xfrm>
            <a:off x="381000" y="6161929"/>
            <a:ext cx="639726" cy="198530"/>
          </a:xfrm>
          <a:prstGeom prst="rect">
            <a:avLst/>
          </a:prstGeom>
          <a:solidFill>
            <a:srgbClr val="FF7F7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6" name="TextBox 25">
            <a:extLst>
              <a:ext uri="{FF2B5EF4-FFF2-40B4-BE49-F238E27FC236}">
                <a16:creationId xmlns:a16="http://schemas.microsoft.com/office/drawing/2014/main" id="{D720FED8-0B8D-3C99-D571-70FAE319D977}"/>
              </a:ext>
            </a:extLst>
          </p:cNvPr>
          <p:cNvSpPr txBox="1"/>
          <p:nvPr/>
        </p:nvSpPr>
        <p:spPr>
          <a:xfrm>
            <a:off x="4369186" y="6184250"/>
            <a:ext cx="2961350"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Available/relevant and stackable for battery storage</a:t>
            </a:r>
          </a:p>
        </p:txBody>
      </p:sp>
      <p:sp>
        <p:nvSpPr>
          <p:cNvPr id="27" name="Rectangle 26">
            <a:extLst>
              <a:ext uri="{FF2B5EF4-FFF2-40B4-BE49-F238E27FC236}">
                <a16:creationId xmlns:a16="http://schemas.microsoft.com/office/drawing/2014/main" id="{DD4B559D-4E78-E103-E619-B0752F5A19C9}"/>
              </a:ext>
            </a:extLst>
          </p:cNvPr>
          <p:cNvSpPr/>
          <p:nvPr/>
        </p:nvSpPr>
        <p:spPr>
          <a:xfrm>
            <a:off x="3635635" y="6161929"/>
            <a:ext cx="639726" cy="198530"/>
          </a:xfrm>
          <a:prstGeom prst="rect">
            <a:avLst/>
          </a:prstGeom>
          <a:solidFill>
            <a:srgbClr val="D2DB9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5" name="Picture 4">
            <a:extLst>
              <a:ext uri="{FF2B5EF4-FFF2-40B4-BE49-F238E27FC236}">
                <a16:creationId xmlns:a16="http://schemas.microsoft.com/office/drawing/2014/main" id="{152B88B8-9A51-C371-74FF-33201A9A6D3B}"/>
              </a:ext>
            </a:extLst>
          </p:cNvPr>
          <p:cNvPicPr>
            <a:picLocks/>
          </p:cNvPicPr>
          <p:nvPr/>
        </p:nvPicPr>
        <p:blipFill>
          <a:blip r:embed="rId7"/>
          <a:stretch>
            <a:fillRect/>
          </a:stretch>
        </p:blipFill>
        <p:spPr>
          <a:xfrm>
            <a:off x="7436332" y="6161929"/>
            <a:ext cx="640800" cy="198000"/>
          </a:xfrm>
          <a:prstGeom prst="rect">
            <a:avLst/>
          </a:prstGeom>
        </p:spPr>
      </p:pic>
      <p:sp>
        <p:nvSpPr>
          <p:cNvPr id="22" name="TextBox 21">
            <a:extLst>
              <a:ext uri="{FF2B5EF4-FFF2-40B4-BE49-F238E27FC236}">
                <a16:creationId xmlns:a16="http://schemas.microsoft.com/office/drawing/2014/main" id="{44B51718-A41A-884B-6FCC-3D104E6BB1BA}"/>
              </a:ext>
            </a:extLst>
          </p:cNvPr>
          <p:cNvSpPr txBox="1"/>
          <p:nvPr/>
        </p:nvSpPr>
        <p:spPr>
          <a:xfrm>
            <a:off x="8182928" y="6184250"/>
            <a:ext cx="1211329"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Partially available</a:t>
            </a:r>
          </a:p>
        </p:txBody>
      </p:sp>
      <p:sp>
        <p:nvSpPr>
          <p:cNvPr id="15" name="Oval 11">
            <a:extLst>
              <a:ext uri="{FF2B5EF4-FFF2-40B4-BE49-F238E27FC236}">
                <a16:creationId xmlns:a16="http://schemas.microsoft.com/office/drawing/2014/main" id="{D21AD079-5F0E-1052-4F8F-B5EE89AF4F95}"/>
              </a:ext>
            </a:extLst>
          </p:cNvPr>
          <p:cNvSpPr>
            <a:spLocks/>
          </p:cNvSpPr>
          <p:nvPr/>
        </p:nvSpPr>
        <p:spPr>
          <a:xfrm>
            <a:off x="1605998" y="1234565"/>
            <a:ext cx="500199" cy="252000"/>
          </a:xfrm>
          <a:prstGeom prst="roundRect">
            <a:avLst>
              <a:gd name="adj" fmla="val 50000"/>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CM</a:t>
            </a:r>
          </a:p>
        </p:txBody>
      </p:sp>
      <p:sp>
        <p:nvSpPr>
          <p:cNvPr id="16" name="Oval 11">
            <a:extLst>
              <a:ext uri="{FF2B5EF4-FFF2-40B4-BE49-F238E27FC236}">
                <a16:creationId xmlns:a16="http://schemas.microsoft.com/office/drawing/2014/main" id="{E3F0652E-6976-6E1B-80D5-76EE0FF0D8E6}"/>
              </a:ext>
            </a:extLst>
          </p:cNvPr>
          <p:cNvSpPr>
            <a:spLocks/>
          </p:cNvSpPr>
          <p:nvPr/>
        </p:nvSpPr>
        <p:spPr>
          <a:xfrm>
            <a:off x="2477197" y="1234565"/>
            <a:ext cx="500199" cy="252000"/>
          </a:xfrm>
          <a:prstGeom prst="roundRect">
            <a:avLst>
              <a:gd name="adj" fmla="val 50000"/>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WM</a:t>
            </a:r>
          </a:p>
        </p:txBody>
      </p:sp>
      <p:sp>
        <p:nvSpPr>
          <p:cNvPr id="17" name="Oval 11">
            <a:extLst>
              <a:ext uri="{FF2B5EF4-FFF2-40B4-BE49-F238E27FC236}">
                <a16:creationId xmlns:a16="http://schemas.microsoft.com/office/drawing/2014/main" id="{3524043C-6588-484E-65FE-C09870964337}"/>
              </a:ext>
            </a:extLst>
          </p:cNvPr>
          <p:cNvSpPr>
            <a:spLocks/>
          </p:cNvSpPr>
          <p:nvPr/>
        </p:nvSpPr>
        <p:spPr>
          <a:xfrm>
            <a:off x="5090793" y="1234565"/>
            <a:ext cx="500199" cy="252000"/>
          </a:xfrm>
          <a:prstGeom prst="roundRect">
            <a:avLst>
              <a:gd name="adj" fmla="val 50000"/>
            </a:avLst>
          </a:prstGeom>
          <a:solidFill>
            <a:srgbClr val="7B4F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bg1"/>
                </a:solidFill>
                <a:latin typeface="Lato"/>
                <a:sym typeface="Lato" panose="020F0502020204030203" pitchFamily="34" charset="0"/>
              </a:rPr>
              <a:t>OS</a:t>
            </a:r>
            <a:r>
              <a:rPr lang="en-GB" sz="1200" b="1" baseline="30000">
                <a:solidFill>
                  <a:schemeClr val="bg1"/>
                </a:solidFill>
                <a:latin typeface="Lato"/>
                <a:sym typeface="Lato" panose="020F0502020204030203" pitchFamily="34" charset="0"/>
              </a:rPr>
              <a:t>3</a:t>
            </a:r>
            <a:endParaRPr lang="en-GB" sz="1200" b="1">
              <a:solidFill>
                <a:schemeClr val="bg1"/>
              </a:solidFill>
              <a:latin typeface="Lato"/>
              <a:sym typeface="Lato" panose="020F0502020204030203" pitchFamily="34" charset="0"/>
            </a:endParaRPr>
          </a:p>
        </p:txBody>
      </p:sp>
      <p:sp>
        <p:nvSpPr>
          <p:cNvPr id="18" name="Oval 11">
            <a:extLst>
              <a:ext uri="{FF2B5EF4-FFF2-40B4-BE49-F238E27FC236}">
                <a16:creationId xmlns:a16="http://schemas.microsoft.com/office/drawing/2014/main" id="{EDCEB06F-1707-F81F-62F2-293886AFDF0E}"/>
              </a:ext>
            </a:extLst>
          </p:cNvPr>
          <p:cNvSpPr>
            <a:spLocks/>
          </p:cNvSpPr>
          <p:nvPr/>
        </p:nvSpPr>
        <p:spPr>
          <a:xfrm>
            <a:off x="3348396" y="1234565"/>
            <a:ext cx="500199" cy="252000"/>
          </a:xfrm>
          <a:prstGeom prst="roundRect">
            <a:avLst>
              <a:gd name="adj" fmla="val 50000"/>
            </a:avLst>
          </a:prstGeom>
          <a:solidFill>
            <a:srgbClr val="F59E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BS</a:t>
            </a:r>
            <a:r>
              <a:rPr lang="en-GB" sz="1200" b="1" baseline="30000">
                <a:solidFill>
                  <a:schemeClr val="tx1"/>
                </a:solidFill>
                <a:latin typeface="Lato"/>
                <a:sym typeface="Lato" panose="020F0502020204030203" pitchFamily="34" charset="0"/>
              </a:rPr>
              <a:t>1</a:t>
            </a:r>
            <a:endParaRPr lang="en-GB" sz="1200" b="1">
              <a:solidFill>
                <a:schemeClr val="tx1"/>
              </a:solidFill>
              <a:latin typeface="Lato"/>
              <a:sym typeface="Lato" panose="020F0502020204030203" pitchFamily="34" charset="0"/>
            </a:endParaRPr>
          </a:p>
        </p:txBody>
      </p:sp>
      <p:sp>
        <p:nvSpPr>
          <p:cNvPr id="19" name="Oval 11">
            <a:extLst>
              <a:ext uri="{FF2B5EF4-FFF2-40B4-BE49-F238E27FC236}">
                <a16:creationId xmlns:a16="http://schemas.microsoft.com/office/drawing/2014/main" id="{05DB633C-614C-3B9D-7599-DD1FF2F087F5}"/>
              </a:ext>
            </a:extLst>
          </p:cNvPr>
          <p:cNvSpPr>
            <a:spLocks/>
          </p:cNvSpPr>
          <p:nvPr/>
        </p:nvSpPr>
        <p:spPr>
          <a:xfrm>
            <a:off x="4219595" y="1234565"/>
            <a:ext cx="500199" cy="252000"/>
          </a:xfrm>
          <a:prstGeom prst="roundRect">
            <a:avLst>
              <a:gd name="adj" fmla="val 50000"/>
            </a:avLst>
          </a:prstGeom>
          <a:solidFill>
            <a:srgbClr val="B876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FR</a:t>
            </a:r>
            <a:r>
              <a:rPr lang="en-GB" sz="1200" b="1" baseline="30000">
                <a:solidFill>
                  <a:schemeClr val="tx1"/>
                </a:solidFill>
                <a:latin typeface="Lato"/>
                <a:sym typeface="Lato" panose="020F0502020204030203" pitchFamily="34" charset="0"/>
              </a:rPr>
              <a:t>2</a:t>
            </a:r>
            <a:endParaRPr lang="en-GB" sz="1200" b="1">
              <a:solidFill>
                <a:schemeClr val="tx1"/>
              </a:solidFill>
              <a:latin typeface="Lato"/>
              <a:sym typeface="Lato" panose="020F0502020204030203" pitchFamily="34" charset="0"/>
            </a:endParaRPr>
          </a:p>
        </p:txBody>
      </p:sp>
      <p:sp>
        <p:nvSpPr>
          <p:cNvPr id="20" name="Oval 19">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24" name="Oval 23">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
        <p:nvSpPr>
          <p:cNvPr id="6" name="Text Placeholder 13">
            <a:extLst>
              <a:ext uri="{FF2B5EF4-FFF2-40B4-BE49-F238E27FC236}">
                <a16:creationId xmlns:a16="http://schemas.microsoft.com/office/drawing/2014/main" id="{76D0EBEB-18D5-1068-9883-5EA540654874}"/>
              </a:ext>
            </a:extLst>
          </p:cNvPr>
          <p:cNvSpPr txBox="1">
            <a:spLocks/>
          </p:cNvSpPr>
          <p:nvPr/>
        </p:nvSpPr>
        <p:spPr>
          <a:xfrm>
            <a:off x="381000" y="6502391"/>
            <a:ext cx="8601074"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36381351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164814-1E4A-47CD-829C-4E37A8D8FA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CE164814-1E4A-47CD-829C-4E37A8D8FA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8CE5C4F-EED9-4C51-807B-B486DB66715D}"/>
              </a:ext>
            </a:extLst>
          </p:cNvPr>
          <p:cNvSpPr>
            <a:spLocks noGrp="1"/>
          </p:cNvSpPr>
          <p:nvPr>
            <p:ph type="title"/>
          </p:nvPr>
        </p:nvSpPr>
        <p:spPr/>
        <p:txBody>
          <a:bodyPr vert="horz"/>
          <a:lstStyle/>
          <a:p>
            <a:r>
              <a:rPr lang="en-GB"/>
              <a:t>Most countries allow for batteries to stack various revenue </a:t>
            </a:r>
            <a:r>
              <a:rPr lang="en-GB" err="1"/>
              <a:t>streams</a:t>
            </a:r>
            <a:r>
              <a:rPr lang="en-GB"/>
              <a:t>, however contractual revenues are limited (2/2)</a:t>
            </a:r>
          </a:p>
        </p:txBody>
      </p:sp>
      <p:sp>
        <p:nvSpPr>
          <p:cNvPr id="13" name="Text Placeholder 12">
            <a:extLst>
              <a:ext uri="{FF2B5EF4-FFF2-40B4-BE49-F238E27FC236}">
                <a16:creationId xmlns:a16="http://schemas.microsoft.com/office/drawing/2014/main" id="{20F934CD-1AA3-C51D-F626-23266512FC5B}"/>
              </a:ext>
            </a:extLst>
          </p:cNvPr>
          <p:cNvSpPr>
            <a:spLocks noGrp="1"/>
          </p:cNvSpPr>
          <p:nvPr>
            <p:ph type="body" sz="quarter" idx="32"/>
          </p:nvPr>
        </p:nvSpPr>
        <p:spPr>
          <a:xfrm>
            <a:off x="381599" y="6497163"/>
            <a:ext cx="11457058" cy="109389"/>
          </a:xfrm>
        </p:spPr>
        <p:txBody>
          <a:bodyPr/>
          <a:lstStyle/>
          <a:p>
            <a:r>
              <a:rPr lang="en-GB" sz="790"/>
              <a:t>This is a redacted sample of the European Battery Market Attractiveness Report. If you are interested in the full report, contact Alex Hutcheson (alex.hutcheson@auroraer.com)</a:t>
            </a:r>
          </a:p>
        </p:txBody>
      </p:sp>
      <p:sp>
        <p:nvSpPr>
          <p:cNvPr id="12" name="Text Placeholder 11">
            <a:extLst>
              <a:ext uri="{FF2B5EF4-FFF2-40B4-BE49-F238E27FC236}">
                <a16:creationId xmlns:a16="http://schemas.microsoft.com/office/drawing/2014/main" id="{D694A58F-80B1-980B-F39A-7B3D86AEE9E4}"/>
              </a:ext>
            </a:extLst>
          </p:cNvPr>
          <p:cNvSpPr>
            <a:spLocks noGrp="1"/>
          </p:cNvSpPr>
          <p:nvPr>
            <p:ph type="body" sz="quarter" idx="31"/>
          </p:nvPr>
        </p:nvSpPr>
        <p:spPr>
          <a:xfrm>
            <a:off x="381599" y="79401"/>
            <a:ext cx="4431021" cy="184666"/>
          </a:xfrm>
        </p:spPr>
        <p:txBody>
          <a:bodyPr/>
          <a:lstStyle/>
          <a:p>
            <a:r>
              <a:rPr lang="en-GB"/>
              <a:t>		Policy and regulatory environment - Revenue opportunities</a:t>
            </a:r>
          </a:p>
        </p:txBody>
      </p:sp>
      <p:graphicFrame>
        <p:nvGraphicFramePr>
          <p:cNvPr id="23" name="Tabelle 7">
            <a:extLst>
              <a:ext uri="{FF2B5EF4-FFF2-40B4-BE49-F238E27FC236}">
                <a16:creationId xmlns:a16="http://schemas.microsoft.com/office/drawing/2014/main" id="{DAC418FC-6D8F-4F8A-0644-DC27B5DFF506}"/>
              </a:ext>
            </a:extLst>
          </p:cNvPr>
          <p:cNvGraphicFramePr>
            <a:graphicFrameLocks noGrp="1"/>
          </p:cNvGraphicFramePr>
          <p:nvPr>
            <p:custDataLst>
              <p:tags r:id="rId2"/>
            </p:custDataLst>
            <p:extLst>
              <p:ext uri="{D42A27DB-BD31-4B8C-83A1-F6EECF244321}">
                <p14:modId xmlns:p14="http://schemas.microsoft.com/office/powerpoint/2010/main" val="132286000"/>
              </p:ext>
            </p:extLst>
          </p:nvPr>
        </p:nvGraphicFramePr>
        <p:xfrm>
          <a:off x="381000" y="1276570"/>
          <a:ext cx="11457657" cy="4748126"/>
        </p:xfrm>
        <a:graphic>
          <a:graphicData uri="http://schemas.openxmlformats.org/drawingml/2006/table">
            <a:tbl>
              <a:tblPr firstRow="1" bandRow="1">
                <a:effectLst/>
                <a:tableStyleId>{5C22544A-7EE6-4342-B048-85BDC9FD1C3A}</a:tableStyleId>
              </a:tblPr>
              <a:tblGrid>
                <a:gridCol w="957606">
                  <a:extLst>
                    <a:ext uri="{9D8B030D-6E8A-4147-A177-3AD203B41FA5}">
                      <a16:colId xmlns:a16="http://schemas.microsoft.com/office/drawing/2014/main" val="20000"/>
                    </a:ext>
                  </a:extLst>
                </a:gridCol>
                <a:gridCol w="79400">
                  <a:extLst>
                    <a:ext uri="{9D8B030D-6E8A-4147-A177-3AD203B41FA5}">
                      <a16:colId xmlns:a16="http://schemas.microsoft.com/office/drawing/2014/main" val="2133620686"/>
                    </a:ext>
                  </a:extLst>
                </a:gridCol>
                <a:gridCol w="870240">
                  <a:extLst>
                    <a:ext uri="{9D8B030D-6E8A-4147-A177-3AD203B41FA5}">
                      <a16:colId xmlns:a16="http://schemas.microsoft.com/office/drawing/2014/main" val="2869966819"/>
                    </a:ext>
                  </a:extLst>
                </a:gridCol>
                <a:gridCol w="870240">
                  <a:extLst>
                    <a:ext uri="{9D8B030D-6E8A-4147-A177-3AD203B41FA5}">
                      <a16:colId xmlns:a16="http://schemas.microsoft.com/office/drawing/2014/main" val="269816602"/>
                    </a:ext>
                  </a:extLst>
                </a:gridCol>
                <a:gridCol w="870240">
                  <a:extLst>
                    <a:ext uri="{9D8B030D-6E8A-4147-A177-3AD203B41FA5}">
                      <a16:colId xmlns:a16="http://schemas.microsoft.com/office/drawing/2014/main" val="2503764876"/>
                    </a:ext>
                  </a:extLst>
                </a:gridCol>
                <a:gridCol w="870240">
                  <a:extLst>
                    <a:ext uri="{9D8B030D-6E8A-4147-A177-3AD203B41FA5}">
                      <a16:colId xmlns:a16="http://schemas.microsoft.com/office/drawing/2014/main" val="1898705773"/>
                    </a:ext>
                  </a:extLst>
                </a:gridCol>
                <a:gridCol w="870240">
                  <a:extLst>
                    <a:ext uri="{9D8B030D-6E8A-4147-A177-3AD203B41FA5}">
                      <a16:colId xmlns:a16="http://schemas.microsoft.com/office/drawing/2014/main" val="1499112570"/>
                    </a:ext>
                  </a:extLst>
                </a:gridCol>
                <a:gridCol w="79400">
                  <a:extLst>
                    <a:ext uri="{9D8B030D-6E8A-4147-A177-3AD203B41FA5}">
                      <a16:colId xmlns:a16="http://schemas.microsoft.com/office/drawing/2014/main" val="3088981815"/>
                    </a:ext>
                  </a:extLst>
                </a:gridCol>
                <a:gridCol w="5990051">
                  <a:extLst>
                    <a:ext uri="{9D8B030D-6E8A-4147-A177-3AD203B41FA5}">
                      <a16:colId xmlns:a16="http://schemas.microsoft.com/office/drawing/2014/main" val="164549094"/>
                    </a:ext>
                  </a:extLst>
                </a:gridCol>
              </a:tblGrid>
              <a:tr h="250219">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0" marR="54000" marT="36000" marB="36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Availability of long-term contractual revenues</a:t>
                      </a: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512741">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83" rtl="0" eaLnBrk="1" fontAlgn="b" latinLnBrk="0" hangingPunct="1">
                        <a:lnSpc>
                          <a:spcPts val="920"/>
                        </a:lnSpc>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wdDnDiag">
                      <a:fgClr>
                        <a:srgbClr val="FF7F7F"/>
                      </a:fgClr>
                      <a:bgClr>
                        <a:srgbClr val="D2DB93"/>
                      </a:bgClr>
                    </a:patt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685783" rtl="0" eaLnBrk="1" fontAlgn="b" latinLnBrk="0" hangingPunct="1">
                        <a:lnSpc>
                          <a:spcPct val="100000"/>
                        </a:lnSpc>
                        <a:spcBef>
                          <a:spcPts val="0"/>
                        </a:spcBef>
                        <a:spcAft>
                          <a:spcPts val="0"/>
                        </a:spcAft>
                        <a:buClr>
                          <a:srgbClr val="00B050"/>
                        </a:buClr>
                        <a:buSzPct val="120000"/>
                        <a:buFont typeface="Wingdings" panose="05000000000000000000" pitchFamily="2" charset="2"/>
                        <a:buNone/>
                        <a:tabLst/>
                        <a:defRPr/>
                      </a:pPr>
                      <a:endParaRPr lang="en-GB" sz="1100" b="0"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070125"/>
                  </a:ext>
                </a:extLst>
              </a:tr>
              <a:tr h="383386">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
                          <a:schemeClr val="tx1"/>
                        </a:buClr>
                        <a:buSzPct val="100000"/>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963679"/>
                  </a:ext>
                </a:extLst>
              </a:tr>
              <a:tr h="383386">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1" indent="-182880" algn="l" defTabSz="685783" rtl="0" eaLnBrk="1" fontAlgn="b" latinLnBrk="0" hangingPunct="1">
                        <a:lnSpc>
                          <a:spcPct val="100000"/>
                        </a:lnSpc>
                        <a:spcBef>
                          <a:spcPts val="0"/>
                        </a:spcBef>
                        <a:spcAft>
                          <a:spcPts val="0"/>
                        </a:spcAft>
                        <a:buClr>
                          <a:srgbClr val="00B050"/>
                        </a:buClr>
                        <a:buSzPct val="120000"/>
                        <a:buFont typeface="Wingdings" panose="05000000000000000000" pitchFamily="2" charset="2"/>
                        <a:buChar char="ü"/>
                        <a:tabLst/>
                        <a:defRPr/>
                      </a:pPr>
                      <a:endParaRPr lang="en-GB" sz="1100" b="1" i="0" u="none" strike="noStrike" baseline="0">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1492772"/>
                  </a:ext>
                </a:extLst>
              </a:tr>
              <a:tr h="490266">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
                          <a:schemeClr val="tx1"/>
                        </a:buClr>
                        <a:buSzPct val="100000"/>
                        <a:buFont typeface="Wingdings" panose="05000000000000000000" pitchFamily="2" charset="2"/>
                        <a:buChar char="§"/>
                        <a:tabLst/>
                        <a:defRPr/>
                      </a:pPr>
                      <a:endParaRPr lang="en-GB" sz="1100" b="0"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666078"/>
                  </a:ext>
                </a:extLst>
              </a:tr>
              <a:tr h="383386">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880657"/>
                  </a:ext>
                </a:extLst>
              </a:tr>
              <a:tr h="512741">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kern="1200">
                        <a:solidFill>
                          <a:srgbClr val="00B050"/>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
                          <a:srgbClr val="00B050"/>
                        </a:buClr>
                        <a:buSzPct val="120000"/>
                        <a:buFont typeface="Wingdings" panose="05000000000000000000" pitchFamily="2" charset="2"/>
                        <a:buChar char="ü"/>
                        <a:tabLst/>
                        <a:defRPr/>
                      </a:pPr>
                      <a:endParaRPr lang="en-GB" sz="1100" b="1" i="0" u="none" strike="noStrike"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2436916"/>
                  </a:ext>
                </a:extLst>
              </a:tr>
              <a:tr h="510280">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wdDnDiag">
                      <a:fgClr>
                        <a:srgbClr val="FF7F7F"/>
                      </a:fgClr>
                      <a:bgClr>
                        <a:srgbClr val="D2DB93"/>
                      </a:bgClr>
                    </a:patt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wdDnDiag">
                      <a:fgClr>
                        <a:srgbClr val="FF7F7F"/>
                      </a:fgClr>
                      <a:bgClr>
                        <a:srgbClr val="D2DB93"/>
                      </a:bgClr>
                    </a:patt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710756"/>
                  </a:ext>
                </a:extLst>
              </a:tr>
              <a:tr h="324941">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
                          <a:schemeClr val="tx1"/>
                        </a:buClr>
                        <a:buSzPct val="100000"/>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947042"/>
                  </a:ext>
                </a:extLst>
              </a:tr>
              <a:tr h="324941">
                <a:tc>
                  <a:txBody>
                    <a:bodyPr/>
                    <a:lstStyle/>
                    <a:p>
                      <a:pPr marL="0" algn="ctr" defTabSz="685783" rtl="0" eaLnBrk="1" fontAlgn="b" latinLnBrk="0" hangingPunct="1">
                        <a:lnSpc>
                          <a:spcPts val="920"/>
                        </a:lnSpc>
                      </a:pPr>
                      <a:endParaRPr lang="en-GB" sz="1100" b="1" i="0" u="none" strike="noStrike" kern="1200" baseline="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
                          <a:schemeClr val="tx1"/>
                        </a:buClr>
                        <a:buSzPct val="100000"/>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9433057"/>
                  </a:ext>
                </a:extLst>
              </a:tr>
              <a:tr h="324941">
                <a:tc>
                  <a:txBody>
                    <a:bodyPr/>
                    <a:lstStyle/>
                    <a:p>
                      <a:pPr marL="0" algn="ctr" defTabSz="685783" rtl="0" eaLnBrk="1" fontAlgn="b" latinLnBrk="0" hangingPunct="1">
                        <a:lnSpc>
                          <a:spcPts val="920"/>
                        </a:lnSpc>
                      </a:pPr>
                      <a:endParaRPr lang="en-GB" sz="1100" b="1" i="0" u="none" strike="noStrike" kern="1200" baseline="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
                          <a:schemeClr val="tx1"/>
                        </a:buClr>
                        <a:buSzPct val="100000"/>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255701"/>
                  </a:ext>
                </a:extLst>
              </a:tr>
              <a:tr h="346898">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000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B050"/>
                        </a:solidFill>
                        <a:effectLst/>
                        <a:uLnTx/>
                        <a:uFillTx/>
                        <a:latin typeface="Lato"/>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DB93"/>
                    </a:solid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7F7F"/>
                    </a:solid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685783" rtl="0" eaLnBrk="1" fontAlgn="b" latinLnBrk="0" hangingPunct="1">
                        <a:lnSpc>
                          <a:spcPct val="100000"/>
                        </a:lnSpc>
                        <a:spcBef>
                          <a:spcPts val="0"/>
                        </a:spcBef>
                        <a:spcAft>
                          <a:spcPts val="0"/>
                        </a:spcAft>
                        <a:buClrTx/>
                        <a:buSzTx/>
                        <a:buFont typeface="Wingdings" panose="05000000000000000000" pitchFamily="2" charset="2"/>
                        <a:buChar char="§"/>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0934554"/>
                  </a:ext>
                </a:extLst>
              </a:tr>
            </a:tbl>
          </a:graphicData>
        </a:graphic>
      </p:graphicFrame>
      <p:sp>
        <p:nvSpPr>
          <p:cNvPr id="24" name="Oval 11">
            <a:extLst>
              <a:ext uri="{FF2B5EF4-FFF2-40B4-BE49-F238E27FC236}">
                <a16:creationId xmlns:a16="http://schemas.microsoft.com/office/drawing/2014/main" id="{429E9C27-992C-22BF-23F2-1ED792B3963D}"/>
              </a:ext>
            </a:extLst>
          </p:cNvPr>
          <p:cNvSpPr>
            <a:spLocks/>
          </p:cNvSpPr>
          <p:nvPr/>
        </p:nvSpPr>
        <p:spPr>
          <a:xfrm>
            <a:off x="1605998" y="1228811"/>
            <a:ext cx="500199" cy="252000"/>
          </a:xfrm>
          <a:prstGeom prst="roundRect">
            <a:avLst>
              <a:gd name="adj" fmla="val 50000"/>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CM</a:t>
            </a:r>
          </a:p>
        </p:txBody>
      </p:sp>
      <p:sp>
        <p:nvSpPr>
          <p:cNvPr id="34" name="Oval 11">
            <a:extLst>
              <a:ext uri="{FF2B5EF4-FFF2-40B4-BE49-F238E27FC236}">
                <a16:creationId xmlns:a16="http://schemas.microsoft.com/office/drawing/2014/main" id="{125403AD-BFAD-D88A-8438-77951FAE7E91}"/>
              </a:ext>
            </a:extLst>
          </p:cNvPr>
          <p:cNvSpPr>
            <a:spLocks/>
          </p:cNvSpPr>
          <p:nvPr/>
        </p:nvSpPr>
        <p:spPr>
          <a:xfrm>
            <a:off x="2477197" y="1228811"/>
            <a:ext cx="500199" cy="252000"/>
          </a:xfrm>
          <a:prstGeom prst="roundRect">
            <a:avLst>
              <a:gd name="adj" fmla="val 50000"/>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WM</a:t>
            </a:r>
          </a:p>
        </p:txBody>
      </p:sp>
      <p:sp>
        <p:nvSpPr>
          <p:cNvPr id="38" name="Oval 11">
            <a:extLst>
              <a:ext uri="{FF2B5EF4-FFF2-40B4-BE49-F238E27FC236}">
                <a16:creationId xmlns:a16="http://schemas.microsoft.com/office/drawing/2014/main" id="{654F3208-7E72-86F7-496F-A75353A67383}"/>
              </a:ext>
            </a:extLst>
          </p:cNvPr>
          <p:cNvSpPr>
            <a:spLocks/>
          </p:cNvSpPr>
          <p:nvPr/>
        </p:nvSpPr>
        <p:spPr>
          <a:xfrm>
            <a:off x="5090793" y="1228811"/>
            <a:ext cx="500199" cy="252000"/>
          </a:xfrm>
          <a:prstGeom prst="roundRect">
            <a:avLst>
              <a:gd name="adj" fmla="val 50000"/>
            </a:avLst>
          </a:prstGeom>
          <a:solidFill>
            <a:srgbClr val="7B4F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bg1"/>
                </a:solidFill>
                <a:latin typeface="Lato"/>
                <a:sym typeface="Lato" panose="020F0502020204030203" pitchFamily="34" charset="0"/>
              </a:rPr>
              <a:t>OS</a:t>
            </a:r>
            <a:r>
              <a:rPr lang="en-GB" sz="1200" b="1" baseline="30000">
                <a:solidFill>
                  <a:schemeClr val="bg1"/>
                </a:solidFill>
                <a:latin typeface="Lato"/>
                <a:sym typeface="Lato" panose="020F0502020204030203" pitchFamily="34" charset="0"/>
              </a:rPr>
              <a:t>3</a:t>
            </a:r>
            <a:endParaRPr lang="en-GB" sz="1200" b="1">
              <a:solidFill>
                <a:schemeClr val="bg1"/>
              </a:solidFill>
              <a:latin typeface="Lato"/>
              <a:sym typeface="Lato" panose="020F0502020204030203" pitchFamily="34" charset="0"/>
            </a:endParaRPr>
          </a:p>
        </p:txBody>
      </p:sp>
      <p:sp>
        <p:nvSpPr>
          <p:cNvPr id="28" name="Oval 11">
            <a:extLst>
              <a:ext uri="{FF2B5EF4-FFF2-40B4-BE49-F238E27FC236}">
                <a16:creationId xmlns:a16="http://schemas.microsoft.com/office/drawing/2014/main" id="{446C2666-E878-4306-A7CD-7E261589BF0E}"/>
              </a:ext>
            </a:extLst>
          </p:cNvPr>
          <p:cNvSpPr>
            <a:spLocks/>
          </p:cNvSpPr>
          <p:nvPr/>
        </p:nvSpPr>
        <p:spPr>
          <a:xfrm>
            <a:off x="3348396" y="1228811"/>
            <a:ext cx="500199" cy="252000"/>
          </a:xfrm>
          <a:prstGeom prst="roundRect">
            <a:avLst>
              <a:gd name="adj" fmla="val 50000"/>
            </a:avLst>
          </a:prstGeom>
          <a:solidFill>
            <a:srgbClr val="F59E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BS</a:t>
            </a:r>
            <a:r>
              <a:rPr lang="en-GB" sz="1200" b="1" baseline="30000">
                <a:solidFill>
                  <a:schemeClr val="tx1"/>
                </a:solidFill>
                <a:latin typeface="Lato"/>
                <a:sym typeface="Lato" panose="020F0502020204030203" pitchFamily="34" charset="0"/>
              </a:rPr>
              <a:t>1</a:t>
            </a:r>
            <a:endParaRPr lang="en-GB" sz="1200" b="1">
              <a:solidFill>
                <a:schemeClr val="tx1"/>
              </a:solidFill>
              <a:latin typeface="Lato"/>
              <a:sym typeface="Lato" panose="020F0502020204030203" pitchFamily="34" charset="0"/>
            </a:endParaRPr>
          </a:p>
        </p:txBody>
      </p:sp>
      <p:sp>
        <p:nvSpPr>
          <p:cNvPr id="29" name="Oval 11">
            <a:extLst>
              <a:ext uri="{FF2B5EF4-FFF2-40B4-BE49-F238E27FC236}">
                <a16:creationId xmlns:a16="http://schemas.microsoft.com/office/drawing/2014/main" id="{65C096F1-6DD1-FD15-6594-F6278D47F73F}"/>
              </a:ext>
            </a:extLst>
          </p:cNvPr>
          <p:cNvSpPr>
            <a:spLocks/>
          </p:cNvSpPr>
          <p:nvPr/>
        </p:nvSpPr>
        <p:spPr>
          <a:xfrm>
            <a:off x="4219595" y="1228811"/>
            <a:ext cx="500199" cy="252000"/>
          </a:xfrm>
          <a:prstGeom prst="roundRect">
            <a:avLst>
              <a:gd name="adj" fmla="val 50000"/>
            </a:avLst>
          </a:prstGeom>
          <a:solidFill>
            <a:srgbClr val="B876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FR</a:t>
            </a:r>
            <a:r>
              <a:rPr lang="en-GB" sz="1200" b="1" baseline="30000">
                <a:solidFill>
                  <a:schemeClr val="tx1"/>
                </a:solidFill>
                <a:latin typeface="Lato"/>
                <a:sym typeface="Lato" panose="020F0502020204030203" pitchFamily="34" charset="0"/>
              </a:rPr>
              <a:t>2</a:t>
            </a:r>
            <a:endParaRPr lang="en-GB" sz="1200" b="1">
              <a:solidFill>
                <a:schemeClr val="tx1"/>
              </a:solidFill>
              <a:latin typeface="Lato"/>
              <a:sym typeface="Lato" panose="020F0502020204030203" pitchFamily="34" charset="0"/>
            </a:endParaRPr>
          </a:p>
        </p:txBody>
      </p:sp>
      <p:sp>
        <p:nvSpPr>
          <p:cNvPr id="20" name="TextBox 19">
            <a:extLst>
              <a:ext uri="{FF2B5EF4-FFF2-40B4-BE49-F238E27FC236}">
                <a16:creationId xmlns:a16="http://schemas.microsoft.com/office/drawing/2014/main" id="{C88C8090-C3B3-EAA2-A520-6A8B3E9FEAC3}"/>
              </a:ext>
            </a:extLst>
          </p:cNvPr>
          <p:cNvSpPr txBox="1"/>
          <p:nvPr/>
        </p:nvSpPr>
        <p:spPr>
          <a:xfrm>
            <a:off x="1095372" y="6184250"/>
            <a:ext cx="2456350"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Not available / relevant for battery storage</a:t>
            </a:r>
          </a:p>
        </p:txBody>
      </p:sp>
      <p:sp>
        <p:nvSpPr>
          <p:cNvPr id="22" name="Rectangle 21">
            <a:extLst>
              <a:ext uri="{FF2B5EF4-FFF2-40B4-BE49-F238E27FC236}">
                <a16:creationId xmlns:a16="http://schemas.microsoft.com/office/drawing/2014/main" id="{37883F5B-4F27-A49E-2C11-ACB7E407BEBC}"/>
              </a:ext>
            </a:extLst>
          </p:cNvPr>
          <p:cNvSpPr/>
          <p:nvPr/>
        </p:nvSpPr>
        <p:spPr>
          <a:xfrm>
            <a:off x="381000" y="6161929"/>
            <a:ext cx="639726" cy="198530"/>
          </a:xfrm>
          <a:prstGeom prst="rect">
            <a:avLst/>
          </a:prstGeom>
          <a:solidFill>
            <a:srgbClr val="FF7F7F"/>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0" name="TextBox 29">
            <a:extLst>
              <a:ext uri="{FF2B5EF4-FFF2-40B4-BE49-F238E27FC236}">
                <a16:creationId xmlns:a16="http://schemas.microsoft.com/office/drawing/2014/main" id="{B055EE62-9487-DE06-B8B8-1CE222F7DB35}"/>
              </a:ext>
            </a:extLst>
          </p:cNvPr>
          <p:cNvSpPr txBox="1"/>
          <p:nvPr/>
        </p:nvSpPr>
        <p:spPr>
          <a:xfrm>
            <a:off x="4369186" y="6184250"/>
            <a:ext cx="2961350"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Available/relevant and stackable for battery storage</a:t>
            </a:r>
          </a:p>
        </p:txBody>
      </p:sp>
      <p:sp>
        <p:nvSpPr>
          <p:cNvPr id="31" name="Rectangle 30">
            <a:extLst>
              <a:ext uri="{FF2B5EF4-FFF2-40B4-BE49-F238E27FC236}">
                <a16:creationId xmlns:a16="http://schemas.microsoft.com/office/drawing/2014/main" id="{E32245C4-9A20-5A9C-BB41-F2A030233C08}"/>
              </a:ext>
            </a:extLst>
          </p:cNvPr>
          <p:cNvSpPr/>
          <p:nvPr/>
        </p:nvSpPr>
        <p:spPr>
          <a:xfrm>
            <a:off x="3635635" y="6161929"/>
            <a:ext cx="639726" cy="198530"/>
          </a:xfrm>
          <a:prstGeom prst="rect">
            <a:avLst/>
          </a:prstGeom>
          <a:solidFill>
            <a:srgbClr val="D2DB9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32" name="Picture 31">
            <a:extLst>
              <a:ext uri="{FF2B5EF4-FFF2-40B4-BE49-F238E27FC236}">
                <a16:creationId xmlns:a16="http://schemas.microsoft.com/office/drawing/2014/main" id="{FAD0D0C1-7D4F-8091-BAE6-5CC55A299D67}"/>
              </a:ext>
            </a:extLst>
          </p:cNvPr>
          <p:cNvPicPr>
            <a:picLocks/>
          </p:cNvPicPr>
          <p:nvPr/>
        </p:nvPicPr>
        <p:blipFill>
          <a:blip r:embed="rId7"/>
          <a:stretch>
            <a:fillRect/>
          </a:stretch>
        </p:blipFill>
        <p:spPr>
          <a:xfrm>
            <a:off x="7436332" y="6161929"/>
            <a:ext cx="640800" cy="198000"/>
          </a:xfrm>
          <a:prstGeom prst="rect">
            <a:avLst/>
          </a:prstGeom>
        </p:spPr>
      </p:pic>
      <p:sp>
        <p:nvSpPr>
          <p:cNvPr id="33" name="TextBox 32">
            <a:extLst>
              <a:ext uri="{FF2B5EF4-FFF2-40B4-BE49-F238E27FC236}">
                <a16:creationId xmlns:a16="http://schemas.microsoft.com/office/drawing/2014/main" id="{10F40F1C-E1D3-37B8-5F2C-8287672A9104}"/>
              </a:ext>
            </a:extLst>
          </p:cNvPr>
          <p:cNvSpPr txBox="1"/>
          <p:nvPr/>
        </p:nvSpPr>
        <p:spPr>
          <a:xfrm>
            <a:off x="8182928" y="6184250"/>
            <a:ext cx="1211329"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Partially available</a:t>
            </a:r>
          </a:p>
        </p:txBody>
      </p:sp>
      <p:sp>
        <p:nvSpPr>
          <p:cNvPr id="19" name="Oval 1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21" name="Oval 20">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
        <p:nvSpPr>
          <p:cNvPr id="2" name="Text Placeholder 12">
            <a:extLst>
              <a:ext uri="{FF2B5EF4-FFF2-40B4-BE49-F238E27FC236}">
                <a16:creationId xmlns:a16="http://schemas.microsoft.com/office/drawing/2014/main" id="{438D7003-F967-2360-0777-A26375405BDE}"/>
              </a:ext>
            </a:extLst>
          </p:cNvPr>
          <p:cNvSpPr txBox="1">
            <a:spLocks/>
          </p:cNvSpPr>
          <p:nvPr/>
        </p:nvSpPr>
        <p:spPr>
          <a:xfrm>
            <a:off x="381000" y="6747539"/>
            <a:ext cx="11428800" cy="103875"/>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750"/>
              <a:t>Sources: Aurora Energy Research</a:t>
            </a:r>
            <a:endParaRPr lang="en-GB" sz="750">
              <a:latin typeface="+mn-lt"/>
              <a:ea typeface="+mn-ea"/>
              <a:cs typeface="+mn-cs"/>
            </a:endParaRPr>
          </a:p>
        </p:txBody>
      </p:sp>
    </p:spTree>
    <p:extLst>
      <p:ext uri="{BB962C8B-B14F-4D97-AF65-F5344CB8AC3E}">
        <p14:creationId xmlns:p14="http://schemas.microsoft.com/office/powerpoint/2010/main" val="10107626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CE1B0268-9735-F4D2-683C-B94CF0472024}"/>
              </a:ext>
            </a:extLst>
          </p:cNvPr>
          <p:cNvGraphicFramePr>
            <a:graphicFrameLocks noChangeAspect="1"/>
          </p:cNvGraphicFramePr>
          <p:nvPr>
            <p:custDataLst>
              <p:tags r:id="rId1"/>
            </p:custDataLst>
            <p:extLst>
              <p:ext uri="{D42A27DB-BD31-4B8C-83A1-F6EECF244321}">
                <p14:modId xmlns:p14="http://schemas.microsoft.com/office/powerpoint/2010/main" val="4068185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4" name="Object 23" hidden="1">
                        <a:extLst>
                          <a:ext uri="{FF2B5EF4-FFF2-40B4-BE49-F238E27FC236}">
                            <a16:creationId xmlns:a16="http://schemas.microsoft.com/office/drawing/2014/main" id="{CE1B0268-9735-F4D2-683C-B94CF0472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BD9981FD-7001-BE25-6A46-1D563CFDCF12}"/>
              </a:ext>
            </a:extLst>
          </p:cNvPr>
          <p:cNvSpPr/>
          <p:nvPr/>
        </p:nvSpPr>
        <p:spPr>
          <a:xfrm>
            <a:off x="457454" y="6093425"/>
            <a:ext cx="11099546" cy="210778"/>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5" name="Rectangle 54">
            <a:extLst>
              <a:ext uri="{FF2B5EF4-FFF2-40B4-BE49-F238E27FC236}">
                <a16:creationId xmlns:a16="http://schemas.microsoft.com/office/drawing/2014/main" id="{CBBFE396-A648-C812-7A19-A73AD13A740F}"/>
              </a:ext>
            </a:extLst>
          </p:cNvPr>
          <p:cNvSpPr/>
          <p:nvPr/>
        </p:nvSpPr>
        <p:spPr>
          <a:xfrm>
            <a:off x="457454" y="4233374"/>
            <a:ext cx="11099546" cy="210778"/>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8" name="Rectangle 57">
            <a:extLst>
              <a:ext uri="{FF2B5EF4-FFF2-40B4-BE49-F238E27FC236}">
                <a16:creationId xmlns:a16="http://schemas.microsoft.com/office/drawing/2014/main" id="{AC578EEB-B3E9-378F-A034-D15F6B5F0D71}"/>
              </a:ext>
            </a:extLst>
          </p:cNvPr>
          <p:cNvSpPr/>
          <p:nvPr/>
        </p:nvSpPr>
        <p:spPr>
          <a:xfrm>
            <a:off x="457454" y="4639537"/>
            <a:ext cx="11099546" cy="210778"/>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9" name="Rectangle 58">
            <a:extLst>
              <a:ext uri="{FF2B5EF4-FFF2-40B4-BE49-F238E27FC236}">
                <a16:creationId xmlns:a16="http://schemas.microsoft.com/office/drawing/2014/main" id="{46CEEF87-65A0-B65A-28E0-14EFCF21162E}"/>
              </a:ext>
            </a:extLst>
          </p:cNvPr>
          <p:cNvSpPr/>
          <p:nvPr/>
        </p:nvSpPr>
        <p:spPr>
          <a:xfrm>
            <a:off x="457454" y="5084427"/>
            <a:ext cx="11099546" cy="210778"/>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62" name="Rectangle 61">
            <a:extLst>
              <a:ext uri="{FF2B5EF4-FFF2-40B4-BE49-F238E27FC236}">
                <a16:creationId xmlns:a16="http://schemas.microsoft.com/office/drawing/2014/main" id="{B1C5FFCB-B22A-DBCC-EFB3-EBA3871252EA}"/>
              </a:ext>
            </a:extLst>
          </p:cNvPr>
          <p:cNvSpPr/>
          <p:nvPr/>
        </p:nvSpPr>
        <p:spPr>
          <a:xfrm>
            <a:off x="457454" y="5661338"/>
            <a:ext cx="11099546" cy="210778"/>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4" name="Rectangle 53">
            <a:extLst>
              <a:ext uri="{FF2B5EF4-FFF2-40B4-BE49-F238E27FC236}">
                <a16:creationId xmlns:a16="http://schemas.microsoft.com/office/drawing/2014/main" id="{88E8BFC4-0434-EE9B-A9FD-AD896F0C0CED}"/>
              </a:ext>
            </a:extLst>
          </p:cNvPr>
          <p:cNvSpPr/>
          <p:nvPr/>
        </p:nvSpPr>
        <p:spPr>
          <a:xfrm>
            <a:off x="457454" y="3800381"/>
            <a:ext cx="11099546" cy="210778"/>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 name="Text Placeholder 4">
            <a:extLst>
              <a:ext uri="{FF2B5EF4-FFF2-40B4-BE49-F238E27FC236}">
                <a16:creationId xmlns:a16="http://schemas.microsoft.com/office/drawing/2014/main" id="{0455C6B4-3449-1673-40BB-1D5B924097AD}"/>
              </a:ext>
            </a:extLst>
          </p:cNvPr>
          <p:cNvSpPr>
            <a:spLocks noGrp="1"/>
          </p:cNvSpPr>
          <p:nvPr>
            <p:ph type="body" sz="quarter" idx="22"/>
          </p:nvPr>
        </p:nvSpPr>
        <p:spPr>
          <a:xfrm>
            <a:off x="381001" y="6715169"/>
            <a:ext cx="1542089" cy="110800"/>
          </a:xfrm>
        </p:spPr>
        <p:txBody>
          <a:bodyPr/>
          <a:lstStyle/>
          <a:p>
            <a:r>
              <a:rPr lang="en-GB"/>
              <a:t>Sources: Aurora Energy Research</a:t>
            </a:r>
          </a:p>
        </p:txBody>
      </p:sp>
      <p:sp>
        <p:nvSpPr>
          <p:cNvPr id="3" name="Title 2">
            <a:extLst>
              <a:ext uri="{FF2B5EF4-FFF2-40B4-BE49-F238E27FC236}">
                <a16:creationId xmlns:a16="http://schemas.microsoft.com/office/drawing/2014/main" id="{10A4E3FC-3E30-BC88-D1EF-98224538F636}"/>
              </a:ext>
            </a:extLst>
          </p:cNvPr>
          <p:cNvSpPr>
            <a:spLocks noGrp="1"/>
          </p:cNvSpPr>
          <p:nvPr>
            <p:ph type="title"/>
          </p:nvPr>
        </p:nvSpPr>
        <p:spPr/>
        <p:txBody>
          <a:bodyPr vert="horz"/>
          <a:lstStyle/>
          <a:p>
            <a:r>
              <a:rPr lang="en-GB"/>
              <a:t>Frequency markets across Europe are generally fragmented and reflect nationally-determined technical requirements (1/2)</a:t>
            </a:r>
          </a:p>
        </p:txBody>
      </p:sp>
      <p:sp>
        <p:nvSpPr>
          <p:cNvPr id="9" name="Text Placeholder 8">
            <a:extLst>
              <a:ext uri="{FF2B5EF4-FFF2-40B4-BE49-F238E27FC236}">
                <a16:creationId xmlns:a16="http://schemas.microsoft.com/office/drawing/2014/main" id="{BB0BEBAC-81C7-C000-FB0E-C2EB594BB37E}"/>
              </a:ext>
            </a:extLst>
          </p:cNvPr>
          <p:cNvSpPr>
            <a:spLocks noGrp="1"/>
          </p:cNvSpPr>
          <p:nvPr>
            <p:ph type="body" sz="quarter" idx="31"/>
          </p:nvPr>
        </p:nvSpPr>
        <p:spPr>
          <a:xfrm>
            <a:off x="381599" y="79401"/>
            <a:ext cx="4431021" cy="184666"/>
          </a:xfrm>
        </p:spPr>
        <p:txBody>
          <a:bodyPr/>
          <a:lstStyle/>
          <a:p>
            <a:r>
              <a:rPr lang="en-GB"/>
              <a:t>		Policy and regulatory environment - Revenue opportunities</a:t>
            </a:r>
          </a:p>
        </p:txBody>
      </p:sp>
      <p:graphicFrame>
        <p:nvGraphicFramePr>
          <p:cNvPr id="11" name="Table 10">
            <a:extLst>
              <a:ext uri="{FF2B5EF4-FFF2-40B4-BE49-F238E27FC236}">
                <a16:creationId xmlns:a16="http://schemas.microsoft.com/office/drawing/2014/main" id="{6ABED5D4-08B6-F119-5237-105BE12FEAB9}"/>
              </a:ext>
            </a:extLst>
          </p:cNvPr>
          <p:cNvGraphicFramePr>
            <a:graphicFrameLocks noGrp="1"/>
          </p:cNvGraphicFramePr>
          <p:nvPr>
            <p:extLst>
              <p:ext uri="{D42A27DB-BD31-4B8C-83A1-F6EECF244321}">
                <p14:modId xmlns:p14="http://schemas.microsoft.com/office/powerpoint/2010/main" val="3906094012"/>
              </p:ext>
            </p:extLst>
          </p:nvPr>
        </p:nvGraphicFramePr>
        <p:xfrm>
          <a:off x="379541" y="1642583"/>
          <a:ext cx="963098" cy="4708649"/>
        </p:xfrm>
        <a:graphic>
          <a:graphicData uri="http://schemas.openxmlformats.org/drawingml/2006/table">
            <a:tbl>
              <a:tblPr firstRow="1" bandRow="1">
                <a:effectLst/>
                <a:tableStyleId>{5C22544A-7EE6-4342-B048-85BDC9FD1C3A}</a:tableStyleId>
              </a:tblPr>
              <a:tblGrid>
                <a:gridCol w="963098">
                  <a:extLst>
                    <a:ext uri="{9D8B030D-6E8A-4147-A177-3AD203B41FA5}">
                      <a16:colId xmlns:a16="http://schemas.microsoft.com/office/drawing/2014/main" val="3669171791"/>
                    </a:ext>
                  </a:extLst>
                </a:gridCol>
              </a:tblGrid>
              <a:tr h="343471">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0" marR="54000" marT="36000" marB="36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3877830"/>
                  </a:ext>
                </a:extLst>
              </a:tr>
              <a:tr h="914462">
                <a:tc>
                  <a:txBody>
                    <a:bodyPr/>
                    <a:lstStyle/>
                    <a:p>
                      <a:pPr marL="0" marR="0" lvl="0" indent="0" algn="ctr" defTabSz="685783" rtl="0" eaLnBrk="1" fontAlgn="b" latinLnBrk="0" hangingPunct="1">
                        <a:lnSpc>
                          <a:spcPct val="95000"/>
                        </a:lnSpc>
                        <a:spcBef>
                          <a:spcPts val="0"/>
                        </a:spcBef>
                        <a:spcAft>
                          <a:spcPts val="0"/>
                        </a:spcAft>
                        <a:buClrTx/>
                        <a:buSzTx/>
                        <a:buFontTx/>
                        <a:buNone/>
                        <a:tabLst/>
                        <a:defRPr/>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53252476"/>
                  </a:ext>
                </a:extLst>
              </a:tr>
              <a:tr h="766916">
                <a:tc>
                  <a:txBody>
                    <a:bodyPr/>
                    <a:lstStyle/>
                    <a:p>
                      <a:pPr marL="0" marR="0" lvl="0" indent="0" algn="ctr" defTabSz="685783" rtl="0" eaLnBrk="1" fontAlgn="b" latinLnBrk="0" hangingPunct="1">
                        <a:lnSpc>
                          <a:spcPct val="95000"/>
                        </a:lnSpc>
                        <a:spcBef>
                          <a:spcPts val="0"/>
                        </a:spcBef>
                        <a:spcAft>
                          <a:spcPts val="0"/>
                        </a:spcAft>
                        <a:buClrTx/>
                        <a:buSzTx/>
                        <a:buFontTx/>
                        <a:buNone/>
                        <a:tabLst/>
                        <a:defRPr/>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19147608"/>
                  </a:ext>
                </a:extLst>
              </a:tr>
              <a:tr h="437536">
                <a:tc>
                  <a:txBody>
                    <a:bodyPr/>
                    <a:lstStyle/>
                    <a:p>
                      <a:pPr marL="0" algn="ctr" defTabSz="685783" rtl="0" eaLnBrk="1" fontAlgn="b" latinLnBrk="0" hangingPunct="1">
                        <a:lnSpc>
                          <a:spcPct val="95000"/>
                        </a:lnSpc>
                      </a:pPr>
                      <a:endParaRPr lang="en-GB" sz="1100" b="0"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3296987"/>
                  </a:ext>
                </a:extLst>
              </a:tr>
              <a:tr h="437536">
                <a:tc>
                  <a:txBody>
                    <a:bodyPr/>
                    <a:lstStyle/>
                    <a:p>
                      <a:pPr marL="0" marR="0" lvl="0" indent="0" algn="ctr" defTabSz="685783" rtl="0" eaLnBrk="1" fontAlgn="b" latinLnBrk="0" hangingPunct="1">
                        <a:lnSpc>
                          <a:spcPct val="95000"/>
                        </a:lnSpc>
                        <a:spcBef>
                          <a:spcPts val="0"/>
                        </a:spcBef>
                        <a:spcAft>
                          <a:spcPts val="0"/>
                        </a:spcAft>
                        <a:buClrTx/>
                        <a:buSzTx/>
                        <a:buFontTx/>
                        <a:buNone/>
                        <a:tabLst/>
                        <a:defRPr/>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95896076"/>
                  </a:ext>
                </a:extLst>
              </a:tr>
              <a:tr h="437536">
                <a:tc>
                  <a:txBody>
                    <a:bodyPr/>
                    <a:lstStyle/>
                    <a:p>
                      <a:pPr marL="0" algn="ctr" defTabSz="685783" rtl="0" eaLnBrk="1" fontAlgn="b" latinLnBrk="0" hangingPunct="1">
                        <a:lnSpc>
                          <a:spcPct val="95000"/>
                        </a:lnSpc>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75772084"/>
                  </a:ext>
                </a:extLst>
              </a:tr>
              <a:tr h="437536">
                <a:tc>
                  <a:txBody>
                    <a:bodyPr/>
                    <a:lstStyle/>
                    <a:p>
                      <a:pPr marL="0" algn="ctr" defTabSz="685783" rtl="0" eaLnBrk="1" fontAlgn="b" latinLnBrk="0" hangingPunct="1">
                        <a:lnSpc>
                          <a:spcPct val="95000"/>
                        </a:lnSpc>
                      </a:pPr>
                      <a:endParaRPr lang="en-GB" sz="1100" b="0"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1982150"/>
                  </a:ext>
                </a:extLst>
              </a:tr>
              <a:tr h="609656">
                <a:tc>
                  <a:txBody>
                    <a:bodyPr/>
                    <a:lstStyle/>
                    <a:p>
                      <a:pPr marL="0" algn="ctr" defTabSz="685783" rtl="0" eaLnBrk="1" fontAlgn="b" latinLnBrk="0" hangingPunct="1">
                        <a:lnSpc>
                          <a:spcPct val="95000"/>
                        </a:lnSpc>
                      </a:pPr>
                      <a:endParaRPr lang="en-GB" sz="1100" b="0" i="0" u="none" strike="noStrike" kern="1200" baseline="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463541875"/>
                  </a:ext>
                </a:extLst>
              </a:tr>
              <a:tr h="324000">
                <a:tc>
                  <a:txBody>
                    <a:bodyPr/>
                    <a:lstStyle/>
                    <a:p>
                      <a:pPr marL="0" algn="ctr" defTabSz="685783" rtl="0" eaLnBrk="1" fontAlgn="b" latinLnBrk="0" hangingPunct="1">
                        <a:lnSpc>
                          <a:spcPct val="95000"/>
                        </a:lnSpc>
                      </a:pPr>
                      <a:endParaRPr lang="en-GB" sz="1100" b="0" i="0" u="none" strike="noStrike" kern="1200" baseline="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71903623"/>
                  </a:ext>
                </a:extLst>
              </a:tr>
            </a:tbl>
          </a:graphicData>
        </a:graphic>
      </p:graphicFrame>
      <p:sp>
        <p:nvSpPr>
          <p:cNvPr id="28" name="Oval 11">
            <a:extLst>
              <a:ext uri="{FF2B5EF4-FFF2-40B4-BE49-F238E27FC236}">
                <a16:creationId xmlns:a16="http://schemas.microsoft.com/office/drawing/2014/main" id="{20E9650D-86BE-B62B-12F9-4C8ADAF85704}"/>
              </a:ext>
            </a:extLst>
          </p:cNvPr>
          <p:cNvSpPr>
            <a:spLocks/>
          </p:cNvSpPr>
          <p:nvPr/>
        </p:nvSpPr>
        <p:spPr>
          <a:xfrm>
            <a:off x="4266581" y="3720186"/>
            <a:ext cx="676115" cy="1228799"/>
          </a:xfrm>
          <a:prstGeom prst="roundRect">
            <a:avLst>
              <a:gd name="adj" fmla="val 33852"/>
            </a:avLst>
          </a:prstGeom>
          <a:solidFill>
            <a:srgbClr val="ADADAD"/>
          </a:solidFill>
          <a:ln w="6350">
            <a:solidFill>
              <a:srgbClr val="ADADAD"/>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buSzPct val="100000"/>
            </a:pPr>
            <a:endParaRPr lang="en-GB" sz="10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32" name="Oval 11">
            <a:extLst>
              <a:ext uri="{FF2B5EF4-FFF2-40B4-BE49-F238E27FC236}">
                <a16:creationId xmlns:a16="http://schemas.microsoft.com/office/drawing/2014/main" id="{F52984BE-45E5-453E-FB33-7CB059D859E9}"/>
              </a:ext>
            </a:extLst>
          </p:cNvPr>
          <p:cNvSpPr>
            <a:spLocks/>
          </p:cNvSpPr>
          <p:nvPr/>
        </p:nvSpPr>
        <p:spPr>
          <a:xfrm>
            <a:off x="5082878" y="3723980"/>
            <a:ext cx="1350955" cy="1624938"/>
          </a:xfrm>
          <a:prstGeom prst="roundRect">
            <a:avLst>
              <a:gd name="adj" fmla="val 26753"/>
            </a:avLst>
          </a:prstGeom>
          <a:solidFill>
            <a:schemeClr val="bg1"/>
          </a:solidFill>
          <a:ln w="19050">
            <a:solidFill>
              <a:srgbClr val="747474"/>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baseline="30000">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36" name="Oval 11">
            <a:extLst>
              <a:ext uri="{FF2B5EF4-FFF2-40B4-BE49-F238E27FC236}">
                <a16:creationId xmlns:a16="http://schemas.microsoft.com/office/drawing/2014/main" id="{6BBB2AF5-1B80-A2D0-DA79-FFF679517D03}"/>
              </a:ext>
            </a:extLst>
          </p:cNvPr>
          <p:cNvSpPr>
            <a:spLocks/>
          </p:cNvSpPr>
          <p:nvPr/>
        </p:nvSpPr>
        <p:spPr>
          <a:xfrm>
            <a:off x="3250208" y="3727795"/>
            <a:ext cx="676115" cy="1234208"/>
          </a:xfrm>
          <a:prstGeom prst="roundRect">
            <a:avLst>
              <a:gd name="adj" fmla="val 28805"/>
            </a:avLst>
          </a:prstGeom>
          <a:solidFill>
            <a:srgbClr val="ADADAD"/>
          </a:solidFill>
          <a:ln w="6350">
            <a:solidFill>
              <a:srgbClr val="ADADAD"/>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buSzPct val="100000"/>
            </a:pPr>
            <a:endParaRPr lang="en-GB" sz="10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47" name="Oval 11">
            <a:extLst>
              <a:ext uri="{FF2B5EF4-FFF2-40B4-BE49-F238E27FC236}">
                <a16:creationId xmlns:a16="http://schemas.microsoft.com/office/drawing/2014/main" id="{FF4CF549-A651-5E97-3A69-F086CCDEEE39}"/>
              </a:ext>
            </a:extLst>
          </p:cNvPr>
          <p:cNvSpPr>
            <a:spLocks/>
          </p:cNvSpPr>
          <p:nvPr/>
        </p:nvSpPr>
        <p:spPr>
          <a:xfrm>
            <a:off x="1432614" y="2139886"/>
            <a:ext cx="1737153" cy="288000"/>
          </a:xfrm>
          <a:prstGeom prst="roundRect">
            <a:avLst>
              <a:gd name="adj" fmla="val 50000"/>
            </a:avLst>
          </a:prstGeom>
          <a:solidFill>
            <a:srgbClr val="D3D0C3"/>
          </a:solidFill>
          <a:ln w="28575">
            <a:solidFill>
              <a:srgbClr val="D3D0C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a:latin typeface="+mj-lt"/>
              <a:ea typeface="Lato" panose="020F0502020204030203" pitchFamily="34" charset="0"/>
              <a:cs typeface="Lato" panose="020F0502020204030203" pitchFamily="34" charset="0"/>
              <a:sym typeface="Lato" panose="020F0502020204030203" pitchFamily="34" charset="0"/>
            </a:endParaRPr>
          </a:p>
        </p:txBody>
      </p:sp>
      <p:sp>
        <p:nvSpPr>
          <p:cNvPr id="48" name="Oval 11">
            <a:extLst>
              <a:ext uri="{FF2B5EF4-FFF2-40B4-BE49-F238E27FC236}">
                <a16:creationId xmlns:a16="http://schemas.microsoft.com/office/drawing/2014/main" id="{74E9B3E4-BF44-DEEC-2414-E4F9EA79811B}"/>
              </a:ext>
            </a:extLst>
          </p:cNvPr>
          <p:cNvSpPr>
            <a:spLocks/>
          </p:cNvSpPr>
          <p:nvPr/>
        </p:nvSpPr>
        <p:spPr>
          <a:xfrm>
            <a:off x="3338407" y="2120428"/>
            <a:ext cx="3174008" cy="291981"/>
          </a:xfrm>
          <a:prstGeom prst="roundRect">
            <a:avLst>
              <a:gd name="adj" fmla="val 50000"/>
            </a:avLst>
          </a:prstGeom>
          <a:solidFill>
            <a:srgbClr val="ADADAD"/>
          </a:solidFill>
          <a:ln w="28575">
            <a:solidFill>
              <a:srgbClr val="ADADAD"/>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49" name="Oval 11">
            <a:extLst>
              <a:ext uri="{FF2B5EF4-FFF2-40B4-BE49-F238E27FC236}">
                <a16:creationId xmlns:a16="http://schemas.microsoft.com/office/drawing/2014/main" id="{0F981F13-8CCA-DF53-3056-4A240D941FC3}"/>
              </a:ext>
            </a:extLst>
          </p:cNvPr>
          <p:cNvSpPr>
            <a:spLocks/>
          </p:cNvSpPr>
          <p:nvPr/>
        </p:nvSpPr>
        <p:spPr>
          <a:xfrm>
            <a:off x="10098464" y="2150502"/>
            <a:ext cx="1285860" cy="666829"/>
          </a:xfrm>
          <a:prstGeom prst="roundRect">
            <a:avLst>
              <a:gd name="adj" fmla="val 30002"/>
            </a:avLst>
          </a:prstGeom>
          <a:solidFill>
            <a:schemeClr val="bg1"/>
          </a:solidFill>
          <a:ln w="19050">
            <a:solidFill>
              <a:schemeClr val="accent1"/>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71" name="Oval 11">
            <a:extLst>
              <a:ext uri="{FF2B5EF4-FFF2-40B4-BE49-F238E27FC236}">
                <a16:creationId xmlns:a16="http://schemas.microsoft.com/office/drawing/2014/main" id="{0374947D-E6C2-EE63-6886-EBB8517E30F7}"/>
              </a:ext>
            </a:extLst>
          </p:cNvPr>
          <p:cNvSpPr>
            <a:spLocks/>
          </p:cNvSpPr>
          <p:nvPr/>
        </p:nvSpPr>
        <p:spPr>
          <a:xfrm>
            <a:off x="6732295" y="3718690"/>
            <a:ext cx="1612328" cy="1624938"/>
          </a:xfrm>
          <a:prstGeom prst="roundRect">
            <a:avLst>
              <a:gd name="adj" fmla="val 26753"/>
            </a:avLst>
          </a:prstGeom>
          <a:solidFill>
            <a:schemeClr val="bg1"/>
          </a:solidFill>
          <a:ln w="19050">
            <a:solidFill>
              <a:srgbClr val="FFC760"/>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strike="sngStrike" baseline="30000">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106" name="Oval 11">
            <a:extLst>
              <a:ext uri="{FF2B5EF4-FFF2-40B4-BE49-F238E27FC236}">
                <a16:creationId xmlns:a16="http://schemas.microsoft.com/office/drawing/2014/main" id="{451E0416-8CE6-4073-F2F6-DAF723A7F258}"/>
              </a:ext>
            </a:extLst>
          </p:cNvPr>
          <p:cNvSpPr>
            <a:spLocks/>
          </p:cNvSpPr>
          <p:nvPr/>
        </p:nvSpPr>
        <p:spPr>
          <a:xfrm>
            <a:off x="3245828" y="3324059"/>
            <a:ext cx="740999" cy="288000"/>
          </a:xfrm>
          <a:prstGeom prst="roundRect">
            <a:avLst>
              <a:gd name="adj" fmla="val 50000"/>
            </a:avLst>
          </a:prstGeom>
          <a:solidFill>
            <a:srgbClr val="ADADAD"/>
          </a:solidFill>
          <a:ln w="28575">
            <a:solidFill>
              <a:srgbClr val="ADADAD"/>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107" name="Oval 11">
            <a:extLst>
              <a:ext uri="{FF2B5EF4-FFF2-40B4-BE49-F238E27FC236}">
                <a16:creationId xmlns:a16="http://schemas.microsoft.com/office/drawing/2014/main" id="{3771264C-4920-2873-7FB8-8606488AD37F}"/>
              </a:ext>
            </a:extLst>
          </p:cNvPr>
          <p:cNvSpPr>
            <a:spLocks/>
          </p:cNvSpPr>
          <p:nvPr/>
        </p:nvSpPr>
        <p:spPr>
          <a:xfrm>
            <a:off x="4302289" y="3324059"/>
            <a:ext cx="646661" cy="288000"/>
          </a:xfrm>
          <a:prstGeom prst="roundRect">
            <a:avLst>
              <a:gd name="adj" fmla="val 50000"/>
            </a:avLst>
          </a:prstGeom>
          <a:solidFill>
            <a:srgbClr val="ADADAD"/>
          </a:solidFill>
          <a:ln w="28575">
            <a:solidFill>
              <a:srgbClr val="ADADAD"/>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108" name="Oval 11">
            <a:extLst>
              <a:ext uri="{FF2B5EF4-FFF2-40B4-BE49-F238E27FC236}">
                <a16:creationId xmlns:a16="http://schemas.microsoft.com/office/drawing/2014/main" id="{AB3E5FB9-5FC4-9AED-C061-FD7C51D23F0F}"/>
              </a:ext>
            </a:extLst>
          </p:cNvPr>
          <p:cNvSpPr>
            <a:spLocks/>
          </p:cNvSpPr>
          <p:nvPr/>
        </p:nvSpPr>
        <p:spPr>
          <a:xfrm>
            <a:off x="5082879" y="3324059"/>
            <a:ext cx="646662" cy="288000"/>
          </a:xfrm>
          <a:prstGeom prst="roundRect">
            <a:avLst>
              <a:gd name="adj" fmla="val 50000"/>
            </a:avLst>
          </a:prstGeom>
          <a:solidFill>
            <a:srgbClr val="747474"/>
          </a:solidFill>
          <a:ln w="28575">
            <a:solidFill>
              <a:srgbClr val="747474"/>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109" name="Oval 11">
            <a:extLst>
              <a:ext uri="{FF2B5EF4-FFF2-40B4-BE49-F238E27FC236}">
                <a16:creationId xmlns:a16="http://schemas.microsoft.com/office/drawing/2014/main" id="{2A5E7142-D754-7AE4-BB94-16E14AD79558}"/>
              </a:ext>
            </a:extLst>
          </p:cNvPr>
          <p:cNvSpPr>
            <a:spLocks/>
          </p:cNvSpPr>
          <p:nvPr/>
        </p:nvSpPr>
        <p:spPr>
          <a:xfrm>
            <a:off x="5796777" y="3324059"/>
            <a:ext cx="646662" cy="288000"/>
          </a:xfrm>
          <a:prstGeom prst="roundRect">
            <a:avLst>
              <a:gd name="adj" fmla="val 50000"/>
            </a:avLst>
          </a:prstGeom>
          <a:solidFill>
            <a:srgbClr val="747474"/>
          </a:solidFill>
          <a:ln w="28575">
            <a:solidFill>
              <a:srgbClr val="747474"/>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110" name="Oval 11">
            <a:extLst>
              <a:ext uri="{FF2B5EF4-FFF2-40B4-BE49-F238E27FC236}">
                <a16:creationId xmlns:a16="http://schemas.microsoft.com/office/drawing/2014/main" id="{F414272C-88C7-9E13-78E1-A8841CE78180}"/>
              </a:ext>
            </a:extLst>
          </p:cNvPr>
          <p:cNvSpPr>
            <a:spLocks/>
          </p:cNvSpPr>
          <p:nvPr/>
        </p:nvSpPr>
        <p:spPr>
          <a:xfrm>
            <a:off x="6635591" y="3324059"/>
            <a:ext cx="3051064" cy="286318"/>
          </a:xfrm>
          <a:prstGeom prst="roundRect">
            <a:avLst>
              <a:gd name="adj" fmla="val 50000"/>
            </a:avLst>
          </a:prstGeom>
          <a:solidFill>
            <a:srgbClr val="FFC760"/>
          </a:solidFill>
          <a:ln w="28575">
            <a:solidFill>
              <a:srgbClr val="FFC760"/>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a:latin typeface="+mj-lt"/>
              <a:ea typeface="Lato" panose="020F0502020204030203" pitchFamily="34" charset="0"/>
              <a:cs typeface="Lato" panose="020F0502020204030203" pitchFamily="34" charset="0"/>
              <a:sym typeface="Lato" panose="020F0502020204030203" pitchFamily="34" charset="0"/>
            </a:endParaRPr>
          </a:p>
        </p:txBody>
      </p:sp>
      <p:sp>
        <p:nvSpPr>
          <p:cNvPr id="111" name="Oval 11">
            <a:extLst>
              <a:ext uri="{FF2B5EF4-FFF2-40B4-BE49-F238E27FC236}">
                <a16:creationId xmlns:a16="http://schemas.microsoft.com/office/drawing/2014/main" id="{18688A16-3B01-607C-BFD5-2E7ECC18C440}"/>
              </a:ext>
            </a:extLst>
          </p:cNvPr>
          <p:cNvSpPr>
            <a:spLocks/>
          </p:cNvSpPr>
          <p:nvPr/>
        </p:nvSpPr>
        <p:spPr>
          <a:xfrm>
            <a:off x="1646435" y="3324059"/>
            <a:ext cx="1321067" cy="283506"/>
          </a:xfrm>
          <a:prstGeom prst="roundRect">
            <a:avLst>
              <a:gd name="adj" fmla="val 50000"/>
            </a:avLst>
          </a:prstGeom>
          <a:solidFill>
            <a:schemeClr val="bg1"/>
          </a:solidFill>
          <a:ln w="19050">
            <a:solidFill>
              <a:srgbClr val="D3D0C3"/>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baseline="30000">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112" name="TextBox 111">
            <a:extLst>
              <a:ext uri="{FF2B5EF4-FFF2-40B4-BE49-F238E27FC236}">
                <a16:creationId xmlns:a16="http://schemas.microsoft.com/office/drawing/2014/main" id="{6D831DC5-3AB2-AFE0-8C6C-01BE6669B3E7}"/>
              </a:ext>
            </a:extLst>
          </p:cNvPr>
          <p:cNvSpPr txBox="1"/>
          <p:nvPr/>
        </p:nvSpPr>
        <p:spPr>
          <a:xfrm>
            <a:off x="1435174" y="2947938"/>
            <a:ext cx="3507522" cy="226591"/>
          </a:xfrm>
          <a:prstGeom prst="rect">
            <a:avLst/>
          </a:prstGeom>
          <a:solidFill>
            <a:schemeClr val="bg1"/>
          </a:solidFill>
          <a:ln>
            <a:solidFill>
              <a:schemeClr val="tx1"/>
            </a:solidFill>
          </a:ln>
        </p:spPr>
        <p:txBody>
          <a:bodyPr wrap="square" lIns="36000" tIns="36000" rIns="36000" bIns="36000" rtlCol="0">
            <a:spAutoFit/>
          </a:bodyPr>
          <a:lstStyle/>
          <a:p>
            <a:pPr>
              <a:spcBef>
                <a:spcPts val="600"/>
              </a:spcBef>
            </a:pPr>
            <a:endParaRPr lang="en-GB" sz="1000"/>
          </a:p>
        </p:txBody>
      </p:sp>
      <p:cxnSp>
        <p:nvCxnSpPr>
          <p:cNvPr id="113" name="Straight Connector 112">
            <a:extLst>
              <a:ext uri="{FF2B5EF4-FFF2-40B4-BE49-F238E27FC236}">
                <a16:creationId xmlns:a16="http://schemas.microsoft.com/office/drawing/2014/main" id="{A14806DF-226E-1343-4BA0-6B741D53671C}"/>
              </a:ext>
            </a:extLst>
          </p:cNvPr>
          <p:cNvCxnSpPr>
            <a:cxnSpLocks/>
            <a:stCxn id="112" idx="2"/>
            <a:endCxn id="111" idx="0"/>
          </p:cNvCxnSpPr>
          <p:nvPr/>
        </p:nvCxnSpPr>
        <p:spPr>
          <a:xfrm flipH="1">
            <a:off x="2306969" y="3174529"/>
            <a:ext cx="881966" cy="14953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18" name="Oval 11">
            <a:extLst>
              <a:ext uri="{FF2B5EF4-FFF2-40B4-BE49-F238E27FC236}">
                <a16:creationId xmlns:a16="http://schemas.microsoft.com/office/drawing/2014/main" id="{10A1066F-99DE-2BCD-78C4-8FBDE02A9667}"/>
              </a:ext>
            </a:extLst>
          </p:cNvPr>
          <p:cNvSpPr>
            <a:spLocks/>
          </p:cNvSpPr>
          <p:nvPr/>
        </p:nvSpPr>
        <p:spPr>
          <a:xfrm>
            <a:off x="1646435" y="3713401"/>
            <a:ext cx="1321067" cy="1213437"/>
          </a:xfrm>
          <a:prstGeom prst="roundRect">
            <a:avLst>
              <a:gd name="adj" fmla="val 35020"/>
            </a:avLst>
          </a:prstGeom>
          <a:solidFill>
            <a:srgbClr val="D3D0C3"/>
          </a:solidFill>
          <a:ln w="28575">
            <a:solidFill>
              <a:srgbClr val="D3D0C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a:latin typeface="+mj-lt"/>
              <a:ea typeface="Lato" panose="020F0502020204030203" pitchFamily="34" charset="0"/>
              <a:cs typeface="Lato" panose="020F0502020204030203" pitchFamily="34" charset="0"/>
              <a:sym typeface="Lato" panose="020F0502020204030203" pitchFamily="34" charset="0"/>
            </a:endParaRPr>
          </a:p>
        </p:txBody>
      </p:sp>
      <p:sp>
        <p:nvSpPr>
          <p:cNvPr id="120" name="Oval 11">
            <a:extLst>
              <a:ext uri="{FF2B5EF4-FFF2-40B4-BE49-F238E27FC236}">
                <a16:creationId xmlns:a16="http://schemas.microsoft.com/office/drawing/2014/main" id="{B61D4F23-2EE2-2E4C-7E77-D994EACEA86A}"/>
              </a:ext>
            </a:extLst>
          </p:cNvPr>
          <p:cNvSpPr>
            <a:spLocks/>
          </p:cNvSpPr>
          <p:nvPr/>
        </p:nvSpPr>
        <p:spPr>
          <a:xfrm>
            <a:off x="1646435" y="5047843"/>
            <a:ext cx="1321067" cy="326475"/>
          </a:xfrm>
          <a:prstGeom prst="roundRect">
            <a:avLst>
              <a:gd name="adj" fmla="val 35020"/>
            </a:avLst>
          </a:prstGeom>
          <a:solidFill>
            <a:schemeClr val="bg1"/>
          </a:solidFill>
          <a:ln w="19050">
            <a:solidFill>
              <a:srgbClr val="D3D0C3"/>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baseline="30000">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125" name="Oval 11">
            <a:extLst>
              <a:ext uri="{FF2B5EF4-FFF2-40B4-BE49-F238E27FC236}">
                <a16:creationId xmlns:a16="http://schemas.microsoft.com/office/drawing/2014/main" id="{E8330F26-48C9-6AEF-A286-4EBE49A63694}"/>
              </a:ext>
            </a:extLst>
          </p:cNvPr>
          <p:cNvSpPr>
            <a:spLocks/>
          </p:cNvSpPr>
          <p:nvPr/>
        </p:nvSpPr>
        <p:spPr>
          <a:xfrm>
            <a:off x="4266581" y="5038672"/>
            <a:ext cx="676115" cy="344228"/>
          </a:xfrm>
          <a:prstGeom prst="roundRect">
            <a:avLst>
              <a:gd name="adj" fmla="val 33852"/>
            </a:avLst>
          </a:prstGeom>
          <a:solidFill>
            <a:schemeClr val="bg1"/>
          </a:solidFill>
          <a:ln w="19050">
            <a:solidFill>
              <a:srgbClr val="ADADAD"/>
            </a:solidFill>
            <a:prstDash val="sysDash"/>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buSzPct val="100000"/>
            </a:pPr>
            <a:endParaRPr lang="en-GB" sz="1000" b="1">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126" name="Oval 11">
            <a:extLst>
              <a:ext uri="{FF2B5EF4-FFF2-40B4-BE49-F238E27FC236}">
                <a16:creationId xmlns:a16="http://schemas.microsoft.com/office/drawing/2014/main" id="{FA7C0FA3-29FF-63D1-CF58-9947420F13DA}"/>
              </a:ext>
            </a:extLst>
          </p:cNvPr>
          <p:cNvSpPr>
            <a:spLocks/>
          </p:cNvSpPr>
          <p:nvPr/>
        </p:nvSpPr>
        <p:spPr>
          <a:xfrm>
            <a:off x="3250208" y="5042817"/>
            <a:ext cx="676115" cy="337331"/>
          </a:xfrm>
          <a:prstGeom prst="roundRect">
            <a:avLst>
              <a:gd name="adj" fmla="val 28805"/>
            </a:avLst>
          </a:prstGeom>
          <a:solidFill>
            <a:schemeClr val="bg1"/>
          </a:solidFill>
          <a:ln w="19050">
            <a:solidFill>
              <a:srgbClr val="ADADAD"/>
            </a:solidFill>
            <a:prstDash val="sysDash"/>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buSzPct val="100000"/>
            </a:pPr>
            <a:endParaRPr lang="en-GB" sz="1000" b="1">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grpSp>
        <p:nvGrpSpPr>
          <p:cNvPr id="15" name="Group 14">
            <a:extLst>
              <a:ext uri="{FF2B5EF4-FFF2-40B4-BE49-F238E27FC236}">
                <a16:creationId xmlns:a16="http://schemas.microsoft.com/office/drawing/2014/main" id="{9AA015B8-70CD-EAE1-BBAD-65EC2AEBD930}"/>
              </a:ext>
            </a:extLst>
          </p:cNvPr>
          <p:cNvGrpSpPr/>
          <p:nvPr/>
        </p:nvGrpSpPr>
        <p:grpSpPr>
          <a:xfrm>
            <a:off x="10128278" y="3859715"/>
            <a:ext cx="1315501" cy="1368110"/>
            <a:chOff x="10263015" y="3855826"/>
            <a:chExt cx="1315501" cy="943644"/>
          </a:xfrm>
        </p:grpSpPr>
        <p:sp>
          <p:nvSpPr>
            <p:cNvPr id="7" name="Rectangle 6">
              <a:extLst>
                <a:ext uri="{FF2B5EF4-FFF2-40B4-BE49-F238E27FC236}">
                  <a16:creationId xmlns:a16="http://schemas.microsoft.com/office/drawing/2014/main" id="{ABFA6561-8ADA-129B-D9C4-B86B8F3FE79D}"/>
                </a:ext>
              </a:extLst>
            </p:cNvPr>
            <p:cNvSpPr/>
            <p:nvPr/>
          </p:nvSpPr>
          <p:spPr>
            <a:xfrm>
              <a:off x="10263015" y="3855826"/>
              <a:ext cx="1315501" cy="943644"/>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r>
                <a:rPr lang="en-GB" sz="1200" b="1">
                  <a:solidFill>
                    <a:schemeClr val="tx1"/>
                  </a:solidFill>
                </a:rPr>
                <a:t>LEGEND</a:t>
              </a:r>
            </a:p>
          </p:txBody>
        </p:sp>
        <p:sp>
          <p:nvSpPr>
            <p:cNvPr id="77" name="Oval 11">
              <a:extLst>
                <a:ext uri="{FF2B5EF4-FFF2-40B4-BE49-F238E27FC236}">
                  <a16:creationId xmlns:a16="http://schemas.microsoft.com/office/drawing/2014/main" id="{1E4335E5-623E-670C-CD38-E690C26EE0A6}"/>
                </a:ext>
              </a:extLst>
            </p:cNvPr>
            <p:cNvSpPr>
              <a:spLocks/>
            </p:cNvSpPr>
            <p:nvPr/>
          </p:nvSpPr>
          <p:spPr>
            <a:xfrm>
              <a:off x="10340775" y="4091893"/>
              <a:ext cx="1127717" cy="291521"/>
            </a:xfrm>
            <a:prstGeom prst="roundRect">
              <a:avLst>
                <a:gd name="adj" fmla="val 50000"/>
              </a:avLst>
            </a:prstGeom>
            <a:solidFill>
              <a:schemeClr val="tx1"/>
            </a:solidFill>
            <a:ln w="28575">
              <a:solidFill>
                <a:schemeClr val="tx1"/>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000" b="1">
                  <a:solidFill>
                    <a:schemeClr val="bg1"/>
                  </a:solidFill>
                  <a:latin typeface="+mj-lt"/>
                  <a:ea typeface="Lato" panose="020F0502020204030203" pitchFamily="34" charset="0"/>
                  <a:cs typeface="Lato" panose="020F0502020204030203" pitchFamily="34" charset="0"/>
                  <a:sym typeface="Lato" panose="020F0502020204030203" pitchFamily="34" charset="0"/>
                </a:rPr>
                <a:t>Modelled in Section VI</a:t>
              </a:r>
              <a:endParaRPr lang="en-GB" sz="1000" b="1" baseline="300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78" name="Oval 11">
              <a:extLst>
                <a:ext uri="{FF2B5EF4-FFF2-40B4-BE49-F238E27FC236}">
                  <a16:creationId xmlns:a16="http://schemas.microsoft.com/office/drawing/2014/main" id="{88421A9A-CAA7-4528-6B5C-113429F8F4A3}"/>
                </a:ext>
              </a:extLst>
            </p:cNvPr>
            <p:cNvSpPr>
              <a:spLocks/>
            </p:cNvSpPr>
            <p:nvPr/>
          </p:nvSpPr>
          <p:spPr>
            <a:xfrm>
              <a:off x="10332319" y="4466873"/>
              <a:ext cx="1136173" cy="261375"/>
            </a:xfrm>
            <a:prstGeom prst="roundRect">
              <a:avLst>
                <a:gd name="adj" fmla="val 50000"/>
              </a:avLst>
            </a:prstGeom>
            <a:solidFill>
              <a:schemeClr val="bg1"/>
            </a:solidFill>
            <a:ln w="19050">
              <a:solidFill>
                <a:schemeClr val="tx1"/>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000" b="1">
                  <a:solidFill>
                    <a:schemeClr val="bg1">
                      <a:lumMod val="75000"/>
                    </a:schemeClr>
                  </a:solidFill>
                  <a:latin typeface="+mj-lt"/>
                  <a:ea typeface="Lato" panose="020F0502020204030203" pitchFamily="34" charset="0"/>
                  <a:cs typeface="Lato" panose="020F0502020204030203" pitchFamily="34" charset="0"/>
                  <a:sym typeface="Lato" panose="020F0502020204030203" pitchFamily="34" charset="0"/>
                </a:rPr>
                <a:t>Not modelled</a:t>
              </a:r>
            </a:p>
          </p:txBody>
        </p:sp>
      </p:grpSp>
      <p:sp>
        <p:nvSpPr>
          <p:cNvPr id="99" name="Oval 11">
            <a:extLst>
              <a:ext uri="{FF2B5EF4-FFF2-40B4-BE49-F238E27FC236}">
                <a16:creationId xmlns:a16="http://schemas.microsoft.com/office/drawing/2014/main" id="{D5ECB01C-6F6C-DCB3-FDBB-0F17FA6437F6}"/>
              </a:ext>
            </a:extLst>
          </p:cNvPr>
          <p:cNvSpPr>
            <a:spLocks/>
          </p:cNvSpPr>
          <p:nvPr/>
        </p:nvSpPr>
        <p:spPr>
          <a:xfrm>
            <a:off x="9956729" y="3323400"/>
            <a:ext cx="701477" cy="289977"/>
          </a:xfrm>
          <a:prstGeom prst="roundRect">
            <a:avLst>
              <a:gd name="adj" fmla="val 50000"/>
            </a:avLst>
          </a:prstGeom>
          <a:solidFill>
            <a:srgbClr val="F59E00"/>
          </a:solidFill>
          <a:ln w="28575">
            <a:solidFill>
              <a:srgbClr val="F59E00"/>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a:latin typeface="+mj-lt"/>
              <a:ea typeface="Lato" panose="020F0502020204030203" pitchFamily="34" charset="0"/>
              <a:cs typeface="Lato" panose="020F0502020204030203" pitchFamily="34" charset="0"/>
              <a:sym typeface="Lato" panose="020F0502020204030203" pitchFamily="34" charset="0"/>
            </a:endParaRPr>
          </a:p>
        </p:txBody>
      </p:sp>
      <p:sp>
        <p:nvSpPr>
          <p:cNvPr id="100" name="Oval 11">
            <a:extLst>
              <a:ext uri="{FF2B5EF4-FFF2-40B4-BE49-F238E27FC236}">
                <a16:creationId xmlns:a16="http://schemas.microsoft.com/office/drawing/2014/main" id="{ECB95BE8-DBCC-342A-8334-9966F0684EF4}"/>
              </a:ext>
            </a:extLst>
          </p:cNvPr>
          <p:cNvSpPr>
            <a:spLocks/>
          </p:cNvSpPr>
          <p:nvPr/>
        </p:nvSpPr>
        <p:spPr>
          <a:xfrm>
            <a:off x="10737056" y="3320400"/>
            <a:ext cx="709830" cy="289977"/>
          </a:xfrm>
          <a:prstGeom prst="roundRect">
            <a:avLst>
              <a:gd name="adj" fmla="val 50000"/>
            </a:avLst>
          </a:prstGeom>
          <a:solidFill>
            <a:srgbClr val="F59E00"/>
          </a:solidFill>
          <a:ln w="28575">
            <a:solidFill>
              <a:srgbClr val="F59E00"/>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a:latin typeface="+mj-lt"/>
              <a:ea typeface="Lato" panose="020F0502020204030203" pitchFamily="34" charset="0"/>
              <a:cs typeface="Lato" panose="020F0502020204030203" pitchFamily="34" charset="0"/>
              <a:sym typeface="Lato" panose="020F0502020204030203" pitchFamily="34" charset="0"/>
            </a:endParaRPr>
          </a:p>
        </p:txBody>
      </p:sp>
      <p:sp>
        <p:nvSpPr>
          <p:cNvPr id="86" name="Oval 11">
            <a:extLst>
              <a:ext uri="{FF2B5EF4-FFF2-40B4-BE49-F238E27FC236}">
                <a16:creationId xmlns:a16="http://schemas.microsoft.com/office/drawing/2014/main" id="{0423346E-1CD8-DDB4-2A28-5D3A0EA96702}"/>
              </a:ext>
            </a:extLst>
          </p:cNvPr>
          <p:cNvSpPr>
            <a:spLocks/>
          </p:cNvSpPr>
          <p:nvPr/>
        </p:nvSpPr>
        <p:spPr>
          <a:xfrm>
            <a:off x="1432614" y="2549919"/>
            <a:ext cx="1737154" cy="288960"/>
          </a:xfrm>
          <a:prstGeom prst="roundRect">
            <a:avLst>
              <a:gd name="adj" fmla="val 50000"/>
            </a:avLst>
          </a:prstGeom>
          <a:solidFill>
            <a:srgbClr val="D3D0C3"/>
          </a:solidFill>
          <a:ln w="28575">
            <a:solidFill>
              <a:srgbClr val="D3D0C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a:latin typeface="+mj-lt"/>
              <a:ea typeface="Lato" panose="020F0502020204030203" pitchFamily="34" charset="0"/>
              <a:cs typeface="Lato" panose="020F0502020204030203" pitchFamily="34" charset="0"/>
              <a:sym typeface="Lato" panose="020F0502020204030203" pitchFamily="34" charset="0"/>
            </a:endParaRPr>
          </a:p>
        </p:txBody>
      </p:sp>
      <p:sp>
        <p:nvSpPr>
          <p:cNvPr id="80" name="Oval 11">
            <a:extLst>
              <a:ext uri="{FF2B5EF4-FFF2-40B4-BE49-F238E27FC236}">
                <a16:creationId xmlns:a16="http://schemas.microsoft.com/office/drawing/2014/main" id="{AE37E031-16B1-991C-AB96-D77E11BEB879}"/>
              </a:ext>
            </a:extLst>
          </p:cNvPr>
          <p:cNvSpPr>
            <a:spLocks/>
          </p:cNvSpPr>
          <p:nvPr/>
        </p:nvSpPr>
        <p:spPr>
          <a:xfrm>
            <a:off x="6635591" y="2141181"/>
            <a:ext cx="3051064" cy="245810"/>
          </a:xfrm>
          <a:prstGeom prst="roundRect">
            <a:avLst>
              <a:gd name="adj" fmla="val 50000"/>
            </a:avLst>
          </a:prstGeom>
          <a:solidFill>
            <a:srgbClr val="FFC760"/>
          </a:solidFill>
          <a:ln w="28575">
            <a:solidFill>
              <a:srgbClr val="FFC760"/>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a:latin typeface="+mj-lt"/>
              <a:ea typeface="Lato" panose="020F0502020204030203" pitchFamily="34" charset="0"/>
              <a:cs typeface="Lato" panose="020F0502020204030203" pitchFamily="34" charset="0"/>
              <a:sym typeface="Lato" panose="020F0502020204030203" pitchFamily="34" charset="0"/>
            </a:endParaRPr>
          </a:p>
        </p:txBody>
      </p:sp>
      <p:sp>
        <p:nvSpPr>
          <p:cNvPr id="101" name="Oval 11">
            <a:extLst>
              <a:ext uri="{FF2B5EF4-FFF2-40B4-BE49-F238E27FC236}">
                <a16:creationId xmlns:a16="http://schemas.microsoft.com/office/drawing/2014/main" id="{551773F1-93EB-2F7E-6F71-A8EDC121F0B2}"/>
              </a:ext>
            </a:extLst>
          </p:cNvPr>
          <p:cNvSpPr>
            <a:spLocks/>
          </p:cNvSpPr>
          <p:nvPr/>
        </p:nvSpPr>
        <p:spPr>
          <a:xfrm>
            <a:off x="5090051" y="2994022"/>
            <a:ext cx="6354247" cy="239101"/>
          </a:xfrm>
          <a:prstGeom prst="roundRect">
            <a:avLst>
              <a:gd name="adj" fmla="val 50000"/>
            </a:avLst>
          </a:prstGeom>
          <a:solidFill>
            <a:srgbClr val="747474"/>
          </a:solidFill>
          <a:ln w="28575">
            <a:solidFill>
              <a:srgbClr val="747474"/>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baseline="30000">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65" name="TextBox 64">
            <a:extLst>
              <a:ext uri="{FF2B5EF4-FFF2-40B4-BE49-F238E27FC236}">
                <a16:creationId xmlns:a16="http://schemas.microsoft.com/office/drawing/2014/main" id="{244A3A62-232C-5967-12F1-9C199EF246DA}"/>
              </a:ext>
            </a:extLst>
          </p:cNvPr>
          <p:cNvSpPr txBox="1"/>
          <p:nvPr/>
        </p:nvSpPr>
        <p:spPr>
          <a:xfrm>
            <a:off x="8549209" y="3792288"/>
            <a:ext cx="1315501" cy="299295"/>
          </a:xfrm>
          <a:prstGeom prst="rect">
            <a:avLst/>
          </a:prstGeom>
          <a:solidFill>
            <a:schemeClr val="bg1"/>
          </a:solidFill>
          <a:ln>
            <a:solidFill>
              <a:schemeClr val="tx1"/>
            </a:solidFill>
          </a:ln>
        </p:spPr>
        <p:txBody>
          <a:bodyPr wrap="square" lIns="72000" tIns="72000" rIns="72000" bIns="72000" rtlCol="0">
            <a:spAutoFit/>
          </a:bodyPr>
          <a:lstStyle/>
          <a:p>
            <a:pPr>
              <a:spcBef>
                <a:spcPts val="600"/>
              </a:spcBef>
            </a:pPr>
            <a:endParaRPr lang="en-GB" sz="1000"/>
          </a:p>
        </p:txBody>
      </p:sp>
      <p:cxnSp>
        <p:nvCxnSpPr>
          <p:cNvPr id="66" name="Straight Connector 65">
            <a:extLst>
              <a:ext uri="{FF2B5EF4-FFF2-40B4-BE49-F238E27FC236}">
                <a16:creationId xmlns:a16="http://schemas.microsoft.com/office/drawing/2014/main" id="{F6A62C51-9015-6543-F6CC-B1C5C38D8F24}"/>
              </a:ext>
            </a:extLst>
          </p:cNvPr>
          <p:cNvCxnSpPr>
            <a:cxnSpLocks/>
            <a:stCxn id="65" idx="1"/>
            <a:endCxn id="71" idx="3"/>
          </p:cNvCxnSpPr>
          <p:nvPr/>
        </p:nvCxnSpPr>
        <p:spPr>
          <a:xfrm flipH="1">
            <a:off x="8344623" y="3941936"/>
            <a:ext cx="204586" cy="589223"/>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3527424-D8B4-0A98-46A3-82F7423D3C3E}"/>
              </a:ext>
            </a:extLst>
          </p:cNvPr>
          <p:cNvGrpSpPr/>
          <p:nvPr/>
        </p:nvGrpSpPr>
        <p:grpSpPr>
          <a:xfrm>
            <a:off x="381000" y="1166693"/>
            <a:ext cx="11450509" cy="633501"/>
            <a:chOff x="381000" y="1166693"/>
            <a:chExt cx="11450509" cy="633501"/>
          </a:xfrm>
        </p:grpSpPr>
        <p:sp>
          <p:nvSpPr>
            <p:cNvPr id="6" name="Arrow: Right 10">
              <a:extLst>
                <a:ext uri="{FF2B5EF4-FFF2-40B4-BE49-F238E27FC236}">
                  <a16:creationId xmlns:a16="http://schemas.microsoft.com/office/drawing/2014/main" id="{82505D8D-132B-A4FC-A160-F59EAFC58F97}"/>
                </a:ext>
              </a:extLst>
            </p:cNvPr>
            <p:cNvSpPr/>
            <p:nvPr/>
          </p:nvSpPr>
          <p:spPr>
            <a:xfrm>
              <a:off x="381000" y="1216720"/>
              <a:ext cx="11450509" cy="583474"/>
            </a:xfrm>
            <a:prstGeom prst="rightArrow">
              <a:avLst>
                <a:gd name="adj1" fmla="val 50000"/>
                <a:gd name="adj2" fmla="val 60883"/>
              </a:avLst>
            </a:prstGeom>
            <a:solidFill>
              <a:srgbClr val="E7E7E7"/>
            </a:solidFill>
            <a:ln>
              <a:solidFill>
                <a:srgbClr val="E7E7E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chemeClr val="tx1"/>
                </a:solidFill>
                <a:effectLst/>
                <a:uLnTx/>
                <a:uFillTx/>
                <a:latin typeface="Lato"/>
                <a:ea typeface="+mn-ea"/>
                <a:cs typeface="+mn-cs"/>
              </a:endParaRPr>
            </a:p>
          </p:txBody>
        </p:sp>
        <p:sp>
          <p:nvSpPr>
            <p:cNvPr id="8" name="TextBox 7">
              <a:extLst>
                <a:ext uri="{FF2B5EF4-FFF2-40B4-BE49-F238E27FC236}">
                  <a16:creationId xmlns:a16="http://schemas.microsoft.com/office/drawing/2014/main" id="{DBDCBA6C-7A22-CD1E-93E5-1B30E7834351}"/>
                </a:ext>
              </a:extLst>
            </p:cNvPr>
            <p:cNvSpPr txBox="1"/>
            <p:nvPr/>
          </p:nvSpPr>
          <p:spPr>
            <a:xfrm>
              <a:off x="460644" y="1404619"/>
              <a:ext cx="1325684" cy="184666"/>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effectLst/>
                  <a:uLnTx/>
                  <a:uFillTx/>
                  <a:latin typeface="Lato"/>
                  <a:ea typeface="+mn-ea"/>
                  <a:cs typeface="+mn-cs"/>
                </a:rPr>
                <a:t>Full activation time</a:t>
              </a:r>
            </a:p>
          </p:txBody>
        </p:sp>
        <p:sp>
          <p:nvSpPr>
            <p:cNvPr id="10" name="Oval 11">
              <a:extLst>
                <a:ext uri="{FF2B5EF4-FFF2-40B4-BE49-F238E27FC236}">
                  <a16:creationId xmlns:a16="http://schemas.microsoft.com/office/drawing/2014/main" id="{6DE7EC31-B5D3-073D-8C5B-DBEFBCC04A1F}"/>
                </a:ext>
              </a:extLst>
            </p:cNvPr>
            <p:cNvSpPr>
              <a:spLocks/>
            </p:cNvSpPr>
            <p:nvPr/>
          </p:nvSpPr>
          <p:spPr>
            <a:xfrm>
              <a:off x="1885988" y="1450228"/>
              <a:ext cx="901930" cy="294337"/>
            </a:xfrm>
            <a:prstGeom prst="roundRect">
              <a:avLst>
                <a:gd name="adj" fmla="val 50000"/>
              </a:avLst>
            </a:prstGeom>
            <a:solidFill>
              <a:schemeClr val="bg2">
                <a:lumMod val="90000"/>
                <a:alpha val="93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200" b="1">
                  <a:latin typeface="+mj-lt"/>
                  <a:ea typeface="Lato" panose="020F0502020204030203" pitchFamily="34" charset="0"/>
                  <a:cs typeface="Lato" panose="020F0502020204030203" pitchFamily="34" charset="0"/>
                  <a:sym typeface="Lato" panose="020F0502020204030203" pitchFamily="34" charset="0"/>
                </a:rPr>
                <a:t>&lt;1 sec</a:t>
              </a:r>
            </a:p>
          </p:txBody>
        </p:sp>
        <p:sp>
          <p:nvSpPr>
            <p:cNvPr id="12" name="Oval 11">
              <a:extLst>
                <a:ext uri="{FF2B5EF4-FFF2-40B4-BE49-F238E27FC236}">
                  <a16:creationId xmlns:a16="http://schemas.microsoft.com/office/drawing/2014/main" id="{C5464E12-CDB6-08E4-39E1-13126A51B53F}"/>
                </a:ext>
              </a:extLst>
            </p:cNvPr>
            <p:cNvSpPr>
              <a:spLocks/>
            </p:cNvSpPr>
            <p:nvPr/>
          </p:nvSpPr>
          <p:spPr>
            <a:xfrm>
              <a:off x="3301899" y="1444986"/>
              <a:ext cx="1468245" cy="299794"/>
            </a:xfrm>
            <a:prstGeom prst="roundRect">
              <a:avLst>
                <a:gd name="adj" fmla="val 50000"/>
              </a:avLst>
            </a:prstGeom>
            <a:solidFill>
              <a:schemeClr val="bg2">
                <a:lumMod val="75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200" b="1">
                  <a:latin typeface="+mj-lt"/>
                  <a:ea typeface="Lato" panose="020F0502020204030203" pitchFamily="34" charset="0"/>
                  <a:cs typeface="Lato" panose="020F0502020204030203" pitchFamily="34" charset="0"/>
                  <a:sym typeface="Lato" panose="020F0502020204030203" pitchFamily="34" charset="0"/>
                </a:rPr>
                <a:t>1-60 sec</a:t>
              </a:r>
            </a:p>
          </p:txBody>
        </p:sp>
        <p:sp>
          <p:nvSpPr>
            <p:cNvPr id="13" name="Oval 11">
              <a:extLst>
                <a:ext uri="{FF2B5EF4-FFF2-40B4-BE49-F238E27FC236}">
                  <a16:creationId xmlns:a16="http://schemas.microsoft.com/office/drawing/2014/main" id="{C2F97E42-375F-9696-D258-440620ED24E1}"/>
                </a:ext>
              </a:extLst>
            </p:cNvPr>
            <p:cNvSpPr>
              <a:spLocks/>
            </p:cNvSpPr>
            <p:nvPr/>
          </p:nvSpPr>
          <p:spPr>
            <a:xfrm>
              <a:off x="5079989" y="1432095"/>
              <a:ext cx="1379614" cy="294337"/>
            </a:xfrm>
            <a:prstGeom prst="roundRect">
              <a:avLst>
                <a:gd name="adj" fmla="val 50000"/>
              </a:avLst>
            </a:prstGeom>
            <a:solidFill>
              <a:schemeClr val="bg2">
                <a:lumMod val="5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200" b="1">
                  <a:latin typeface="+mj-lt"/>
                  <a:ea typeface="Lato" panose="020F0502020204030203" pitchFamily="34" charset="0"/>
                  <a:cs typeface="Lato" panose="020F0502020204030203" pitchFamily="34" charset="0"/>
                  <a:sym typeface="Lato" panose="020F0502020204030203" pitchFamily="34" charset="0"/>
                </a:rPr>
                <a:t>~1-5 min</a:t>
              </a:r>
            </a:p>
          </p:txBody>
        </p:sp>
        <p:sp>
          <p:nvSpPr>
            <p:cNvPr id="14" name="Oval 11">
              <a:extLst>
                <a:ext uri="{FF2B5EF4-FFF2-40B4-BE49-F238E27FC236}">
                  <a16:creationId xmlns:a16="http://schemas.microsoft.com/office/drawing/2014/main" id="{6979BB28-57C7-91AD-8A08-7A10C1F24981}"/>
                </a:ext>
              </a:extLst>
            </p:cNvPr>
            <p:cNvSpPr>
              <a:spLocks/>
            </p:cNvSpPr>
            <p:nvPr/>
          </p:nvSpPr>
          <p:spPr>
            <a:xfrm>
              <a:off x="6732293" y="1454297"/>
              <a:ext cx="1379614" cy="268160"/>
            </a:xfrm>
            <a:prstGeom prst="roundRect">
              <a:avLst>
                <a:gd name="adj" fmla="val 50000"/>
              </a:avLst>
            </a:prstGeom>
            <a:solidFill>
              <a:schemeClr val="accent1">
                <a:lumMod val="60000"/>
                <a:lumOff val="4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200" b="1">
                  <a:latin typeface="+mj-lt"/>
                  <a:ea typeface="Lato" panose="020F0502020204030203" pitchFamily="34" charset="0"/>
                  <a:cs typeface="Lato" panose="020F0502020204030203" pitchFamily="34" charset="0"/>
                  <a:sym typeface="Lato" panose="020F0502020204030203" pitchFamily="34" charset="0"/>
                </a:rPr>
                <a:t>~5-15 min</a:t>
              </a:r>
            </a:p>
          </p:txBody>
        </p:sp>
        <p:sp>
          <p:nvSpPr>
            <p:cNvPr id="18" name="Oval 11">
              <a:extLst>
                <a:ext uri="{FF2B5EF4-FFF2-40B4-BE49-F238E27FC236}">
                  <a16:creationId xmlns:a16="http://schemas.microsoft.com/office/drawing/2014/main" id="{F01B00C4-EBBD-6851-279F-173779BF7626}"/>
                </a:ext>
              </a:extLst>
            </p:cNvPr>
            <p:cNvSpPr>
              <a:spLocks/>
            </p:cNvSpPr>
            <p:nvPr/>
          </p:nvSpPr>
          <p:spPr>
            <a:xfrm>
              <a:off x="8421752" y="1444986"/>
              <a:ext cx="2748905" cy="287600"/>
            </a:xfrm>
            <a:prstGeom prst="roundRect">
              <a:avLst>
                <a:gd name="adj" fmla="val 50000"/>
              </a:avLst>
            </a:prstGeom>
            <a:solidFill>
              <a:schemeClr val="accent1"/>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200" b="1">
                  <a:latin typeface="+mj-lt"/>
                  <a:ea typeface="Lato" panose="020F0502020204030203" pitchFamily="34" charset="0"/>
                  <a:cs typeface="Lato" panose="020F0502020204030203" pitchFamily="34" charset="0"/>
                  <a:sym typeface="Lato" panose="020F0502020204030203" pitchFamily="34" charset="0"/>
                </a:rPr>
                <a:t>&gt; 15 min</a:t>
              </a:r>
            </a:p>
          </p:txBody>
        </p:sp>
        <p:sp>
          <p:nvSpPr>
            <p:cNvPr id="103" name="Oval 11">
              <a:extLst>
                <a:ext uri="{FF2B5EF4-FFF2-40B4-BE49-F238E27FC236}">
                  <a16:creationId xmlns:a16="http://schemas.microsoft.com/office/drawing/2014/main" id="{738CE617-4103-EDE9-7787-4AB7C1F18BE5}"/>
                </a:ext>
              </a:extLst>
            </p:cNvPr>
            <p:cNvSpPr>
              <a:spLocks/>
            </p:cNvSpPr>
            <p:nvPr/>
          </p:nvSpPr>
          <p:spPr>
            <a:xfrm>
              <a:off x="1903365" y="1172370"/>
              <a:ext cx="4536460" cy="247911"/>
            </a:xfrm>
            <a:prstGeom prst="roundRect">
              <a:avLst>
                <a:gd name="adj" fmla="val 50000"/>
              </a:avLst>
            </a:prstGeom>
            <a:noFill/>
            <a:ln w="190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200" b="1">
                  <a:latin typeface="+mj-lt"/>
                  <a:ea typeface="Lato" panose="020F0502020204030203" pitchFamily="34" charset="0"/>
                  <a:cs typeface="Lato" panose="020F0502020204030203" pitchFamily="34" charset="0"/>
                  <a:sym typeface="Lato" panose="020F0502020204030203" pitchFamily="34" charset="0"/>
                </a:rPr>
                <a:t>Frequency Response Services</a:t>
              </a:r>
            </a:p>
          </p:txBody>
        </p:sp>
        <p:sp>
          <p:nvSpPr>
            <p:cNvPr id="104" name="Oval 11">
              <a:extLst>
                <a:ext uri="{FF2B5EF4-FFF2-40B4-BE49-F238E27FC236}">
                  <a16:creationId xmlns:a16="http://schemas.microsoft.com/office/drawing/2014/main" id="{910CFD3E-5888-6C97-9A7F-629A7B111A68}"/>
                </a:ext>
              </a:extLst>
            </p:cNvPr>
            <p:cNvSpPr>
              <a:spLocks/>
            </p:cNvSpPr>
            <p:nvPr/>
          </p:nvSpPr>
          <p:spPr>
            <a:xfrm>
              <a:off x="6702991" y="1167721"/>
              <a:ext cx="4467666" cy="253176"/>
            </a:xfrm>
            <a:prstGeom prst="roundRect">
              <a:avLst>
                <a:gd name="adj" fmla="val 50000"/>
              </a:avLst>
            </a:prstGeom>
            <a:noFill/>
            <a:ln w="190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200" b="1">
                  <a:latin typeface="+mj-lt"/>
                  <a:ea typeface="Lato" panose="020F0502020204030203" pitchFamily="34" charset="0"/>
                  <a:cs typeface="Lato" panose="020F0502020204030203" pitchFamily="34" charset="0"/>
                  <a:sym typeface="Lato" panose="020F0502020204030203" pitchFamily="34" charset="0"/>
                </a:rPr>
                <a:t>Balancing and Restoration Services</a:t>
              </a:r>
            </a:p>
          </p:txBody>
        </p:sp>
        <p:sp>
          <p:nvSpPr>
            <p:cNvPr id="105" name="Oval 11">
              <a:extLst>
                <a:ext uri="{FF2B5EF4-FFF2-40B4-BE49-F238E27FC236}">
                  <a16:creationId xmlns:a16="http://schemas.microsoft.com/office/drawing/2014/main" id="{7522D7E9-4DA9-AE3E-CFB9-003ADB476996}"/>
                </a:ext>
              </a:extLst>
            </p:cNvPr>
            <p:cNvSpPr>
              <a:spLocks/>
            </p:cNvSpPr>
            <p:nvPr/>
          </p:nvSpPr>
          <p:spPr>
            <a:xfrm>
              <a:off x="7027042" y="1166693"/>
              <a:ext cx="500199" cy="252000"/>
            </a:xfrm>
            <a:prstGeom prst="roundRect">
              <a:avLst>
                <a:gd name="adj" fmla="val 50000"/>
              </a:avLst>
            </a:prstGeom>
            <a:solidFill>
              <a:srgbClr val="F59E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BS</a:t>
              </a:r>
            </a:p>
          </p:txBody>
        </p:sp>
        <p:sp>
          <p:nvSpPr>
            <p:cNvPr id="114" name="Oval 11">
              <a:extLst>
                <a:ext uri="{FF2B5EF4-FFF2-40B4-BE49-F238E27FC236}">
                  <a16:creationId xmlns:a16="http://schemas.microsoft.com/office/drawing/2014/main" id="{2B243008-9746-44BF-2DC9-03067A51E5FE}"/>
                </a:ext>
              </a:extLst>
            </p:cNvPr>
            <p:cNvSpPr>
              <a:spLocks/>
            </p:cNvSpPr>
            <p:nvPr/>
          </p:nvSpPr>
          <p:spPr>
            <a:xfrm>
              <a:off x="2449786" y="1173502"/>
              <a:ext cx="500199" cy="252000"/>
            </a:xfrm>
            <a:prstGeom prst="roundRect">
              <a:avLst>
                <a:gd name="adj" fmla="val 50000"/>
              </a:avLst>
            </a:prstGeom>
            <a:solidFill>
              <a:srgbClr val="B87600"/>
            </a:solidFill>
            <a:ln w="19050">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algn="ctr">
                <a:spcAft>
                  <a:spcPts val="1000"/>
                </a:spcAft>
              </a:pPr>
              <a:r>
                <a:rPr lang="en-GB" sz="1200" b="1">
                  <a:solidFill>
                    <a:schemeClr val="tx1"/>
                  </a:solidFill>
                  <a:latin typeface="Lato"/>
                  <a:sym typeface="Lato" panose="020F0502020204030203" pitchFamily="34" charset="0"/>
                </a:rPr>
                <a:t>FR</a:t>
              </a:r>
            </a:p>
          </p:txBody>
        </p:sp>
      </p:grpSp>
      <p:sp>
        <p:nvSpPr>
          <p:cNvPr id="56" name="Oval 55">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57" name="Oval 56">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
        <p:nvSpPr>
          <p:cNvPr id="26" name="Oval 11">
            <a:extLst>
              <a:ext uri="{FF2B5EF4-FFF2-40B4-BE49-F238E27FC236}">
                <a16:creationId xmlns:a16="http://schemas.microsoft.com/office/drawing/2014/main" id="{CC9C8A6B-DAB2-167F-7E49-68CE226C2D33}"/>
              </a:ext>
            </a:extLst>
          </p:cNvPr>
          <p:cNvSpPr>
            <a:spLocks/>
          </p:cNvSpPr>
          <p:nvPr/>
        </p:nvSpPr>
        <p:spPr>
          <a:xfrm>
            <a:off x="6732295" y="5603304"/>
            <a:ext cx="1612328" cy="306088"/>
          </a:xfrm>
          <a:prstGeom prst="roundRect">
            <a:avLst>
              <a:gd name="adj" fmla="val 26753"/>
            </a:avLst>
          </a:prstGeom>
          <a:solidFill>
            <a:schemeClr val="bg1"/>
          </a:solidFill>
          <a:ln w="19050">
            <a:solidFill>
              <a:srgbClr val="FFC760"/>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strike="sngStrike" baseline="30000">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29" name="Oval 11">
            <a:extLst>
              <a:ext uri="{FF2B5EF4-FFF2-40B4-BE49-F238E27FC236}">
                <a16:creationId xmlns:a16="http://schemas.microsoft.com/office/drawing/2014/main" id="{8A088793-348D-9D8B-EB29-66935F33F418}"/>
              </a:ext>
            </a:extLst>
          </p:cNvPr>
          <p:cNvSpPr>
            <a:spLocks/>
          </p:cNvSpPr>
          <p:nvPr/>
        </p:nvSpPr>
        <p:spPr>
          <a:xfrm>
            <a:off x="5082878" y="5603304"/>
            <a:ext cx="1350955" cy="302272"/>
          </a:xfrm>
          <a:prstGeom prst="roundRect">
            <a:avLst>
              <a:gd name="adj" fmla="val 26753"/>
            </a:avLst>
          </a:prstGeom>
          <a:solidFill>
            <a:schemeClr val="bg1"/>
          </a:solidFill>
          <a:ln w="19050">
            <a:solidFill>
              <a:srgbClr val="747474"/>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baseline="30000">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30" name="Oval 11">
            <a:extLst>
              <a:ext uri="{FF2B5EF4-FFF2-40B4-BE49-F238E27FC236}">
                <a16:creationId xmlns:a16="http://schemas.microsoft.com/office/drawing/2014/main" id="{67AAC679-C2AB-258F-2C31-8685CB647200}"/>
              </a:ext>
            </a:extLst>
          </p:cNvPr>
          <p:cNvSpPr>
            <a:spLocks/>
          </p:cNvSpPr>
          <p:nvPr/>
        </p:nvSpPr>
        <p:spPr>
          <a:xfrm>
            <a:off x="3245828" y="5651422"/>
            <a:ext cx="1696868" cy="285759"/>
          </a:xfrm>
          <a:prstGeom prst="roundRect">
            <a:avLst>
              <a:gd name="adj" fmla="val 24184"/>
            </a:avLst>
          </a:prstGeom>
          <a:solidFill>
            <a:schemeClr val="bg1"/>
          </a:solidFill>
          <a:ln w="19050">
            <a:solidFill>
              <a:srgbClr val="ADADAD"/>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lang="en-GB" sz="1000" b="1">
              <a:solidFill>
                <a:schemeClr val="accent5"/>
              </a:solidFill>
              <a:latin typeface="+mj-lt"/>
              <a:sym typeface="Lato" panose="020F0502020204030203" pitchFamily="34" charset="0"/>
            </a:endParaRPr>
          </a:p>
        </p:txBody>
      </p:sp>
      <p:sp>
        <p:nvSpPr>
          <p:cNvPr id="31" name="TextBox 30">
            <a:extLst>
              <a:ext uri="{FF2B5EF4-FFF2-40B4-BE49-F238E27FC236}">
                <a16:creationId xmlns:a16="http://schemas.microsoft.com/office/drawing/2014/main" id="{2F4A0CFD-4C3D-FF5E-4B1A-FB3D836B5382}"/>
              </a:ext>
            </a:extLst>
          </p:cNvPr>
          <p:cNvSpPr txBox="1"/>
          <p:nvPr/>
        </p:nvSpPr>
        <p:spPr>
          <a:xfrm>
            <a:off x="8934622" y="5309105"/>
            <a:ext cx="2622378" cy="299295"/>
          </a:xfrm>
          <a:prstGeom prst="rect">
            <a:avLst/>
          </a:prstGeom>
          <a:solidFill>
            <a:schemeClr val="bg1"/>
          </a:solidFill>
          <a:ln>
            <a:solidFill>
              <a:schemeClr val="tx1"/>
            </a:solidFill>
          </a:ln>
        </p:spPr>
        <p:txBody>
          <a:bodyPr wrap="square" lIns="72000" tIns="72000" rIns="72000" bIns="72000" rtlCol="0">
            <a:spAutoFit/>
          </a:bodyPr>
          <a:lstStyle/>
          <a:p>
            <a:pPr>
              <a:spcBef>
                <a:spcPts val="600"/>
              </a:spcBef>
            </a:pPr>
            <a:endParaRPr lang="en-GB" sz="1000"/>
          </a:p>
        </p:txBody>
      </p:sp>
      <p:cxnSp>
        <p:nvCxnSpPr>
          <p:cNvPr id="34" name="Straight Connector 33">
            <a:extLst>
              <a:ext uri="{FF2B5EF4-FFF2-40B4-BE49-F238E27FC236}">
                <a16:creationId xmlns:a16="http://schemas.microsoft.com/office/drawing/2014/main" id="{4B8B909E-8180-66EE-E68A-1E4B3E410DF0}"/>
              </a:ext>
            </a:extLst>
          </p:cNvPr>
          <p:cNvCxnSpPr>
            <a:cxnSpLocks/>
            <a:stCxn id="31" idx="1"/>
          </p:cNvCxnSpPr>
          <p:nvPr/>
        </p:nvCxnSpPr>
        <p:spPr>
          <a:xfrm flipH="1">
            <a:off x="8421752" y="5458753"/>
            <a:ext cx="512870" cy="205462"/>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4B5B193-624B-1C06-DA0B-BCF7FA6B0571}"/>
              </a:ext>
            </a:extLst>
          </p:cNvPr>
          <p:cNvCxnSpPr>
            <a:cxnSpLocks/>
            <a:stCxn id="65" idx="1"/>
            <a:endCxn id="32" idx="3"/>
          </p:cNvCxnSpPr>
          <p:nvPr/>
        </p:nvCxnSpPr>
        <p:spPr>
          <a:xfrm flipH="1">
            <a:off x="6433833" y="3941936"/>
            <a:ext cx="2115376" cy="594513"/>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73" name="Oval 11">
            <a:extLst>
              <a:ext uri="{FF2B5EF4-FFF2-40B4-BE49-F238E27FC236}">
                <a16:creationId xmlns:a16="http://schemas.microsoft.com/office/drawing/2014/main" id="{9D593789-2946-8109-54F4-82D424EF2B68}"/>
              </a:ext>
            </a:extLst>
          </p:cNvPr>
          <p:cNvSpPr>
            <a:spLocks/>
          </p:cNvSpPr>
          <p:nvPr/>
        </p:nvSpPr>
        <p:spPr>
          <a:xfrm>
            <a:off x="3338407" y="2549920"/>
            <a:ext cx="6354246" cy="293382"/>
          </a:xfrm>
          <a:prstGeom prst="roundRect">
            <a:avLst>
              <a:gd name="adj" fmla="val 50000"/>
            </a:avLst>
          </a:prstGeom>
          <a:solidFill>
            <a:srgbClr val="ADADAD"/>
          </a:solidFill>
          <a:ln w="28575">
            <a:solidFill>
              <a:srgbClr val="ADADAD"/>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a:solidFill>
                <a:schemeClr val="bg1"/>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20" name="Oval 11">
            <a:extLst>
              <a:ext uri="{FF2B5EF4-FFF2-40B4-BE49-F238E27FC236}">
                <a16:creationId xmlns:a16="http://schemas.microsoft.com/office/drawing/2014/main" id="{A8BD0D03-06A7-113B-FA53-EF232520FCAC}"/>
              </a:ext>
            </a:extLst>
          </p:cNvPr>
          <p:cNvSpPr>
            <a:spLocks/>
          </p:cNvSpPr>
          <p:nvPr/>
        </p:nvSpPr>
        <p:spPr>
          <a:xfrm>
            <a:off x="5082878" y="6034785"/>
            <a:ext cx="1350955" cy="302272"/>
          </a:xfrm>
          <a:prstGeom prst="roundRect">
            <a:avLst>
              <a:gd name="adj" fmla="val 26753"/>
            </a:avLst>
          </a:prstGeom>
          <a:solidFill>
            <a:schemeClr val="bg1"/>
          </a:solidFill>
          <a:ln w="19050">
            <a:solidFill>
              <a:srgbClr val="747474"/>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endParaRPr lang="en-GB" sz="1000" b="1" baseline="30000">
              <a:solidFill>
                <a:schemeClr val="accent5"/>
              </a:solidFill>
              <a:latin typeface="+mj-lt"/>
              <a:ea typeface="Lato" panose="020F0502020204030203" pitchFamily="34" charset="0"/>
              <a:cs typeface="Lato" panose="020F0502020204030203" pitchFamily="34" charset="0"/>
              <a:sym typeface="Lato" panose="020F0502020204030203" pitchFamily="34" charset="0"/>
            </a:endParaRPr>
          </a:p>
        </p:txBody>
      </p:sp>
      <p:sp>
        <p:nvSpPr>
          <p:cNvPr id="2" name="Text Placeholder 13">
            <a:extLst>
              <a:ext uri="{FF2B5EF4-FFF2-40B4-BE49-F238E27FC236}">
                <a16:creationId xmlns:a16="http://schemas.microsoft.com/office/drawing/2014/main" id="{8E549454-625B-C49F-9DB0-68167A60E360}"/>
              </a:ext>
            </a:extLst>
          </p:cNvPr>
          <p:cNvSpPr txBox="1">
            <a:spLocks noGrp="1"/>
          </p:cNvSpPr>
          <p:nvPr>
            <p:ph type="body" sz="quarter" idx="32"/>
          </p:nvPr>
        </p:nvSpPr>
        <p:spPr>
          <a:xfrm>
            <a:off x="381000" y="6475413"/>
            <a:ext cx="11430000"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34118900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CE1B0268-9735-F4D2-683C-B94CF04720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4" name="Object 23" hidden="1">
                        <a:extLst>
                          <a:ext uri="{FF2B5EF4-FFF2-40B4-BE49-F238E27FC236}">
                            <a16:creationId xmlns:a16="http://schemas.microsoft.com/office/drawing/2014/main" id="{CE1B0268-9735-F4D2-683C-B94CF0472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C1351524-FD31-1E60-8884-B2E9DA6C25DC}"/>
              </a:ext>
            </a:extLst>
          </p:cNvPr>
          <p:cNvSpPr/>
          <p:nvPr/>
        </p:nvSpPr>
        <p:spPr>
          <a:xfrm>
            <a:off x="381000" y="3924115"/>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8" name="Rectangle 7">
            <a:extLst>
              <a:ext uri="{FF2B5EF4-FFF2-40B4-BE49-F238E27FC236}">
                <a16:creationId xmlns:a16="http://schemas.microsoft.com/office/drawing/2014/main" id="{0EAD3800-A433-F736-4EF8-415F93C0113E}"/>
              </a:ext>
            </a:extLst>
          </p:cNvPr>
          <p:cNvSpPr/>
          <p:nvPr/>
        </p:nvSpPr>
        <p:spPr>
          <a:xfrm>
            <a:off x="381000" y="4288487"/>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10" name="Rectangle 9">
            <a:extLst>
              <a:ext uri="{FF2B5EF4-FFF2-40B4-BE49-F238E27FC236}">
                <a16:creationId xmlns:a16="http://schemas.microsoft.com/office/drawing/2014/main" id="{E2AC9AFA-7A8B-A0B7-5C92-50D06C07F81D}"/>
              </a:ext>
            </a:extLst>
          </p:cNvPr>
          <p:cNvSpPr/>
          <p:nvPr/>
        </p:nvSpPr>
        <p:spPr>
          <a:xfrm>
            <a:off x="381000" y="4668695"/>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12" name="Rectangle 11">
            <a:extLst>
              <a:ext uri="{FF2B5EF4-FFF2-40B4-BE49-F238E27FC236}">
                <a16:creationId xmlns:a16="http://schemas.microsoft.com/office/drawing/2014/main" id="{75CBD8BA-3CEA-F20C-2F0C-2348A58276D3}"/>
              </a:ext>
            </a:extLst>
          </p:cNvPr>
          <p:cNvSpPr/>
          <p:nvPr/>
        </p:nvSpPr>
        <p:spPr>
          <a:xfrm>
            <a:off x="381000" y="5059518"/>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15" name="Rectangle 14">
            <a:extLst>
              <a:ext uri="{FF2B5EF4-FFF2-40B4-BE49-F238E27FC236}">
                <a16:creationId xmlns:a16="http://schemas.microsoft.com/office/drawing/2014/main" id="{EB005CDA-8941-079F-D509-5A4C59C068AA}"/>
              </a:ext>
            </a:extLst>
          </p:cNvPr>
          <p:cNvSpPr/>
          <p:nvPr/>
        </p:nvSpPr>
        <p:spPr>
          <a:xfrm>
            <a:off x="381000" y="5495292"/>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1" name="Rectangle 30">
            <a:extLst>
              <a:ext uri="{FF2B5EF4-FFF2-40B4-BE49-F238E27FC236}">
                <a16:creationId xmlns:a16="http://schemas.microsoft.com/office/drawing/2014/main" id="{069E850A-88C6-66B2-592A-DFE4D961DD2B}"/>
              </a:ext>
            </a:extLst>
          </p:cNvPr>
          <p:cNvSpPr/>
          <p:nvPr/>
        </p:nvSpPr>
        <p:spPr>
          <a:xfrm>
            <a:off x="381000" y="6116462"/>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2" name="Oval 11">
            <a:extLst>
              <a:ext uri="{FF2B5EF4-FFF2-40B4-BE49-F238E27FC236}">
                <a16:creationId xmlns:a16="http://schemas.microsoft.com/office/drawing/2014/main" id="{358101C0-193F-F069-DF62-C40CEB2717B1}"/>
              </a:ext>
            </a:extLst>
          </p:cNvPr>
          <p:cNvSpPr>
            <a:spLocks/>
          </p:cNvSpPr>
          <p:nvPr/>
        </p:nvSpPr>
        <p:spPr>
          <a:xfrm>
            <a:off x="1660795" y="5932977"/>
            <a:ext cx="9713297" cy="448702"/>
          </a:xfrm>
          <a:prstGeom prst="roundRect">
            <a:avLst>
              <a:gd name="adj" fmla="val 50000"/>
            </a:avLst>
          </a:prstGeom>
          <a:solidFill>
            <a:srgbClr val="D1D1D1"/>
          </a:solidFill>
          <a:ln w="6350">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3" name="Oval 11">
            <a:extLst>
              <a:ext uri="{FF2B5EF4-FFF2-40B4-BE49-F238E27FC236}">
                <a16:creationId xmlns:a16="http://schemas.microsoft.com/office/drawing/2014/main" id="{E779DF74-9342-13A0-2EC8-ACB2B5648E51}"/>
              </a:ext>
            </a:extLst>
          </p:cNvPr>
          <p:cNvSpPr>
            <a:spLocks/>
          </p:cNvSpPr>
          <p:nvPr/>
        </p:nvSpPr>
        <p:spPr>
          <a:xfrm>
            <a:off x="5079989" y="4617226"/>
            <a:ext cx="1379614" cy="349641"/>
          </a:xfrm>
          <a:prstGeom prst="roundRect">
            <a:avLst>
              <a:gd name="adj" fmla="val 50000"/>
            </a:avLst>
          </a:prstGeom>
          <a:solidFill>
            <a:srgbClr val="747474"/>
          </a:solidFill>
          <a:ln w="6350">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34" name="Oval 11">
            <a:extLst>
              <a:ext uri="{FF2B5EF4-FFF2-40B4-BE49-F238E27FC236}">
                <a16:creationId xmlns:a16="http://schemas.microsoft.com/office/drawing/2014/main" id="{4C407FA3-D145-6C2F-07D2-CB6A99442F66}"/>
              </a:ext>
            </a:extLst>
          </p:cNvPr>
          <p:cNvSpPr>
            <a:spLocks/>
          </p:cNvSpPr>
          <p:nvPr/>
        </p:nvSpPr>
        <p:spPr>
          <a:xfrm>
            <a:off x="3364761" y="4610135"/>
            <a:ext cx="1379614" cy="317678"/>
          </a:xfrm>
          <a:prstGeom prst="roundRect">
            <a:avLst>
              <a:gd name="adj" fmla="val 31947"/>
            </a:avLst>
          </a:prstGeom>
          <a:solidFill>
            <a:schemeClr val="bg1"/>
          </a:solidFill>
          <a:ln w="19050">
            <a:solidFill>
              <a:srgbClr val="ADADAD"/>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1" i="0" u="none" strike="noStrike" kern="1200" cap="none" spc="0" normalizeH="0" baseline="0" noProof="0">
              <a:ln>
                <a:noFill/>
              </a:ln>
              <a:solidFill>
                <a:srgbClr val="838383"/>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35" name="Oval 11">
            <a:extLst>
              <a:ext uri="{FF2B5EF4-FFF2-40B4-BE49-F238E27FC236}">
                <a16:creationId xmlns:a16="http://schemas.microsoft.com/office/drawing/2014/main" id="{57CA2B92-3465-0314-FA76-E21E5EF7FE41}"/>
              </a:ext>
            </a:extLst>
          </p:cNvPr>
          <p:cNvSpPr>
            <a:spLocks/>
          </p:cNvSpPr>
          <p:nvPr/>
        </p:nvSpPr>
        <p:spPr>
          <a:xfrm>
            <a:off x="1696383" y="4608893"/>
            <a:ext cx="1269902" cy="329303"/>
          </a:xfrm>
          <a:prstGeom prst="roundRect">
            <a:avLst>
              <a:gd name="adj" fmla="val 50000"/>
            </a:avLst>
          </a:prstGeom>
          <a:solidFill>
            <a:srgbClr val="D1D1D1"/>
          </a:solidFill>
          <a:ln w="6350">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36" name="Oval 11">
            <a:extLst>
              <a:ext uri="{FF2B5EF4-FFF2-40B4-BE49-F238E27FC236}">
                <a16:creationId xmlns:a16="http://schemas.microsoft.com/office/drawing/2014/main" id="{E64E7326-1512-0A1F-E0D0-2B35262DE9BC}"/>
              </a:ext>
            </a:extLst>
          </p:cNvPr>
          <p:cNvSpPr>
            <a:spLocks/>
          </p:cNvSpPr>
          <p:nvPr/>
        </p:nvSpPr>
        <p:spPr>
          <a:xfrm>
            <a:off x="3166567" y="5058628"/>
            <a:ext cx="862082" cy="760958"/>
          </a:xfrm>
          <a:prstGeom prst="roundRect">
            <a:avLst>
              <a:gd name="adj" fmla="val 26511"/>
            </a:avLst>
          </a:prstGeom>
          <a:solidFill>
            <a:schemeClr val="bg1"/>
          </a:solidFill>
          <a:ln w="19050">
            <a:solidFill>
              <a:srgbClr val="ADADAD"/>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1" i="0" u="none" strike="noStrike" kern="1200" cap="none" spc="0" normalizeH="0" baseline="0" noProof="0">
              <a:ln>
                <a:noFill/>
              </a:ln>
              <a:solidFill>
                <a:srgbClr val="838383"/>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40" name="Oval 11">
            <a:extLst>
              <a:ext uri="{FF2B5EF4-FFF2-40B4-BE49-F238E27FC236}">
                <a16:creationId xmlns:a16="http://schemas.microsoft.com/office/drawing/2014/main" id="{4AF8A15A-3C79-85A9-998B-17A0633A3A95}"/>
              </a:ext>
            </a:extLst>
          </p:cNvPr>
          <p:cNvSpPr>
            <a:spLocks/>
          </p:cNvSpPr>
          <p:nvPr/>
        </p:nvSpPr>
        <p:spPr>
          <a:xfrm>
            <a:off x="6751573" y="4243768"/>
            <a:ext cx="1366859" cy="277200"/>
          </a:xfrm>
          <a:prstGeom prst="roundRect">
            <a:avLst>
              <a:gd name="adj" fmla="val 31251"/>
            </a:avLst>
          </a:prstGeom>
          <a:solidFill>
            <a:srgbClr val="FFC760"/>
          </a:solidFill>
          <a:ln w="28575">
            <a:solidFill>
              <a:srgbClr val="FFC760"/>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49" name="Oval 11">
            <a:extLst>
              <a:ext uri="{FF2B5EF4-FFF2-40B4-BE49-F238E27FC236}">
                <a16:creationId xmlns:a16="http://schemas.microsoft.com/office/drawing/2014/main" id="{1D7695C8-3786-6024-13AE-22DF8DE81639}"/>
              </a:ext>
            </a:extLst>
          </p:cNvPr>
          <p:cNvSpPr>
            <a:spLocks/>
          </p:cNvSpPr>
          <p:nvPr/>
        </p:nvSpPr>
        <p:spPr>
          <a:xfrm>
            <a:off x="8369508" y="5031143"/>
            <a:ext cx="2961360" cy="755757"/>
          </a:xfrm>
          <a:prstGeom prst="roundRect">
            <a:avLst>
              <a:gd name="adj" fmla="val 31251"/>
            </a:avLst>
          </a:prstGeom>
          <a:solidFill>
            <a:srgbClr val="F59E00"/>
          </a:solidFill>
          <a:ln w="2857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50" name="Oval 11">
            <a:extLst>
              <a:ext uri="{FF2B5EF4-FFF2-40B4-BE49-F238E27FC236}">
                <a16:creationId xmlns:a16="http://schemas.microsoft.com/office/drawing/2014/main" id="{E0E1FF09-1BD7-1814-9FDC-D29796C85E4D}"/>
              </a:ext>
            </a:extLst>
          </p:cNvPr>
          <p:cNvSpPr>
            <a:spLocks/>
          </p:cNvSpPr>
          <p:nvPr/>
        </p:nvSpPr>
        <p:spPr>
          <a:xfrm>
            <a:off x="4089020" y="5061652"/>
            <a:ext cx="1012136" cy="754910"/>
          </a:xfrm>
          <a:prstGeom prst="roundRect">
            <a:avLst>
              <a:gd name="adj" fmla="val 33225"/>
            </a:avLst>
          </a:prstGeom>
          <a:solidFill>
            <a:srgbClr val="ADADAD"/>
          </a:solidFill>
          <a:ln w="28575">
            <a:solidFill>
              <a:srgbClr val="ADADAD"/>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69" name="TextBox 68">
            <a:extLst>
              <a:ext uri="{FF2B5EF4-FFF2-40B4-BE49-F238E27FC236}">
                <a16:creationId xmlns:a16="http://schemas.microsoft.com/office/drawing/2014/main" id="{4C4D2EDE-0FE1-FCBA-3071-55D2CB6075C8}"/>
              </a:ext>
            </a:extLst>
          </p:cNvPr>
          <p:cNvSpPr txBox="1"/>
          <p:nvPr/>
        </p:nvSpPr>
        <p:spPr>
          <a:xfrm>
            <a:off x="1671581" y="5209411"/>
            <a:ext cx="1170550" cy="226591"/>
          </a:xfrm>
          <a:prstGeom prst="rect">
            <a:avLst/>
          </a:prstGeom>
          <a:solidFill>
            <a:schemeClr val="bg1"/>
          </a:solidFill>
          <a:ln>
            <a:solidFill>
              <a:schemeClr val="tx1"/>
            </a:solidFill>
          </a:ln>
        </p:spPr>
        <p:txBody>
          <a:bodyPr wrap="square" lIns="36000" tIns="36000" rIns="36000" bIns="3600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cxnSp>
        <p:nvCxnSpPr>
          <p:cNvPr id="72" name="Straight Connector 71">
            <a:extLst>
              <a:ext uri="{FF2B5EF4-FFF2-40B4-BE49-F238E27FC236}">
                <a16:creationId xmlns:a16="http://schemas.microsoft.com/office/drawing/2014/main" id="{E9A22E00-395C-5833-3DEB-835AC9146241}"/>
              </a:ext>
            </a:extLst>
          </p:cNvPr>
          <p:cNvCxnSpPr>
            <a:cxnSpLocks/>
            <a:stCxn id="69" idx="3"/>
            <a:endCxn id="36" idx="1"/>
          </p:cNvCxnSpPr>
          <p:nvPr/>
        </p:nvCxnSpPr>
        <p:spPr>
          <a:xfrm>
            <a:off x="2842131" y="5322707"/>
            <a:ext cx="324436" cy="11640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76" name="Oval 11">
            <a:extLst>
              <a:ext uri="{FF2B5EF4-FFF2-40B4-BE49-F238E27FC236}">
                <a16:creationId xmlns:a16="http://schemas.microsoft.com/office/drawing/2014/main" id="{D11FE079-0386-30A7-F2EA-EE86DC1254C5}"/>
              </a:ext>
            </a:extLst>
          </p:cNvPr>
          <p:cNvSpPr>
            <a:spLocks/>
          </p:cNvSpPr>
          <p:nvPr/>
        </p:nvSpPr>
        <p:spPr>
          <a:xfrm>
            <a:off x="8367321" y="4590921"/>
            <a:ext cx="2963547" cy="375946"/>
          </a:xfrm>
          <a:prstGeom prst="roundRect">
            <a:avLst>
              <a:gd name="adj" fmla="val 50000"/>
            </a:avLst>
          </a:prstGeom>
          <a:solidFill>
            <a:schemeClr val="accent1"/>
          </a:solidFill>
          <a:ln w="6350">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77" name="Oval 11">
            <a:extLst>
              <a:ext uri="{FF2B5EF4-FFF2-40B4-BE49-F238E27FC236}">
                <a16:creationId xmlns:a16="http://schemas.microsoft.com/office/drawing/2014/main" id="{93C9CD02-ED2A-9950-A50A-4F60D1A11A79}"/>
              </a:ext>
            </a:extLst>
          </p:cNvPr>
          <p:cNvSpPr>
            <a:spLocks/>
          </p:cNvSpPr>
          <p:nvPr/>
        </p:nvSpPr>
        <p:spPr>
          <a:xfrm>
            <a:off x="8378941" y="4243768"/>
            <a:ext cx="2961360" cy="277200"/>
          </a:xfrm>
          <a:prstGeom prst="roundRect">
            <a:avLst>
              <a:gd name="adj" fmla="val 31251"/>
            </a:avLst>
          </a:prstGeom>
          <a:solidFill>
            <a:schemeClr val="bg1"/>
          </a:solidFill>
          <a:ln w="28575">
            <a:solidFill>
              <a:schemeClr val="accent1"/>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78" name="Oval 11">
            <a:extLst>
              <a:ext uri="{FF2B5EF4-FFF2-40B4-BE49-F238E27FC236}">
                <a16:creationId xmlns:a16="http://schemas.microsoft.com/office/drawing/2014/main" id="{577912C4-BFC1-39EF-2F2F-1B39C9C35AEF}"/>
              </a:ext>
            </a:extLst>
          </p:cNvPr>
          <p:cNvSpPr>
            <a:spLocks/>
          </p:cNvSpPr>
          <p:nvPr/>
        </p:nvSpPr>
        <p:spPr>
          <a:xfrm>
            <a:off x="6738513" y="4633525"/>
            <a:ext cx="1366859" cy="344228"/>
          </a:xfrm>
          <a:prstGeom prst="roundRect">
            <a:avLst>
              <a:gd name="adj" fmla="val 31251"/>
            </a:avLst>
          </a:prstGeom>
          <a:solidFill>
            <a:srgbClr val="FFC760"/>
          </a:solidFill>
          <a:ln w="28575">
            <a:solidFill>
              <a:srgbClr val="FFC760"/>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79" name="Oval 11">
            <a:extLst>
              <a:ext uri="{FF2B5EF4-FFF2-40B4-BE49-F238E27FC236}">
                <a16:creationId xmlns:a16="http://schemas.microsoft.com/office/drawing/2014/main" id="{CE4ECCB7-104D-C9FE-00DE-D2AAB041E3F6}"/>
              </a:ext>
            </a:extLst>
          </p:cNvPr>
          <p:cNvSpPr>
            <a:spLocks/>
          </p:cNvSpPr>
          <p:nvPr/>
        </p:nvSpPr>
        <p:spPr>
          <a:xfrm>
            <a:off x="6751572" y="5037446"/>
            <a:ext cx="1366859" cy="743035"/>
          </a:xfrm>
          <a:prstGeom prst="roundRect">
            <a:avLst>
              <a:gd name="adj" fmla="val 31251"/>
            </a:avLst>
          </a:prstGeom>
          <a:solidFill>
            <a:srgbClr val="FFC760"/>
          </a:solidFill>
          <a:ln w="28575">
            <a:solidFill>
              <a:srgbClr val="FFC760"/>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80" name="Oval 11">
            <a:extLst>
              <a:ext uri="{FF2B5EF4-FFF2-40B4-BE49-F238E27FC236}">
                <a16:creationId xmlns:a16="http://schemas.microsoft.com/office/drawing/2014/main" id="{E9CB4E50-A45C-F1FB-C551-4780919D5579}"/>
              </a:ext>
            </a:extLst>
          </p:cNvPr>
          <p:cNvSpPr>
            <a:spLocks/>
          </p:cNvSpPr>
          <p:nvPr/>
        </p:nvSpPr>
        <p:spPr>
          <a:xfrm>
            <a:off x="3324186" y="4244079"/>
            <a:ext cx="1367592" cy="276578"/>
          </a:xfrm>
          <a:prstGeom prst="roundRect">
            <a:avLst>
              <a:gd name="adj" fmla="val 24184"/>
            </a:avLst>
          </a:prstGeom>
          <a:solidFill>
            <a:srgbClr val="ADADAD"/>
          </a:solidFill>
          <a:ln w="28575">
            <a:solidFill>
              <a:srgbClr val="ADADAD"/>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81" name="Oval 11">
            <a:extLst>
              <a:ext uri="{FF2B5EF4-FFF2-40B4-BE49-F238E27FC236}">
                <a16:creationId xmlns:a16="http://schemas.microsoft.com/office/drawing/2014/main" id="{4D94942C-2B51-35C5-52A7-9281C6A7D09A}"/>
              </a:ext>
            </a:extLst>
          </p:cNvPr>
          <p:cNvSpPr>
            <a:spLocks/>
          </p:cNvSpPr>
          <p:nvPr/>
        </p:nvSpPr>
        <p:spPr>
          <a:xfrm>
            <a:off x="5067431" y="4243768"/>
            <a:ext cx="1339531" cy="277200"/>
          </a:xfrm>
          <a:prstGeom prst="roundRect">
            <a:avLst>
              <a:gd name="adj" fmla="val 24184"/>
            </a:avLst>
          </a:prstGeom>
          <a:solidFill>
            <a:srgbClr val="747474"/>
          </a:solidFill>
          <a:ln w="28575">
            <a:solidFill>
              <a:srgbClr val="747474"/>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82" name="Oval 11">
            <a:extLst>
              <a:ext uri="{FF2B5EF4-FFF2-40B4-BE49-F238E27FC236}">
                <a16:creationId xmlns:a16="http://schemas.microsoft.com/office/drawing/2014/main" id="{A3F230EB-3355-D6BC-161C-16E4481E0BD7}"/>
              </a:ext>
            </a:extLst>
          </p:cNvPr>
          <p:cNvSpPr>
            <a:spLocks/>
          </p:cNvSpPr>
          <p:nvPr/>
        </p:nvSpPr>
        <p:spPr>
          <a:xfrm>
            <a:off x="6751573" y="3908972"/>
            <a:ext cx="1366859" cy="277200"/>
          </a:xfrm>
          <a:prstGeom prst="roundRect">
            <a:avLst>
              <a:gd name="adj" fmla="val 31251"/>
            </a:avLst>
          </a:prstGeom>
          <a:solidFill>
            <a:srgbClr val="FFC760"/>
          </a:solidFill>
          <a:ln w="28575">
            <a:solidFill>
              <a:srgbClr val="FFC760"/>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83" name="Oval 11">
            <a:extLst>
              <a:ext uri="{FF2B5EF4-FFF2-40B4-BE49-F238E27FC236}">
                <a16:creationId xmlns:a16="http://schemas.microsoft.com/office/drawing/2014/main" id="{D93F2195-ECE0-282C-25E9-4304726B6CF0}"/>
              </a:ext>
            </a:extLst>
          </p:cNvPr>
          <p:cNvSpPr>
            <a:spLocks/>
          </p:cNvSpPr>
          <p:nvPr/>
        </p:nvSpPr>
        <p:spPr>
          <a:xfrm>
            <a:off x="8378941" y="3879396"/>
            <a:ext cx="2961360" cy="277200"/>
          </a:xfrm>
          <a:prstGeom prst="roundRect">
            <a:avLst>
              <a:gd name="adj" fmla="val 31251"/>
            </a:avLst>
          </a:prstGeom>
          <a:solidFill>
            <a:schemeClr val="bg1"/>
          </a:solidFill>
          <a:ln w="28575">
            <a:solidFill>
              <a:schemeClr val="accent1"/>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86" name="Oval 11">
            <a:extLst>
              <a:ext uri="{FF2B5EF4-FFF2-40B4-BE49-F238E27FC236}">
                <a16:creationId xmlns:a16="http://schemas.microsoft.com/office/drawing/2014/main" id="{90992684-D00F-17B0-B6C0-BA786194B15F}"/>
              </a:ext>
            </a:extLst>
          </p:cNvPr>
          <p:cNvSpPr>
            <a:spLocks/>
          </p:cNvSpPr>
          <p:nvPr/>
        </p:nvSpPr>
        <p:spPr>
          <a:xfrm>
            <a:off x="3324186" y="3879707"/>
            <a:ext cx="1367592" cy="276578"/>
          </a:xfrm>
          <a:prstGeom prst="roundRect">
            <a:avLst>
              <a:gd name="adj" fmla="val 24184"/>
            </a:avLst>
          </a:prstGeom>
          <a:solidFill>
            <a:srgbClr val="ADADAD"/>
          </a:solidFill>
          <a:ln w="28575">
            <a:solidFill>
              <a:srgbClr val="ADADAD"/>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87" name="Oval 11">
            <a:extLst>
              <a:ext uri="{FF2B5EF4-FFF2-40B4-BE49-F238E27FC236}">
                <a16:creationId xmlns:a16="http://schemas.microsoft.com/office/drawing/2014/main" id="{922A37AE-E147-920E-DCCE-FAA4DF7B2BBE}"/>
              </a:ext>
            </a:extLst>
          </p:cNvPr>
          <p:cNvSpPr>
            <a:spLocks/>
          </p:cNvSpPr>
          <p:nvPr/>
        </p:nvSpPr>
        <p:spPr>
          <a:xfrm>
            <a:off x="5067431" y="3916413"/>
            <a:ext cx="1339531" cy="277200"/>
          </a:xfrm>
          <a:prstGeom prst="roundRect">
            <a:avLst>
              <a:gd name="adj" fmla="val 24184"/>
            </a:avLst>
          </a:prstGeom>
          <a:solidFill>
            <a:srgbClr val="747474"/>
          </a:solidFill>
          <a:ln w="28575">
            <a:solidFill>
              <a:srgbClr val="747474"/>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47" name="Rectangle 46">
            <a:extLst>
              <a:ext uri="{FF2B5EF4-FFF2-40B4-BE49-F238E27FC236}">
                <a16:creationId xmlns:a16="http://schemas.microsoft.com/office/drawing/2014/main" id="{9E6956FB-EB39-424C-97F1-55CDCB6F47CA}"/>
              </a:ext>
            </a:extLst>
          </p:cNvPr>
          <p:cNvSpPr/>
          <p:nvPr/>
        </p:nvSpPr>
        <p:spPr>
          <a:xfrm>
            <a:off x="381000" y="2448168"/>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8" name="Rectangle 47">
            <a:extLst>
              <a:ext uri="{FF2B5EF4-FFF2-40B4-BE49-F238E27FC236}">
                <a16:creationId xmlns:a16="http://schemas.microsoft.com/office/drawing/2014/main" id="{16A2F6CA-6748-B6DC-A8D6-ACD957B24763}"/>
              </a:ext>
            </a:extLst>
          </p:cNvPr>
          <p:cNvSpPr/>
          <p:nvPr/>
        </p:nvSpPr>
        <p:spPr>
          <a:xfrm>
            <a:off x="381000" y="2817004"/>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1" name="Rectangle 50">
            <a:extLst>
              <a:ext uri="{FF2B5EF4-FFF2-40B4-BE49-F238E27FC236}">
                <a16:creationId xmlns:a16="http://schemas.microsoft.com/office/drawing/2014/main" id="{ABB15447-4D6B-9C91-A8C6-2602CE2F51F1}"/>
              </a:ext>
            </a:extLst>
          </p:cNvPr>
          <p:cNvSpPr/>
          <p:nvPr/>
        </p:nvSpPr>
        <p:spPr>
          <a:xfrm>
            <a:off x="381000" y="3200442"/>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2" name="Rectangle 51">
            <a:extLst>
              <a:ext uri="{FF2B5EF4-FFF2-40B4-BE49-F238E27FC236}">
                <a16:creationId xmlns:a16="http://schemas.microsoft.com/office/drawing/2014/main" id="{C7946D78-54A1-5EB0-4CD6-DD9F95268AC1}"/>
              </a:ext>
            </a:extLst>
          </p:cNvPr>
          <p:cNvSpPr/>
          <p:nvPr/>
        </p:nvSpPr>
        <p:spPr>
          <a:xfrm>
            <a:off x="381000" y="3592115"/>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6" name="Rectangle 45">
            <a:extLst>
              <a:ext uri="{FF2B5EF4-FFF2-40B4-BE49-F238E27FC236}">
                <a16:creationId xmlns:a16="http://schemas.microsoft.com/office/drawing/2014/main" id="{D9923DFB-481E-0C1C-84D4-5486C71B4D1F}"/>
              </a:ext>
            </a:extLst>
          </p:cNvPr>
          <p:cNvSpPr/>
          <p:nvPr/>
        </p:nvSpPr>
        <p:spPr>
          <a:xfrm>
            <a:off x="381000" y="2045698"/>
            <a:ext cx="11223171" cy="187762"/>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5" name="Text Placeholder 4">
            <a:extLst>
              <a:ext uri="{FF2B5EF4-FFF2-40B4-BE49-F238E27FC236}">
                <a16:creationId xmlns:a16="http://schemas.microsoft.com/office/drawing/2014/main" id="{165CF9CC-46F6-08B0-67A6-9AADBA615260}"/>
              </a:ext>
            </a:extLst>
          </p:cNvPr>
          <p:cNvSpPr>
            <a:spLocks noGrp="1"/>
          </p:cNvSpPr>
          <p:nvPr>
            <p:ph type="body" sz="quarter" idx="22"/>
          </p:nvPr>
        </p:nvSpPr>
        <p:spPr>
          <a:xfrm>
            <a:off x="381001" y="6715169"/>
            <a:ext cx="4368183" cy="110800"/>
          </a:xfrm>
        </p:spPr>
        <p:txBody>
          <a:bodyPr/>
          <a:lstStyle/>
          <a:p>
            <a:r>
              <a:rPr lang="en-GB"/>
              <a:t>Sources: Aurora Energy Research, Bundesnetzagentur, Elia, ENTSO-E, Regelleistung.net, TenneT</a:t>
            </a:r>
          </a:p>
        </p:txBody>
      </p:sp>
      <p:sp>
        <p:nvSpPr>
          <p:cNvPr id="3" name="Title 2">
            <a:extLst>
              <a:ext uri="{FF2B5EF4-FFF2-40B4-BE49-F238E27FC236}">
                <a16:creationId xmlns:a16="http://schemas.microsoft.com/office/drawing/2014/main" id="{10A4E3FC-3E30-BC88-D1EF-98224538F636}"/>
              </a:ext>
            </a:extLst>
          </p:cNvPr>
          <p:cNvSpPr>
            <a:spLocks noGrp="1"/>
          </p:cNvSpPr>
          <p:nvPr>
            <p:ph type="title"/>
          </p:nvPr>
        </p:nvSpPr>
        <p:spPr>
          <a:xfrm>
            <a:off x="381599" y="411856"/>
            <a:ext cx="9362476" cy="609398"/>
          </a:xfrm>
        </p:spPr>
        <p:txBody>
          <a:bodyPr vert="horz"/>
          <a:lstStyle/>
          <a:p>
            <a:r>
              <a:rPr lang="en-GB"/>
              <a:t>Frequency and other balancing services across Europe are generally fragmented and reflect nationally-determined technical requirements</a:t>
            </a:r>
          </a:p>
        </p:txBody>
      </p:sp>
      <p:sp>
        <p:nvSpPr>
          <p:cNvPr id="38" name="Oval 11">
            <a:extLst>
              <a:ext uri="{FF2B5EF4-FFF2-40B4-BE49-F238E27FC236}">
                <a16:creationId xmlns:a16="http://schemas.microsoft.com/office/drawing/2014/main" id="{C2D7C4C2-E0A0-7A3B-ED33-C4C4C3396A6B}"/>
              </a:ext>
            </a:extLst>
          </p:cNvPr>
          <p:cNvSpPr>
            <a:spLocks/>
          </p:cNvSpPr>
          <p:nvPr/>
        </p:nvSpPr>
        <p:spPr>
          <a:xfrm>
            <a:off x="3348961" y="1887331"/>
            <a:ext cx="1367592" cy="1578137"/>
          </a:xfrm>
          <a:prstGeom prst="roundRect">
            <a:avLst>
              <a:gd name="adj" fmla="val 24184"/>
            </a:avLst>
          </a:prstGeom>
          <a:solidFill>
            <a:srgbClr val="ADADAD"/>
          </a:solidFill>
          <a:ln w="28575">
            <a:solidFill>
              <a:srgbClr val="ADADAD"/>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65" name="TextBox 64">
            <a:extLst>
              <a:ext uri="{FF2B5EF4-FFF2-40B4-BE49-F238E27FC236}">
                <a16:creationId xmlns:a16="http://schemas.microsoft.com/office/drawing/2014/main" id="{244A3A62-232C-5967-12F1-9C199EF246DA}"/>
              </a:ext>
            </a:extLst>
          </p:cNvPr>
          <p:cNvSpPr txBox="1"/>
          <p:nvPr/>
        </p:nvSpPr>
        <p:spPr>
          <a:xfrm>
            <a:off x="8226407" y="1989722"/>
            <a:ext cx="790793" cy="226591"/>
          </a:xfrm>
          <a:prstGeom prst="rect">
            <a:avLst/>
          </a:prstGeom>
          <a:solidFill>
            <a:schemeClr val="bg1"/>
          </a:solidFill>
          <a:ln>
            <a:solidFill>
              <a:schemeClr val="tx1"/>
            </a:solidFill>
          </a:ln>
        </p:spPr>
        <p:txBody>
          <a:bodyPr wrap="square" lIns="36000" tIns="36000" rIns="36000" bIns="3600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sp>
        <p:nvSpPr>
          <p:cNvPr id="71" name="Oval 11">
            <a:extLst>
              <a:ext uri="{FF2B5EF4-FFF2-40B4-BE49-F238E27FC236}">
                <a16:creationId xmlns:a16="http://schemas.microsoft.com/office/drawing/2014/main" id="{0374947D-E6C2-EE63-6886-EBB8517E30F7}"/>
              </a:ext>
            </a:extLst>
          </p:cNvPr>
          <p:cNvSpPr>
            <a:spLocks/>
          </p:cNvSpPr>
          <p:nvPr/>
        </p:nvSpPr>
        <p:spPr>
          <a:xfrm>
            <a:off x="6732293" y="1874015"/>
            <a:ext cx="1379614" cy="1569302"/>
          </a:xfrm>
          <a:prstGeom prst="roundRect">
            <a:avLst>
              <a:gd name="adj" fmla="val 26753"/>
            </a:avLst>
          </a:prstGeom>
          <a:solidFill>
            <a:schemeClr val="bg1"/>
          </a:solidFill>
          <a:ln w="19050">
            <a:solidFill>
              <a:srgbClr val="FFC760"/>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1" i="0" u="none" strike="noStrike" kern="1200" cap="none" spc="0" normalizeH="0" baseline="0" noProof="0">
              <a:ln>
                <a:noFill/>
              </a:ln>
              <a:solidFill>
                <a:srgbClr val="838383"/>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70" name="TextBox 69">
            <a:extLst>
              <a:ext uri="{FF2B5EF4-FFF2-40B4-BE49-F238E27FC236}">
                <a16:creationId xmlns:a16="http://schemas.microsoft.com/office/drawing/2014/main" id="{BDCA6060-A6C4-7800-8054-37E6CC1CED54}"/>
              </a:ext>
            </a:extLst>
          </p:cNvPr>
          <p:cNvSpPr txBox="1"/>
          <p:nvPr/>
        </p:nvSpPr>
        <p:spPr>
          <a:xfrm>
            <a:off x="5352036" y="2045698"/>
            <a:ext cx="432000" cy="15388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1" i="1" u="none" strike="noStrike" kern="1200" cap="none" spc="0" normalizeH="0" baseline="0" noProof="0">
                <a:ln>
                  <a:noFill/>
                </a:ln>
                <a:solidFill>
                  <a:srgbClr val="3C3C3B"/>
                </a:solidFill>
                <a:effectLst/>
                <a:uLnTx/>
                <a:uFillTx/>
                <a:latin typeface="Lato"/>
                <a:ea typeface="+mn-ea"/>
                <a:cs typeface="+mn-cs"/>
              </a:rPr>
              <a:t>€/MWh</a:t>
            </a:r>
          </a:p>
        </p:txBody>
      </p:sp>
      <p:sp>
        <p:nvSpPr>
          <p:cNvPr id="101" name="TextBox 100">
            <a:extLst>
              <a:ext uri="{FF2B5EF4-FFF2-40B4-BE49-F238E27FC236}">
                <a16:creationId xmlns:a16="http://schemas.microsoft.com/office/drawing/2014/main" id="{91B496F8-9E7C-2202-E2FE-F6575094DFFB}"/>
              </a:ext>
            </a:extLst>
          </p:cNvPr>
          <p:cNvSpPr txBox="1"/>
          <p:nvPr/>
        </p:nvSpPr>
        <p:spPr>
          <a:xfrm>
            <a:off x="1558279" y="3235598"/>
            <a:ext cx="1570178" cy="226591"/>
          </a:xfrm>
          <a:prstGeom prst="rect">
            <a:avLst/>
          </a:prstGeom>
          <a:solidFill>
            <a:schemeClr val="bg1"/>
          </a:solidFill>
          <a:ln>
            <a:solidFill>
              <a:schemeClr val="tx1"/>
            </a:solidFill>
          </a:ln>
        </p:spPr>
        <p:txBody>
          <a:bodyPr wrap="square" lIns="36000" tIns="36000" rIns="36000" bIns="3600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0" i="0" u="none" strike="noStrike" kern="1200" cap="none" spc="0" normalizeH="0" baseline="0" noProof="0">
              <a:ln>
                <a:noFill/>
              </a:ln>
              <a:solidFill>
                <a:srgbClr val="3C3C3B"/>
              </a:solidFill>
              <a:effectLst/>
              <a:uLnTx/>
              <a:uFillTx/>
              <a:latin typeface="Lato"/>
              <a:ea typeface="+mn-ea"/>
              <a:cs typeface="+mn-cs"/>
            </a:endParaRPr>
          </a:p>
        </p:txBody>
      </p:sp>
      <p:sp>
        <p:nvSpPr>
          <p:cNvPr id="14" name="Oval 11">
            <a:extLst>
              <a:ext uri="{FF2B5EF4-FFF2-40B4-BE49-F238E27FC236}">
                <a16:creationId xmlns:a16="http://schemas.microsoft.com/office/drawing/2014/main" id="{03364361-EC73-4930-847C-42BB06601634}"/>
              </a:ext>
            </a:extLst>
          </p:cNvPr>
          <p:cNvSpPr>
            <a:spLocks/>
          </p:cNvSpPr>
          <p:nvPr/>
        </p:nvSpPr>
        <p:spPr>
          <a:xfrm>
            <a:off x="9131700" y="2754595"/>
            <a:ext cx="1141510" cy="290031"/>
          </a:xfrm>
          <a:prstGeom prst="roundRect">
            <a:avLst>
              <a:gd name="adj" fmla="val 26753"/>
            </a:avLst>
          </a:prstGeom>
          <a:solidFill>
            <a:srgbClr val="F59E00"/>
          </a:solidFill>
          <a:ln w="28575">
            <a:no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grpSp>
        <p:nvGrpSpPr>
          <p:cNvPr id="16" name="Group 15">
            <a:extLst>
              <a:ext uri="{FF2B5EF4-FFF2-40B4-BE49-F238E27FC236}">
                <a16:creationId xmlns:a16="http://schemas.microsoft.com/office/drawing/2014/main" id="{277B95F5-484F-35E3-7C3F-D608FE6B5EDC}"/>
              </a:ext>
            </a:extLst>
          </p:cNvPr>
          <p:cNvGrpSpPr/>
          <p:nvPr/>
        </p:nvGrpSpPr>
        <p:grpSpPr>
          <a:xfrm>
            <a:off x="381000" y="1100018"/>
            <a:ext cx="11450509" cy="700176"/>
            <a:chOff x="381000" y="1100018"/>
            <a:chExt cx="11450509" cy="700176"/>
          </a:xfrm>
        </p:grpSpPr>
        <p:sp>
          <p:nvSpPr>
            <p:cNvPr id="18" name="Arrow: Right 10">
              <a:extLst>
                <a:ext uri="{FF2B5EF4-FFF2-40B4-BE49-F238E27FC236}">
                  <a16:creationId xmlns:a16="http://schemas.microsoft.com/office/drawing/2014/main" id="{455BDF84-68BF-0076-9F71-E4ADB1937E43}"/>
                </a:ext>
              </a:extLst>
            </p:cNvPr>
            <p:cNvSpPr/>
            <p:nvPr/>
          </p:nvSpPr>
          <p:spPr>
            <a:xfrm>
              <a:off x="381000" y="1216720"/>
              <a:ext cx="11450509" cy="583474"/>
            </a:xfrm>
            <a:prstGeom prst="rightArrow">
              <a:avLst>
                <a:gd name="adj1" fmla="val 50000"/>
                <a:gd name="adj2" fmla="val 60883"/>
              </a:avLst>
            </a:prstGeom>
            <a:solidFill>
              <a:srgbClr val="E7E7E7"/>
            </a:solidFill>
            <a:ln>
              <a:solidFill>
                <a:srgbClr val="E7E7E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marR="0" lvl="0" indent="-285750" algn="l"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rgbClr val="3C3C3B"/>
                </a:solidFill>
                <a:effectLst/>
                <a:uLnTx/>
                <a:uFillTx/>
                <a:latin typeface="Lato"/>
                <a:ea typeface="+mn-ea"/>
                <a:cs typeface="+mn-cs"/>
              </a:endParaRPr>
            </a:p>
          </p:txBody>
        </p:sp>
        <p:sp>
          <p:nvSpPr>
            <p:cNvPr id="19" name="TextBox 18">
              <a:extLst>
                <a:ext uri="{FF2B5EF4-FFF2-40B4-BE49-F238E27FC236}">
                  <a16:creationId xmlns:a16="http://schemas.microsoft.com/office/drawing/2014/main" id="{1DD04074-61F2-C0BB-F838-3C1BF57BA55E}"/>
                </a:ext>
              </a:extLst>
            </p:cNvPr>
            <p:cNvSpPr txBox="1"/>
            <p:nvPr/>
          </p:nvSpPr>
          <p:spPr>
            <a:xfrm>
              <a:off x="460644" y="1404619"/>
              <a:ext cx="132568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Full activation time</a:t>
              </a:r>
            </a:p>
          </p:txBody>
        </p:sp>
        <p:sp>
          <p:nvSpPr>
            <p:cNvPr id="20" name="Oval 11">
              <a:extLst>
                <a:ext uri="{FF2B5EF4-FFF2-40B4-BE49-F238E27FC236}">
                  <a16:creationId xmlns:a16="http://schemas.microsoft.com/office/drawing/2014/main" id="{0F021691-2539-248F-158F-F562294E3EE2}"/>
                </a:ext>
              </a:extLst>
            </p:cNvPr>
            <p:cNvSpPr>
              <a:spLocks/>
            </p:cNvSpPr>
            <p:nvPr/>
          </p:nvSpPr>
          <p:spPr>
            <a:xfrm>
              <a:off x="1885988" y="1383553"/>
              <a:ext cx="901930" cy="294337"/>
            </a:xfrm>
            <a:prstGeom prst="roundRect">
              <a:avLst>
                <a:gd name="adj" fmla="val 50000"/>
              </a:avLst>
            </a:prstGeom>
            <a:solidFill>
              <a:schemeClr val="bg2">
                <a:lumMod val="90000"/>
                <a:alpha val="93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lt;1 sec</a:t>
              </a:r>
            </a:p>
          </p:txBody>
        </p:sp>
        <p:sp>
          <p:nvSpPr>
            <p:cNvPr id="21" name="Oval 11">
              <a:extLst>
                <a:ext uri="{FF2B5EF4-FFF2-40B4-BE49-F238E27FC236}">
                  <a16:creationId xmlns:a16="http://schemas.microsoft.com/office/drawing/2014/main" id="{BBEE44F7-F70C-8317-A710-493F649E066E}"/>
                </a:ext>
              </a:extLst>
            </p:cNvPr>
            <p:cNvSpPr>
              <a:spLocks/>
            </p:cNvSpPr>
            <p:nvPr/>
          </p:nvSpPr>
          <p:spPr>
            <a:xfrm>
              <a:off x="3301899" y="1378311"/>
              <a:ext cx="1468245" cy="299794"/>
            </a:xfrm>
            <a:prstGeom prst="roundRect">
              <a:avLst>
                <a:gd name="adj" fmla="val 50000"/>
              </a:avLst>
            </a:prstGeom>
            <a:solidFill>
              <a:schemeClr val="bg2">
                <a:lumMod val="75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1-60 sec</a:t>
              </a:r>
            </a:p>
          </p:txBody>
        </p:sp>
        <p:sp>
          <p:nvSpPr>
            <p:cNvPr id="22" name="Oval 11">
              <a:extLst>
                <a:ext uri="{FF2B5EF4-FFF2-40B4-BE49-F238E27FC236}">
                  <a16:creationId xmlns:a16="http://schemas.microsoft.com/office/drawing/2014/main" id="{72279A22-89D5-8D5F-99CF-F6F90275FF44}"/>
                </a:ext>
              </a:extLst>
            </p:cNvPr>
            <p:cNvSpPr>
              <a:spLocks/>
            </p:cNvSpPr>
            <p:nvPr/>
          </p:nvSpPr>
          <p:spPr>
            <a:xfrm>
              <a:off x="5079989" y="1365420"/>
              <a:ext cx="1379614" cy="294337"/>
            </a:xfrm>
            <a:prstGeom prst="roundRect">
              <a:avLst>
                <a:gd name="adj" fmla="val 50000"/>
              </a:avLst>
            </a:prstGeom>
            <a:solidFill>
              <a:schemeClr val="bg2">
                <a:lumMod val="5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1-5 min</a:t>
              </a:r>
            </a:p>
          </p:txBody>
        </p:sp>
        <p:sp>
          <p:nvSpPr>
            <p:cNvPr id="23" name="Oval 11">
              <a:extLst>
                <a:ext uri="{FF2B5EF4-FFF2-40B4-BE49-F238E27FC236}">
                  <a16:creationId xmlns:a16="http://schemas.microsoft.com/office/drawing/2014/main" id="{D1702333-76D1-B0DF-EB58-CD1ACF5FD2AD}"/>
                </a:ext>
              </a:extLst>
            </p:cNvPr>
            <p:cNvSpPr>
              <a:spLocks/>
            </p:cNvSpPr>
            <p:nvPr/>
          </p:nvSpPr>
          <p:spPr>
            <a:xfrm>
              <a:off x="6732293" y="1387622"/>
              <a:ext cx="1379614" cy="268160"/>
            </a:xfrm>
            <a:prstGeom prst="roundRect">
              <a:avLst>
                <a:gd name="adj" fmla="val 50000"/>
              </a:avLst>
            </a:prstGeom>
            <a:solidFill>
              <a:schemeClr val="accent1">
                <a:lumMod val="60000"/>
                <a:lumOff val="40000"/>
              </a:schemeClr>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5-15 min</a:t>
              </a:r>
            </a:p>
          </p:txBody>
        </p:sp>
        <p:sp>
          <p:nvSpPr>
            <p:cNvPr id="25" name="Oval 11">
              <a:extLst>
                <a:ext uri="{FF2B5EF4-FFF2-40B4-BE49-F238E27FC236}">
                  <a16:creationId xmlns:a16="http://schemas.microsoft.com/office/drawing/2014/main" id="{D2690833-7F18-B52D-2F7C-22225ADF61E1}"/>
                </a:ext>
              </a:extLst>
            </p:cNvPr>
            <p:cNvSpPr>
              <a:spLocks/>
            </p:cNvSpPr>
            <p:nvPr/>
          </p:nvSpPr>
          <p:spPr>
            <a:xfrm>
              <a:off x="8421752" y="1378311"/>
              <a:ext cx="2748905" cy="287600"/>
            </a:xfrm>
            <a:prstGeom prst="roundRect">
              <a:avLst>
                <a:gd name="adj" fmla="val 50000"/>
              </a:avLst>
            </a:prstGeom>
            <a:solidFill>
              <a:schemeClr val="accent1"/>
            </a:solidFill>
            <a:ln w="63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gt; 15 min</a:t>
              </a:r>
            </a:p>
          </p:txBody>
        </p:sp>
        <p:sp>
          <p:nvSpPr>
            <p:cNvPr id="26" name="Oval 11">
              <a:extLst>
                <a:ext uri="{FF2B5EF4-FFF2-40B4-BE49-F238E27FC236}">
                  <a16:creationId xmlns:a16="http://schemas.microsoft.com/office/drawing/2014/main" id="{D67CC3A8-FF44-E64D-9EDD-42923CD9EE2C}"/>
                </a:ext>
              </a:extLst>
            </p:cNvPr>
            <p:cNvSpPr>
              <a:spLocks/>
            </p:cNvSpPr>
            <p:nvPr/>
          </p:nvSpPr>
          <p:spPr>
            <a:xfrm>
              <a:off x="1903365" y="1105695"/>
              <a:ext cx="4536460" cy="247911"/>
            </a:xfrm>
            <a:prstGeom prst="roundRect">
              <a:avLst>
                <a:gd name="adj" fmla="val 50000"/>
              </a:avLst>
            </a:prstGeom>
            <a:noFill/>
            <a:ln w="190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Frequency Response Services</a:t>
              </a:r>
            </a:p>
          </p:txBody>
        </p:sp>
        <p:sp>
          <p:nvSpPr>
            <p:cNvPr id="27" name="Oval 11">
              <a:extLst>
                <a:ext uri="{FF2B5EF4-FFF2-40B4-BE49-F238E27FC236}">
                  <a16:creationId xmlns:a16="http://schemas.microsoft.com/office/drawing/2014/main" id="{BFA3BD58-7524-2070-3902-F990AB6C77FE}"/>
                </a:ext>
              </a:extLst>
            </p:cNvPr>
            <p:cNvSpPr>
              <a:spLocks/>
            </p:cNvSpPr>
            <p:nvPr/>
          </p:nvSpPr>
          <p:spPr>
            <a:xfrm>
              <a:off x="6702991" y="1101046"/>
              <a:ext cx="4467666" cy="253176"/>
            </a:xfrm>
            <a:prstGeom prst="roundRect">
              <a:avLst>
                <a:gd name="adj" fmla="val 50000"/>
              </a:avLst>
            </a:prstGeom>
            <a:noFill/>
            <a:ln w="19050">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buSzPct val="100000"/>
              </a:pPr>
              <a:r>
                <a:rPr lang="en-GB" sz="1200" b="1">
                  <a:latin typeface="+mj-lt"/>
                  <a:ea typeface="Lato" panose="020F0502020204030203" pitchFamily="34" charset="0"/>
                  <a:cs typeface="Lato" panose="020F0502020204030203" pitchFamily="34" charset="0"/>
                  <a:sym typeface="Lato" panose="020F0502020204030203" pitchFamily="34" charset="0"/>
                </a:rPr>
                <a:t>Balancing and Restoration Services</a:t>
              </a:r>
            </a:p>
          </p:txBody>
        </p:sp>
        <p:sp>
          <p:nvSpPr>
            <p:cNvPr id="28" name="Oval 11">
              <a:extLst>
                <a:ext uri="{FF2B5EF4-FFF2-40B4-BE49-F238E27FC236}">
                  <a16:creationId xmlns:a16="http://schemas.microsoft.com/office/drawing/2014/main" id="{8BB614FE-ADF9-0A43-C33F-95D77C338555}"/>
                </a:ext>
              </a:extLst>
            </p:cNvPr>
            <p:cNvSpPr>
              <a:spLocks/>
            </p:cNvSpPr>
            <p:nvPr/>
          </p:nvSpPr>
          <p:spPr>
            <a:xfrm>
              <a:off x="7027042" y="1100018"/>
              <a:ext cx="500199" cy="252000"/>
            </a:xfrm>
            <a:prstGeom prst="roundRect">
              <a:avLst>
                <a:gd name="adj" fmla="val 50000"/>
              </a:avLst>
            </a:prstGeom>
            <a:solidFill>
              <a:srgbClr val="F59E00"/>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BS</a:t>
              </a:r>
            </a:p>
          </p:txBody>
        </p:sp>
        <p:sp>
          <p:nvSpPr>
            <p:cNvPr id="29" name="Oval 11">
              <a:extLst>
                <a:ext uri="{FF2B5EF4-FFF2-40B4-BE49-F238E27FC236}">
                  <a16:creationId xmlns:a16="http://schemas.microsoft.com/office/drawing/2014/main" id="{08095788-54A9-C246-110B-647C4100C0EC}"/>
                </a:ext>
              </a:extLst>
            </p:cNvPr>
            <p:cNvSpPr>
              <a:spLocks/>
            </p:cNvSpPr>
            <p:nvPr/>
          </p:nvSpPr>
          <p:spPr>
            <a:xfrm>
              <a:off x="2449786" y="1106827"/>
              <a:ext cx="500199" cy="252000"/>
            </a:xfrm>
            <a:prstGeom prst="roundRect">
              <a:avLst>
                <a:gd name="adj" fmla="val 50000"/>
              </a:avLst>
            </a:prstGeom>
            <a:solidFill>
              <a:srgbClr val="B87600"/>
            </a:solidFill>
            <a:ln w="19050">
              <a:noFill/>
            </a:ln>
          </p:spPr>
          <p:style>
            <a:lnRef idx="2">
              <a:schemeClr val="accent1"/>
            </a:lnRef>
            <a:fillRef idx="1">
              <a:schemeClr val="lt1"/>
            </a:fillRef>
            <a:effectRef idx="0">
              <a:schemeClr val="accent1"/>
            </a:effectRef>
            <a:fontRef idx="minor">
              <a:schemeClr val="dk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rPr>
                <a:t>FR</a:t>
              </a:r>
            </a:p>
          </p:txBody>
        </p:sp>
      </p:grpSp>
      <p:sp>
        <p:nvSpPr>
          <p:cNvPr id="30" name="Oval 11">
            <a:extLst>
              <a:ext uri="{FF2B5EF4-FFF2-40B4-BE49-F238E27FC236}">
                <a16:creationId xmlns:a16="http://schemas.microsoft.com/office/drawing/2014/main" id="{4A019206-1FC2-724A-E983-7BA29D456FAB}"/>
              </a:ext>
            </a:extLst>
          </p:cNvPr>
          <p:cNvSpPr>
            <a:spLocks/>
          </p:cNvSpPr>
          <p:nvPr/>
        </p:nvSpPr>
        <p:spPr>
          <a:xfrm>
            <a:off x="5079988" y="1864281"/>
            <a:ext cx="1339531" cy="1598230"/>
          </a:xfrm>
          <a:prstGeom prst="roundRect">
            <a:avLst>
              <a:gd name="adj" fmla="val 24184"/>
            </a:avLst>
          </a:prstGeom>
          <a:solidFill>
            <a:srgbClr val="747474"/>
          </a:solidFill>
          <a:ln w="28575">
            <a:solidFill>
              <a:srgbClr val="747474"/>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cxnSp>
        <p:nvCxnSpPr>
          <p:cNvPr id="66" name="Straight Connector 65">
            <a:extLst>
              <a:ext uri="{FF2B5EF4-FFF2-40B4-BE49-F238E27FC236}">
                <a16:creationId xmlns:a16="http://schemas.microsoft.com/office/drawing/2014/main" id="{F6A62C51-9015-6543-F6CC-B1C5C38D8F24}"/>
              </a:ext>
            </a:extLst>
          </p:cNvPr>
          <p:cNvCxnSpPr>
            <a:cxnSpLocks/>
            <a:stCxn id="65" idx="1"/>
            <a:endCxn id="71" idx="3"/>
          </p:cNvCxnSpPr>
          <p:nvPr/>
        </p:nvCxnSpPr>
        <p:spPr>
          <a:xfrm flipH="1">
            <a:off x="8111907" y="2103018"/>
            <a:ext cx="114500" cy="555648"/>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37" name="Text Placeholder 5">
            <a:extLst>
              <a:ext uri="{FF2B5EF4-FFF2-40B4-BE49-F238E27FC236}">
                <a16:creationId xmlns:a16="http://schemas.microsoft.com/office/drawing/2014/main" id="{FE0879E8-A311-84AD-04C4-7C5D510D50E4}"/>
              </a:ext>
            </a:extLst>
          </p:cNvPr>
          <p:cNvSpPr txBox="1">
            <a:spLocks/>
          </p:cNvSpPr>
          <p:nvPr/>
        </p:nvSpPr>
        <p:spPr>
          <a:xfrm>
            <a:off x="381599" y="79401"/>
            <a:ext cx="4431021"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Policy and regulatory environment - Revenue opportunities</a:t>
            </a:r>
          </a:p>
        </p:txBody>
      </p:sp>
      <p:sp>
        <p:nvSpPr>
          <p:cNvPr id="41" name="Oval 11">
            <a:extLst>
              <a:ext uri="{FF2B5EF4-FFF2-40B4-BE49-F238E27FC236}">
                <a16:creationId xmlns:a16="http://schemas.microsoft.com/office/drawing/2014/main" id="{DB4CBBF3-8A8C-9695-E76B-FE42477D60C8}"/>
              </a:ext>
            </a:extLst>
          </p:cNvPr>
          <p:cNvSpPr>
            <a:spLocks/>
          </p:cNvSpPr>
          <p:nvPr/>
        </p:nvSpPr>
        <p:spPr>
          <a:xfrm>
            <a:off x="3335774" y="3526553"/>
            <a:ext cx="1367592" cy="276578"/>
          </a:xfrm>
          <a:prstGeom prst="roundRect">
            <a:avLst>
              <a:gd name="adj" fmla="val 24184"/>
            </a:avLst>
          </a:prstGeom>
          <a:solidFill>
            <a:srgbClr val="ADADAD"/>
          </a:solidFill>
          <a:ln w="28575">
            <a:solidFill>
              <a:srgbClr val="ADADAD"/>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43" name="Oval 11">
            <a:extLst>
              <a:ext uri="{FF2B5EF4-FFF2-40B4-BE49-F238E27FC236}">
                <a16:creationId xmlns:a16="http://schemas.microsoft.com/office/drawing/2014/main" id="{ED34C64A-5947-5BBA-2059-71825055570F}"/>
              </a:ext>
            </a:extLst>
          </p:cNvPr>
          <p:cNvSpPr>
            <a:spLocks/>
          </p:cNvSpPr>
          <p:nvPr/>
        </p:nvSpPr>
        <p:spPr>
          <a:xfrm>
            <a:off x="5067431" y="3526553"/>
            <a:ext cx="1339531" cy="339704"/>
          </a:xfrm>
          <a:prstGeom prst="roundRect">
            <a:avLst>
              <a:gd name="adj" fmla="val 24184"/>
            </a:avLst>
          </a:prstGeom>
          <a:solidFill>
            <a:srgbClr val="747474"/>
          </a:solidFill>
          <a:ln w="28575">
            <a:solidFill>
              <a:srgbClr val="747474"/>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45" name="Oval 11">
            <a:extLst>
              <a:ext uri="{FF2B5EF4-FFF2-40B4-BE49-F238E27FC236}">
                <a16:creationId xmlns:a16="http://schemas.microsoft.com/office/drawing/2014/main" id="{1550170A-4317-BE4B-ED0B-A92B84B7176C}"/>
              </a:ext>
            </a:extLst>
          </p:cNvPr>
          <p:cNvSpPr>
            <a:spLocks/>
          </p:cNvSpPr>
          <p:nvPr/>
        </p:nvSpPr>
        <p:spPr>
          <a:xfrm>
            <a:off x="6738883" y="3497891"/>
            <a:ext cx="1366859" cy="353485"/>
          </a:xfrm>
          <a:prstGeom prst="roundRect">
            <a:avLst>
              <a:gd name="adj" fmla="val 31251"/>
            </a:avLst>
          </a:prstGeom>
          <a:solidFill>
            <a:srgbClr val="FFC760"/>
          </a:solidFill>
          <a:ln w="28575">
            <a:solidFill>
              <a:srgbClr val="FFC760"/>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4" name="Oval 3">
            <a:extLst>
              <a:ext uri="{FF2B5EF4-FFF2-40B4-BE49-F238E27FC236}">
                <a16:creationId xmlns:a16="http://schemas.microsoft.com/office/drawing/2014/main" id="{55854B2A-2787-5565-09ED-6FBE542FF11F}"/>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6" name="Oval 5">
            <a:extLst>
              <a:ext uri="{FF2B5EF4-FFF2-40B4-BE49-F238E27FC236}">
                <a16:creationId xmlns:a16="http://schemas.microsoft.com/office/drawing/2014/main" id="{27B2D183-CBE6-D260-2E63-57E270EC59BE}"/>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graphicFrame>
        <p:nvGraphicFramePr>
          <p:cNvPr id="2" name="Table 1">
            <a:extLst>
              <a:ext uri="{FF2B5EF4-FFF2-40B4-BE49-F238E27FC236}">
                <a16:creationId xmlns:a16="http://schemas.microsoft.com/office/drawing/2014/main" id="{D5033D26-B6D0-1969-975E-B6EE35AA1584}"/>
              </a:ext>
            </a:extLst>
          </p:cNvPr>
          <p:cNvGraphicFramePr>
            <a:graphicFrameLocks noGrp="1"/>
          </p:cNvGraphicFramePr>
          <p:nvPr>
            <p:extLst>
              <p:ext uri="{D42A27DB-BD31-4B8C-83A1-F6EECF244321}">
                <p14:modId xmlns:p14="http://schemas.microsoft.com/office/powerpoint/2010/main" val="64933541"/>
              </p:ext>
            </p:extLst>
          </p:nvPr>
        </p:nvGraphicFramePr>
        <p:xfrm>
          <a:off x="384048" y="1645921"/>
          <a:ext cx="1025584" cy="4739642"/>
        </p:xfrm>
        <a:graphic>
          <a:graphicData uri="http://schemas.openxmlformats.org/drawingml/2006/table">
            <a:tbl>
              <a:tblPr firstRow="1" bandRow="1">
                <a:effectLst/>
                <a:tableStyleId>{5C22544A-7EE6-4342-B048-85BDC9FD1C3A}</a:tableStyleId>
              </a:tblPr>
              <a:tblGrid>
                <a:gridCol w="1025584">
                  <a:extLst>
                    <a:ext uri="{9D8B030D-6E8A-4147-A177-3AD203B41FA5}">
                      <a16:colId xmlns:a16="http://schemas.microsoft.com/office/drawing/2014/main" val="3669171791"/>
                    </a:ext>
                  </a:extLst>
                </a:gridCol>
              </a:tblGrid>
              <a:tr h="263862">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0" marR="54000" marT="36000" marB="36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3877830"/>
                  </a:ext>
                </a:extLst>
              </a:tr>
              <a:tr h="411612">
                <a:tc>
                  <a:txBody>
                    <a:bodyPr/>
                    <a:lstStyle/>
                    <a:p>
                      <a:pPr marL="0" algn="ctr" defTabSz="685783" rtl="0" eaLnBrk="1" fontAlgn="b" latinLnBrk="0" hangingPunct="1">
                        <a:lnSpc>
                          <a:spcPct val="95000"/>
                        </a:lnSpc>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53252476"/>
                  </a:ext>
                </a:extLst>
              </a:tr>
              <a:tr h="364528">
                <a:tc>
                  <a:txBody>
                    <a:bodyPr/>
                    <a:lstStyle/>
                    <a:p>
                      <a:pPr marL="0" algn="ctr" defTabSz="685783" rtl="0" eaLnBrk="1" fontAlgn="b" latinLnBrk="0" hangingPunct="1">
                        <a:lnSpc>
                          <a:spcPct val="95000"/>
                        </a:lnSpc>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13830586"/>
                  </a:ext>
                </a:extLst>
              </a:tr>
              <a:tr h="378027">
                <a:tc>
                  <a:txBody>
                    <a:bodyPr/>
                    <a:lstStyle/>
                    <a:p>
                      <a:pPr marL="0" algn="ctr" defTabSz="685783" rtl="0" eaLnBrk="1" fontAlgn="b" latinLnBrk="0" hangingPunct="1">
                        <a:lnSpc>
                          <a:spcPct val="95000"/>
                        </a:lnSpc>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44416714"/>
                  </a:ext>
                </a:extLst>
              </a:tr>
              <a:tr h="378028">
                <a:tc>
                  <a:txBody>
                    <a:bodyPr/>
                    <a:lstStyle/>
                    <a:p>
                      <a:pPr marL="0" marR="0" lvl="0" indent="0" algn="ctr" defTabSz="685783" rtl="0" eaLnBrk="1" fontAlgn="b" latinLnBrk="0" hangingPunct="1">
                        <a:lnSpc>
                          <a:spcPct val="95000"/>
                        </a:lnSpc>
                        <a:spcBef>
                          <a:spcPts val="0"/>
                        </a:spcBef>
                        <a:spcAft>
                          <a:spcPts val="0"/>
                        </a:spcAft>
                        <a:buClrTx/>
                        <a:buSzTx/>
                        <a:buFontTx/>
                        <a:buNone/>
                        <a:tabLst/>
                        <a:defRPr/>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1038906"/>
                  </a:ext>
                </a:extLst>
              </a:tr>
              <a:tr h="378027">
                <a:tc>
                  <a:txBody>
                    <a:bodyPr/>
                    <a:lstStyle/>
                    <a:p>
                      <a:pPr marL="0" marR="0" lvl="0" indent="0" algn="ctr" defTabSz="685783" rtl="0" eaLnBrk="1" fontAlgn="b" latinLnBrk="0" hangingPunct="1">
                        <a:lnSpc>
                          <a:spcPct val="95000"/>
                        </a:lnSpc>
                        <a:spcBef>
                          <a:spcPts val="0"/>
                        </a:spcBef>
                        <a:spcAft>
                          <a:spcPts val="0"/>
                        </a:spcAft>
                        <a:buClrTx/>
                        <a:buSzTx/>
                        <a:buFontTx/>
                        <a:buNone/>
                        <a:tabLst/>
                        <a:defRPr/>
                      </a:pPr>
                      <a:endParaRPr lang="en-GB" sz="1100" b="0"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99407643"/>
                  </a:ext>
                </a:extLst>
              </a:tr>
              <a:tr h="378027">
                <a:tc>
                  <a:txBody>
                    <a:bodyPr/>
                    <a:lstStyle/>
                    <a:p>
                      <a:pPr marL="0" marR="0" lvl="0" indent="0" algn="ctr" defTabSz="685783" rtl="0" eaLnBrk="1" fontAlgn="b" latinLnBrk="0" hangingPunct="1">
                        <a:lnSpc>
                          <a:spcPct val="95000"/>
                        </a:lnSpc>
                        <a:spcBef>
                          <a:spcPts val="0"/>
                        </a:spcBef>
                        <a:spcAft>
                          <a:spcPts val="0"/>
                        </a:spcAft>
                        <a:buClrTx/>
                        <a:buSzTx/>
                        <a:buFontTx/>
                        <a:buNone/>
                        <a:tabLst/>
                        <a:defRPr/>
                      </a:pPr>
                      <a:endParaRPr lang="en-GB" sz="1100" b="0" i="0" u="none" strike="noStrike" kern="1200" baseline="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125731926"/>
                  </a:ext>
                </a:extLst>
              </a:tr>
              <a:tr h="378027">
                <a:tc>
                  <a:txBody>
                    <a:bodyPr/>
                    <a:lstStyle/>
                    <a:p>
                      <a:pPr marL="0" marR="0" lvl="0" indent="0" algn="ctr" defTabSz="685783" rtl="0" eaLnBrk="1" fontAlgn="b" latinLnBrk="0" hangingPunct="1">
                        <a:lnSpc>
                          <a:spcPct val="95000"/>
                        </a:lnSpc>
                        <a:spcBef>
                          <a:spcPts val="0"/>
                        </a:spcBef>
                        <a:spcAft>
                          <a:spcPts val="0"/>
                        </a:spcAft>
                        <a:buClrTx/>
                        <a:buSzTx/>
                        <a:buFontTx/>
                        <a:buNone/>
                        <a:tabLst/>
                        <a:defRPr/>
                      </a:pPr>
                      <a:endParaRPr lang="en-GB" sz="1100" b="0" i="0" u="none" strike="noStrike" kern="1200" baseline="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86701260"/>
                  </a:ext>
                </a:extLst>
              </a:tr>
              <a:tr h="378028">
                <a:tc>
                  <a:txBody>
                    <a:bodyPr/>
                    <a:lstStyle/>
                    <a:p>
                      <a:pPr marL="0" algn="ctr" defTabSz="685783" rtl="0" eaLnBrk="1" fontAlgn="b" latinLnBrk="0" hangingPunct="1">
                        <a:lnSpc>
                          <a:spcPct val="95000"/>
                        </a:lnSpc>
                      </a:pPr>
                      <a:endParaRPr lang="en-GB" sz="1100" b="0"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61933429"/>
                  </a:ext>
                </a:extLst>
              </a:tr>
              <a:tr h="432032">
                <a:tc>
                  <a:txBody>
                    <a:bodyPr/>
                    <a:lstStyle/>
                    <a:p>
                      <a:pPr marL="0" algn="ctr" defTabSz="685783" rtl="0" eaLnBrk="1" fontAlgn="b" latinLnBrk="0" hangingPunct="1">
                        <a:lnSpc>
                          <a:spcPct val="95000"/>
                        </a:lnSpc>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3296987"/>
                  </a:ext>
                </a:extLst>
              </a:tr>
              <a:tr h="386699">
                <a:tc>
                  <a:txBody>
                    <a:bodyPr/>
                    <a:lstStyle/>
                    <a:p>
                      <a:pPr marL="0" marR="0" lvl="0" indent="0" algn="ctr" defTabSz="685783" rtl="0" eaLnBrk="1" fontAlgn="b" latinLnBrk="0" hangingPunct="1">
                        <a:lnSpc>
                          <a:spcPct val="95000"/>
                        </a:lnSpc>
                        <a:spcBef>
                          <a:spcPts val="0"/>
                        </a:spcBef>
                        <a:spcAft>
                          <a:spcPts val="0"/>
                        </a:spcAft>
                        <a:buClrTx/>
                        <a:buSzTx/>
                        <a:buFontTx/>
                        <a:buNone/>
                        <a:tabLst/>
                        <a:defRPr/>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95896076"/>
                  </a:ext>
                </a:extLst>
              </a:tr>
              <a:tr h="612745">
                <a:tc>
                  <a:txBody>
                    <a:bodyPr/>
                    <a:lstStyle/>
                    <a:p>
                      <a:pPr marL="0" algn="ctr" defTabSz="685783" rtl="0" eaLnBrk="1" fontAlgn="b" latinLnBrk="0" hangingPunct="1">
                        <a:lnSpc>
                          <a:spcPct val="95000"/>
                        </a:lnSpc>
                      </a:pPr>
                      <a:endParaRPr lang="en-GB" sz="1100" b="0"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01442891"/>
                  </a:ext>
                </a:extLst>
              </a:tr>
            </a:tbl>
          </a:graphicData>
        </a:graphic>
      </p:graphicFrame>
      <p:sp>
        <p:nvSpPr>
          <p:cNvPr id="11" name="Oval 11">
            <a:extLst>
              <a:ext uri="{FF2B5EF4-FFF2-40B4-BE49-F238E27FC236}">
                <a16:creationId xmlns:a16="http://schemas.microsoft.com/office/drawing/2014/main" id="{59FD5884-37BE-0360-3B53-7440BD19507C}"/>
              </a:ext>
            </a:extLst>
          </p:cNvPr>
          <p:cNvSpPr>
            <a:spLocks/>
          </p:cNvSpPr>
          <p:nvPr/>
        </p:nvSpPr>
        <p:spPr>
          <a:xfrm>
            <a:off x="8378941" y="3528333"/>
            <a:ext cx="2961360" cy="277200"/>
          </a:xfrm>
          <a:prstGeom prst="roundRect">
            <a:avLst>
              <a:gd name="adj" fmla="val 31251"/>
            </a:avLst>
          </a:prstGeom>
          <a:solidFill>
            <a:schemeClr val="bg1"/>
          </a:solidFill>
          <a:ln w="28575">
            <a:solidFill>
              <a:schemeClr val="accent1"/>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13" name="Oval 11">
            <a:extLst>
              <a:ext uri="{FF2B5EF4-FFF2-40B4-BE49-F238E27FC236}">
                <a16:creationId xmlns:a16="http://schemas.microsoft.com/office/drawing/2014/main" id="{29FAC945-A1D6-8484-986B-C88B5D822A23}"/>
              </a:ext>
            </a:extLst>
          </p:cNvPr>
          <p:cNvSpPr>
            <a:spLocks/>
          </p:cNvSpPr>
          <p:nvPr/>
        </p:nvSpPr>
        <p:spPr>
          <a:xfrm>
            <a:off x="8378941" y="3157639"/>
            <a:ext cx="2961360" cy="277200"/>
          </a:xfrm>
          <a:prstGeom prst="roundRect">
            <a:avLst>
              <a:gd name="adj" fmla="val 31251"/>
            </a:avLst>
          </a:prstGeom>
          <a:solidFill>
            <a:schemeClr val="bg1"/>
          </a:solidFill>
          <a:ln w="28575">
            <a:solidFill>
              <a:schemeClr val="accent1"/>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grpSp>
        <p:nvGrpSpPr>
          <p:cNvPr id="62" name="Group 61">
            <a:extLst>
              <a:ext uri="{FF2B5EF4-FFF2-40B4-BE49-F238E27FC236}">
                <a16:creationId xmlns:a16="http://schemas.microsoft.com/office/drawing/2014/main" id="{232479E3-9AF0-32BC-BD7F-D3F77960B270}"/>
              </a:ext>
            </a:extLst>
          </p:cNvPr>
          <p:cNvGrpSpPr/>
          <p:nvPr/>
        </p:nvGrpSpPr>
        <p:grpSpPr>
          <a:xfrm>
            <a:off x="10495229" y="1711875"/>
            <a:ext cx="1315501" cy="1368110"/>
            <a:chOff x="10263015" y="3855826"/>
            <a:chExt cx="1315501" cy="943644"/>
          </a:xfrm>
        </p:grpSpPr>
        <p:sp>
          <p:nvSpPr>
            <p:cNvPr id="97" name="Rectangle 96">
              <a:extLst>
                <a:ext uri="{FF2B5EF4-FFF2-40B4-BE49-F238E27FC236}">
                  <a16:creationId xmlns:a16="http://schemas.microsoft.com/office/drawing/2014/main" id="{EB30BC92-5531-8B13-B3B1-D32E197E9EDC}"/>
                </a:ext>
              </a:extLst>
            </p:cNvPr>
            <p:cNvSpPr/>
            <p:nvPr/>
          </p:nvSpPr>
          <p:spPr>
            <a:xfrm>
              <a:off x="10263015" y="3855826"/>
              <a:ext cx="1315501" cy="943644"/>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LEGEND</a:t>
              </a:r>
            </a:p>
          </p:txBody>
        </p:sp>
        <p:sp>
          <p:nvSpPr>
            <p:cNvPr id="98" name="Oval 11">
              <a:extLst>
                <a:ext uri="{FF2B5EF4-FFF2-40B4-BE49-F238E27FC236}">
                  <a16:creationId xmlns:a16="http://schemas.microsoft.com/office/drawing/2014/main" id="{64576228-7183-FDF7-418F-951303B6677D}"/>
                </a:ext>
              </a:extLst>
            </p:cNvPr>
            <p:cNvSpPr>
              <a:spLocks/>
            </p:cNvSpPr>
            <p:nvPr/>
          </p:nvSpPr>
          <p:spPr>
            <a:xfrm>
              <a:off x="10340775" y="4091893"/>
              <a:ext cx="1127717" cy="291521"/>
            </a:xfrm>
            <a:prstGeom prst="roundRect">
              <a:avLst>
                <a:gd name="adj" fmla="val 50000"/>
              </a:avLst>
            </a:prstGeom>
            <a:solidFill>
              <a:schemeClr val="tx1"/>
            </a:solidFill>
            <a:ln w="28575">
              <a:solidFill>
                <a:schemeClr val="tx1"/>
              </a:solid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GB" sz="1000" b="1" i="0" u="none" strike="noStrike" kern="1200" cap="none" spc="0" normalizeH="0" baseline="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rPr>
                <a:t>Modelled</a:t>
              </a:r>
              <a:endParaRPr kumimoji="0" lang="en-GB" sz="1000" b="1" i="0" u="none" strike="noStrike" kern="1200" cap="none" spc="0" normalizeH="0" baseline="30000" noProof="0">
                <a:ln>
                  <a:noFill/>
                </a:ln>
                <a:solidFill>
                  <a:prstClr val="white"/>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99" name="Oval 11">
              <a:extLst>
                <a:ext uri="{FF2B5EF4-FFF2-40B4-BE49-F238E27FC236}">
                  <a16:creationId xmlns:a16="http://schemas.microsoft.com/office/drawing/2014/main" id="{BBB39BD1-41A9-DFAB-5540-E1385A212233}"/>
                </a:ext>
              </a:extLst>
            </p:cNvPr>
            <p:cNvSpPr>
              <a:spLocks/>
            </p:cNvSpPr>
            <p:nvPr/>
          </p:nvSpPr>
          <p:spPr>
            <a:xfrm>
              <a:off x="10332319" y="4466873"/>
              <a:ext cx="1136173" cy="261375"/>
            </a:xfrm>
            <a:prstGeom prst="roundRect">
              <a:avLst>
                <a:gd name="adj" fmla="val 50000"/>
              </a:avLst>
            </a:prstGeom>
            <a:solidFill>
              <a:schemeClr val="bg1"/>
            </a:solidFill>
            <a:ln w="28575">
              <a:solidFill>
                <a:schemeClr val="tx1"/>
              </a:solidFill>
              <a:prstDash val="sysDash"/>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GB" sz="1000" b="1" i="0" u="none" strike="noStrike" kern="1200" cap="none" spc="0" normalizeH="0" baseline="0" noProof="0">
                  <a:ln>
                    <a:noFill/>
                  </a:ln>
                  <a:solidFill>
                    <a:prstClr val="white">
                      <a:lumMod val="75000"/>
                    </a:prstClr>
                  </a:solidFill>
                  <a:effectLst/>
                  <a:uLnTx/>
                  <a:uFillTx/>
                  <a:latin typeface="Lato"/>
                  <a:ea typeface="Lato" panose="020F0502020204030203" pitchFamily="34" charset="0"/>
                  <a:cs typeface="Lato" panose="020F0502020204030203" pitchFamily="34" charset="0"/>
                  <a:sym typeface="Lato" panose="020F0502020204030203" pitchFamily="34" charset="0"/>
                </a:rPr>
                <a:t>Not modelled</a:t>
              </a:r>
            </a:p>
          </p:txBody>
        </p:sp>
      </p:grpSp>
      <p:cxnSp>
        <p:nvCxnSpPr>
          <p:cNvPr id="75" name="Straight Connector 74">
            <a:extLst>
              <a:ext uri="{FF2B5EF4-FFF2-40B4-BE49-F238E27FC236}">
                <a16:creationId xmlns:a16="http://schemas.microsoft.com/office/drawing/2014/main" id="{64E34214-A94F-C991-8E5B-286C107C7883}"/>
              </a:ext>
            </a:extLst>
          </p:cNvPr>
          <p:cNvCxnSpPr>
            <a:cxnSpLocks/>
            <a:stCxn id="101" idx="2"/>
          </p:cNvCxnSpPr>
          <p:nvPr/>
        </p:nvCxnSpPr>
        <p:spPr>
          <a:xfrm>
            <a:off x="2343368" y="3462189"/>
            <a:ext cx="954838" cy="1238945"/>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3E898FC-FF6E-F3D3-4C30-D673738C0642}"/>
              </a:ext>
            </a:extLst>
          </p:cNvPr>
          <p:cNvCxnSpPr>
            <a:cxnSpLocks/>
            <a:stCxn id="101" idx="2"/>
          </p:cNvCxnSpPr>
          <p:nvPr/>
        </p:nvCxnSpPr>
        <p:spPr>
          <a:xfrm flipH="1">
            <a:off x="2331334" y="3462189"/>
            <a:ext cx="12034" cy="1041078"/>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56" name="Oval 11">
            <a:extLst>
              <a:ext uri="{FF2B5EF4-FFF2-40B4-BE49-F238E27FC236}">
                <a16:creationId xmlns:a16="http://schemas.microsoft.com/office/drawing/2014/main" id="{2055DEFB-E8BF-EF62-AA0A-5474A3AD09B1}"/>
              </a:ext>
            </a:extLst>
          </p:cNvPr>
          <p:cNvSpPr>
            <a:spLocks/>
          </p:cNvSpPr>
          <p:nvPr/>
        </p:nvSpPr>
        <p:spPr>
          <a:xfrm>
            <a:off x="9131700" y="2406356"/>
            <a:ext cx="1141510" cy="290031"/>
          </a:xfrm>
          <a:prstGeom prst="roundRect">
            <a:avLst>
              <a:gd name="adj" fmla="val 26753"/>
            </a:avLst>
          </a:prstGeom>
          <a:solidFill>
            <a:srgbClr val="F59E00"/>
          </a:solidFill>
          <a:ln w="28575">
            <a:no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endParaRPr kumimoji="0" lang="en-GB" sz="10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endParaRPr>
          </a:p>
        </p:txBody>
      </p:sp>
      <p:sp>
        <p:nvSpPr>
          <p:cNvPr id="42" name="Text Placeholder 41">
            <a:extLst>
              <a:ext uri="{FF2B5EF4-FFF2-40B4-BE49-F238E27FC236}">
                <a16:creationId xmlns:a16="http://schemas.microsoft.com/office/drawing/2014/main" id="{D27A0630-24E7-6AF3-D8DE-A468E7751FF1}"/>
              </a:ext>
            </a:extLst>
          </p:cNvPr>
          <p:cNvSpPr>
            <a:spLocks noGrp="1"/>
          </p:cNvSpPr>
          <p:nvPr>
            <p:ph type="body" sz="quarter" idx="32"/>
          </p:nvPr>
        </p:nvSpPr>
        <p:spPr>
          <a:xfrm>
            <a:off x="381600" y="6474841"/>
            <a:ext cx="11428800" cy="110800"/>
          </a:xfrm>
        </p:spPr>
        <p:txBody>
          <a:body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23297106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6DDDDA3-89FA-B663-11B9-53E8ADF628DB}"/>
              </a:ext>
            </a:extLst>
          </p:cNvPr>
          <p:cNvGraphicFramePr>
            <a:graphicFrameLocks noChangeAspect="1"/>
          </p:cNvGraphicFramePr>
          <p:nvPr>
            <p:custDataLst>
              <p:tags r:id="rId1"/>
            </p:custDataLst>
            <p:extLst>
              <p:ext uri="{D42A27DB-BD31-4B8C-83A1-F6EECF244321}">
                <p14:modId xmlns:p14="http://schemas.microsoft.com/office/powerpoint/2010/main" val="141169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9" name="think-cell data - do not delete" hidden="1">
                        <a:extLst>
                          <a:ext uri="{FF2B5EF4-FFF2-40B4-BE49-F238E27FC236}">
                            <a16:creationId xmlns:a16="http://schemas.microsoft.com/office/drawing/2014/main" id="{C6DDDDA3-89FA-B663-11B9-53E8ADF628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Text Placeholder 42">
            <a:extLst>
              <a:ext uri="{FF2B5EF4-FFF2-40B4-BE49-F238E27FC236}">
                <a16:creationId xmlns:a16="http://schemas.microsoft.com/office/drawing/2014/main" id="{7B68EB6A-4379-AE9E-4953-45D4C6DEE135}"/>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BF5D0358-7836-EB5F-635D-CFFD52FD26DE}"/>
              </a:ext>
            </a:extLst>
          </p:cNvPr>
          <p:cNvSpPr>
            <a:spLocks noGrp="1"/>
          </p:cNvSpPr>
          <p:nvPr>
            <p:ph type="title"/>
          </p:nvPr>
        </p:nvSpPr>
        <p:spPr/>
        <p:txBody>
          <a:bodyPr vert="horz"/>
          <a:lstStyle/>
          <a:p>
            <a:r>
              <a:rPr lang="en-GB"/>
              <a:t>Battery competitiveness is impacted by market features such as product length and symmetry, but not by gate closure</a:t>
            </a:r>
            <a:endParaRPr lang="en-GB">
              <a:solidFill>
                <a:srgbClr val="808080"/>
              </a:solidFill>
            </a:endParaRPr>
          </a:p>
        </p:txBody>
      </p:sp>
      <p:sp>
        <p:nvSpPr>
          <p:cNvPr id="46" name="Text Placeholder 45">
            <a:extLst>
              <a:ext uri="{FF2B5EF4-FFF2-40B4-BE49-F238E27FC236}">
                <a16:creationId xmlns:a16="http://schemas.microsoft.com/office/drawing/2014/main" id="{95B0348A-29A8-9A63-8F13-E67FEC785074}"/>
              </a:ext>
            </a:extLst>
          </p:cNvPr>
          <p:cNvSpPr>
            <a:spLocks noGrp="1"/>
          </p:cNvSpPr>
          <p:nvPr>
            <p:ph type="body" sz="quarter" idx="41"/>
          </p:nvPr>
        </p:nvSpPr>
        <p:spPr>
          <a:xfrm>
            <a:off x="381000" y="1694418"/>
            <a:ext cx="7470000" cy="190070"/>
          </a:xfrm>
        </p:spPr>
        <p:txBody>
          <a:bodyPr anchor="ctr"/>
          <a:lstStyle/>
          <a:p>
            <a:r>
              <a:rPr lang="en-GB"/>
              <a:t>Capacity and Energy Payments</a:t>
            </a:r>
          </a:p>
        </p:txBody>
      </p:sp>
      <p:sp>
        <p:nvSpPr>
          <p:cNvPr id="45" name="Text Placeholder 44">
            <a:extLst>
              <a:ext uri="{FF2B5EF4-FFF2-40B4-BE49-F238E27FC236}">
                <a16:creationId xmlns:a16="http://schemas.microsoft.com/office/drawing/2014/main" id="{81C31705-1153-E02B-41CB-4F087D29D0BB}"/>
              </a:ext>
            </a:extLst>
          </p:cNvPr>
          <p:cNvSpPr>
            <a:spLocks noGrp="1"/>
          </p:cNvSpPr>
          <p:nvPr>
            <p:ph type="body" sz="quarter" idx="32"/>
          </p:nvPr>
        </p:nvSpPr>
        <p:spPr>
          <a:xfrm>
            <a:off x="381600" y="6474841"/>
            <a:ext cx="11428800" cy="110800"/>
          </a:xfrm>
        </p:spPr>
        <p:txBody>
          <a:bodyPr/>
          <a:lstStyle/>
          <a:p>
            <a:endParaRPr lang="en-GB"/>
          </a:p>
        </p:txBody>
      </p:sp>
      <p:sp>
        <p:nvSpPr>
          <p:cNvPr id="49" name="Text Placeholder 48">
            <a:extLst>
              <a:ext uri="{FF2B5EF4-FFF2-40B4-BE49-F238E27FC236}">
                <a16:creationId xmlns:a16="http://schemas.microsoft.com/office/drawing/2014/main" id="{61EB4357-92ED-4B25-4728-701C0771150A}"/>
              </a:ext>
            </a:extLst>
          </p:cNvPr>
          <p:cNvSpPr>
            <a:spLocks noGrp="1"/>
          </p:cNvSpPr>
          <p:nvPr>
            <p:ph type="body" sz="quarter" idx="55"/>
          </p:nvPr>
        </p:nvSpPr>
        <p:spPr>
          <a:xfrm>
            <a:off x="337255" y="2602999"/>
            <a:ext cx="7470000" cy="190070"/>
          </a:xfrm>
        </p:spPr>
        <p:txBody>
          <a:bodyPr anchor="ctr"/>
          <a:lstStyle/>
          <a:p>
            <a:r>
              <a:rPr lang="en-GB"/>
              <a:t>Product Length</a:t>
            </a:r>
          </a:p>
        </p:txBody>
      </p:sp>
      <p:sp>
        <p:nvSpPr>
          <p:cNvPr id="50" name="Text Placeholder 49">
            <a:extLst>
              <a:ext uri="{FF2B5EF4-FFF2-40B4-BE49-F238E27FC236}">
                <a16:creationId xmlns:a16="http://schemas.microsoft.com/office/drawing/2014/main" id="{2CA67663-99C1-78CF-8AD4-737AB1DD0D6C}"/>
              </a:ext>
            </a:extLst>
          </p:cNvPr>
          <p:cNvSpPr>
            <a:spLocks noGrp="1"/>
          </p:cNvSpPr>
          <p:nvPr>
            <p:ph type="body" sz="quarter" idx="56"/>
          </p:nvPr>
        </p:nvSpPr>
        <p:spPr>
          <a:xfrm>
            <a:off x="338124" y="3479375"/>
            <a:ext cx="7469131" cy="190800"/>
          </a:xfrm>
        </p:spPr>
        <p:txBody>
          <a:bodyPr anchor="ctr"/>
          <a:lstStyle/>
          <a:p>
            <a:r>
              <a:rPr lang="en-GB"/>
              <a:t>Gate Closure</a:t>
            </a:r>
          </a:p>
        </p:txBody>
      </p:sp>
      <p:sp>
        <p:nvSpPr>
          <p:cNvPr id="51" name="Text Placeholder 50">
            <a:extLst>
              <a:ext uri="{FF2B5EF4-FFF2-40B4-BE49-F238E27FC236}">
                <a16:creationId xmlns:a16="http://schemas.microsoft.com/office/drawing/2014/main" id="{294A812F-5371-2034-CD64-177B7B443784}"/>
              </a:ext>
            </a:extLst>
          </p:cNvPr>
          <p:cNvSpPr>
            <a:spLocks noGrp="1"/>
          </p:cNvSpPr>
          <p:nvPr>
            <p:ph type="body" sz="quarter" idx="57"/>
          </p:nvPr>
        </p:nvSpPr>
        <p:spPr>
          <a:xfrm>
            <a:off x="371419" y="4399101"/>
            <a:ext cx="7470000" cy="190070"/>
          </a:xfrm>
        </p:spPr>
        <p:txBody>
          <a:bodyPr anchor="ctr"/>
          <a:lstStyle/>
          <a:p>
            <a:r>
              <a:rPr lang="en-GB"/>
              <a:t>Product Symmetry</a:t>
            </a:r>
          </a:p>
        </p:txBody>
      </p:sp>
      <p:sp>
        <p:nvSpPr>
          <p:cNvPr id="68" name="Text Placeholder 5">
            <a:extLst>
              <a:ext uri="{FF2B5EF4-FFF2-40B4-BE49-F238E27FC236}">
                <a16:creationId xmlns:a16="http://schemas.microsoft.com/office/drawing/2014/main" id="{6237DD43-FA05-9B24-CA90-3C206166BDBE}"/>
              </a:ext>
            </a:extLst>
          </p:cNvPr>
          <p:cNvSpPr txBox="1">
            <a:spLocks/>
          </p:cNvSpPr>
          <p:nvPr/>
        </p:nvSpPr>
        <p:spPr>
          <a:xfrm>
            <a:off x="381599" y="79401"/>
            <a:ext cx="4431021"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Policy and regulatory environment - Revenue opportunities</a:t>
            </a:r>
          </a:p>
        </p:txBody>
      </p:sp>
      <p:sp>
        <p:nvSpPr>
          <p:cNvPr id="69" name="Oval 68">
            <a:extLst>
              <a:ext uri="{FF2B5EF4-FFF2-40B4-BE49-F238E27FC236}">
                <a16:creationId xmlns:a16="http://schemas.microsoft.com/office/drawing/2014/main" id="{52F175B0-14CD-430D-9F93-9C51384B3FE7}"/>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70" name="Oval 69">
            <a:extLst>
              <a:ext uri="{FF2B5EF4-FFF2-40B4-BE49-F238E27FC236}">
                <a16:creationId xmlns:a16="http://schemas.microsoft.com/office/drawing/2014/main" id="{7352361D-2425-9B2C-36F0-91969E734B83}"/>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a:t>
            </a:r>
          </a:p>
        </p:txBody>
      </p:sp>
      <p:sp>
        <p:nvSpPr>
          <p:cNvPr id="16" name="Text Placeholder 49">
            <a:extLst>
              <a:ext uri="{FF2B5EF4-FFF2-40B4-BE49-F238E27FC236}">
                <a16:creationId xmlns:a16="http://schemas.microsoft.com/office/drawing/2014/main" id="{C33E68E7-4213-7120-E383-7A99E87F90F6}"/>
              </a:ext>
            </a:extLst>
          </p:cNvPr>
          <p:cNvSpPr txBox="1">
            <a:spLocks/>
          </p:cNvSpPr>
          <p:nvPr/>
        </p:nvSpPr>
        <p:spPr>
          <a:xfrm>
            <a:off x="381000" y="1296144"/>
            <a:ext cx="7469132" cy="194075"/>
          </a:xfrm>
          <a:prstGeom prst="rect">
            <a:avLst/>
          </a:prstGeom>
          <a:solidFill>
            <a:schemeClr val="accent2"/>
          </a:solidFill>
        </p:spPr>
        <p:txBody>
          <a:bodyPr vert="horz" lIns="180000" tIns="0" rIns="0" bIns="0" rtlCol="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Market feature</a:t>
            </a:r>
          </a:p>
        </p:txBody>
      </p:sp>
      <p:sp>
        <p:nvSpPr>
          <p:cNvPr id="5" name="Text Placeholder 45">
            <a:extLst>
              <a:ext uri="{FF2B5EF4-FFF2-40B4-BE49-F238E27FC236}">
                <a16:creationId xmlns:a16="http://schemas.microsoft.com/office/drawing/2014/main" id="{609CE68D-FCB7-DA9C-651E-49EBE3EC04A0}"/>
              </a:ext>
            </a:extLst>
          </p:cNvPr>
          <p:cNvSpPr txBox="1">
            <a:spLocks/>
          </p:cNvSpPr>
          <p:nvPr/>
        </p:nvSpPr>
        <p:spPr>
          <a:xfrm>
            <a:off x="371419" y="5327156"/>
            <a:ext cx="7470000" cy="190070"/>
          </a:xfrm>
          <a:prstGeom prst="rect">
            <a:avLst/>
          </a:prstGeom>
          <a:solidFill>
            <a:schemeClr val="bg2"/>
          </a:solidFill>
        </p:spPr>
        <p:txBody>
          <a:bodyPr vert="horz" lIns="180000" tIns="0" rIns="0" bIns="0" rtlCol="0" anchor="ctr">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Minimum response time</a:t>
            </a:r>
          </a:p>
        </p:txBody>
      </p:sp>
      <p:sp>
        <p:nvSpPr>
          <p:cNvPr id="11" name="Text Placeholder 49">
            <a:extLst>
              <a:ext uri="{FF2B5EF4-FFF2-40B4-BE49-F238E27FC236}">
                <a16:creationId xmlns:a16="http://schemas.microsoft.com/office/drawing/2014/main" id="{3962A7DA-52D5-946C-F0EC-F739A325004A}"/>
              </a:ext>
            </a:extLst>
          </p:cNvPr>
          <p:cNvSpPr txBox="1">
            <a:spLocks/>
          </p:cNvSpPr>
          <p:nvPr/>
        </p:nvSpPr>
        <p:spPr>
          <a:xfrm>
            <a:off x="7934270" y="1292140"/>
            <a:ext cx="3879850" cy="194075"/>
          </a:xfrm>
          <a:prstGeom prst="rect">
            <a:avLst/>
          </a:prstGeom>
          <a:solidFill>
            <a:schemeClr val="accent2"/>
          </a:solidFill>
        </p:spPr>
        <p:txBody>
          <a:bodyPr vert="horz" lIns="0" tIns="0" rIns="0" bIns="0" rtlCol="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Competitive advantage for batteries</a:t>
            </a:r>
          </a:p>
        </p:txBody>
      </p:sp>
      <p:sp>
        <p:nvSpPr>
          <p:cNvPr id="26" name="TextBox 25">
            <a:extLst>
              <a:ext uri="{FF2B5EF4-FFF2-40B4-BE49-F238E27FC236}">
                <a16:creationId xmlns:a16="http://schemas.microsoft.com/office/drawing/2014/main" id="{75F90383-F9C0-C68D-8583-047E8080F07A}"/>
              </a:ext>
            </a:extLst>
          </p:cNvPr>
          <p:cNvSpPr txBox="1"/>
          <p:nvPr/>
        </p:nvSpPr>
        <p:spPr bwMode="gray">
          <a:xfrm>
            <a:off x="10942568" y="3067537"/>
            <a:ext cx="1097758" cy="165830"/>
          </a:xfrm>
          <a:prstGeom prst="rect">
            <a:avLst/>
          </a:prstGeom>
          <a:noFill/>
        </p:spPr>
        <p:txBody>
          <a:bodyPr wrap="square" lIns="45720" tIns="45720" rIns="45720" bIns="4572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600">
                <a:solidFill>
                  <a:srgbClr val="808080"/>
                </a:solidFill>
                <a:highlight>
                  <a:srgbClr val="808080"/>
                </a:highlight>
              </a:rPr>
              <a:t>XXXXX</a:t>
            </a:r>
            <a:endParaRPr kumimoji="0" lang="en-GB" sz="1200" b="1" i="0" u="none" strike="noStrike" kern="1200" cap="none" spc="0" normalizeH="0" baseline="0" noProof="0">
              <a:ln>
                <a:noFill/>
              </a:ln>
              <a:solidFill>
                <a:srgbClr val="808080"/>
              </a:solidFill>
              <a:effectLst/>
              <a:uLnTx/>
              <a:uFillTx/>
              <a:latin typeface="Lato"/>
              <a:ea typeface="+mn-ea"/>
              <a:cs typeface="+mn-cs"/>
            </a:endParaRPr>
          </a:p>
        </p:txBody>
      </p:sp>
      <p:sp>
        <p:nvSpPr>
          <p:cNvPr id="27" name="TextBox 26">
            <a:extLst>
              <a:ext uri="{FF2B5EF4-FFF2-40B4-BE49-F238E27FC236}">
                <a16:creationId xmlns:a16="http://schemas.microsoft.com/office/drawing/2014/main" id="{EB4268A6-E263-D060-F067-1276497B313D}"/>
              </a:ext>
            </a:extLst>
          </p:cNvPr>
          <p:cNvSpPr txBox="1"/>
          <p:nvPr/>
        </p:nvSpPr>
        <p:spPr bwMode="gray">
          <a:xfrm>
            <a:off x="7600839" y="3066550"/>
            <a:ext cx="1183132" cy="167805"/>
          </a:xfrm>
          <a:prstGeom prst="rect">
            <a:avLst/>
          </a:prstGeom>
          <a:noFill/>
        </p:spPr>
        <p:txBody>
          <a:bodyPr wrap="square" lIns="45720" tIns="45720" rIns="45720" bIns="4572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GB" sz="1600">
                <a:solidFill>
                  <a:srgbClr val="808080"/>
                </a:solidFill>
                <a:highlight>
                  <a:srgbClr val="808080"/>
                </a:highlight>
              </a:rPr>
              <a:t>XXXXX</a:t>
            </a:r>
            <a:endParaRPr kumimoji="0" lang="en-GB" sz="1200" b="1" i="0" u="none" strike="noStrike" kern="1200" cap="none" spc="0" normalizeH="0" baseline="0" noProof="0">
              <a:ln>
                <a:noFill/>
              </a:ln>
              <a:solidFill>
                <a:srgbClr val="808080"/>
              </a:solidFill>
              <a:effectLst/>
              <a:uLnTx/>
              <a:uFillTx/>
              <a:latin typeface="Lato"/>
              <a:ea typeface="+mn-ea"/>
              <a:cs typeface="+mn-cs"/>
            </a:endParaRPr>
          </a:p>
        </p:txBody>
      </p:sp>
      <p:sp>
        <p:nvSpPr>
          <p:cNvPr id="53" name="TextBox 52">
            <a:extLst>
              <a:ext uri="{FF2B5EF4-FFF2-40B4-BE49-F238E27FC236}">
                <a16:creationId xmlns:a16="http://schemas.microsoft.com/office/drawing/2014/main" id="{B336F7BA-3485-2589-0A63-18DB13A6DB34}"/>
              </a:ext>
            </a:extLst>
          </p:cNvPr>
          <p:cNvSpPr txBox="1"/>
          <p:nvPr/>
        </p:nvSpPr>
        <p:spPr bwMode="gray">
          <a:xfrm>
            <a:off x="10911315" y="4743825"/>
            <a:ext cx="1286030" cy="274523"/>
          </a:xfrm>
          <a:prstGeom prst="rect">
            <a:avLst/>
          </a:prstGeom>
          <a:noFill/>
        </p:spPr>
        <p:txBody>
          <a:bodyPr wrap="square" lIns="45720" tIns="45720" rIns="45720" bIns="4572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600">
                <a:solidFill>
                  <a:srgbClr val="808080"/>
                </a:solidFill>
                <a:highlight>
                  <a:srgbClr val="808080"/>
                </a:highlight>
              </a:rPr>
              <a:t>XXXXX</a:t>
            </a:r>
            <a:endParaRPr kumimoji="0" lang="en-GB" sz="1200" b="1" i="0" u="none" strike="noStrike" kern="1200" cap="none" spc="0" normalizeH="0" baseline="0" noProof="0">
              <a:ln>
                <a:noFill/>
              </a:ln>
              <a:solidFill>
                <a:srgbClr val="808080"/>
              </a:solidFill>
              <a:effectLst/>
              <a:uLnTx/>
              <a:uFillTx/>
              <a:latin typeface="Lato"/>
              <a:ea typeface="+mn-ea"/>
              <a:cs typeface="+mn-cs"/>
            </a:endParaRPr>
          </a:p>
        </p:txBody>
      </p:sp>
      <p:sp>
        <p:nvSpPr>
          <p:cNvPr id="54" name="TextBox 53">
            <a:extLst>
              <a:ext uri="{FF2B5EF4-FFF2-40B4-BE49-F238E27FC236}">
                <a16:creationId xmlns:a16="http://schemas.microsoft.com/office/drawing/2014/main" id="{E08690A5-43F3-4E89-9F83-C852E6DF0079}"/>
              </a:ext>
            </a:extLst>
          </p:cNvPr>
          <p:cNvSpPr txBox="1"/>
          <p:nvPr/>
        </p:nvSpPr>
        <p:spPr bwMode="gray">
          <a:xfrm>
            <a:off x="7743715" y="4780367"/>
            <a:ext cx="1040256" cy="201438"/>
          </a:xfrm>
          <a:prstGeom prst="rect">
            <a:avLst/>
          </a:prstGeom>
          <a:noFill/>
        </p:spPr>
        <p:txBody>
          <a:bodyPr wrap="square" lIns="45720" tIns="45720" rIns="45720" bIns="4572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GB" sz="1600">
                <a:solidFill>
                  <a:srgbClr val="808080"/>
                </a:solidFill>
                <a:highlight>
                  <a:srgbClr val="808080"/>
                </a:highlight>
              </a:rPr>
              <a:t>XXXXX</a:t>
            </a:r>
            <a:endParaRPr kumimoji="0" lang="en-GB" sz="1200" b="1" i="0" u="none" strike="noStrike" kern="1200" cap="none" spc="0" normalizeH="0" baseline="0" noProof="0">
              <a:ln>
                <a:noFill/>
              </a:ln>
              <a:solidFill>
                <a:srgbClr val="808080"/>
              </a:solidFill>
              <a:effectLst/>
              <a:uLnTx/>
              <a:uFillTx/>
              <a:latin typeface="Lato"/>
              <a:ea typeface="+mn-ea"/>
              <a:cs typeface="+mn-cs"/>
            </a:endParaRPr>
          </a:p>
        </p:txBody>
      </p:sp>
      <p:sp>
        <p:nvSpPr>
          <p:cNvPr id="75" name="TextBox 74">
            <a:extLst>
              <a:ext uri="{FF2B5EF4-FFF2-40B4-BE49-F238E27FC236}">
                <a16:creationId xmlns:a16="http://schemas.microsoft.com/office/drawing/2014/main" id="{DA3F2F2C-E985-80D6-6C1D-ADF70BD764B0}"/>
              </a:ext>
            </a:extLst>
          </p:cNvPr>
          <p:cNvSpPr txBox="1"/>
          <p:nvPr/>
        </p:nvSpPr>
        <p:spPr bwMode="gray">
          <a:xfrm>
            <a:off x="10976732" y="2012689"/>
            <a:ext cx="1097758" cy="165830"/>
          </a:xfrm>
          <a:prstGeom prst="rect">
            <a:avLst/>
          </a:prstGeom>
          <a:noFill/>
        </p:spPr>
        <p:txBody>
          <a:bodyPr wrap="square" lIns="45720" tIns="45720" rIns="45720" bIns="4572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600">
                <a:solidFill>
                  <a:srgbClr val="808080"/>
                </a:solidFill>
                <a:highlight>
                  <a:srgbClr val="808080"/>
                </a:highlight>
              </a:rPr>
              <a:t>XXXXX</a:t>
            </a:r>
            <a:endParaRPr kumimoji="0" lang="en-GB" sz="1200" b="1" i="0" u="none" strike="noStrike" kern="1200" cap="none" spc="0" normalizeH="0" baseline="0" noProof="0">
              <a:ln>
                <a:noFill/>
              </a:ln>
              <a:solidFill>
                <a:srgbClr val="808080"/>
              </a:solidFill>
              <a:effectLst/>
              <a:uLnTx/>
              <a:uFillTx/>
              <a:latin typeface="Lato"/>
              <a:ea typeface="+mn-ea"/>
              <a:cs typeface="+mn-cs"/>
            </a:endParaRPr>
          </a:p>
        </p:txBody>
      </p:sp>
      <p:sp>
        <p:nvSpPr>
          <p:cNvPr id="76" name="TextBox 75">
            <a:extLst>
              <a:ext uri="{FF2B5EF4-FFF2-40B4-BE49-F238E27FC236}">
                <a16:creationId xmlns:a16="http://schemas.microsoft.com/office/drawing/2014/main" id="{053698AA-D0C6-7BD4-8F9C-06B7B4CD5A3E}"/>
              </a:ext>
            </a:extLst>
          </p:cNvPr>
          <p:cNvSpPr txBox="1"/>
          <p:nvPr/>
        </p:nvSpPr>
        <p:spPr bwMode="gray">
          <a:xfrm>
            <a:off x="7999770" y="1998567"/>
            <a:ext cx="784201" cy="194074"/>
          </a:xfrm>
          <a:prstGeom prst="rect">
            <a:avLst/>
          </a:prstGeom>
          <a:noFill/>
        </p:spPr>
        <p:txBody>
          <a:bodyPr wrap="square" lIns="45720" tIns="45720" rIns="45720" bIns="4572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GB" sz="1600">
                <a:solidFill>
                  <a:srgbClr val="808080"/>
                </a:solidFill>
                <a:highlight>
                  <a:srgbClr val="808080"/>
                </a:highlight>
              </a:rPr>
              <a:t>XXXXX</a:t>
            </a:r>
            <a:endParaRPr kumimoji="0" lang="en-GB" sz="1200" b="1" i="0" u="none" strike="noStrike" kern="1200" cap="none" spc="0" normalizeH="0" baseline="0" noProof="0">
              <a:ln>
                <a:noFill/>
              </a:ln>
              <a:solidFill>
                <a:srgbClr val="808080"/>
              </a:solidFill>
              <a:effectLst/>
              <a:uLnTx/>
              <a:uFillTx/>
              <a:latin typeface="Lato"/>
              <a:ea typeface="+mn-ea"/>
              <a:cs typeface="+mn-cs"/>
            </a:endParaRPr>
          </a:p>
        </p:txBody>
      </p:sp>
      <p:sp>
        <p:nvSpPr>
          <p:cNvPr id="79" name="TextBox 78">
            <a:extLst>
              <a:ext uri="{FF2B5EF4-FFF2-40B4-BE49-F238E27FC236}">
                <a16:creationId xmlns:a16="http://schemas.microsoft.com/office/drawing/2014/main" id="{40574BE0-C647-2F61-F6FB-860248F01A69}"/>
              </a:ext>
            </a:extLst>
          </p:cNvPr>
          <p:cNvSpPr txBox="1"/>
          <p:nvPr/>
        </p:nvSpPr>
        <p:spPr bwMode="gray">
          <a:xfrm>
            <a:off x="10976732" y="5705682"/>
            <a:ext cx="1097758" cy="165830"/>
          </a:xfrm>
          <a:prstGeom prst="rect">
            <a:avLst/>
          </a:prstGeom>
          <a:noFill/>
        </p:spPr>
        <p:txBody>
          <a:bodyPr wrap="square" lIns="45720" tIns="45720" rIns="45720" bIns="4572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600">
                <a:solidFill>
                  <a:srgbClr val="808080"/>
                </a:solidFill>
                <a:highlight>
                  <a:srgbClr val="808080"/>
                </a:highlight>
              </a:rPr>
              <a:t>XXXXX</a:t>
            </a:r>
            <a:endParaRPr kumimoji="0" lang="en-GB" sz="1200" b="1" i="0" u="none" strike="noStrike" kern="1200" cap="none" spc="0" normalizeH="0" baseline="0" noProof="0">
              <a:ln>
                <a:noFill/>
              </a:ln>
              <a:solidFill>
                <a:srgbClr val="808080"/>
              </a:solidFill>
              <a:effectLst/>
              <a:uLnTx/>
              <a:uFillTx/>
              <a:latin typeface="Lato"/>
              <a:ea typeface="+mn-ea"/>
              <a:cs typeface="+mn-cs"/>
            </a:endParaRPr>
          </a:p>
        </p:txBody>
      </p:sp>
      <p:sp>
        <p:nvSpPr>
          <p:cNvPr id="80" name="TextBox 79">
            <a:extLst>
              <a:ext uri="{FF2B5EF4-FFF2-40B4-BE49-F238E27FC236}">
                <a16:creationId xmlns:a16="http://schemas.microsoft.com/office/drawing/2014/main" id="{6354D9AC-7AC7-F892-5801-74E6A3A16C85}"/>
              </a:ext>
            </a:extLst>
          </p:cNvPr>
          <p:cNvSpPr txBox="1"/>
          <p:nvPr/>
        </p:nvSpPr>
        <p:spPr bwMode="gray">
          <a:xfrm>
            <a:off x="7600839" y="5704695"/>
            <a:ext cx="1183132" cy="167805"/>
          </a:xfrm>
          <a:prstGeom prst="rect">
            <a:avLst/>
          </a:prstGeom>
          <a:noFill/>
        </p:spPr>
        <p:txBody>
          <a:bodyPr wrap="square" lIns="45720" tIns="45720" rIns="45720" bIns="4572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GB" sz="1600">
                <a:solidFill>
                  <a:srgbClr val="808080"/>
                </a:solidFill>
                <a:highlight>
                  <a:srgbClr val="808080"/>
                </a:highlight>
              </a:rPr>
              <a:t>XXXXX</a:t>
            </a:r>
            <a:endParaRPr kumimoji="0" lang="en-GB" sz="1200" b="1" i="0" u="none" strike="noStrike" kern="1200" cap="none" spc="0" normalizeH="0" baseline="0" noProof="0">
              <a:ln>
                <a:noFill/>
              </a:ln>
              <a:solidFill>
                <a:srgbClr val="808080"/>
              </a:solidFill>
              <a:effectLst/>
              <a:uLnTx/>
              <a:uFillTx/>
              <a:latin typeface="Lato"/>
              <a:ea typeface="+mn-ea"/>
              <a:cs typeface="+mn-cs"/>
            </a:endParaRPr>
          </a:p>
        </p:txBody>
      </p:sp>
      <p:grpSp>
        <p:nvGrpSpPr>
          <p:cNvPr id="113" name="Group 112">
            <a:extLst>
              <a:ext uri="{FF2B5EF4-FFF2-40B4-BE49-F238E27FC236}">
                <a16:creationId xmlns:a16="http://schemas.microsoft.com/office/drawing/2014/main" id="{FC16BD18-6EAE-54D5-E9AE-37AF0DC37D43}"/>
              </a:ext>
            </a:extLst>
          </p:cNvPr>
          <p:cNvGrpSpPr/>
          <p:nvPr/>
        </p:nvGrpSpPr>
        <p:grpSpPr>
          <a:xfrm>
            <a:off x="8814240" y="3071187"/>
            <a:ext cx="2028831" cy="158530"/>
            <a:chOff x="5898797" y="2462421"/>
            <a:chExt cx="1610653" cy="188460"/>
          </a:xfrm>
        </p:grpSpPr>
        <p:cxnSp>
          <p:nvCxnSpPr>
            <p:cNvPr id="114" name="Straight Connector 113">
              <a:extLst>
                <a:ext uri="{FF2B5EF4-FFF2-40B4-BE49-F238E27FC236}">
                  <a16:creationId xmlns:a16="http://schemas.microsoft.com/office/drawing/2014/main" id="{22695DD8-D396-EBCD-2082-F2E82287F0E5}"/>
                </a:ext>
              </a:extLst>
            </p:cNvPr>
            <p:cNvCxnSpPr>
              <a:cxnSpLocks/>
            </p:cNvCxnSpPr>
            <p:nvPr/>
          </p:nvCxnSpPr>
          <p:spPr bwMode="gray">
            <a:xfrm>
              <a:off x="5898797" y="2556651"/>
              <a:ext cx="1610653"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15" name="Straight Connector 114">
              <a:extLst>
                <a:ext uri="{FF2B5EF4-FFF2-40B4-BE49-F238E27FC236}">
                  <a16:creationId xmlns:a16="http://schemas.microsoft.com/office/drawing/2014/main" id="{D24F4131-A0E3-BA58-B5AE-F88A360297BC}"/>
                </a:ext>
              </a:extLst>
            </p:cNvPr>
            <p:cNvCxnSpPr>
              <a:cxnSpLocks/>
            </p:cNvCxnSpPr>
            <p:nvPr/>
          </p:nvCxnSpPr>
          <p:spPr bwMode="gray">
            <a:xfrm>
              <a:off x="5898797" y="2462421"/>
              <a:ext cx="0" cy="188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116" name="Straight Connector 115">
              <a:extLst>
                <a:ext uri="{FF2B5EF4-FFF2-40B4-BE49-F238E27FC236}">
                  <a16:creationId xmlns:a16="http://schemas.microsoft.com/office/drawing/2014/main" id="{BF0FA856-F4E8-6E5C-D60B-8366BD7BE562}"/>
                </a:ext>
              </a:extLst>
            </p:cNvPr>
            <p:cNvCxnSpPr>
              <a:cxnSpLocks/>
            </p:cNvCxnSpPr>
            <p:nvPr/>
          </p:nvCxnSpPr>
          <p:spPr bwMode="gray">
            <a:xfrm>
              <a:off x="7509450" y="2462421"/>
              <a:ext cx="0" cy="188460"/>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117" name="Group 116">
            <a:extLst>
              <a:ext uri="{FF2B5EF4-FFF2-40B4-BE49-F238E27FC236}">
                <a16:creationId xmlns:a16="http://schemas.microsoft.com/office/drawing/2014/main" id="{A4317110-EDF6-07B7-F00E-9D76B43BC95C}"/>
              </a:ext>
            </a:extLst>
          </p:cNvPr>
          <p:cNvGrpSpPr/>
          <p:nvPr/>
        </p:nvGrpSpPr>
        <p:grpSpPr>
          <a:xfrm>
            <a:off x="8848404" y="4797908"/>
            <a:ext cx="2028831" cy="166356"/>
            <a:chOff x="5898797" y="2462421"/>
            <a:chExt cx="1610653" cy="188460"/>
          </a:xfrm>
        </p:grpSpPr>
        <p:cxnSp>
          <p:nvCxnSpPr>
            <p:cNvPr id="118" name="Straight Connector 117">
              <a:extLst>
                <a:ext uri="{FF2B5EF4-FFF2-40B4-BE49-F238E27FC236}">
                  <a16:creationId xmlns:a16="http://schemas.microsoft.com/office/drawing/2014/main" id="{29ABB363-B958-63E2-1CCB-7A4EE621C105}"/>
                </a:ext>
              </a:extLst>
            </p:cNvPr>
            <p:cNvCxnSpPr>
              <a:cxnSpLocks/>
            </p:cNvCxnSpPr>
            <p:nvPr/>
          </p:nvCxnSpPr>
          <p:spPr bwMode="gray">
            <a:xfrm>
              <a:off x="5898797" y="2556651"/>
              <a:ext cx="1610653"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19" name="Straight Connector 118">
              <a:extLst>
                <a:ext uri="{FF2B5EF4-FFF2-40B4-BE49-F238E27FC236}">
                  <a16:creationId xmlns:a16="http://schemas.microsoft.com/office/drawing/2014/main" id="{12171683-E9FC-7B1C-9E68-D9882205FCB5}"/>
                </a:ext>
              </a:extLst>
            </p:cNvPr>
            <p:cNvCxnSpPr>
              <a:cxnSpLocks/>
            </p:cNvCxnSpPr>
            <p:nvPr/>
          </p:nvCxnSpPr>
          <p:spPr bwMode="gray">
            <a:xfrm>
              <a:off x="5898797" y="2462421"/>
              <a:ext cx="0" cy="188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120" name="Straight Connector 119">
              <a:extLst>
                <a:ext uri="{FF2B5EF4-FFF2-40B4-BE49-F238E27FC236}">
                  <a16:creationId xmlns:a16="http://schemas.microsoft.com/office/drawing/2014/main" id="{0903707C-6D30-20C5-CDD3-8D213F9787FE}"/>
                </a:ext>
              </a:extLst>
            </p:cNvPr>
            <p:cNvCxnSpPr>
              <a:cxnSpLocks/>
            </p:cNvCxnSpPr>
            <p:nvPr/>
          </p:nvCxnSpPr>
          <p:spPr bwMode="gray">
            <a:xfrm>
              <a:off x="7509450" y="2462421"/>
              <a:ext cx="0" cy="188460"/>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121" name="Group 120">
            <a:extLst>
              <a:ext uri="{FF2B5EF4-FFF2-40B4-BE49-F238E27FC236}">
                <a16:creationId xmlns:a16="http://schemas.microsoft.com/office/drawing/2014/main" id="{1DBA92C9-99E8-0D89-4731-468F0FA1DC4D}"/>
              </a:ext>
            </a:extLst>
          </p:cNvPr>
          <p:cNvGrpSpPr/>
          <p:nvPr/>
        </p:nvGrpSpPr>
        <p:grpSpPr>
          <a:xfrm>
            <a:off x="8857985" y="2016339"/>
            <a:ext cx="2028831" cy="158530"/>
            <a:chOff x="5898797" y="2462421"/>
            <a:chExt cx="1610653" cy="188460"/>
          </a:xfrm>
        </p:grpSpPr>
        <p:cxnSp>
          <p:nvCxnSpPr>
            <p:cNvPr id="122" name="Straight Connector 121">
              <a:extLst>
                <a:ext uri="{FF2B5EF4-FFF2-40B4-BE49-F238E27FC236}">
                  <a16:creationId xmlns:a16="http://schemas.microsoft.com/office/drawing/2014/main" id="{2F65C06B-E52F-425E-A404-BB5752CF014D}"/>
                </a:ext>
              </a:extLst>
            </p:cNvPr>
            <p:cNvCxnSpPr>
              <a:cxnSpLocks/>
            </p:cNvCxnSpPr>
            <p:nvPr/>
          </p:nvCxnSpPr>
          <p:spPr bwMode="gray">
            <a:xfrm>
              <a:off x="5898797" y="2556651"/>
              <a:ext cx="1610653"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23" name="Straight Connector 122">
              <a:extLst>
                <a:ext uri="{FF2B5EF4-FFF2-40B4-BE49-F238E27FC236}">
                  <a16:creationId xmlns:a16="http://schemas.microsoft.com/office/drawing/2014/main" id="{A8AB06C7-5485-B9CD-2F9C-F067ED5994D4}"/>
                </a:ext>
              </a:extLst>
            </p:cNvPr>
            <p:cNvCxnSpPr>
              <a:cxnSpLocks/>
            </p:cNvCxnSpPr>
            <p:nvPr/>
          </p:nvCxnSpPr>
          <p:spPr bwMode="gray">
            <a:xfrm>
              <a:off x="5898797" y="2462421"/>
              <a:ext cx="0" cy="188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124" name="Straight Connector 123">
              <a:extLst>
                <a:ext uri="{FF2B5EF4-FFF2-40B4-BE49-F238E27FC236}">
                  <a16:creationId xmlns:a16="http://schemas.microsoft.com/office/drawing/2014/main" id="{8411E643-0CCA-0839-9E7B-F93BC4CEEDC0}"/>
                </a:ext>
              </a:extLst>
            </p:cNvPr>
            <p:cNvCxnSpPr>
              <a:cxnSpLocks/>
            </p:cNvCxnSpPr>
            <p:nvPr/>
          </p:nvCxnSpPr>
          <p:spPr bwMode="gray">
            <a:xfrm>
              <a:off x="7509450" y="2462421"/>
              <a:ext cx="0" cy="188460"/>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125" name="Group 124">
            <a:extLst>
              <a:ext uri="{FF2B5EF4-FFF2-40B4-BE49-F238E27FC236}">
                <a16:creationId xmlns:a16="http://schemas.microsoft.com/office/drawing/2014/main" id="{8AABB2EA-A32C-C325-B442-B1C997CC3AA4}"/>
              </a:ext>
            </a:extLst>
          </p:cNvPr>
          <p:cNvGrpSpPr/>
          <p:nvPr/>
        </p:nvGrpSpPr>
        <p:grpSpPr>
          <a:xfrm>
            <a:off x="8857985" y="5709332"/>
            <a:ext cx="2028831" cy="158530"/>
            <a:chOff x="5898797" y="2462421"/>
            <a:chExt cx="1610653" cy="188460"/>
          </a:xfrm>
        </p:grpSpPr>
        <p:cxnSp>
          <p:nvCxnSpPr>
            <p:cNvPr id="126" name="Straight Connector 125">
              <a:extLst>
                <a:ext uri="{FF2B5EF4-FFF2-40B4-BE49-F238E27FC236}">
                  <a16:creationId xmlns:a16="http://schemas.microsoft.com/office/drawing/2014/main" id="{488511A0-AA5F-6BE2-ED39-46FC5B052EA8}"/>
                </a:ext>
              </a:extLst>
            </p:cNvPr>
            <p:cNvCxnSpPr>
              <a:cxnSpLocks/>
            </p:cNvCxnSpPr>
            <p:nvPr/>
          </p:nvCxnSpPr>
          <p:spPr bwMode="gray">
            <a:xfrm>
              <a:off x="5898797" y="2556651"/>
              <a:ext cx="1610653"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27" name="Straight Connector 126">
              <a:extLst>
                <a:ext uri="{FF2B5EF4-FFF2-40B4-BE49-F238E27FC236}">
                  <a16:creationId xmlns:a16="http://schemas.microsoft.com/office/drawing/2014/main" id="{60CBFE10-1679-5F7F-CAC8-E495E5844E87}"/>
                </a:ext>
              </a:extLst>
            </p:cNvPr>
            <p:cNvCxnSpPr>
              <a:cxnSpLocks/>
            </p:cNvCxnSpPr>
            <p:nvPr/>
          </p:nvCxnSpPr>
          <p:spPr bwMode="gray">
            <a:xfrm>
              <a:off x="5898797" y="2462421"/>
              <a:ext cx="0" cy="188460"/>
            </a:xfrm>
            <a:prstGeom prst="line">
              <a:avLst/>
            </a:prstGeom>
          </p:spPr>
          <p:style>
            <a:lnRef idx="1">
              <a:schemeClr val="accent6"/>
            </a:lnRef>
            <a:fillRef idx="0">
              <a:schemeClr val="accent6"/>
            </a:fillRef>
            <a:effectRef idx="0">
              <a:schemeClr val="accent6"/>
            </a:effectRef>
            <a:fontRef idx="minor">
              <a:schemeClr val="tx1"/>
            </a:fontRef>
          </p:style>
        </p:cxnSp>
        <p:cxnSp>
          <p:nvCxnSpPr>
            <p:cNvPr id="128" name="Straight Connector 127">
              <a:extLst>
                <a:ext uri="{FF2B5EF4-FFF2-40B4-BE49-F238E27FC236}">
                  <a16:creationId xmlns:a16="http://schemas.microsoft.com/office/drawing/2014/main" id="{CBD2D55A-6404-203D-A0DE-7B04FA611AD4}"/>
                </a:ext>
              </a:extLst>
            </p:cNvPr>
            <p:cNvCxnSpPr>
              <a:cxnSpLocks/>
            </p:cNvCxnSpPr>
            <p:nvPr/>
          </p:nvCxnSpPr>
          <p:spPr bwMode="gray">
            <a:xfrm>
              <a:off x="7509450" y="2462421"/>
              <a:ext cx="0" cy="188460"/>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31" name="Group 30">
            <a:extLst>
              <a:ext uri="{FF2B5EF4-FFF2-40B4-BE49-F238E27FC236}">
                <a16:creationId xmlns:a16="http://schemas.microsoft.com/office/drawing/2014/main" id="{5BB3B9E1-9BA6-D09F-0871-B8A20EDAE5EE}"/>
              </a:ext>
            </a:extLst>
          </p:cNvPr>
          <p:cNvGrpSpPr/>
          <p:nvPr/>
        </p:nvGrpSpPr>
        <p:grpSpPr>
          <a:xfrm>
            <a:off x="9054473" y="4689281"/>
            <a:ext cx="235550" cy="383610"/>
            <a:chOff x="9818115" y="3000284"/>
            <a:chExt cx="235550" cy="383610"/>
          </a:xfrm>
        </p:grpSpPr>
        <p:sp>
          <p:nvSpPr>
            <p:cNvPr id="32" name="Rectangle 31">
              <a:extLst>
                <a:ext uri="{FF2B5EF4-FFF2-40B4-BE49-F238E27FC236}">
                  <a16:creationId xmlns:a16="http://schemas.microsoft.com/office/drawing/2014/main" id="{7351D0FA-0619-17AD-FF93-D159C7B73489}"/>
                </a:ext>
              </a:extLst>
            </p:cNvPr>
            <p:cNvSpPr/>
            <p:nvPr/>
          </p:nvSpPr>
          <p:spPr>
            <a:xfrm>
              <a:off x="9861398" y="3095094"/>
              <a:ext cx="146199" cy="24024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pic>
          <p:nvPicPr>
            <p:cNvPr id="33" name="Picture 32">
              <a:extLst>
                <a:ext uri="{FF2B5EF4-FFF2-40B4-BE49-F238E27FC236}">
                  <a16:creationId xmlns:a16="http://schemas.microsoft.com/office/drawing/2014/main" id="{5EA52B94-A32D-C8A4-36E4-68E61918C0BA}"/>
                </a:ext>
              </a:extLst>
            </p:cNvPr>
            <p:cNvPicPr>
              <a:picLocks noChangeAspect="1"/>
            </p:cNvPicPr>
            <p:nvPr/>
          </p:nvPicPr>
          <p:blipFill>
            <a:blip r:embed="rId6"/>
            <a:stretch>
              <a:fillRect/>
            </a:stretch>
          </p:blipFill>
          <p:spPr>
            <a:xfrm>
              <a:off x="9818115" y="3000284"/>
              <a:ext cx="235550" cy="383610"/>
            </a:xfrm>
            <a:prstGeom prst="rect">
              <a:avLst/>
            </a:prstGeom>
          </p:spPr>
        </p:pic>
        <p:sp>
          <p:nvSpPr>
            <p:cNvPr id="34" name="Rectangle: Rounded Corners 33">
              <a:extLst>
                <a:ext uri="{FF2B5EF4-FFF2-40B4-BE49-F238E27FC236}">
                  <a16:creationId xmlns:a16="http://schemas.microsoft.com/office/drawing/2014/main" id="{5578A090-1765-4670-2F03-FD8FF321C811}"/>
                </a:ext>
              </a:extLst>
            </p:cNvPr>
            <p:cNvSpPr/>
            <p:nvPr/>
          </p:nvSpPr>
          <p:spPr>
            <a:xfrm>
              <a:off x="9871074" y="3101446"/>
              <a:ext cx="125941" cy="240241"/>
            </a:xfrm>
            <a:prstGeom prst="roundRect">
              <a:avLst/>
            </a:prstGeom>
            <a:solidFill>
              <a:srgbClr val="848484"/>
            </a:solidFill>
            <a:ln w="6350">
              <a:solidFill>
                <a:srgbClr val="848484"/>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pSp>
      <p:grpSp>
        <p:nvGrpSpPr>
          <p:cNvPr id="35" name="Group 34">
            <a:extLst>
              <a:ext uri="{FF2B5EF4-FFF2-40B4-BE49-F238E27FC236}">
                <a16:creationId xmlns:a16="http://schemas.microsoft.com/office/drawing/2014/main" id="{6B3386E3-8050-9149-18DD-28FF369A1AB6}"/>
              </a:ext>
            </a:extLst>
          </p:cNvPr>
          <p:cNvGrpSpPr/>
          <p:nvPr/>
        </p:nvGrpSpPr>
        <p:grpSpPr>
          <a:xfrm>
            <a:off x="9052627" y="5596792"/>
            <a:ext cx="235550" cy="383610"/>
            <a:chOff x="9818115" y="3000284"/>
            <a:chExt cx="235550" cy="383610"/>
          </a:xfrm>
        </p:grpSpPr>
        <p:sp>
          <p:nvSpPr>
            <p:cNvPr id="36" name="Rectangle 35">
              <a:extLst>
                <a:ext uri="{FF2B5EF4-FFF2-40B4-BE49-F238E27FC236}">
                  <a16:creationId xmlns:a16="http://schemas.microsoft.com/office/drawing/2014/main" id="{800A2FC9-6DC0-2442-9695-11E666FA6CCB}"/>
                </a:ext>
              </a:extLst>
            </p:cNvPr>
            <p:cNvSpPr/>
            <p:nvPr/>
          </p:nvSpPr>
          <p:spPr>
            <a:xfrm>
              <a:off x="9861398" y="3095094"/>
              <a:ext cx="146199" cy="24024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pic>
          <p:nvPicPr>
            <p:cNvPr id="37" name="Picture 36">
              <a:extLst>
                <a:ext uri="{FF2B5EF4-FFF2-40B4-BE49-F238E27FC236}">
                  <a16:creationId xmlns:a16="http://schemas.microsoft.com/office/drawing/2014/main" id="{B8402108-A4F6-E932-08A5-BD1E147ED52F}"/>
                </a:ext>
              </a:extLst>
            </p:cNvPr>
            <p:cNvPicPr>
              <a:picLocks noChangeAspect="1"/>
            </p:cNvPicPr>
            <p:nvPr/>
          </p:nvPicPr>
          <p:blipFill>
            <a:blip r:embed="rId6"/>
            <a:stretch>
              <a:fillRect/>
            </a:stretch>
          </p:blipFill>
          <p:spPr>
            <a:xfrm>
              <a:off x="9818115" y="3000284"/>
              <a:ext cx="235550" cy="383610"/>
            </a:xfrm>
            <a:prstGeom prst="rect">
              <a:avLst/>
            </a:prstGeom>
          </p:spPr>
        </p:pic>
        <p:sp>
          <p:nvSpPr>
            <p:cNvPr id="38" name="Rectangle: Rounded Corners 37">
              <a:extLst>
                <a:ext uri="{FF2B5EF4-FFF2-40B4-BE49-F238E27FC236}">
                  <a16:creationId xmlns:a16="http://schemas.microsoft.com/office/drawing/2014/main" id="{08604EAE-9B57-2670-D51A-5E61F672BF85}"/>
                </a:ext>
              </a:extLst>
            </p:cNvPr>
            <p:cNvSpPr/>
            <p:nvPr/>
          </p:nvSpPr>
          <p:spPr>
            <a:xfrm>
              <a:off x="9871074" y="3101446"/>
              <a:ext cx="125941" cy="240241"/>
            </a:xfrm>
            <a:prstGeom prst="roundRect">
              <a:avLst/>
            </a:prstGeom>
            <a:solidFill>
              <a:srgbClr val="848484"/>
            </a:solidFill>
            <a:ln w="6350">
              <a:solidFill>
                <a:srgbClr val="848484"/>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pSp>
      <p:grpSp>
        <p:nvGrpSpPr>
          <p:cNvPr id="44" name="Group 43">
            <a:extLst>
              <a:ext uri="{FF2B5EF4-FFF2-40B4-BE49-F238E27FC236}">
                <a16:creationId xmlns:a16="http://schemas.microsoft.com/office/drawing/2014/main" id="{D43FD50F-0026-E154-B3CD-6B7CD7421F9C}"/>
              </a:ext>
            </a:extLst>
          </p:cNvPr>
          <p:cNvGrpSpPr/>
          <p:nvPr/>
        </p:nvGrpSpPr>
        <p:grpSpPr>
          <a:xfrm rot="5400000">
            <a:off x="5291536" y="6124261"/>
            <a:ext cx="186660" cy="303988"/>
            <a:chOff x="9818115" y="3000284"/>
            <a:chExt cx="235550" cy="383610"/>
          </a:xfrm>
        </p:grpSpPr>
        <p:sp>
          <p:nvSpPr>
            <p:cNvPr id="47" name="Rectangle 46">
              <a:extLst>
                <a:ext uri="{FF2B5EF4-FFF2-40B4-BE49-F238E27FC236}">
                  <a16:creationId xmlns:a16="http://schemas.microsoft.com/office/drawing/2014/main" id="{244F4C3E-478B-40E8-D58A-8F1546F0854B}"/>
                </a:ext>
              </a:extLst>
            </p:cNvPr>
            <p:cNvSpPr/>
            <p:nvPr/>
          </p:nvSpPr>
          <p:spPr>
            <a:xfrm>
              <a:off x="9861398" y="3095094"/>
              <a:ext cx="146199" cy="24024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pic>
          <p:nvPicPr>
            <p:cNvPr id="48" name="Picture 47">
              <a:extLst>
                <a:ext uri="{FF2B5EF4-FFF2-40B4-BE49-F238E27FC236}">
                  <a16:creationId xmlns:a16="http://schemas.microsoft.com/office/drawing/2014/main" id="{D4F75548-27DB-7E3F-E7E2-D2269188A63E}"/>
                </a:ext>
              </a:extLst>
            </p:cNvPr>
            <p:cNvPicPr>
              <a:picLocks noChangeAspect="1"/>
            </p:cNvPicPr>
            <p:nvPr/>
          </p:nvPicPr>
          <p:blipFill>
            <a:blip r:embed="rId6"/>
            <a:stretch>
              <a:fillRect/>
            </a:stretch>
          </p:blipFill>
          <p:spPr>
            <a:xfrm>
              <a:off x="9818115" y="3000284"/>
              <a:ext cx="235550" cy="383610"/>
            </a:xfrm>
            <a:prstGeom prst="rect">
              <a:avLst/>
            </a:prstGeom>
          </p:spPr>
        </p:pic>
        <p:sp>
          <p:nvSpPr>
            <p:cNvPr id="52" name="Rectangle: Rounded Corners 51">
              <a:extLst>
                <a:ext uri="{FF2B5EF4-FFF2-40B4-BE49-F238E27FC236}">
                  <a16:creationId xmlns:a16="http://schemas.microsoft.com/office/drawing/2014/main" id="{AFE52444-FA44-75E6-B9AC-7BBA660C063C}"/>
                </a:ext>
              </a:extLst>
            </p:cNvPr>
            <p:cNvSpPr/>
            <p:nvPr/>
          </p:nvSpPr>
          <p:spPr>
            <a:xfrm>
              <a:off x="9871074" y="3101446"/>
              <a:ext cx="125941" cy="240241"/>
            </a:xfrm>
            <a:prstGeom prst="roundRect">
              <a:avLst/>
            </a:prstGeom>
            <a:solidFill>
              <a:srgbClr val="848484"/>
            </a:solidFill>
            <a:ln w="6350">
              <a:solidFill>
                <a:srgbClr val="848484"/>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pSp>
      <p:sp>
        <p:nvSpPr>
          <p:cNvPr id="55" name="TextBox 54">
            <a:extLst>
              <a:ext uri="{FF2B5EF4-FFF2-40B4-BE49-F238E27FC236}">
                <a16:creationId xmlns:a16="http://schemas.microsoft.com/office/drawing/2014/main" id="{25C8718B-8961-0065-9BFB-CD4149821098}"/>
              </a:ext>
            </a:extLst>
          </p:cNvPr>
          <p:cNvSpPr txBox="1"/>
          <p:nvPr/>
        </p:nvSpPr>
        <p:spPr>
          <a:xfrm>
            <a:off x="859604" y="6199311"/>
            <a:ext cx="185781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Advantage for longer durations</a:t>
            </a:r>
          </a:p>
        </p:txBody>
      </p:sp>
      <p:sp>
        <p:nvSpPr>
          <p:cNvPr id="56" name="TextBox 55">
            <a:extLst>
              <a:ext uri="{FF2B5EF4-FFF2-40B4-BE49-F238E27FC236}">
                <a16:creationId xmlns:a16="http://schemas.microsoft.com/office/drawing/2014/main" id="{45C072D3-1EA2-BD8D-8C8E-D673B21B1A9E}"/>
              </a:ext>
            </a:extLst>
          </p:cNvPr>
          <p:cNvSpPr txBox="1"/>
          <p:nvPr/>
        </p:nvSpPr>
        <p:spPr>
          <a:xfrm>
            <a:off x="3158883" y="6199311"/>
            <a:ext cx="185781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Advantage for shorter durations</a:t>
            </a:r>
          </a:p>
        </p:txBody>
      </p:sp>
      <p:sp>
        <p:nvSpPr>
          <p:cNvPr id="57" name="TextBox 56">
            <a:extLst>
              <a:ext uri="{FF2B5EF4-FFF2-40B4-BE49-F238E27FC236}">
                <a16:creationId xmlns:a16="http://schemas.microsoft.com/office/drawing/2014/main" id="{6A47A002-4BEA-86A3-A348-23FE3A50C419}"/>
              </a:ext>
            </a:extLst>
          </p:cNvPr>
          <p:cNvSpPr txBox="1"/>
          <p:nvPr/>
        </p:nvSpPr>
        <p:spPr>
          <a:xfrm>
            <a:off x="5625229" y="6199311"/>
            <a:ext cx="253663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Advantage for batteries (duration-agnostic)</a:t>
            </a:r>
          </a:p>
        </p:txBody>
      </p:sp>
      <p:sp>
        <p:nvSpPr>
          <p:cNvPr id="7" name="TextBox 6">
            <a:extLst>
              <a:ext uri="{FF2B5EF4-FFF2-40B4-BE49-F238E27FC236}">
                <a16:creationId xmlns:a16="http://schemas.microsoft.com/office/drawing/2014/main" id="{E196F601-B253-D19E-04FA-288913CA831A}"/>
              </a:ext>
            </a:extLst>
          </p:cNvPr>
          <p:cNvSpPr txBox="1"/>
          <p:nvPr/>
        </p:nvSpPr>
        <p:spPr bwMode="gray">
          <a:xfrm>
            <a:off x="8859780" y="3927117"/>
            <a:ext cx="2028830" cy="292324"/>
          </a:xfrm>
          <a:prstGeom prst="rect">
            <a:avLst/>
          </a:prstGeom>
          <a:noFill/>
        </p:spPr>
        <p:txBody>
          <a:bodyPr wrap="square" lIns="45720" tIns="45720" rIns="45720" bIns="4572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1" u="none" strike="noStrike" kern="1200" cap="none" spc="0" normalizeH="0" baseline="0" noProof="0">
                <a:ln>
                  <a:noFill/>
                </a:ln>
                <a:solidFill>
                  <a:srgbClr val="838383"/>
                </a:solidFill>
                <a:effectLst/>
                <a:uLnTx/>
                <a:uFillTx/>
                <a:latin typeface="Lato"/>
                <a:ea typeface="+mn-ea"/>
                <a:cs typeface="+mn-cs"/>
              </a:rPr>
              <a:t>No specific advantage for batteries</a:t>
            </a:r>
          </a:p>
        </p:txBody>
      </p:sp>
      <p:grpSp>
        <p:nvGrpSpPr>
          <p:cNvPr id="10" name="Group 9">
            <a:extLst>
              <a:ext uri="{FF2B5EF4-FFF2-40B4-BE49-F238E27FC236}">
                <a16:creationId xmlns:a16="http://schemas.microsoft.com/office/drawing/2014/main" id="{925C1493-0C7E-E94B-8977-CE62E2E9E227}"/>
              </a:ext>
            </a:extLst>
          </p:cNvPr>
          <p:cNvGrpSpPr/>
          <p:nvPr/>
        </p:nvGrpSpPr>
        <p:grpSpPr>
          <a:xfrm>
            <a:off x="9054473" y="2936817"/>
            <a:ext cx="235550" cy="383610"/>
            <a:chOff x="9818115" y="3000284"/>
            <a:chExt cx="235550" cy="383610"/>
          </a:xfrm>
        </p:grpSpPr>
        <p:sp>
          <p:nvSpPr>
            <p:cNvPr id="13" name="Rectangle 12">
              <a:extLst>
                <a:ext uri="{FF2B5EF4-FFF2-40B4-BE49-F238E27FC236}">
                  <a16:creationId xmlns:a16="http://schemas.microsoft.com/office/drawing/2014/main" id="{EF3E9974-3327-B4BD-5764-B515258F986A}"/>
                </a:ext>
              </a:extLst>
            </p:cNvPr>
            <p:cNvSpPr/>
            <p:nvPr/>
          </p:nvSpPr>
          <p:spPr>
            <a:xfrm>
              <a:off x="9861398" y="3095094"/>
              <a:ext cx="146199" cy="24024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pic>
          <p:nvPicPr>
            <p:cNvPr id="14" name="Picture 13">
              <a:extLst>
                <a:ext uri="{FF2B5EF4-FFF2-40B4-BE49-F238E27FC236}">
                  <a16:creationId xmlns:a16="http://schemas.microsoft.com/office/drawing/2014/main" id="{A6E3B0C2-79B8-9DB6-94B0-C649BF637557}"/>
                </a:ext>
              </a:extLst>
            </p:cNvPr>
            <p:cNvPicPr>
              <a:picLocks noChangeAspect="1"/>
            </p:cNvPicPr>
            <p:nvPr/>
          </p:nvPicPr>
          <p:blipFill>
            <a:blip r:embed="rId6"/>
            <a:stretch>
              <a:fillRect/>
            </a:stretch>
          </p:blipFill>
          <p:spPr>
            <a:xfrm>
              <a:off x="9818115" y="3000284"/>
              <a:ext cx="235550" cy="383610"/>
            </a:xfrm>
            <a:prstGeom prst="rect">
              <a:avLst/>
            </a:prstGeom>
          </p:spPr>
        </p:pic>
        <p:sp>
          <p:nvSpPr>
            <p:cNvPr id="15" name="Rectangle: Rounded Corners 14">
              <a:extLst>
                <a:ext uri="{FF2B5EF4-FFF2-40B4-BE49-F238E27FC236}">
                  <a16:creationId xmlns:a16="http://schemas.microsoft.com/office/drawing/2014/main" id="{7B5C6CB0-B241-D025-3464-1033597CED40}"/>
                </a:ext>
              </a:extLst>
            </p:cNvPr>
            <p:cNvSpPr/>
            <p:nvPr/>
          </p:nvSpPr>
          <p:spPr>
            <a:xfrm>
              <a:off x="9871074" y="3101446"/>
              <a:ext cx="125941" cy="240241"/>
            </a:xfrm>
            <a:prstGeom prst="roundRect">
              <a:avLst/>
            </a:prstGeom>
            <a:solidFill>
              <a:srgbClr val="848484"/>
            </a:solidFill>
            <a:ln w="6350">
              <a:solidFill>
                <a:srgbClr val="848484"/>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pSp>
      <p:pic>
        <p:nvPicPr>
          <p:cNvPr id="29" name="Graphic 28" descr="Full battery with solid fill">
            <a:extLst>
              <a:ext uri="{FF2B5EF4-FFF2-40B4-BE49-F238E27FC236}">
                <a16:creationId xmlns:a16="http://schemas.microsoft.com/office/drawing/2014/main" id="{BC722B9B-C4C0-6A23-E48E-F8CC91FCAB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8983562" y="1943792"/>
            <a:ext cx="287368" cy="287368"/>
          </a:xfrm>
          <a:prstGeom prst="rect">
            <a:avLst/>
          </a:prstGeom>
        </p:spPr>
      </p:pic>
      <p:pic>
        <p:nvPicPr>
          <p:cNvPr id="30" name="Graphic 29" descr="Full battery with solid fill">
            <a:extLst>
              <a:ext uri="{FF2B5EF4-FFF2-40B4-BE49-F238E27FC236}">
                <a16:creationId xmlns:a16="http://schemas.microsoft.com/office/drawing/2014/main" id="{CBDBD5EB-FBD3-76AA-5033-41BC75B9D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369013" y="1803272"/>
            <a:ext cx="427888" cy="427888"/>
          </a:xfrm>
          <a:prstGeom prst="rect">
            <a:avLst/>
          </a:prstGeom>
        </p:spPr>
      </p:pic>
      <p:pic>
        <p:nvPicPr>
          <p:cNvPr id="60" name="Graphic 59" descr="Full battery with solid fill">
            <a:extLst>
              <a:ext uri="{FF2B5EF4-FFF2-40B4-BE49-F238E27FC236}">
                <a16:creationId xmlns:a16="http://schemas.microsoft.com/office/drawing/2014/main" id="{0749F953-1656-2A5E-2750-DE1F6BE468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11600" y="6137040"/>
            <a:ext cx="287368" cy="287368"/>
          </a:xfrm>
          <a:prstGeom prst="rect">
            <a:avLst/>
          </a:prstGeom>
        </p:spPr>
      </p:pic>
      <p:pic>
        <p:nvPicPr>
          <p:cNvPr id="61" name="Graphic 60" descr="Full battery with solid fill">
            <a:extLst>
              <a:ext uri="{FF2B5EF4-FFF2-40B4-BE49-F238E27FC236}">
                <a16:creationId xmlns:a16="http://schemas.microsoft.com/office/drawing/2014/main" id="{2D4C2C6C-FEC3-95D2-3483-D29792CDBD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427" y="6046953"/>
            <a:ext cx="427888" cy="427888"/>
          </a:xfrm>
          <a:prstGeom prst="rect">
            <a:avLst/>
          </a:prstGeom>
        </p:spPr>
      </p:pic>
      <p:sp>
        <p:nvSpPr>
          <p:cNvPr id="2" name="Rectangle 1">
            <a:extLst>
              <a:ext uri="{FF2B5EF4-FFF2-40B4-BE49-F238E27FC236}">
                <a16:creationId xmlns:a16="http://schemas.microsoft.com/office/drawing/2014/main" id="{9F4F3DAD-BE5F-7C05-F4AD-77335176BEB5}"/>
              </a:ext>
            </a:extLst>
          </p:cNvPr>
          <p:cNvSpPr/>
          <p:nvPr/>
        </p:nvSpPr>
        <p:spPr>
          <a:xfrm>
            <a:off x="206374" y="1666873"/>
            <a:ext cx="11604026" cy="429892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4" name="Group 3">
            <a:extLst>
              <a:ext uri="{FF2B5EF4-FFF2-40B4-BE49-F238E27FC236}">
                <a16:creationId xmlns:a16="http://schemas.microsoft.com/office/drawing/2014/main" id="{85431C37-2AD5-44CE-23F6-D48972C6459D}"/>
              </a:ext>
            </a:extLst>
          </p:cNvPr>
          <p:cNvGrpSpPr/>
          <p:nvPr/>
        </p:nvGrpSpPr>
        <p:grpSpPr>
          <a:xfrm>
            <a:off x="4772297" y="2928257"/>
            <a:ext cx="2647407" cy="1001486"/>
            <a:chOff x="8251369" y="2255520"/>
            <a:chExt cx="2647407" cy="1001486"/>
          </a:xfrm>
        </p:grpSpPr>
        <p:sp>
          <p:nvSpPr>
            <p:cNvPr id="6" name="Rectangle: Rounded Corners 5">
              <a:extLst>
                <a:ext uri="{FF2B5EF4-FFF2-40B4-BE49-F238E27FC236}">
                  <a16:creationId xmlns:a16="http://schemas.microsoft.com/office/drawing/2014/main" id="{9E70F48D-A4F4-02B1-BD7A-BB7AF5F20632}"/>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8" name="TextBox 7">
              <a:extLst>
                <a:ext uri="{FF2B5EF4-FFF2-40B4-BE49-F238E27FC236}">
                  <a16:creationId xmlns:a16="http://schemas.microsoft.com/office/drawing/2014/main" id="{D2EC32B4-81FD-9A75-DD48-27F8681C1834}"/>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2675569357"/>
      </p:ext>
    </p:extLst>
  </p:cSld>
  <p:clrMapOvr>
    <a:masterClrMapping/>
  </p:clrMapOvr>
  <p:extLst>
    <p:ext uri="{6950BFC3-D8DA-4A85-94F7-54DA5524770B}">
      <p188:commentRel xmlns:p188="http://schemas.microsoft.com/office/powerpoint/2018/8/main" r:id="rId3"/>
    </p:ext>
  </p:extLs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9D82CD-1FB0-42E9-837F-ECB3D76841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D89D82CD-1FB0-42E9-837F-ECB3D76841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F264A93E-ECE8-4A9B-BF22-386674276F6F}"/>
              </a:ext>
            </a:extLst>
          </p:cNvPr>
          <p:cNvSpPr>
            <a:spLocks noGrp="1"/>
          </p:cNvSpPr>
          <p:nvPr>
            <p:ph type="body" sz="quarter" idx="27"/>
          </p:nvPr>
        </p:nvSpPr>
        <p:spPr>
          <a:xfrm>
            <a:off x="381001" y="1713892"/>
            <a:ext cx="3451698" cy="4657685"/>
          </a:xfrm>
        </p:spPr>
        <p:txBody>
          <a:bodyPr/>
          <a:lstStyle/>
          <a:p>
            <a:pPr marL="182880" indent="-182880" algn="just">
              <a:buFont typeface="Wingdings" panose="05000000000000000000" pitchFamily="2" charset="2"/>
              <a:buChar char="§"/>
            </a:pPr>
            <a:r>
              <a:rPr lang="en-GB"/>
              <a:t>The harmonisation of electricity markets across the EU was a key priority under the EU Third Energy package</a:t>
            </a:r>
          </a:p>
          <a:p>
            <a:pPr marL="182880" indent="-182880" algn="just">
              <a:buFont typeface="Wingdings" panose="05000000000000000000" pitchFamily="2" charset="2"/>
              <a:buChar char="§"/>
            </a:pPr>
            <a:r>
              <a:rPr lang="en-GB"/>
              <a:t>Despite significant improvements in day-ahead and intraday markets, balancing markets still vary significantly across countries, limiting the ability of TSOs to optimise resources across borders</a:t>
            </a:r>
          </a:p>
          <a:p>
            <a:pPr marL="182880" indent="-182880" algn="just">
              <a:buFont typeface="Wingdings" panose="05000000000000000000" pitchFamily="2" charset="2"/>
              <a:buChar char="§"/>
            </a:pPr>
            <a:r>
              <a:rPr lang="en-GB"/>
              <a:t>The EU’s Guideline on Electricity Balancing (“EBGL”) sets out the need to establish common principles for the procurement and settlement of frequency and replacement reserves</a:t>
            </a:r>
          </a:p>
          <a:p>
            <a:pPr marL="182880" indent="-182880" algn="just">
              <a:buFont typeface="Wingdings" panose="05000000000000000000" pitchFamily="2" charset="2"/>
              <a:buChar char="§"/>
            </a:pPr>
            <a:r>
              <a:rPr lang="en-GB"/>
              <a:t>The implementation of the EBGL requires that TSOs develop methodologies and submit their proposals to their national regulatory authorities for approval</a:t>
            </a:r>
          </a:p>
          <a:p>
            <a:pPr marL="182880" indent="-182880" algn="just">
              <a:buFont typeface="Wingdings" panose="05000000000000000000" pitchFamily="2" charset="2"/>
              <a:buChar char="§"/>
            </a:pPr>
            <a:r>
              <a:rPr lang="en-GB"/>
              <a:t>For this purpose, different implementation projects are in place to define the methodologies for the procurement of the different balancing services and products e.g.. all Nordic frequency services will first be harmonized and get the same rules as part of the "Nordic Balancing Model"</a:t>
            </a:r>
          </a:p>
        </p:txBody>
      </p:sp>
      <p:sp>
        <p:nvSpPr>
          <p:cNvPr id="12" name="Text Placeholder 11">
            <a:extLst>
              <a:ext uri="{FF2B5EF4-FFF2-40B4-BE49-F238E27FC236}">
                <a16:creationId xmlns:a16="http://schemas.microsoft.com/office/drawing/2014/main" id="{7ECCC78A-5B9C-46C4-A617-ED24F417BE05}"/>
              </a:ext>
            </a:extLst>
          </p:cNvPr>
          <p:cNvSpPr>
            <a:spLocks noGrp="1"/>
          </p:cNvSpPr>
          <p:nvPr>
            <p:ph type="body" sz="quarter" idx="29"/>
          </p:nvPr>
        </p:nvSpPr>
        <p:spPr>
          <a:xfrm>
            <a:off x="381001" y="1263129"/>
            <a:ext cx="3451698" cy="369332"/>
          </a:xfrm>
        </p:spPr>
        <p:txBody>
          <a:bodyPr/>
          <a:lstStyle/>
          <a:p>
            <a:pPr algn="just"/>
            <a:r>
              <a:rPr lang="en-GB"/>
              <a:t>The integration of electricity markets across the EU requires common rules across ancillary services </a:t>
            </a:r>
          </a:p>
        </p:txBody>
      </p:sp>
      <p:sp>
        <p:nvSpPr>
          <p:cNvPr id="9" name="Text Placeholder 8">
            <a:extLst>
              <a:ext uri="{FF2B5EF4-FFF2-40B4-BE49-F238E27FC236}">
                <a16:creationId xmlns:a16="http://schemas.microsoft.com/office/drawing/2014/main" id="{58CDB9D6-FBD4-42CE-BCE5-576CE4BAC045}"/>
              </a:ext>
            </a:extLst>
          </p:cNvPr>
          <p:cNvSpPr>
            <a:spLocks noGrp="1"/>
          </p:cNvSpPr>
          <p:nvPr>
            <p:ph type="body" sz="quarter" idx="22"/>
          </p:nvPr>
        </p:nvSpPr>
        <p:spPr>
          <a:xfrm>
            <a:off x="381001" y="6715169"/>
            <a:ext cx="2031005" cy="110800"/>
          </a:xfrm>
        </p:spPr>
        <p:txBody>
          <a:bodyPr/>
          <a:lstStyle/>
          <a:p>
            <a:r>
              <a:rPr lang="en-GB"/>
              <a:t>Sources: Aurora Energy Research, ENTSO-E</a:t>
            </a:r>
          </a:p>
        </p:txBody>
      </p:sp>
      <p:sp>
        <p:nvSpPr>
          <p:cNvPr id="3" name="Title 2">
            <a:extLst>
              <a:ext uri="{FF2B5EF4-FFF2-40B4-BE49-F238E27FC236}">
                <a16:creationId xmlns:a16="http://schemas.microsoft.com/office/drawing/2014/main" id="{20D01B05-236C-45E2-9BA2-6782679DB74A}"/>
              </a:ext>
            </a:extLst>
          </p:cNvPr>
          <p:cNvSpPr>
            <a:spLocks noGrp="1"/>
          </p:cNvSpPr>
          <p:nvPr>
            <p:ph type="title"/>
          </p:nvPr>
        </p:nvSpPr>
        <p:spPr>
          <a:xfrm>
            <a:off x="381599" y="411856"/>
            <a:ext cx="8723490" cy="609398"/>
          </a:xfrm>
        </p:spPr>
        <p:txBody>
          <a:bodyPr vert="horz"/>
          <a:lstStyle/>
          <a:p>
            <a:r>
              <a:rPr lang="en-GB"/>
              <a:t>Frequency Regulation Reserves will increasingly be coordinated at EU level between Member States, increasing cross-border competition</a:t>
            </a:r>
          </a:p>
        </p:txBody>
      </p:sp>
      <p:sp>
        <p:nvSpPr>
          <p:cNvPr id="14" name="Text Placeholder 13">
            <a:extLst>
              <a:ext uri="{FF2B5EF4-FFF2-40B4-BE49-F238E27FC236}">
                <a16:creationId xmlns:a16="http://schemas.microsoft.com/office/drawing/2014/main" id="{DD8EDE4B-42D3-4BB8-BE87-2AD93EAD411F}"/>
              </a:ext>
            </a:extLst>
          </p:cNvPr>
          <p:cNvSpPr>
            <a:spLocks noGrp="1"/>
          </p:cNvSpPr>
          <p:nvPr>
            <p:ph type="body" sz="quarter" idx="31"/>
          </p:nvPr>
        </p:nvSpPr>
        <p:spPr>
          <a:xfrm>
            <a:off x="381599" y="79401"/>
            <a:ext cx="4431021" cy="184666"/>
          </a:xfrm>
        </p:spPr>
        <p:txBody>
          <a:bodyPr/>
          <a:lstStyle/>
          <a:p>
            <a:r>
              <a:rPr lang="en-GB"/>
              <a:t>		Policy and regulatory environment - Revenue opportunities</a:t>
            </a:r>
          </a:p>
        </p:txBody>
      </p:sp>
      <p:sp>
        <p:nvSpPr>
          <p:cNvPr id="49" name="Text Placeholder 10">
            <a:extLst>
              <a:ext uri="{FF2B5EF4-FFF2-40B4-BE49-F238E27FC236}">
                <a16:creationId xmlns:a16="http://schemas.microsoft.com/office/drawing/2014/main" id="{618D7F09-9FD6-4832-B8D8-74BAE0E4F004}"/>
              </a:ext>
            </a:extLst>
          </p:cNvPr>
          <p:cNvSpPr txBox="1">
            <a:spLocks/>
          </p:cNvSpPr>
          <p:nvPr/>
        </p:nvSpPr>
        <p:spPr>
          <a:xfrm>
            <a:off x="4124048" y="1280335"/>
            <a:ext cx="1836000" cy="366424"/>
          </a:xfrm>
          <a:prstGeom prst="rect">
            <a:avLst/>
          </a:prstGeom>
          <a:solidFill>
            <a:schemeClr val="accent5">
              <a:lumMod val="20000"/>
              <a:lumOff val="80000"/>
            </a:schemeClr>
          </a:solidFill>
          <a:ln w="12700" cap="flat" cmpd="sng" algn="ctr">
            <a:solidFill>
              <a:schemeClr val="bg1"/>
            </a:solidFill>
            <a:prstDash val="solid"/>
            <a:miter lim="800000"/>
          </a:ln>
        </p:spPr>
        <p:style>
          <a:lnRef idx="2">
            <a:schemeClr val="accent1"/>
          </a:lnRef>
          <a:fillRef idx="1">
            <a:schemeClr val="lt1"/>
          </a:fillRef>
          <a:effectRef idx="0">
            <a:schemeClr val="accent1"/>
          </a:effectRef>
          <a:fontRef idx="minor">
            <a:schemeClr val="dk1"/>
          </a:fontRef>
        </p:style>
        <p:txBody>
          <a:bodyPr vert="horz" wrap="square" lIns="0" tIns="90000" rIns="0" bIns="90000" rtlCol="0" anchor="ctr" anchorCtr="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dk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9pPr>
          </a:lstStyle>
          <a:p>
            <a:pPr algn="ctr" defTabSz="914400"/>
            <a:r>
              <a:rPr lang="en-GB" b="1">
                <a:latin typeface="+mn-lt"/>
                <a:ea typeface="+mn-ea"/>
                <a:cs typeface="+mn-cs"/>
              </a:rPr>
              <a:t>Platforms</a:t>
            </a:r>
          </a:p>
        </p:txBody>
      </p:sp>
      <p:sp>
        <p:nvSpPr>
          <p:cNvPr id="50" name="Rectangle 49">
            <a:extLst>
              <a:ext uri="{FF2B5EF4-FFF2-40B4-BE49-F238E27FC236}">
                <a16:creationId xmlns:a16="http://schemas.microsoft.com/office/drawing/2014/main" id="{E6F3DA70-A35B-44CF-A130-2618F44BA7EB}"/>
              </a:ext>
            </a:extLst>
          </p:cNvPr>
          <p:cNvSpPr/>
          <p:nvPr/>
        </p:nvSpPr>
        <p:spPr>
          <a:xfrm>
            <a:off x="4124048" y="1724470"/>
            <a:ext cx="1836000" cy="1080000"/>
          </a:xfrm>
          <a:prstGeom prst="rect">
            <a:avLst/>
          </a:prstGeom>
          <a:solidFill>
            <a:schemeClr val="accent2">
              <a:lumMod val="60000"/>
              <a:lumOff val="4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pPr>
            <a:r>
              <a:rPr lang="en-GB" sz="1100" b="1">
                <a:solidFill>
                  <a:schemeClr val="tx1"/>
                </a:solidFill>
              </a:rPr>
              <a:t>PICASSO</a:t>
            </a:r>
          </a:p>
          <a:p>
            <a:pPr algn="ctr">
              <a:spcBef>
                <a:spcPts val="300"/>
              </a:spcBef>
            </a:pPr>
            <a:r>
              <a:rPr lang="en-GB" sz="1100" b="1">
                <a:solidFill>
                  <a:schemeClr val="tx1"/>
                </a:solidFill>
              </a:rPr>
              <a:t>P</a:t>
            </a:r>
            <a:r>
              <a:rPr lang="en-GB" sz="1100">
                <a:solidFill>
                  <a:schemeClr val="tx1"/>
                </a:solidFill>
              </a:rPr>
              <a:t>latform for the </a:t>
            </a:r>
            <a:r>
              <a:rPr lang="en-GB" sz="1100" b="1">
                <a:solidFill>
                  <a:schemeClr val="tx1"/>
                </a:solidFill>
              </a:rPr>
              <a:t>I</a:t>
            </a:r>
            <a:r>
              <a:rPr lang="en-GB" sz="1100">
                <a:solidFill>
                  <a:schemeClr val="tx1"/>
                </a:solidFill>
              </a:rPr>
              <a:t>nternational </a:t>
            </a:r>
            <a:r>
              <a:rPr lang="en-GB" sz="1100" b="1">
                <a:solidFill>
                  <a:schemeClr val="tx1"/>
                </a:solidFill>
              </a:rPr>
              <a:t>C</a:t>
            </a:r>
            <a:r>
              <a:rPr lang="en-GB" sz="1100">
                <a:solidFill>
                  <a:schemeClr val="tx1"/>
                </a:solidFill>
              </a:rPr>
              <a:t>oordination of </a:t>
            </a:r>
            <a:r>
              <a:rPr lang="en-GB" sz="1100" b="1">
                <a:solidFill>
                  <a:schemeClr val="tx1"/>
                </a:solidFill>
              </a:rPr>
              <a:t>A</a:t>
            </a:r>
            <a:r>
              <a:rPr lang="en-GB" sz="1100">
                <a:solidFill>
                  <a:schemeClr val="tx1"/>
                </a:solidFill>
              </a:rPr>
              <a:t>utomated Frequency Restoration and </a:t>
            </a:r>
            <a:r>
              <a:rPr lang="en-GB" sz="1100" b="1">
                <a:solidFill>
                  <a:schemeClr val="tx1"/>
                </a:solidFill>
              </a:rPr>
              <a:t>S</a:t>
            </a:r>
            <a:r>
              <a:rPr lang="en-GB" sz="1100">
                <a:solidFill>
                  <a:schemeClr val="tx1"/>
                </a:solidFill>
              </a:rPr>
              <a:t>table </a:t>
            </a:r>
            <a:r>
              <a:rPr lang="en-GB" sz="1100" b="1">
                <a:solidFill>
                  <a:schemeClr val="tx1"/>
                </a:solidFill>
              </a:rPr>
              <a:t>S</a:t>
            </a:r>
            <a:r>
              <a:rPr lang="en-GB" sz="1100">
                <a:solidFill>
                  <a:schemeClr val="tx1"/>
                </a:solidFill>
              </a:rPr>
              <a:t>ystem </a:t>
            </a:r>
            <a:r>
              <a:rPr lang="en-GB" sz="1100" b="1">
                <a:solidFill>
                  <a:schemeClr val="tx1"/>
                </a:solidFill>
              </a:rPr>
              <a:t>O</a:t>
            </a:r>
            <a:r>
              <a:rPr lang="en-GB" sz="1100">
                <a:solidFill>
                  <a:schemeClr val="tx1"/>
                </a:solidFill>
              </a:rPr>
              <a:t>peration</a:t>
            </a:r>
          </a:p>
        </p:txBody>
      </p:sp>
      <p:sp>
        <p:nvSpPr>
          <p:cNvPr id="53" name="Rectangle 52">
            <a:extLst>
              <a:ext uri="{FF2B5EF4-FFF2-40B4-BE49-F238E27FC236}">
                <a16:creationId xmlns:a16="http://schemas.microsoft.com/office/drawing/2014/main" id="{307CEE26-590B-4C3E-B46D-64B7CD111BF0}"/>
              </a:ext>
            </a:extLst>
          </p:cNvPr>
          <p:cNvSpPr/>
          <p:nvPr/>
        </p:nvSpPr>
        <p:spPr>
          <a:xfrm>
            <a:off x="4124048" y="2878515"/>
            <a:ext cx="1836000" cy="1080000"/>
          </a:xfrm>
          <a:prstGeom prst="rect">
            <a:avLst/>
          </a:prstGeom>
          <a:solidFill>
            <a:schemeClr val="accent2">
              <a:lumMod val="60000"/>
              <a:lumOff val="4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100" b="1">
                <a:solidFill>
                  <a:schemeClr val="tx1"/>
                </a:solidFill>
              </a:rPr>
              <a:t>MARI</a:t>
            </a:r>
          </a:p>
          <a:p>
            <a:pPr algn="ctr">
              <a:spcBef>
                <a:spcPts val="600"/>
              </a:spcBef>
            </a:pPr>
            <a:r>
              <a:rPr lang="en-GB" sz="1100" b="1"/>
              <a:t>M</a:t>
            </a:r>
            <a:r>
              <a:rPr lang="en-GB" sz="1100"/>
              <a:t>anually </a:t>
            </a:r>
            <a:r>
              <a:rPr lang="en-GB" sz="1100" b="1"/>
              <a:t>A</a:t>
            </a:r>
            <a:r>
              <a:rPr lang="en-GB" sz="1100"/>
              <a:t>ctivated </a:t>
            </a:r>
            <a:r>
              <a:rPr lang="en-GB" sz="1100" b="1"/>
              <a:t>R</a:t>
            </a:r>
            <a:r>
              <a:rPr lang="en-GB" sz="1100"/>
              <a:t>eserves </a:t>
            </a:r>
            <a:r>
              <a:rPr lang="en-GB" sz="1100" b="1"/>
              <a:t>I</a:t>
            </a:r>
            <a:r>
              <a:rPr lang="en-GB" sz="1100"/>
              <a:t>nitiative</a:t>
            </a:r>
            <a:endParaRPr lang="en-GB" sz="1100">
              <a:solidFill>
                <a:schemeClr val="tx1"/>
              </a:solidFill>
            </a:endParaRPr>
          </a:p>
        </p:txBody>
      </p:sp>
      <p:sp>
        <p:nvSpPr>
          <p:cNvPr id="57" name="Rectangle 56">
            <a:extLst>
              <a:ext uri="{FF2B5EF4-FFF2-40B4-BE49-F238E27FC236}">
                <a16:creationId xmlns:a16="http://schemas.microsoft.com/office/drawing/2014/main" id="{3FD4E5F1-99FD-48E6-9049-28B11E35BEA9}"/>
              </a:ext>
            </a:extLst>
          </p:cNvPr>
          <p:cNvSpPr/>
          <p:nvPr/>
        </p:nvSpPr>
        <p:spPr>
          <a:xfrm>
            <a:off x="4124048" y="4032560"/>
            <a:ext cx="1836000" cy="1080000"/>
          </a:xfrm>
          <a:prstGeom prst="rect">
            <a:avLst/>
          </a:prstGeom>
          <a:solidFill>
            <a:schemeClr val="accent2">
              <a:lumMod val="60000"/>
              <a:lumOff val="4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100" b="1">
                <a:solidFill>
                  <a:schemeClr val="tx1"/>
                </a:solidFill>
              </a:rPr>
              <a:t>TERRE</a:t>
            </a:r>
          </a:p>
          <a:p>
            <a:pPr algn="ctr">
              <a:spcBef>
                <a:spcPts val="600"/>
              </a:spcBef>
            </a:pPr>
            <a:r>
              <a:rPr lang="en-GB" sz="1100" b="1"/>
              <a:t>T</a:t>
            </a:r>
            <a:r>
              <a:rPr lang="en-GB" sz="1100"/>
              <a:t>rans</a:t>
            </a:r>
            <a:r>
              <a:rPr lang="en-GB" sz="1100" b="1"/>
              <a:t>-E</a:t>
            </a:r>
            <a:r>
              <a:rPr lang="en-GB" sz="1100"/>
              <a:t>uropean </a:t>
            </a:r>
            <a:r>
              <a:rPr lang="en-GB" sz="1100" b="1"/>
              <a:t>R</a:t>
            </a:r>
            <a:r>
              <a:rPr lang="en-GB" sz="1100"/>
              <a:t>eplacement </a:t>
            </a:r>
            <a:r>
              <a:rPr lang="en-GB" sz="1100" b="1"/>
              <a:t>R</a:t>
            </a:r>
            <a:r>
              <a:rPr lang="en-GB" sz="1100"/>
              <a:t>eserves </a:t>
            </a:r>
            <a:r>
              <a:rPr lang="en-GB" sz="1100" b="1"/>
              <a:t>E</a:t>
            </a:r>
            <a:r>
              <a:rPr lang="en-GB" sz="1100"/>
              <a:t>xchange</a:t>
            </a:r>
            <a:endParaRPr lang="en-GB" sz="1100">
              <a:solidFill>
                <a:schemeClr val="tx1"/>
              </a:solidFill>
            </a:endParaRPr>
          </a:p>
        </p:txBody>
      </p:sp>
      <p:sp>
        <p:nvSpPr>
          <p:cNvPr id="59" name="Rectangle 58">
            <a:extLst>
              <a:ext uri="{FF2B5EF4-FFF2-40B4-BE49-F238E27FC236}">
                <a16:creationId xmlns:a16="http://schemas.microsoft.com/office/drawing/2014/main" id="{99D20775-1B2F-40E1-8E83-AF22CFF79646}"/>
              </a:ext>
            </a:extLst>
          </p:cNvPr>
          <p:cNvSpPr/>
          <p:nvPr/>
        </p:nvSpPr>
        <p:spPr>
          <a:xfrm>
            <a:off x="4124048" y="5186604"/>
            <a:ext cx="1836000" cy="1080000"/>
          </a:xfrm>
          <a:prstGeom prst="rect">
            <a:avLst/>
          </a:prstGeom>
          <a:solidFill>
            <a:schemeClr val="accent2">
              <a:lumMod val="60000"/>
              <a:lumOff val="4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100" b="1">
                <a:solidFill>
                  <a:schemeClr val="tx1"/>
                </a:solidFill>
              </a:rPr>
              <a:t>IN-IGCC</a:t>
            </a:r>
          </a:p>
          <a:p>
            <a:pPr algn="ctr">
              <a:spcBef>
                <a:spcPts val="600"/>
              </a:spcBef>
            </a:pPr>
            <a:r>
              <a:rPr lang="en-GB" sz="1100" b="1">
                <a:solidFill>
                  <a:schemeClr val="tx1"/>
                </a:solidFill>
              </a:rPr>
              <a:t>I</a:t>
            </a:r>
            <a:r>
              <a:rPr lang="en-GB" sz="1100">
                <a:solidFill>
                  <a:schemeClr val="tx1"/>
                </a:solidFill>
              </a:rPr>
              <a:t>nternational </a:t>
            </a:r>
            <a:r>
              <a:rPr lang="en-GB" sz="1100" b="1">
                <a:solidFill>
                  <a:schemeClr val="tx1"/>
                </a:solidFill>
              </a:rPr>
              <a:t>G</a:t>
            </a:r>
            <a:r>
              <a:rPr lang="en-GB" sz="1100">
                <a:solidFill>
                  <a:schemeClr val="tx1"/>
                </a:solidFill>
              </a:rPr>
              <a:t>rid </a:t>
            </a:r>
            <a:r>
              <a:rPr lang="en-GB" sz="1100" b="1">
                <a:solidFill>
                  <a:schemeClr val="tx1"/>
                </a:solidFill>
              </a:rPr>
              <a:t>C</a:t>
            </a:r>
            <a:r>
              <a:rPr lang="en-GB" sz="1100">
                <a:solidFill>
                  <a:schemeClr val="tx1"/>
                </a:solidFill>
              </a:rPr>
              <a:t>ontrol </a:t>
            </a:r>
            <a:r>
              <a:rPr lang="en-GB" sz="1100" b="1">
                <a:solidFill>
                  <a:schemeClr val="tx1"/>
                </a:solidFill>
              </a:rPr>
              <a:t>C</a:t>
            </a:r>
            <a:r>
              <a:rPr lang="en-GB" sz="1100">
                <a:solidFill>
                  <a:schemeClr val="tx1"/>
                </a:solidFill>
              </a:rPr>
              <a:t>ooperation</a:t>
            </a:r>
          </a:p>
        </p:txBody>
      </p:sp>
      <p:sp>
        <p:nvSpPr>
          <p:cNvPr id="48" name="Text Placeholder 10">
            <a:extLst>
              <a:ext uri="{FF2B5EF4-FFF2-40B4-BE49-F238E27FC236}">
                <a16:creationId xmlns:a16="http://schemas.microsoft.com/office/drawing/2014/main" id="{51E3DF10-D241-4F7C-967B-351AA1AC8E0B}"/>
              </a:ext>
            </a:extLst>
          </p:cNvPr>
          <p:cNvSpPr txBox="1">
            <a:spLocks/>
          </p:cNvSpPr>
          <p:nvPr/>
        </p:nvSpPr>
        <p:spPr>
          <a:xfrm>
            <a:off x="8002802" y="1280335"/>
            <a:ext cx="1836000" cy="366424"/>
          </a:xfrm>
          <a:prstGeom prst="rect">
            <a:avLst/>
          </a:prstGeom>
          <a:solidFill>
            <a:schemeClr val="accent5">
              <a:lumMod val="20000"/>
              <a:lumOff val="80000"/>
            </a:schemeClr>
          </a:solidFill>
          <a:ln w="12700" cap="flat" cmpd="sng" algn="ctr">
            <a:solidFill>
              <a:schemeClr val="bg1"/>
            </a:solidFill>
            <a:prstDash val="solid"/>
            <a:miter lim="800000"/>
          </a:ln>
        </p:spPr>
        <p:style>
          <a:lnRef idx="2">
            <a:schemeClr val="accent1"/>
          </a:lnRef>
          <a:fillRef idx="1">
            <a:schemeClr val="lt1"/>
          </a:fillRef>
          <a:effectRef idx="0">
            <a:schemeClr val="accent1"/>
          </a:effectRef>
          <a:fontRef idx="minor">
            <a:schemeClr val="dk1"/>
          </a:fontRef>
        </p:style>
        <p:txBody>
          <a:bodyPr vert="horz" wrap="square" lIns="0" tIns="90000" rIns="0" bIns="90000" rtlCol="0" anchor="ctr" anchorCtr="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dk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9pPr>
          </a:lstStyle>
          <a:p>
            <a:pPr algn="ctr" defTabSz="914400"/>
            <a:r>
              <a:rPr lang="en-GB" b="1">
                <a:solidFill>
                  <a:schemeClr val="tx1"/>
                </a:solidFill>
                <a:latin typeface="+mn-lt"/>
                <a:ea typeface="+mn-ea"/>
                <a:cs typeface="+mn-cs"/>
              </a:rPr>
              <a:t>Implementation status</a:t>
            </a:r>
          </a:p>
        </p:txBody>
      </p:sp>
      <p:sp>
        <p:nvSpPr>
          <p:cNvPr id="52" name="Rectangle 51">
            <a:extLst>
              <a:ext uri="{FF2B5EF4-FFF2-40B4-BE49-F238E27FC236}">
                <a16:creationId xmlns:a16="http://schemas.microsoft.com/office/drawing/2014/main" id="{15AE8629-64C5-4407-9D8F-0856D07AB973}"/>
              </a:ext>
            </a:extLst>
          </p:cNvPr>
          <p:cNvSpPr/>
          <p:nvPr/>
        </p:nvSpPr>
        <p:spPr>
          <a:xfrm>
            <a:off x="8002802" y="1724470"/>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endParaRPr lang="en-GB" sz="1100">
              <a:solidFill>
                <a:schemeClr val="tx1"/>
              </a:solidFill>
            </a:endParaRPr>
          </a:p>
        </p:txBody>
      </p:sp>
      <p:sp>
        <p:nvSpPr>
          <p:cNvPr id="55" name="Rectangle 54">
            <a:extLst>
              <a:ext uri="{FF2B5EF4-FFF2-40B4-BE49-F238E27FC236}">
                <a16:creationId xmlns:a16="http://schemas.microsoft.com/office/drawing/2014/main" id="{BE47BC28-CDD6-4E93-B2A8-0B154837F28F}"/>
              </a:ext>
            </a:extLst>
          </p:cNvPr>
          <p:cNvSpPr/>
          <p:nvPr/>
        </p:nvSpPr>
        <p:spPr>
          <a:xfrm>
            <a:off x="8002802" y="2878515"/>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endParaRPr lang="en-GB" sz="1100">
              <a:solidFill>
                <a:schemeClr val="tx1"/>
              </a:solidFill>
            </a:endParaRPr>
          </a:p>
        </p:txBody>
      </p:sp>
      <p:sp>
        <p:nvSpPr>
          <p:cNvPr id="56" name="Rectangle 55">
            <a:extLst>
              <a:ext uri="{FF2B5EF4-FFF2-40B4-BE49-F238E27FC236}">
                <a16:creationId xmlns:a16="http://schemas.microsoft.com/office/drawing/2014/main" id="{48EB012C-39DD-4211-9771-05DD953B4EE1}"/>
              </a:ext>
            </a:extLst>
          </p:cNvPr>
          <p:cNvSpPr/>
          <p:nvPr/>
        </p:nvSpPr>
        <p:spPr>
          <a:xfrm>
            <a:off x="8002802" y="4032560"/>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endParaRPr lang="en-GB" sz="1100">
              <a:solidFill>
                <a:schemeClr val="tx1"/>
              </a:solidFill>
            </a:endParaRPr>
          </a:p>
        </p:txBody>
      </p:sp>
      <p:sp>
        <p:nvSpPr>
          <p:cNvPr id="61" name="Rectangle 60">
            <a:extLst>
              <a:ext uri="{FF2B5EF4-FFF2-40B4-BE49-F238E27FC236}">
                <a16:creationId xmlns:a16="http://schemas.microsoft.com/office/drawing/2014/main" id="{87F97FC0-C8D6-4129-9993-158C9C01DA62}"/>
              </a:ext>
            </a:extLst>
          </p:cNvPr>
          <p:cNvSpPr/>
          <p:nvPr/>
        </p:nvSpPr>
        <p:spPr>
          <a:xfrm>
            <a:off x="8002802" y="5186604"/>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endParaRPr lang="en-GB" sz="1100">
              <a:solidFill>
                <a:schemeClr val="tx1"/>
              </a:solidFill>
            </a:endParaRPr>
          </a:p>
        </p:txBody>
      </p:sp>
      <p:sp>
        <p:nvSpPr>
          <p:cNvPr id="28" name="Text Placeholder 10">
            <a:extLst>
              <a:ext uri="{FF2B5EF4-FFF2-40B4-BE49-F238E27FC236}">
                <a16:creationId xmlns:a16="http://schemas.microsoft.com/office/drawing/2014/main" id="{D2DFFB1D-65EE-4A37-9BEB-BCB8285974BB}"/>
              </a:ext>
            </a:extLst>
          </p:cNvPr>
          <p:cNvSpPr txBox="1">
            <a:spLocks/>
          </p:cNvSpPr>
          <p:nvPr/>
        </p:nvSpPr>
        <p:spPr>
          <a:xfrm>
            <a:off x="6063425" y="1280335"/>
            <a:ext cx="1836000" cy="366424"/>
          </a:xfrm>
          <a:prstGeom prst="rect">
            <a:avLst/>
          </a:prstGeom>
          <a:solidFill>
            <a:schemeClr val="accent5">
              <a:lumMod val="20000"/>
              <a:lumOff val="80000"/>
            </a:schemeClr>
          </a:solidFill>
          <a:ln w="12700" cap="flat" cmpd="sng" algn="ctr">
            <a:solidFill>
              <a:schemeClr val="bg1"/>
            </a:solidFill>
            <a:prstDash val="solid"/>
            <a:miter lim="800000"/>
          </a:ln>
        </p:spPr>
        <p:style>
          <a:lnRef idx="2">
            <a:schemeClr val="accent1"/>
          </a:lnRef>
          <a:fillRef idx="1">
            <a:schemeClr val="lt1"/>
          </a:fillRef>
          <a:effectRef idx="0">
            <a:schemeClr val="accent1"/>
          </a:effectRef>
          <a:fontRef idx="minor">
            <a:schemeClr val="dk1"/>
          </a:fontRef>
        </p:style>
        <p:txBody>
          <a:bodyPr vert="horz" lIns="0" tIns="90000" rIns="0" bIns="90000" rtlCol="0" anchor="ctr" anchorCtr="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dk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9pPr>
          </a:lstStyle>
          <a:p>
            <a:pPr algn="ctr" defTabSz="914400"/>
            <a:r>
              <a:rPr lang="en-GB" b="1">
                <a:latin typeface="+mn-lt"/>
                <a:ea typeface="+mn-ea"/>
                <a:cs typeface="+mn-cs"/>
              </a:rPr>
              <a:t>Target Services</a:t>
            </a:r>
          </a:p>
        </p:txBody>
      </p:sp>
      <p:sp>
        <p:nvSpPr>
          <p:cNvPr id="29" name="Rectangle 28">
            <a:extLst>
              <a:ext uri="{FF2B5EF4-FFF2-40B4-BE49-F238E27FC236}">
                <a16:creationId xmlns:a16="http://schemas.microsoft.com/office/drawing/2014/main" id="{EEA98FBE-5EFC-4671-B9A6-1C5191783E6E}"/>
              </a:ext>
            </a:extLst>
          </p:cNvPr>
          <p:cNvSpPr/>
          <p:nvPr/>
        </p:nvSpPr>
        <p:spPr>
          <a:xfrm>
            <a:off x="6063425" y="1724470"/>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r>
              <a:rPr lang="en-GB" sz="1100">
                <a:solidFill>
                  <a:schemeClr val="tx1"/>
                </a:solidFill>
              </a:rPr>
              <a:t>For automatic Frequency Restoration Reserves – </a:t>
            </a:r>
          </a:p>
          <a:p>
            <a:pPr algn="ctr"/>
            <a:r>
              <a:rPr lang="en-GB" sz="1100" b="1" err="1">
                <a:solidFill>
                  <a:schemeClr val="tx1"/>
                </a:solidFill>
              </a:rPr>
              <a:t>aFRR</a:t>
            </a:r>
            <a:r>
              <a:rPr lang="en-GB" sz="1100" b="1">
                <a:solidFill>
                  <a:schemeClr val="tx1"/>
                </a:solidFill>
              </a:rPr>
              <a:t> (energy)</a:t>
            </a:r>
            <a:r>
              <a:rPr lang="en-GB" sz="1100">
                <a:solidFill>
                  <a:schemeClr val="tx1"/>
                </a:solidFill>
              </a:rPr>
              <a:t>, or secondary control</a:t>
            </a:r>
          </a:p>
        </p:txBody>
      </p:sp>
      <p:sp>
        <p:nvSpPr>
          <p:cNvPr id="30" name="Rectangle 29">
            <a:extLst>
              <a:ext uri="{FF2B5EF4-FFF2-40B4-BE49-F238E27FC236}">
                <a16:creationId xmlns:a16="http://schemas.microsoft.com/office/drawing/2014/main" id="{495B639F-67B7-4B4A-9D19-95E98252BAD1}"/>
              </a:ext>
            </a:extLst>
          </p:cNvPr>
          <p:cNvSpPr/>
          <p:nvPr/>
        </p:nvSpPr>
        <p:spPr>
          <a:xfrm>
            <a:off x="6063425" y="2878515"/>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r>
              <a:rPr lang="en-GB" sz="1100">
                <a:solidFill>
                  <a:schemeClr val="tx1"/>
                </a:solidFill>
              </a:rPr>
              <a:t>For manual Frequency Restoration Reserves – </a:t>
            </a:r>
            <a:r>
              <a:rPr lang="en-GB" sz="1100" b="1">
                <a:solidFill>
                  <a:schemeClr val="tx1"/>
                </a:solidFill>
              </a:rPr>
              <a:t>mFRR</a:t>
            </a:r>
            <a:r>
              <a:rPr lang="en-GB" sz="1100">
                <a:solidFill>
                  <a:schemeClr val="tx1"/>
                </a:solidFill>
              </a:rPr>
              <a:t>, or tertiary control</a:t>
            </a:r>
          </a:p>
        </p:txBody>
      </p:sp>
      <p:sp>
        <p:nvSpPr>
          <p:cNvPr id="31" name="Rectangle 30">
            <a:extLst>
              <a:ext uri="{FF2B5EF4-FFF2-40B4-BE49-F238E27FC236}">
                <a16:creationId xmlns:a16="http://schemas.microsoft.com/office/drawing/2014/main" id="{CFA12BCE-0E22-475F-AAA3-0AD753674EF7}"/>
              </a:ext>
            </a:extLst>
          </p:cNvPr>
          <p:cNvSpPr/>
          <p:nvPr/>
        </p:nvSpPr>
        <p:spPr>
          <a:xfrm>
            <a:off x="6063425" y="4032560"/>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r>
              <a:rPr lang="en-GB" sz="1100">
                <a:solidFill>
                  <a:schemeClr val="tx1"/>
                </a:solidFill>
              </a:rPr>
              <a:t>For Replacement Reserves - </a:t>
            </a:r>
            <a:r>
              <a:rPr lang="en-GB" sz="1100" b="1">
                <a:solidFill>
                  <a:schemeClr val="tx1"/>
                </a:solidFill>
              </a:rPr>
              <a:t>RR</a:t>
            </a:r>
            <a:r>
              <a:rPr lang="en-GB" sz="1100">
                <a:solidFill>
                  <a:schemeClr val="tx1"/>
                </a:solidFill>
              </a:rPr>
              <a:t>, also part of ENTSO-E’s tertiary control</a:t>
            </a:r>
          </a:p>
        </p:txBody>
      </p:sp>
      <p:sp>
        <p:nvSpPr>
          <p:cNvPr id="32" name="Rectangle 31">
            <a:extLst>
              <a:ext uri="{FF2B5EF4-FFF2-40B4-BE49-F238E27FC236}">
                <a16:creationId xmlns:a16="http://schemas.microsoft.com/office/drawing/2014/main" id="{CA0A6D68-2BF8-4999-AE47-882A0DDFAE67}"/>
              </a:ext>
            </a:extLst>
          </p:cNvPr>
          <p:cNvSpPr/>
          <p:nvPr/>
        </p:nvSpPr>
        <p:spPr>
          <a:xfrm>
            <a:off x="6063425" y="5186604"/>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r>
              <a:rPr lang="en-GB" sz="1100">
                <a:solidFill>
                  <a:schemeClr val="tx1"/>
                </a:solidFill>
              </a:rPr>
              <a:t>To net energy imbalances between countries and avoid the simultaneous activation of Frequency Restoration Reserves (FRR) in opposite directions</a:t>
            </a:r>
          </a:p>
        </p:txBody>
      </p:sp>
      <p:sp>
        <p:nvSpPr>
          <p:cNvPr id="33" name="Text Placeholder 10">
            <a:extLst>
              <a:ext uri="{FF2B5EF4-FFF2-40B4-BE49-F238E27FC236}">
                <a16:creationId xmlns:a16="http://schemas.microsoft.com/office/drawing/2014/main" id="{555E4D5F-6CFA-4B4E-8E80-6E6BFB8A67DD}"/>
              </a:ext>
            </a:extLst>
          </p:cNvPr>
          <p:cNvSpPr txBox="1">
            <a:spLocks/>
          </p:cNvSpPr>
          <p:nvPr/>
        </p:nvSpPr>
        <p:spPr>
          <a:xfrm>
            <a:off x="9942178" y="1280335"/>
            <a:ext cx="1836000" cy="366424"/>
          </a:xfrm>
          <a:prstGeom prst="rect">
            <a:avLst/>
          </a:prstGeom>
          <a:solidFill>
            <a:schemeClr val="accent5">
              <a:lumMod val="20000"/>
              <a:lumOff val="80000"/>
            </a:schemeClr>
          </a:solidFill>
          <a:ln w="12700" cap="flat" cmpd="sng" algn="ctr">
            <a:solidFill>
              <a:schemeClr val="bg1"/>
            </a:solidFill>
            <a:prstDash val="solid"/>
            <a:miter lim="800000"/>
          </a:ln>
        </p:spPr>
        <p:style>
          <a:lnRef idx="2">
            <a:schemeClr val="accent1"/>
          </a:lnRef>
          <a:fillRef idx="1">
            <a:schemeClr val="lt1"/>
          </a:fillRef>
          <a:effectRef idx="0">
            <a:schemeClr val="accent1"/>
          </a:effectRef>
          <a:fontRef idx="minor">
            <a:schemeClr val="dk1"/>
          </a:fontRef>
        </p:style>
        <p:txBody>
          <a:bodyPr vert="horz" wrap="square" lIns="0" tIns="90000" rIns="0" bIns="90000" rtlCol="0" anchor="ctr" anchorCtr="0">
            <a:spAutoFit/>
          </a:bodyPr>
          <a:lstStyle>
            <a:lvl1pPr marL="0" indent="0" algn="l" defTabSz="685783" rtl="0" eaLnBrk="1" latinLnBrk="0" hangingPunct="1">
              <a:lnSpc>
                <a:spcPct val="100000"/>
              </a:lnSpc>
              <a:spcBef>
                <a:spcPts val="750"/>
              </a:spcBef>
              <a:buFont typeface="Wingdings" panose="05000000000000000000" pitchFamily="2" charset="2"/>
              <a:buNone/>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b="0" kern="1200">
                <a:solidFill>
                  <a:schemeClr val="dk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dk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dk1"/>
                </a:solidFill>
                <a:latin typeface="+mn-lt"/>
                <a:ea typeface="+mn-ea"/>
                <a:cs typeface="+mn-cs"/>
              </a:defRPr>
            </a:lvl9pPr>
          </a:lstStyle>
          <a:p>
            <a:pPr algn="ctr" defTabSz="914400"/>
            <a:r>
              <a:rPr lang="en-GB" b="1">
                <a:solidFill>
                  <a:schemeClr val="tx1"/>
                </a:solidFill>
                <a:latin typeface="+mn-lt"/>
                <a:ea typeface="+mn-ea"/>
                <a:cs typeface="+mn-cs"/>
              </a:rPr>
              <a:t>Implications</a:t>
            </a:r>
          </a:p>
        </p:txBody>
      </p:sp>
      <p:sp>
        <p:nvSpPr>
          <p:cNvPr id="34" name="Rectangle 33">
            <a:extLst>
              <a:ext uri="{FF2B5EF4-FFF2-40B4-BE49-F238E27FC236}">
                <a16:creationId xmlns:a16="http://schemas.microsoft.com/office/drawing/2014/main" id="{EE92AF4B-A0C7-4935-9EE5-BF888F7AFBAC}"/>
              </a:ext>
            </a:extLst>
          </p:cNvPr>
          <p:cNvSpPr/>
          <p:nvPr/>
        </p:nvSpPr>
        <p:spPr>
          <a:xfrm>
            <a:off x="9942178" y="1724469"/>
            <a:ext cx="1836000" cy="2234045"/>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endParaRPr lang="en-GB" sz="1100">
              <a:solidFill>
                <a:schemeClr val="tx1"/>
              </a:solidFill>
            </a:endParaRPr>
          </a:p>
        </p:txBody>
      </p:sp>
      <p:sp>
        <p:nvSpPr>
          <p:cNvPr id="36" name="Rectangle 35">
            <a:extLst>
              <a:ext uri="{FF2B5EF4-FFF2-40B4-BE49-F238E27FC236}">
                <a16:creationId xmlns:a16="http://schemas.microsoft.com/office/drawing/2014/main" id="{E49329A4-FA3D-4106-906D-660A5394D05E}"/>
              </a:ext>
            </a:extLst>
          </p:cNvPr>
          <p:cNvSpPr/>
          <p:nvPr/>
        </p:nvSpPr>
        <p:spPr>
          <a:xfrm>
            <a:off x="9942178" y="4032560"/>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endParaRPr lang="en-GB" sz="1100">
              <a:solidFill>
                <a:schemeClr val="tx1"/>
              </a:solidFill>
            </a:endParaRPr>
          </a:p>
        </p:txBody>
      </p:sp>
      <p:sp>
        <p:nvSpPr>
          <p:cNvPr id="37" name="Rectangle 36">
            <a:extLst>
              <a:ext uri="{FF2B5EF4-FFF2-40B4-BE49-F238E27FC236}">
                <a16:creationId xmlns:a16="http://schemas.microsoft.com/office/drawing/2014/main" id="{855C1A38-2DC3-40E4-837F-DF9C11E2702E}"/>
              </a:ext>
            </a:extLst>
          </p:cNvPr>
          <p:cNvSpPr/>
          <p:nvPr/>
        </p:nvSpPr>
        <p:spPr>
          <a:xfrm>
            <a:off x="9942178" y="5186604"/>
            <a:ext cx="1836000" cy="1080000"/>
          </a:xfrm>
          <a:prstGeom prst="rect">
            <a:avLst/>
          </a:prstGeom>
          <a:solidFill>
            <a:schemeClr val="accent3">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108000" rIns="0" bIns="108000" numCol="1" spcCol="0" rtlCol="0" fromWordArt="0" anchor="ctr" anchorCtr="0" forceAA="0" compatLnSpc="1">
            <a:prstTxWarp prst="textNoShape">
              <a:avLst/>
            </a:prstTxWarp>
            <a:noAutofit/>
          </a:bodyPr>
          <a:lstStyle/>
          <a:p>
            <a:pPr algn="ctr"/>
            <a:endParaRPr lang="en-GB" sz="1100">
              <a:solidFill>
                <a:schemeClr val="tx1"/>
              </a:solidFill>
            </a:endParaRPr>
          </a:p>
        </p:txBody>
      </p:sp>
      <p:sp>
        <p:nvSpPr>
          <p:cNvPr id="27" name="Oval 26">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35" name="Oval 34">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a:t>
            </a:r>
          </a:p>
        </p:txBody>
      </p:sp>
      <p:sp>
        <p:nvSpPr>
          <p:cNvPr id="2" name="Rectangle 1">
            <a:extLst>
              <a:ext uri="{FF2B5EF4-FFF2-40B4-BE49-F238E27FC236}">
                <a16:creationId xmlns:a16="http://schemas.microsoft.com/office/drawing/2014/main" id="{0251C125-F61C-0002-FA4A-18EDABC51F7E}"/>
              </a:ext>
            </a:extLst>
          </p:cNvPr>
          <p:cNvSpPr/>
          <p:nvPr/>
        </p:nvSpPr>
        <p:spPr>
          <a:xfrm>
            <a:off x="381000" y="1713892"/>
            <a:ext cx="3639671" cy="4657685"/>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5991936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3150BB6-0B19-406B-916F-6E9DE4599E52}"/>
              </a:ext>
            </a:extLst>
          </p:cNvPr>
          <p:cNvGraphicFramePr>
            <a:graphicFrameLocks noChangeAspect="1"/>
          </p:cNvGraphicFramePr>
          <p:nvPr>
            <p:custDataLst>
              <p:tags r:id="rId1"/>
            </p:custDataLst>
            <p:extLst>
              <p:ext uri="{D42A27DB-BD31-4B8C-83A1-F6EECF244321}">
                <p14:modId xmlns:p14="http://schemas.microsoft.com/office/powerpoint/2010/main" val="612378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2" name="Object 11" hidden="1">
                        <a:extLst>
                          <a:ext uri="{FF2B5EF4-FFF2-40B4-BE49-F238E27FC236}">
                            <a16:creationId xmlns:a16="http://schemas.microsoft.com/office/drawing/2014/main" id="{23150BB6-0B19-406B-916F-6E9DE4599E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Title 34">
            <a:extLst>
              <a:ext uri="{FF2B5EF4-FFF2-40B4-BE49-F238E27FC236}">
                <a16:creationId xmlns:a16="http://schemas.microsoft.com/office/drawing/2014/main" id="{E06A6144-EDFE-4D8A-9111-AA0A2F67DAB5}"/>
              </a:ext>
            </a:extLst>
          </p:cNvPr>
          <p:cNvSpPr>
            <a:spLocks noGrp="1"/>
          </p:cNvSpPr>
          <p:nvPr>
            <p:ph type="title"/>
          </p:nvPr>
        </p:nvSpPr>
        <p:spPr/>
        <p:txBody>
          <a:bodyPr vert="horz"/>
          <a:lstStyle/>
          <a:p>
            <a:r>
              <a:rPr lang="en-GB"/>
              <a:t>The implications of future </a:t>
            </a:r>
            <a:r>
              <a:rPr lang="en-GB" err="1"/>
              <a:t>aFRR</a:t>
            </a:r>
            <a:r>
              <a:rPr lang="en-GB"/>
              <a:t> market alignment with PICASSO have mixed impacts on battery opportunities</a:t>
            </a:r>
          </a:p>
        </p:txBody>
      </p:sp>
      <p:sp>
        <p:nvSpPr>
          <p:cNvPr id="27" name="Text Placeholder 26">
            <a:extLst>
              <a:ext uri="{FF2B5EF4-FFF2-40B4-BE49-F238E27FC236}">
                <a16:creationId xmlns:a16="http://schemas.microsoft.com/office/drawing/2014/main" id="{629A7914-D236-EB7E-39CC-5DE1DA814B70}"/>
              </a:ext>
            </a:extLst>
          </p:cNvPr>
          <p:cNvSpPr>
            <a:spLocks noGrp="1"/>
          </p:cNvSpPr>
          <p:nvPr>
            <p:ph type="body" sz="quarter" idx="31"/>
          </p:nvPr>
        </p:nvSpPr>
        <p:spPr>
          <a:xfrm>
            <a:off x="381599" y="79401"/>
            <a:ext cx="4431021" cy="184666"/>
          </a:xfrm>
        </p:spPr>
        <p:txBody>
          <a:bodyPr/>
          <a:lstStyle/>
          <a:p>
            <a:r>
              <a:rPr lang="en-GB"/>
              <a:t>		Policy and regulatory environment - Revenue opportunities</a:t>
            </a:r>
          </a:p>
        </p:txBody>
      </p:sp>
      <p:sp>
        <p:nvSpPr>
          <p:cNvPr id="15" name="Oval 14">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V</a:t>
            </a:r>
          </a:p>
        </p:txBody>
      </p:sp>
      <p:sp>
        <p:nvSpPr>
          <p:cNvPr id="17" name="Oval 16">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000" b="1">
                <a:solidFill>
                  <a:srgbClr val="838383"/>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a:t>
            </a:r>
            <a:endPar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 name="Text Placeholder 10">
            <a:extLst>
              <a:ext uri="{FF2B5EF4-FFF2-40B4-BE49-F238E27FC236}">
                <a16:creationId xmlns:a16="http://schemas.microsoft.com/office/drawing/2014/main" id="{9684332D-D713-13FA-0415-DD8E4BB620BF}"/>
              </a:ext>
            </a:extLst>
          </p:cNvPr>
          <p:cNvSpPr txBox="1">
            <a:spLocks/>
          </p:cNvSpPr>
          <p:nvPr/>
        </p:nvSpPr>
        <p:spPr>
          <a:xfrm>
            <a:off x="381600" y="6474841"/>
            <a:ext cx="11428800"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graphicFrame>
        <p:nvGraphicFramePr>
          <p:cNvPr id="7" name="Tabelle 7">
            <a:extLst>
              <a:ext uri="{FF2B5EF4-FFF2-40B4-BE49-F238E27FC236}">
                <a16:creationId xmlns:a16="http://schemas.microsoft.com/office/drawing/2014/main" id="{734CCFD4-A877-55DE-F631-3338A524102C}"/>
              </a:ext>
            </a:extLst>
          </p:cNvPr>
          <p:cNvGraphicFramePr>
            <a:graphicFrameLocks noGrp="1"/>
          </p:cNvGraphicFramePr>
          <p:nvPr>
            <p:custDataLst>
              <p:tags r:id="rId2"/>
            </p:custDataLst>
          </p:nvPr>
        </p:nvGraphicFramePr>
        <p:xfrm>
          <a:off x="381000" y="1703286"/>
          <a:ext cx="5372100" cy="259080"/>
        </p:xfrm>
        <a:graphic>
          <a:graphicData uri="http://schemas.openxmlformats.org/drawingml/2006/table">
            <a:tbl>
              <a:tblPr firstRow="1" bandRow="1">
                <a:effectLst/>
                <a:tableStyleId>{5C22544A-7EE6-4342-B048-85BDC9FD1C3A}</a:tableStyleId>
              </a:tblPr>
              <a:tblGrid>
                <a:gridCol w="2719552">
                  <a:extLst>
                    <a:ext uri="{9D8B030D-6E8A-4147-A177-3AD203B41FA5}">
                      <a16:colId xmlns:a16="http://schemas.microsoft.com/office/drawing/2014/main" val="3045742438"/>
                    </a:ext>
                  </a:extLst>
                </a:gridCol>
                <a:gridCol w="2652548">
                  <a:extLst>
                    <a:ext uri="{9D8B030D-6E8A-4147-A177-3AD203B41FA5}">
                      <a16:colId xmlns:a16="http://schemas.microsoft.com/office/drawing/2014/main" val="1538503298"/>
                    </a:ext>
                  </a:extLst>
                </a:gridCol>
              </a:tblGrid>
              <a:tr h="247699">
                <a:tc>
                  <a:txBody>
                    <a:bodyPr/>
                    <a:lstStyle/>
                    <a:p>
                      <a:pPr marL="0" algn="ctr" defTabSz="685783" rtl="0" eaLnBrk="1" latinLnBrk="0" hangingPunct="1">
                        <a:lnSpc>
                          <a:spcPct val="100000"/>
                        </a:lnSpc>
                      </a:pPr>
                      <a:r>
                        <a:rPr lang="en-GB" sz="1100" b="1" i="0" kern="1200">
                          <a:solidFill>
                            <a:schemeClr val="tx1"/>
                          </a:solidFill>
                          <a:latin typeface="Lato" panose="020F0502020204030203" pitchFamily="34" charset="0"/>
                          <a:ea typeface="Lato" panose="020F0502020204030203" pitchFamily="34" charset="0"/>
                          <a:cs typeface="Lato" panose="020F0502020204030203" pitchFamily="34" charset="0"/>
                        </a:rPr>
                        <a:t>Go-live dates</a:t>
                      </a:r>
                      <a:r>
                        <a:rPr lang="en-GB" sz="1100" b="1" i="0" kern="1200" baseline="30000">
                          <a:solidFill>
                            <a:schemeClr val="tx1"/>
                          </a:solidFill>
                          <a:latin typeface="Lato" panose="020F0502020204030203" pitchFamily="34" charset="0"/>
                          <a:ea typeface="Lato" panose="020F0502020204030203" pitchFamily="34" charset="0"/>
                          <a:cs typeface="Lato" panose="020F0502020204030203" pitchFamily="34" charset="0"/>
                        </a:rPr>
                        <a:t>1,2,3</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685783" rtl="0" eaLnBrk="1" latinLnBrk="0" hangingPunct="1">
                        <a:lnSpc>
                          <a:spcPct val="100000"/>
                        </a:lnSpc>
                      </a:pPr>
                      <a:r>
                        <a:rPr lang="en-GB" sz="1100" b="1" i="0" kern="1200">
                          <a:solidFill>
                            <a:schemeClr val="tx1"/>
                          </a:solidFill>
                          <a:latin typeface="Lato" panose="020F0502020204030203" pitchFamily="34" charset="0"/>
                          <a:ea typeface="Lato" panose="020F0502020204030203" pitchFamily="34" charset="0"/>
                          <a:cs typeface="Lato" panose="020F0502020204030203" pitchFamily="34" charset="0"/>
                        </a:rPr>
                        <a:t>Notable market change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36549950"/>
                  </a:ext>
                </a:extLst>
              </a:tr>
            </a:tbl>
          </a:graphicData>
        </a:graphic>
      </p:graphicFrame>
      <p:sp>
        <p:nvSpPr>
          <p:cNvPr id="21" name="Right Arrow 37">
            <a:extLst>
              <a:ext uri="{FF2B5EF4-FFF2-40B4-BE49-F238E27FC236}">
                <a16:creationId xmlns:a16="http://schemas.microsoft.com/office/drawing/2014/main" id="{9B26F9FB-CFB8-59F0-7A60-08AA303B8EA6}"/>
              </a:ext>
            </a:extLst>
          </p:cNvPr>
          <p:cNvSpPr>
            <a:spLocks/>
          </p:cNvSpPr>
          <p:nvPr/>
        </p:nvSpPr>
        <p:spPr>
          <a:xfrm rot="5400000">
            <a:off x="-1550276" y="3878327"/>
            <a:ext cx="4122086" cy="307452"/>
          </a:xfrm>
          <a:prstGeom prst="rightArrow">
            <a:avLst>
              <a:gd name="adj1" fmla="val 50000"/>
              <a:gd name="adj2" fmla="val 75045"/>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9" name="TextBox 38">
            <a:extLst>
              <a:ext uri="{FF2B5EF4-FFF2-40B4-BE49-F238E27FC236}">
                <a16:creationId xmlns:a16="http://schemas.microsoft.com/office/drawing/2014/main" id="{6AA47E1F-CC06-3761-E77E-1312BCB14AEF}"/>
              </a:ext>
            </a:extLst>
          </p:cNvPr>
          <p:cNvSpPr txBox="1"/>
          <p:nvPr/>
        </p:nvSpPr>
        <p:spPr>
          <a:xfrm>
            <a:off x="3093377" y="2782618"/>
            <a:ext cx="2590288" cy="469359"/>
          </a:xfrm>
          <a:prstGeom prst="rect">
            <a:avLst/>
          </a:prstGeom>
          <a:noFill/>
        </p:spPr>
        <p:txBody>
          <a:bodyPr wrap="square" lIns="0" tIns="0" rIns="0" bIns="0" rtlCol="0">
            <a:spAutoFit/>
          </a:bodyPr>
          <a:lstStyle/>
          <a:p>
            <a:pPr marL="0" marR="0" lvl="0" indent="0" algn="l" defTabSz="685783" rtl="0" eaLnBrk="1" fontAlgn="b" latinLnBrk="0" hangingPunct="1">
              <a:lnSpc>
                <a:spcPct val="100000"/>
              </a:lnSpc>
              <a:spcBef>
                <a:spcPts val="0"/>
              </a:spcBef>
              <a:spcAft>
                <a:spcPts val="300"/>
              </a:spcAft>
              <a:buClr>
                <a:srgbClr val="00B050"/>
              </a:buClr>
              <a:buSzPct val="120000"/>
              <a:buFontTx/>
              <a:buNone/>
              <a:tabLst/>
              <a:defRPr/>
            </a:pPr>
            <a:r>
              <a:rPr lang="en-GB" sz="1400">
                <a:solidFill>
                  <a:srgbClr val="808080"/>
                </a:solidFill>
                <a:highlight>
                  <a:srgbClr val="808080"/>
                </a:highlight>
              </a:rPr>
              <a:t>XXXXX </a:t>
            </a:r>
            <a:r>
              <a:rPr kumimoji="0" lang="en-GB" sz="1100" b="0" i="0" u="none" strike="noStrike" kern="1200" cap="none" spc="0" normalizeH="0" baseline="0" noProof="0">
                <a:ln>
                  <a:noFill/>
                </a:ln>
                <a:solidFill>
                  <a:srgbClr val="3C3C3B"/>
                </a:solidFill>
                <a:effectLst/>
                <a:uLnTx/>
                <a:uFillTx/>
                <a:latin typeface="Lato"/>
                <a:ea typeface="+mn-ea"/>
                <a:cs typeface="+mn-cs"/>
              </a:rPr>
              <a:t>: </a:t>
            </a:r>
          </a:p>
          <a:p>
            <a:pPr marL="171450" marR="0" lvl="0" indent="-171450" algn="l" defTabSz="685783" rtl="0" eaLnBrk="1" fontAlgn="b" latinLnBrk="0" hangingPunct="1">
              <a:lnSpc>
                <a:spcPct val="100000"/>
              </a:lnSpc>
              <a:spcBef>
                <a:spcPts val="0"/>
              </a:spcBef>
              <a:spcAft>
                <a:spcPts val="300"/>
              </a:spcAft>
              <a:buClr>
                <a:srgbClr val="00B050"/>
              </a:buClr>
              <a:buSzPct val="120000"/>
              <a:buFont typeface="Wingdings" panose="05000000000000000000" pitchFamily="2" charset="2"/>
              <a:buChar char="ü"/>
              <a:tabLst/>
              <a:defRPr/>
            </a:pPr>
            <a:r>
              <a:rPr lang="en-GB" sz="1400">
                <a:solidFill>
                  <a:srgbClr val="808080"/>
                </a:solidFill>
                <a:highlight>
                  <a:srgbClr val="808080"/>
                </a:highlight>
              </a:rPr>
              <a:t>XXXXX</a:t>
            </a:r>
            <a:endParaRPr kumimoji="0" lang="en-GB" sz="1100" b="0" i="0" u="none" strike="noStrike" kern="1200" cap="none" spc="0" normalizeH="0" baseline="0" noProof="0">
              <a:ln>
                <a:noFill/>
              </a:ln>
              <a:solidFill>
                <a:srgbClr val="808080"/>
              </a:solidFill>
              <a:effectLst/>
              <a:uLnTx/>
              <a:uFillTx/>
              <a:latin typeface="Lato"/>
              <a:ea typeface="+mn-ea"/>
              <a:cs typeface="+mn-cs"/>
            </a:endParaRPr>
          </a:p>
        </p:txBody>
      </p:sp>
      <p:sp>
        <p:nvSpPr>
          <p:cNvPr id="40" name="TextBox 39">
            <a:extLst>
              <a:ext uri="{FF2B5EF4-FFF2-40B4-BE49-F238E27FC236}">
                <a16:creationId xmlns:a16="http://schemas.microsoft.com/office/drawing/2014/main" id="{A4BCDA9D-1433-8AE3-2C09-D62E72FA6E7F}"/>
              </a:ext>
            </a:extLst>
          </p:cNvPr>
          <p:cNvSpPr txBox="1"/>
          <p:nvPr/>
        </p:nvSpPr>
        <p:spPr>
          <a:xfrm>
            <a:off x="3116677" y="4482993"/>
            <a:ext cx="2659723" cy="723275"/>
          </a:xfrm>
          <a:prstGeom prst="rect">
            <a:avLst/>
          </a:prstGeom>
          <a:noFill/>
        </p:spPr>
        <p:txBody>
          <a:bodyPr wrap="square" lIns="0" tIns="0" rIns="0" bIns="0" rtlCol="0">
            <a:spAutoFit/>
          </a:bodyPr>
          <a:lstStyle/>
          <a:p>
            <a:pPr marL="0" marR="0" lvl="0" indent="0" algn="l" defTabSz="685783" rtl="0" eaLnBrk="1" fontAlgn="b" latinLnBrk="0" hangingPunct="1">
              <a:lnSpc>
                <a:spcPct val="100000"/>
              </a:lnSpc>
              <a:spcBef>
                <a:spcPts val="0"/>
              </a:spcBef>
              <a:spcAft>
                <a:spcPts val="300"/>
              </a:spcAft>
              <a:buClr>
                <a:srgbClr val="00B050"/>
              </a:buClr>
              <a:buSzPct val="120000"/>
              <a:buFont typeface="Arial" panose="020B0604020202020204" pitchFamily="34" charset="0"/>
              <a:buNone/>
              <a:tabLst/>
              <a:defRPr/>
            </a:pPr>
            <a:r>
              <a:rPr lang="en-GB" sz="1400">
                <a:solidFill>
                  <a:srgbClr val="808080"/>
                </a:solidFill>
                <a:highlight>
                  <a:srgbClr val="808080"/>
                </a:highlight>
              </a:rPr>
              <a:t>XXXXX</a:t>
            </a:r>
            <a:r>
              <a:rPr lang="en-GB" sz="1400">
                <a:solidFill>
                  <a:schemeClr val="accent5"/>
                </a:solidFill>
                <a:highlight>
                  <a:srgbClr val="808080"/>
                </a:highlight>
              </a:rPr>
              <a:t> </a:t>
            </a:r>
            <a:r>
              <a:rPr kumimoji="0" lang="en-GB" sz="1100" b="1" i="0" u="none" strike="noStrike" kern="1200" cap="none" spc="0" normalizeH="0" baseline="0" noProof="0">
                <a:ln>
                  <a:noFill/>
                </a:ln>
                <a:solidFill>
                  <a:srgbClr val="3C3C3B"/>
                </a:solidFill>
                <a:effectLst/>
                <a:uLnTx/>
                <a:uFillTx/>
                <a:latin typeface="Lato"/>
                <a:ea typeface="+mn-ea"/>
                <a:cs typeface="+mn-cs"/>
              </a:rPr>
              <a:t>: </a:t>
            </a:r>
          </a:p>
          <a:p>
            <a:pPr marL="171450" marR="0" lvl="0" indent="-171450" algn="l" defTabSz="685783" rtl="0" eaLnBrk="1" fontAlgn="b" latinLnBrk="0" hangingPunct="1">
              <a:lnSpc>
                <a:spcPct val="100000"/>
              </a:lnSpc>
              <a:spcBef>
                <a:spcPts val="0"/>
              </a:spcBef>
              <a:spcAft>
                <a:spcPts val="300"/>
              </a:spcAft>
              <a:buClr>
                <a:srgbClr val="00B050"/>
              </a:buClr>
              <a:buSzPct val="120000"/>
              <a:buFont typeface="Wingdings" panose="05000000000000000000" pitchFamily="2" charset="2"/>
              <a:buChar char="ü"/>
              <a:tabLst/>
              <a:defRPr/>
            </a:pPr>
            <a:r>
              <a:rPr lang="en-GB" sz="1400">
                <a:solidFill>
                  <a:srgbClr val="808080"/>
                </a:solidFill>
                <a:highlight>
                  <a:srgbClr val="808080"/>
                </a:highlight>
              </a:rPr>
              <a:t>XXXXX</a:t>
            </a:r>
            <a:endParaRPr kumimoji="0" lang="en-GB" sz="1100" b="0" i="0" u="none" strike="noStrike" kern="1200" cap="none" spc="0" normalizeH="0" baseline="0" noProof="0">
              <a:ln>
                <a:noFill/>
              </a:ln>
              <a:solidFill>
                <a:srgbClr val="808080"/>
              </a:solidFill>
              <a:effectLst/>
              <a:uLnTx/>
              <a:uFillTx/>
              <a:latin typeface="Lato"/>
              <a:ea typeface="+mn-ea"/>
              <a:cs typeface="+mn-cs"/>
            </a:endParaRPr>
          </a:p>
          <a:p>
            <a:pPr marL="171450" marR="0" lvl="0" indent="-171450" algn="l" defTabSz="685783" rtl="0" eaLnBrk="1" fontAlgn="b" latinLnBrk="0" hangingPunct="1">
              <a:lnSpc>
                <a:spcPct val="100000"/>
              </a:lnSpc>
              <a:spcBef>
                <a:spcPts val="0"/>
              </a:spcBef>
              <a:spcAft>
                <a:spcPts val="300"/>
              </a:spcAft>
              <a:buClr>
                <a:srgbClr val="00B050"/>
              </a:buClr>
              <a:buSzPct val="120000"/>
              <a:buFont typeface="Wingdings" panose="05000000000000000000" pitchFamily="2" charset="2"/>
              <a:buChar char="ü"/>
              <a:tabLst/>
              <a:defRPr/>
            </a:pPr>
            <a:r>
              <a:rPr lang="en-GB" sz="1400">
                <a:solidFill>
                  <a:srgbClr val="808080"/>
                </a:solidFill>
                <a:highlight>
                  <a:srgbClr val="808080"/>
                </a:highlight>
              </a:rPr>
              <a:t>XXXXX</a:t>
            </a:r>
            <a:endParaRPr kumimoji="0" lang="en-GB" sz="1100" b="0" i="0" u="none" strike="noStrike" kern="1200" cap="none" spc="0" normalizeH="0" baseline="0" noProof="0">
              <a:ln>
                <a:noFill/>
              </a:ln>
              <a:solidFill>
                <a:srgbClr val="808080"/>
              </a:solidFill>
              <a:effectLst/>
              <a:uLnTx/>
              <a:uFillTx/>
              <a:latin typeface="Lato"/>
              <a:ea typeface="+mn-ea"/>
              <a:cs typeface="+mn-cs"/>
            </a:endParaRPr>
          </a:p>
        </p:txBody>
      </p:sp>
      <p:sp>
        <p:nvSpPr>
          <p:cNvPr id="41" name="TextBox 40">
            <a:extLst>
              <a:ext uri="{FF2B5EF4-FFF2-40B4-BE49-F238E27FC236}">
                <a16:creationId xmlns:a16="http://schemas.microsoft.com/office/drawing/2014/main" id="{CF253619-9639-6DA8-F896-393FA5C079B4}"/>
              </a:ext>
            </a:extLst>
          </p:cNvPr>
          <p:cNvSpPr txBox="1"/>
          <p:nvPr/>
        </p:nvSpPr>
        <p:spPr>
          <a:xfrm>
            <a:off x="3093377" y="3461598"/>
            <a:ext cx="2659723" cy="723275"/>
          </a:xfrm>
          <a:prstGeom prst="rect">
            <a:avLst/>
          </a:prstGeom>
          <a:noFill/>
        </p:spPr>
        <p:txBody>
          <a:bodyPr wrap="square" lIns="0" tIns="0" rIns="0" bIns="0" rtlCol="0">
            <a:spAutoFit/>
          </a:bodyPr>
          <a:lstStyle/>
          <a:p>
            <a:pPr marL="0" marR="0" lvl="0" indent="0" algn="l" defTabSz="685783" rtl="0" eaLnBrk="1" fontAlgn="b" latinLnBrk="0" hangingPunct="1">
              <a:lnSpc>
                <a:spcPct val="100000"/>
              </a:lnSpc>
              <a:spcBef>
                <a:spcPts val="0"/>
              </a:spcBef>
              <a:spcAft>
                <a:spcPts val="300"/>
              </a:spcAft>
              <a:buClr>
                <a:srgbClr val="838383"/>
              </a:buClr>
              <a:buSzPct val="120000"/>
              <a:buFont typeface="Lato" panose="020F0502020204030203" pitchFamily="34" charset="0"/>
              <a:buNone/>
              <a:tabLst/>
              <a:defRPr/>
            </a:pPr>
            <a:r>
              <a:rPr lang="en-GB" sz="1400">
                <a:solidFill>
                  <a:srgbClr val="808080"/>
                </a:solidFill>
                <a:highlight>
                  <a:srgbClr val="808080"/>
                </a:highlight>
              </a:rPr>
              <a:t>XXXXX</a:t>
            </a:r>
            <a:r>
              <a:rPr kumimoji="0" lang="en-GB" sz="1100" b="1" i="0" u="none" strike="noStrike" kern="1200" cap="none" spc="0" normalizeH="0" baseline="0" noProof="0">
                <a:ln>
                  <a:noFill/>
                </a:ln>
                <a:solidFill>
                  <a:srgbClr val="3C3C3B"/>
                </a:solidFill>
                <a:effectLst/>
                <a:uLnTx/>
                <a:uFillTx/>
                <a:latin typeface="Lato"/>
                <a:ea typeface="+mn-ea"/>
                <a:cs typeface="+mn-cs"/>
              </a:rPr>
              <a:t>:</a:t>
            </a:r>
          </a:p>
          <a:p>
            <a:pPr marL="171450" marR="0" lvl="0" indent="-171450" algn="l" defTabSz="685783" rtl="0" eaLnBrk="1" fontAlgn="b" latinLnBrk="0" hangingPunct="1">
              <a:lnSpc>
                <a:spcPct val="100000"/>
              </a:lnSpc>
              <a:spcBef>
                <a:spcPts val="0"/>
              </a:spcBef>
              <a:spcAft>
                <a:spcPts val="300"/>
              </a:spcAft>
              <a:buClr>
                <a:srgbClr val="838383"/>
              </a:buClr>
              <a:buSzPct val="120000"/>
              <a:buFont typeface="Lato" panose="020F0502020204030203" pitchFamily="34" charset="0"/>
              <a:buChar char="?"/>
              <a:tabLst/>
              <a:defRPr/>
            </a:pPr>
            <a:r>
              <a:rPr lang="en-GB" sz="1400">
                <a:solidFill>
                  <a:srgbClr val="808080"/>
                </a:solidFill>
                <a:highlight>
                  <a:srgbClr val="808080"/>
                </a:highlight>
              </a:rPr>
              <a:t>XXXXX</a:t>
            </a:r>
            <a:r>
              <a:rPr kumimoji="0" lang="en-GB" sz="1100" b="0" i="0" u="none" strike="noStrike" kern="1200" cap="none" spc="0" normalizeH="0" baseline="0" noProof="0">
                <a:ln>
                  <a:noFill/>
                </a:ln>
                <a:solidFill>
                  <a:srgbClr val="3C3C3B"/>
                </a:solidFill>
                <a:effectLst/>
                <a:uLnTx/>
                <a:uFillTx/>
                <a:latin typeface="Lato"/>
                <a:ea typeface="+mn-ea"/>
                <a:cs typeface="+mn-cs"/>
              </a:rPr>
              <a:t> </a:t>
            </a:r>
          </a:p>
          <a:p>
            <a:pPr marL="171450" marR="0" lvl="0" indent="-171450" algn="l" defTabSz="685783" rtl="0" eaLnBrk="1" fontAlgn="b" latinLnBrk="0" hangingPunct="1">
              <a:lnSpc>
                <a:spcPct val="100000"/>
              </a:lnSpc>
              <a:spcBef>
                <a:spcPts val="0"/>
              </a:spcBef>
              <a:spcAft>
                <a:spcPts val="300"/>
              </a:spcAft>
              <a:buClr>
                <a:srgbClr val="00B050"/>
              </a:buClr>
              <a:buSzPct val="120000"/>
              <a:buFont typeface="Wingdings" panose="05000000000000000000" pitchFamily="2" charset="2"/>
              <a:buChar char="ü"/>
              <a:tabLst/>
              <a:defRPr/>
            </a:pPr>
            <a:r>
              <a:rPr lang="en-GB" sz="1400">
                <a:solidFill>
                  <a:srgbClr val="808080"/>
                </a:solidFill>
                <a:highlight>
                  <a:srgbClr val="808080"/>
                </a:highlight>
              </a:rPr>
              <a:t>XXXXX</a:t>
            </a:r>
            <a:endParaRPr kumimoji="0" lang="en-GB" sz="1100" b="0" i="0" u="none" strike="noStrike" kern="1200" cap="none" spc="0" normalizeH="0" baseline="0" noProof="0">
              <a:ln>
                <a:noFill/>
              </a:ln>
              <a:solidFill>
                <a:srgbClr val="808080"/>
              </a:solidFill>
              <a:effectLst/>
              <a:uLnTx/>
              <a:uFillTx/>
              <a:latin typeface="Lato"/>
              <a:ea typeface="+mn-ea"/>
              <a:cs typeface="+mn-cs"/>
            </a:endParaRPr>
          </a:p>
        </p:txBody>
      </p:sp>
      <p:sp>
        <p:nvSpPr>
          <p:cNvPr id="68" name="TextBox 67">
            <a:extLst>
              <a:ext uri="{FF2B5EF4-FFF2-40B4-BE49-F238E27FC236}">
                <a16:creationId xmlns:a16="http://schemas.microsoft.com/office/drawing/2014/main" id="{8CEB222C-B0E7-BB82-051B-CA89C26EBBC7}"/>
              </a:ext>
            </a:extLst>
          </p:cNvPr>
          <p:cNvSpPr txBox="1"/>
          <p:nvPr/>
        </p:nvSpPr>
        <p:spPr>
          <a:xfrm>
            <a:off x="3093377" y="2091636"/>
            <a:ext cx="2659723" cy="169277"/>
          </a:xfrm>
          <a:prstGeom prst="rect">
            <a:avLst/>
          </a:prstGeom>
          <a:noFill/>
        </p:spPr>
        <p:txBody>
          <a:bodyPr wrap="square" lIns="0" tIns="0" rIns="0" bIns="0" rtlCol="0">
            <a:spAutoFit/>
          </a:bodyPr>
          <a:lstStyle/>
          <a:p>
            <a:pPr marL="0" marR="0" lvl="0" indent="0" algn="l" defTabSz="685783" rtl="0" eaLnBrk="1" fontAlgn="b" latinLnBrk="0" hangingPunct="1">
              <a:lnSpc>
                <a:spcPct val="100000"/>
              </a:lnSpc>
              <a:spcBef>
                <a:spcPts val="0"/>
              </a:spcBef>
              <a:spcAft>
                <a:spcPts val="30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All live countries: </a:t>
            </a:r>
          </a:p>
        </p:txBody>
      </p:sp>
      <p:pic>
        <p:nvPicPr>
          <p:cNvPr id="69" name="Graphic 68" descr="Bar graph with downward trend with solid fill">
            <a:extLst>
              <a:ext uri="{FF2B5EF4-FFF2-40B4-BE49-F238E27FC236}">
                <a16:creationId xmlns:a16="http://schemas.microsoft.com/office/drawing/2014/main" id="{B9CE00B3-475B-03C7-5C12-95A3F4AE8F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53808" y="1713379"/>
            <a:ext cx="436026" cy="436026"/>
          </a:xfrm>
          <a:prstGeom prst="rect">
            <a:avLst/>
          </a:prstGeom>
        </p:spPr>
      </p:pic>
      <p:pic>
        <p:nvPicPr>
          <p:cNvPr id="70" name="Graphic 69" descr="Transfer with solid fill">
            <a:extLst>
              <a:ext uri="{FF2B5EF4-FFF2-40B4-BE49-F238E27FC236}">
                <a16:creationId xmlns:a16="http://schemas.microsoft.com/office/drawing/2014/main" id="{167BDB44-34FC-A22F-3EA6-1D600FDED77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74784" y="3207037"/>
            <a:ext cx="394075" cy="394075"/>
          </a:xfrm>
          <a:prstGeom prst="rect">
            <a:avLst/>
          </a:prstGeom>
        </p:spPr>
      </p:pic>
      <p:pic>
        <p:nvPicPr>
          <p:cNvPr id="71" name="Graphic 70" descr="Stopwatch 75% with solid fill">
            <a:extLst>
              <a:ext uri="{FF2B5EF4-FFF2-40B4-BE49-F238E27FC236}">
                <a16:creationId xmlns:a16="http://schemas.microsoft.com/office/drawing/2014/main" id="{C95003A7-A23B-D2BC-D6AA-2ACC63D4806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31609" y="4427278"/>
            <a:ext cx="480425" cy="480425"/>
          </a:xfrm>
          <a:prstGeom prst="rect">
            <a:avLst/>
          </a:prstGeom>
        </p:spPr>
      </p:pic>
      <p:sp>
        <p:nvSpPr>
          <p:cNvPr id="11" name="Rectangle 10">
            <a:extLst>
              <a:ext uri="{FF2B5EF4-FFF2-40B4-BE49-F238E27FC236}">
                <a16:creationId xmlns:a16="http://schemas.microsoft.com/office/drawing/2014/main" id="{2E03F9A0-41AF-4CE5-0E76-849EB8B7C8AD}"/>
              </a:ext>
            </a:extLst>
          </p:cNvPr>
          <p:cNvSpPr/>
          <p:nvPr/>
        </p:nvSpPr>
        <p:spPr>
          <a:xfrm>
            <a:off x="753993" y="2041957"/>
            <a:ext cx="2056297" cy="528171"/>
          </a:xfrm>
          <a:prstGeom prst="rect">
            <a:avLst/>
          </a:prstGeom>
          <a:noFill/>
          <a:ln w="635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Live on PICASSO</a:t>
            </a:r>
          </a:p>
        </p:txBody>
      </p:sp>
      <p:sp>
        <p:nvSpPr>
          <p:cNvPr id="24" name="Rectangle 23">
            <a:extLst>
              <a:ext uri="{FF2B5EF4-FFF2-40B4-BE49-F238E27FC236}">
                <a16:creationId xmlns:a16="http://schemas.microsoft.com/office/drawing/2014/main" id="{514DE28C-8F66-6591-DD38-E15C16CF0614}"/>
              </a:ext>
            </a:extLst>
          </p:cNvPr>
          <p:cNvSpPr/>
          <p:nvPr/>
        </p:nvSpPr>
        <p:spPr>
          <a:xfrm>
            <a:off x="753993" y="2654007"/>
            <a:ext cx="2047869" cy="473429"/>
          </a:xfrm>
          <a:prstGeom prst="rect">
            <a:avLst/>
          </a:prstGeom>
          <a:noFill/>
          <a:ln w="635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Lato"/>
                <a:ea typeface="+mn-ea"/>
                <a:cs typeface="+mn-cs"/>
              </a:rPr>
              <a:t>Live internally</a:t>
            </a:r>
          </a:p>
        </p:txBody>
      </p:sp>
      <p:sp>
        <p:nvSpPr>
          <p:cNvPr id="26" name="Rectangle 25">
            <a:extLst>
              <a:ext uri="{FF2B5EF4-FFF2-40B4-BE49-F238E27FC236}">
                <a16:creationId xmlns:a16="http://schemas.microsoft.com/office/drawing/2014/main" id="{31E62AE3-4D7A-EFAA-16AC-44E6E65DF119}"/>
              </a:ext>
            </a:extLst>
          </p:cNvPr>
          <p:cNvSpPr/>
          <p:nvPr/>
        </p:nvSpPr>
        <p:spPr>
          <a:xfrm>
            <a:off x="753993" y="3378539"/>
            <a:ext cx="1145359" cy="570281"/>
          </a:xfrm>
          <a:prstGeom prst="rect">
            <a:avLst/>
          </a:prstGeom>
          <a:noFill/>
          <a:ln w="635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050" b="0" i="0" u="none" strike="noStrike" kern="1200" cap="none" spc="0" normalizeH="0" baseline="0" noProof="0">
              <a:ln>
                <a:noFill/>
              </a:ln>
              <a:solidFill>
                <a:srgbClr val="3C3C3B"/>
              </a:solidFill>
              <a:effectLst/>
              <a:uLnTx/>
              <a:uFillTx/>
              <a:latin typeface="Lato"/>
              <a:ea typeface="+mn-ea"/>
              <a:cs typeface="+mn-cs"/>
            </a:endParaRPr>
          </a:p>
        </p:txBody>
      </p:sp>
      <p:sp>
        <p:nvSpPr>
          <p:cNvPr id="32" name="Rectangle 31">
            <a:extLst>
              <a:ext uri="{FF2B5EF4-FFF2-40B4-BE49-F238E27FC236}">
                <a16:creationId xmlns:a16="http://schemas.microsoft.com/office/drawing/2014/main" id="{7F89DB8E-43D3-BAE8-2F2B-4E643BCF5735}"/>
              </a:ext>
            </a:extLst>
          </p:cNvPr>
          <p:cNvSpPr/>
          <p:nvPr/>
        </p:nvSpPr>
        <p:spPr>
          <a:xfrm>
            <a:off x="753993" y="4054325"/>
            <a:ext cx="2053899" cy="451803"/>
          </a:xfrm>
          <a:prstGeom prst="rect">
            <a:avLst/>
          </a:prstGeom>
          <a:noFill/>
          <a:ln w="635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050" b="0" i="0" u="none" strike="noStrike" kern="1200" cap="none" spc="0" normalizeH="0" baseline="0" noProof="0">
              <a:ln>
                <a:noFill/>
              </a:ln>
              <a:solidFill>
                <a:srgbClr val="3C3C3B"/>
              </a:solidFill>
              <a:effectLst/>
              <a:uLnTx/>
              <a:uFillTx/>
              <a:latin typeface="Lato"/>
              <a:ea typeface="+mn-ea"/>
              <a:cs typeface="+mn-cs"/>
            </a:endParaRPr>
          </a:p>
        </p:txBody>
      </p:sp>
      <p:sp>
        <p:nvSpPr>
          <p:cNvPr id="43" name="Rectangle 42">
            <a:extLst>
              <a:ext uri="{FF2B5EF4-FFF2-40B4-BE49-F238E27FC236}">
                <a16:creationId xmlns:a16="http://schemas.microsoft.com/office/drawing/2014/main" id="{E03DE0E1-FC00-1805-CC87-9866261CE639}"/>
              </a:ext>
            </a:extLst>
          </p:cNvPr>
          <p:cNvSpPr/>
          <p:nvPr/>
        </p:nvSpPr>
        <p:spPr>
          <a:xfrm>
            <a:off x="756391" y="4586778"/>
            <a:ext cx="2053899" cy="559980"/>
          </a:xfrm>
          <a:prstGeom prst="rect">
            <a:avLst/>
          </a:prstGeom>
          <a:noFill/>
          <a:ln w="635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050" b="0" i="0" u="none" strike="noStrike" kern="1200" cap="none" spc="0" normalizeH="0" baseline="0" noProof="0">
              <a:ln>
                <a:noFill/>
              </a:ln>
              <a:solidFill>
                <a:srgbClr val="3C3C3B"/>
              </a:solidFill>
              <a:effectLst/>
              <a:uLnTx/>
              <a:uFillTx/>
              <a:latin typeface="Lato"/>
              <a:ea typeface="+mn-ea"/>
              <a:cs typeface="+mn-cs"/>
            </a:endParaRPr>
          </a:p>
        </p:txBody>
      </p:sp>
      <p:sp>
        <p:nvSpPr>
          <p:cNvPr id="50" name="Rectangle 49">
            <a:extLst>
              <a:ext uri="{FF2B5EF4-FFF2-40B4-BE49-F238E27FC236}">
                <a16:creationId xmlns:a16="http://schemas.microsoft.com/office/drawing/2014/main" id="{005C7A4A-B5B9-0BBB-E674-824D53BD4F25}"/>
              </a:ext>
            </a:extLst>
          </p:cNvPr>
          <p:cNvSpPr/>
          <p:nvPr/>
        </p:nvSpPr>
        <p:spPr>
          <a:xfrm>
            <a:off x="753993" y="5286546"/>
            <a:ext cx="1145359" cy="570281"/>
          </a:xfrm>
          <a:prstGeom prst="rect">
            <a:avLst/>
          </a:prstGeom>
          <a:noFill/>
          <a:ln w="635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050" b="0" i="0" u="none" strike="noStrike" kern="1200" cap="none" spc="0" normalizeH="0" baseline="0" noProof="0">
              <a:ln>
                <a:noFill/>
              </a:ln>
              <a:solidFill>
                <a:srgbClr val="3C3C3B"/>
              </a:solidFill>
              <a:effectLst/>
              <a:uLnTx/>
              <a:uFillTx/>
              <a:latin typeface="Lato"/>
              <a:ea typeface="+mn-ea"/>
              <a:cs typeface="+mn-cs"/>
            </a:endParaRPr>
          </a:p>
        </p:txBody>
      </p:sp>
      <p:sp>
        <p:nvSpPr>
          <p:cNvPr id="54" name="Oval 53">
            <a:extLst>
              <a:ext uri="{FF2B5EF4-FFF2-40B4-BE49-F238E27FC236}">
                <a16:creationId xmlns:a16="http://schemas.microsoft.com/office/drawing/2014/main" id="{85A22F74-6215-4498-7B36-D830C0ADCBD5}"/>
              </a:ext>
            </a:extLst>
          </p:cNvPr>
          <p:cNvSpPr/>
          <p:nvPr/>
        </p:nvSpPr>
        <p:spPr>
          <a:xfrm>
            <a:off x="303282" y="3107757"/>
            <a:ext cx="414970" cy="386862"/>
          </a:xfrm>
          <a:prstGeom prst="ellipse">
            <a:avLst/>
          </a:prstGeom>
          <a:solidFill>
            <a:schemeClr val="tx1"/>
          </a:solidFill>
          <a:ln w="381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Pct val="100000"/>
              <a:buFontTx/>
              <a:buNone/>
              <a:tabLst/>
              <a:defRPr/>
            </a:pPr>
            <a:r>
              <a:rPr kumimoji="0" lang="en-GB" sz="11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X</a:t>
            </a:r>
          </a:p>
        </p:txBody>
      </p:sp>
      <p:sp>
        <p:nvSpPr>
          <p:cNvPr id="55" name="Oval 54">
            <a:extLst>
              <a:ext uri="{FF2B5EF4-FFF2-40B4-BE49-F238E27FC236}">
                <a16:creationId xmlns:a16="http://schemas.microsoft.com/office/drawing/2014/main" id="{F1624C81-22C8-85F0-AB0A-4D39AD11CDA0}"/>
              </a:ext>
            </a:extLst>
          </p:cNvPr>
          <p:cNvSpPr/>
          <p:nvPr/>
        </p:nvSpPr>
        <p:spPr>
          <a:xfrm>
            <a:off x="303282" y="5150073"/>
            <a:ext cx="414970" cy="386862"/>
          </a:xfrm>
          <a:prstGeom prst="ellipse">
            <a:avLst/>
          </a:prstGeom>
          <a:solidFill>
            <a:schemeClr val="tx1"/>
          </a:solidFill>
          <a:ln w="38100"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Tx/>
              <a:buSzPct val="100000"/>
              <a:buFontTx/>
              <a:buNone/>
              <a:tabLst/>
              <a:defRPr/>
            </a:pPr>
            <a:r>
              <a:rPr kumimoji="0" lang="en-GB" sz="11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X</a:t>
            </a:r>
          </a:p>
        </p:txBody>
      </p:sp>
      <p:cxnSp>
        <p:nvCxnSpPr>
          <p:cNvPr id="56" name="Straight Connector 55">
            <a:extLst>
              <a:ext uri="{FF2B5EF4-FFF2-40B4-BE49-F238E27FC236}">
                <a16:creationId xmlns:a16="http://schemas.microsoft.com/office/drawing/2014/main" id="{B34843D9-21F0-18C2-62B5-567F42EBBC0C}"/>
              </a:ext>
            </a:extLst>
          </p:cNvPr>
          <p:cNvCxnSpPr>
            <a:cxnSpLocks/>
            <a:stCxn id="24" idx="1"/>
          </p:cNvCxnSpPr>
          <p:nvPr/>
        </p:nvCxnSpPr>
        <p:spPr>
          <a:xfrm flipH="1" flipV="1">
            <a:off x="508110" y="2890721"/>
            <a:ext cx="245883" cy="1"/>
          </a:xfrm>
          <a:prstGeom prst="line">
            <a:avLst/>
          </a:prstGeom>
          <a:ln w="9525">
            <a:solidFill>
              <a:schemeClr val="tx1"/>
            </a:solidFill>
            <a:headEnd type="none" w="med" len="med"/>
            <a:tailEnd type="oval" w="med" len="med"/>
          </a:ln>
          <a:effectLst/>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DC51A68-D84E-4DF9-125A-544DEFB6DB69}"/>
              </a:ext>
            </a:extLst>
          </p:cNvPr>
          <p:cNvCxnSpPr>
            <a:cxnSpLocks/>
          </p:cNvCxnSpPr>
          <p:nvPr/>
        </p:nvCxnSpPr>
        <p:spPr>
          <a:xfrm flipH="1" flipV="1">
            <a:off x="508110" y="2306042"/>
            <a:ext cx="245883" cy="1"/>
          </a:xfrm>
          <a:prstGeom prst="line">
            <a:avLst/>
          </a:prstGeom>
          <a:ln w="9525">
            <a:solidFill>
              <a:schemeClr val="tx1"/>
            </a:solidFill>
            <a:headEnd type="none" w="med" len="med"/>
            <a:tailEnd type="oval" w="med" len="med"/>
          </a:ln>
          <a:effectLst/>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031E1CD-8CA6-E043-A9CC-AD466614ABF0}"/>
              </a:ext>
            </a:extLst>
          </p:cNvPr>
          <p:cNvCxnSpPr>
            <a:cxnSpLocks/>
          </p:cNvCxnSpPr>
          <p:nvPr/>
        </p:nvCxnSpPr>
        <p:spPr>
          <a:xfrm flipH="1" flipV="1">
            <a:off x="508110" y="3692431"/>
            <a:ext cx="245883" cy="1"/>
          </a:xfrm>
          <a:prstGeom prst="line">
            <a:avLst/>
          </a:prstGeom>
          <a:ln w="9525">
            <a:solidFill>
              <a:schemeClr val="tx1"/>
            </a:solidFill>
            <a:headEnd type="none" w="med" len="med"/>
            <a:tailEnd type="oval" w="med" len="med"/>
          </a:ln>
          <a:effectLst/>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F2FF349-F586-5E7B-0A5E-2181351D4EA7}"/>
              </a:ext>
            </a:extLst>
          </p:cNvPr>
          <p:cNvCxnSpPr>
            <a:cxnSpLocks/>
          </p:cNvCxnSpPr>
          <p:nvPr/>
        </p:nvCxnSpPr>
        <p:spPr>
          <a:xfrm flipH="1" flipV="1">
            <a:off x="508110" y="4290547"/>
            <a:ext cx="245883" cy="1"/>
          </a:xfrm>
          <a:prstGeom prst="line">
            <a:avLst/>
          </a:prstGeom>
          <a:ln w="9525">
            <a:solidFill>
              <a:schemeClr val="tx1"/>
            </a:solidFill>
            <a:headEnd type="none" w="med" len="med"/>
            <a:tailEnd type="oval" w="med" len="med"/>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FD81C84-1DC6-A8DF-BF8D-EBB924818A26}"/>
              </a:ext>
            </a:extLst>
          </p:cNvPr>
          <p:cNvCxnSpPr>
            <a:cxnSpLocks/>
          </p:cNvCxnSpPr>
          <p:nvPr/>
        </p:nvCxnSpPr>
        <p:spPr>
          <a:xfrm flipH="1" flipV="1">
            <a:off x="508110" y="4818437"/>
            <a:ext cx="245883" cy="1"/>
          </a:xfrm>
          <a:prstGeom prst="line">
            <a:avLst/>
          </a:prstGeom>
          <a:ln w="9525">
            <a:solidFill>
              <a:schemeClr val="tx1"/>
            </a:solidFill>
            <a:headEnd type="none" w="med" len="med"/>
            <a:tailEnd type="oval" w="med" len="med"/>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99D141A-CCF1-8AAE-670B-2106DE897478}"/>
              </a:ext>
            </a:extLst>
          </p:cNvPr>
          <p:cNvCxnSpPr>
            <a:cxnSpLocks/>
          </p:cNvCxnSpPr>
          <p:nvPr/>
        </p:nvCxnSpPr>
        <p:spPr>
          <a:xfrm flipH="1" flipV="1">
            <a:off x="508110" y="5672666"/>
            <a:ext cx="245883" cy="1"/>
          </a:xfrm>
          <a:prstGeom prst="line">
            <a:avLst/>
          </a:prstGeom>
          <a:ln w="9525">
            <a:solidFill>
              <a:schemeClr val="tx1"/>
            </a:solidFill>
            <a:headEnd type="none" w="med" len="med"/>
            <a:tailEnd type="oval" w="med" len="med"/>
          </a:ln>
          <a:effectLst/>
        </p:spPr>
        <p:style>
          <a:lnRef idx="1">
            <a:schemeClr val="accent1"/>
          </a:lnRef>
          <a:fillRef idx="0">
            <a:schemeClr val="accent1"/>
          </a:fillRef>
          <a:effectRef idx="0">
            <a:schemeClr val="accent1"/>
          </a:effectRef>
          <a:fontRef idx="minor">
            <a:schemeClr val="tx1"/>
          </a:fontRef>
        </p:style>
      </p:cxnSp>
      <p:sp>
        <p:nvSpPr>
          <p:cNvPr id="73" name="Text Placeholder 33">
            <a:extLst>
              <a:ext uri="{FF2B5EF4-FFF2-40B4-BE49-F238E27FC236}">
                <a16:creationId xmlns:a16="http://schemas.microsoft.com/office/drawing/2014/main" id="{CF81C12A-63F6-FC73-8C0E-9B0DFDF9CA16}"/>
              </a:ext>
            </a:extLst>
          </p:cNvPr>
          <p:cNvSpPr txBox="1">
            <a:spLocks/>
          </p:cNvSpPr>
          <p:nvPr/>
        </p:nvSpPr>
        <p:spPr>
          <a:xfrm>
            <a:off x="6590875" y="1311190"/>
            <a:ext cx="5261700" cy="184666"/>
          </a:xfrm>
          <a:prstGeom prst="rect">
            <a:avLst/>
          </a:prstGeom>
          <a:solidFill>
            <a:schemeClr val="accent5"/>
          </a:solidFill>
        </p:spPr>
        <p:txBody>
          <a:bodyPr vert="horz" wrap="square" lIns="0" tIns="0" rIns="0" bIns="0" rtlCol="0" anchor="ctr">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357188"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prstClr val="white"/>
                </a:solidFill>
                <a:effectLst/>
                <a:uLnTx/>
                <a:uFillTx/>
                <a:latin typeface="Lato" panose="020F0502020204030203" pitchFamily="34" charset="0"/>
                <a:sym typeface="Lato" panose="020F0502020204030203" pitchFamily="34" charset="0"/>
              </a:rPr>
              <a:t>Factors driving impacts of PICASSO integration on batteries</a:t>
            </a:r>
          </a:p>
        </p:txBody>
      </p:sp>
      <p:sp>
        <p:nvSpPr>
          <p:cNvPr id="74" name="Text Placeholder 33">
            <a:extLst>
              <a:ext uri="{FF2B5EF4-FFF2-40B4-BE49-F238E27FC236}">
                <a16:creationId xmlns:a16="http://schemas.microsoft.com/office/drawing/2014/main" id="{021C8EF5-44D1-4DA8-7E18-633420987E20}"/>
              </a:ext>
            </a:extLst>
          </p:cNvPr>
          <p:cNvSpPr txBox="1">
            <a:spLocks/>
          </p:cNvSpPr>
          <p:nvPr/>
        </p:nvSpPr>
        <p:spPr>
          <a:xfrm>
            <a:off x="561494" y="1308115"/>
            <a:ext cx="5220481" cy="184666"/>
          </a:xfrm>
          <a:prstGeom prst="rect">
            <a:avLst/>
          </a:prstGeom>
          <a:solidFill>
            <a:schemeClr val="accent5"/>
          </a:solidFill>
        </p:spPr>
        <p:txBody>
          <a:bodyPr vert="horz" wrap="square" lIns="0" tIns="0" rIns="0" bIns="0" rtlCol="0" anchor="ctr">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357188"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prstClr val="white"/>
                </a:solidFill>
                <a:effectLst/>
                <a:uLnTx/>
                <a:uFillTx/>
                <a:latin typeface="Lato" panose="020F0502020204030203" pitchFamily="34" charset="0"/>
                <a:sym typeface="Lato" panose="020F0502020204030203" pitchFamily="34" charset="0"/>
              </a:rPr>
              <a:t>Status of PICASSO integration</a:t>
            </a:r>
          </a:p>
        </p:txBody>
      </p:sp>
      <p:sp>
        <p:nvSpPr>
          <p:cNvPr id="75" name="Oval 74">
            <a:extLst>
              <a:ext uri="{FF2B5EF4-FFF2-40B4-BE49-F238E27FC236}">
                <a16:creationId xmlns:a16="http://schemas.microsoft.com/office/drawing/2014/main" id="{658D25E8-6FCB-AAB3-B016-E9354D8B6FEA}"/>
              </a:ext>
            </a:extLst>
          </p:cNvPr>
          <p:cNvSpPr/>
          <p:nvPr/>
        </p:nvSpPr>
        <p:spPr>
          <a:xfrm>
            <a:off x="397585" y="1273372"/>
            <a:ext cx="240300" cy="240300"/>
          </a:xfrm>
          <a:prstGeom prst="ellipse">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1</a:t>
            </a:r>
          </a:p>
        </p:txBody>
      </p:sp>
      <p:sp>
        <p:nvSpPr>
          <p:cNvPr id="76" name="Oval 75">
            <a:extLst>
              <a:ext uri="{FF2B5EF4-FFF2-40B4-BE49-F238E27FC236}">
                <a16:creationId xmlns:a16="http://schemas.microsoft.com/office/drawing/2014/main" id="{09452683-BDFD-4A38-8757-A2E9DB4E4C0F}"/>
              </a:ext>
            </a:extLst>
          </p:cNvPr>
          <p:cNvSpPr/>
          <p:nvPr/>
        </p:nvSpPr>
        <p:spPr>
          <a:xfrm>
            <a:off x="6480350" y="1286072"/>
            <a:ext cx="240300" cy="240300"/>
          </a:xfrm>
          <a:prstGeom prst="ellipse">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2</a:t>
            </a:r>
          </a:p>
        </p:txBody>
      </p:sp>
      <p:pic>
        <p:nvPicPr>
          <p:cNvPr id="81" name="Graphic 80" descr="Supply And Demand outline">
            <a:extLst>
              <a:ext uri="{FF2B5EF4-FFF2-40B4-BE49-F238E27FC236}">
                <a16:creationId xmlns:a16="http://schemas.microsoft.com/office/drawing/2014/main" id="{AF8EB5A9-7FEE-A749-18DD-EF07FE04692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80350" y="5261997"/>
            <a:ext cx="582942" cy="582942"/>
          </a:xfrm>
          <a:prstGeom prst="rect">
            <a:avLst/>
          </a:prstGeom>
        </p:spPr>
      </p:pic>
      <p:sp>
        <p:nvSpPr>
          <p:cNvPr id="86" name="TextBox 85">
            <a:extLst>
              <a:ext uri="{FF2B5EF4-FFF2-40B4-BE49-F238E27FC236}">
                <a16:creationId xmlns:a16="http://schemas.microsoft.com/office/drawing/2014/main" id="{0BEC60B3-E552-BA00-38F8-528B1BE857DB}"/>
              </a:ext>
            </a:extLst>
          </p:cNvPr>
          <p:cNvSpPr txBox="1"/>
          <p:nvPr/>
        </p:nvSpPr>
        <p:spPr>
          <a:xfrm>
            <a:off x="342118" y="6218152"/>
            <a:ext cx="2312182" cy="244443"/>
          </a:xfrm>
          <a:prstGeom prst="rect">
            <a:avLst/>
          </a:prstGeom>
          <a:noFill/>
        </p:spPr>
        <p:txBody>
          <a:bodyPr wrap="square">
            <a:spAutoFit/>
          </a:bodyPr>
          <a:lstStyle/>
          <a:p>
            <a:pPr marL="171450" marR="0" lvl="0" indent="-171450" algn="l" defTabSz="685783" rtl="0" eaLnBrk="1" fontAlgn="b" latinLnBrk="0" hangingPunct="1">
              <a:lnSpc>
                <a:spcPct val="100000"/>
              </a:lnSpc>
              <a:spcBef>
                <a:spcPts val="0"/>
              </a:spcBef>
              <a:spcAft>
                <a:spcPts val="300"/>
              </a:spcAft>
              <a:buClr>
                <a:srgbClr val="00B050"/>
              </a:buClr>
              <a:buSzPct val="120000"/>
              <a:buFont typeface="Wingdings" panose="05000000000000000000" pitchFamily="2" charset="2"/>
              <a:buChar char="ü"/>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Positive impact on battery outlook</a:t>
            </a:r>
          </a:p>
        </p:txBody>
      </p:sp>
      <p:sp>
        <p:nvSpPr>
          <p:cNvPr id="87" name="TextBox 86">
            <a:extLst>
              <a:ext uri="{FF2B5EF4-FFF2-40B4-BE49-F238E27FC236}">
                <a16:creationId xmlns:a16="http://schemas.microsoft.com/office/drawing/2014/main" id="{3B2F87D3-7070-4DF8-2341-7C62CF34DB91}"/>
              </a:ext>
            </a:extLst>
          </p:cNvPr>
          <p:cNvSpPr txBox="1"/>
          <p:nvPr/>
        </p:nvSpPr>
        <p:spPr>
          <a:xfrm>
            <a:off x="2552268" y="6217263"/>
            <a:ext cx="2553132" cy="246221"/>
          </a:xfrm>
          <a:prstGeom prst="rect">
            <a:avLst/>
          </a:prstGeom>
          <a:noFill/>
        </p:spPr>
        <p:txBody>
          <a:bodyPr wrap="square">
            <a:spAutoFit/>
          </a:bodyPr>
          <a:lstStyle/>
          <a:p>
            <a:pPr marL="171450" marR="0" lvl="0" indent="-171450" algn="l" defTabSz="685783" rtl="0" eaLnBrk="1" fontAlgn="b" latinLnBrk="0" hangingPunct="1">
              <a:lnSpc>
                <a:spcPct val="100000"/>
              </a:lnSpc>
              <a:spcBef>
                <a:spcPts val="0"/>
              </a:spcBef>
              <a:spcAft>
                <a:spcPts val="300"/>
              </a:spcAft>
              <a:buClr>
                <a:srgbClr val="838383"/>
              </a:buClr>
              <a:buSzPct val="120000"/>
              <a:buFont typeface="Wingdings" panose="05000000000000000000" pitchFamily="2" charset="2"/>
              <a:buChar char="§"/>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Minimal impact on battery outlook</a:t>
            </a:r>
          </a:p>
        </p:txBody>
      </p:sp>
      <p:sp>
        <p:nvSpPr>
          <p:cNvPr id="88" name="TextBox 87">
            <a:extLst>
              <a:ext uri="{FF2B5EF4-FFF2-40B4-BE49-F238E27FC236}">
                <a16:creationId xmlns:a16="http://schemas.microsoft.com/office/drawing/2014/main" id="{E06F7D55-765C-9D91-4BF6-9E1FDB76EF0C}"/>
              </a:ext>
            </a:extLst>
          </p:cNvPr>
          <p:cNvSpPr txBox="1"/>
          <p:nvPr/>
        </p:nvSpPr>
        <p:spPr>
          <a:xfrm>
            <a:off x="4799920" y="6217263"/>
            <a:ext cx="7423150" cy="246221"/>
          </a:xfrm>
          <a:prstGeom prst="rect">
            <a:avLst/>
          </a:prstGeom>
          <a:noFill/>
        </p:spPr>
        <p:txBody>
          <a:bodyPr wrap="square">
            <a:spAutoFit/>
          </a:bodyPr>
          <a:lstStyle/>
          <a:p>
            <a:pPr marL="171450" marR="0" lvl="0" indent="-171450" algn="l" defTabSz="685783" rtl="0" eaLnBrk="1" fontAlgn="b" latinLnBrk="0" hangingPunct="1">
              <a:lnSpc>
                <a:spcPct val="100000"/>
              </a:lnSpc>
              <a:spcBef>
                <a:spcPts val="0"/>
              </a:spcBef>
              <a:spcAft>
                <a:spcPts val="300"/>
              </a:spcAft>
              <a:buClr>
                <a:srgbClr val="838383"/>
              </a:buClr>
              <a:buSzPct val="120000"/>
              <a:buFont typeface="Lato" panose="020F0502020204030203" pitchFamily="34" charset="0"/>
              <a:buChar char="?"/>
              <a:tabLst/>
              <a:defRPr/>
            </a:pPr>
            <a:r>
              <a:rPr kumimoji="0" lang="en-GB" sz="1000" b="0" i="0" u="none" strike="noStrike" kern="1200" cap="none" spc="0" normalizeH="0" baseline="0" noProof="0">
                <a:ln>
                  <a:noFill/>
                </a:ln>
                <a:solidFill>
                  <a:srgbClr val="3C3C3B"/>
                </a:solidFill>
                <a:effectLst/>
                <a:uLnTx/>
                <a:uFillTx/>
                <a:latin typeface="Lato"/>
                <a:ea typeface="+mn-ea"/>
                <a:cs typeface="+mn-cs"/>
              </a:rPr>
              <a:t>Uncertain impact on battery outlook</a:t>
            </a:r>
          </a:p>
        </p:txBody>
      </p:sp>
      <p:sp>
        <p:nvSpPr>
          <p:cNvPr id="2" name="Rectangle 1">
            <a:extLst>
              <a:ext uri="{FF2B5EF4-FFF2-40B4-BE49-F238E27FC236}">
                <a16:creationId xmlns:a16="http://schemas.microsoft.com/office/drawing/2014/main" id="{6930420A-EE4D-1DE3-249D-03414F33D144}"/>
              </a:ext>
            </a:extLst>
          </p:cNvPr>
          <p:cNvSpPr/>
          <p:nvPr/>
        </p:nvSpPr>
        <p:spPr>
          <a:xfrm>
            <a:off x="7251700" y="1703286"/>
            <a:ext cx="4487024" cy="4389810"/>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 name="Text Placeholder 10">
            <a:extLst>
              <a:ext uri="{FF2B5EF4-FFF2-40B4-BE49-F238E27FC236}">
                <a16:creationId xmlns:a16="http://schemas.microsoft.com/office/drawing/2014/main" id="{DADA0019-A871-39BB-96EF-D4A43BB96F00}"/>
              </a:ext>
            </a:extLst>
          </p:cNvPr>
          <p:cNvSpPr txBox="1">
            <a:spLocks/>
          </p:cNvSpPr>
          <p:nvPr/>
        </p:nvSpPr>
        <p:spPr>
          <a:xfrm>
            <a:off x="381600" y="6718913"/>
            <a:ext cx="11428800" cy="110800"/>
          </a:xfrm>
          <a:prstGeom prst="rect">
            <a:avLst/>
          </a:prstGeom>
        </p:spPr>
        <p:txBody>
          <a:bodyPr vert="horz"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GB" sz="8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 Sources: Aurora Energy Research, ENTSO-E</a:t>
            </a:r>
          </a:p>
        </p:txBody>
      </p:sp>
      <p:sp>
        <p:nvSpPr>
          <p:cNvPr id="4" name="Rectangle 3">
            <a:extLst>
              <a:ext uri="{FF2B5EF4-FFF2-40B4-BE49-F238E27FC236}">
                <a16:creationId xmlns:a16="http://schemas.microsoft.com/office/drawing/2014/main" id="{7F46D836-0311-0D49-E7D0-48FFEE05C387}"/>
              </a:ext>
            </a:extLst>
          </p:cNvPr>
          <p:cNvSpPr/>
          <p:nvPr/>
        </p:nvSpPr>
        <p:spPr>
          <a:xfrm>
            <a:off x="303282" y="1590261"/>
            <a:ext cx="5792718" cy="4691269"/>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68465702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3050370"/>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246473"/>
          </a:xfrm>
        </p:spPr>
        <p:txBody>
          <a:bodyPr/>
          <a:lstStyle/>
          <a:p>
            <a:r>
              <a:rPr lang="en-GB" sz="1400" dirty="0">
                <a:hlinkClick r:id="rId6" action="ppaction://hlinksldjump"/>
              </a:rPr>
              <a:t>Executive summary</a:t>
            </a:r>
            <a:endParaRPr lang="en-GB" sz="1400" dirty="0"/>
          </a:p>
          <a:p>
            <a:r>
              <a:rPr lang="en-GB" sz="1400" dirty="0">
                <a:hlinkClick r:id="rId7" action="ppaction://hlinksldjump"/>
              </a:rPr>
              <a:t>Introduction to battery storage</a:t>
            </a:r>
            <a:r>
              <a:rPr lang="en-GB" sz="1400" dirty="0"/>
              <a:t>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US" sz="1400" u="sng" dirty="0">
                <a:ea typeface="Calibri" panose="020F0502020204030204" pitchFamily="34" charset="0"/>
              </a:rPr>
              <a:t>Revenue streams</a:t>
            </a:r>
            <a:endParaRPr lang="en-GB" sz="1400" b="1" u="sng" dirty="0">
              <a:effectLst/>
              <a:ea typeface="Calibri" panose="020F0502020204030204" pitchFamily="34" charset="0"/>
            </a:endParaRP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2" name="Group 1">
            <a:extLst>
              <a:ext uri="{FF2B5EF4-FFF2-40B4-BE49-F238E27FC236}">
                <a16:creationId xmlns:a16="http://schemas.microsoft.com/office/drawing/2014/main" id="{09C4CD44-74F3-8D57-8D34-5656B8609755}"/>
              </a:ext>
            </a:extLst>
          </p:cNvPr>
          <p:cNvGrpSpPr/>
          <p:nvPr/>
        </p:nvGrpSpPr>
        <p:grpSpPr>
          <a:xfrm>
            <a:off x="0" y="5631542"/>
            <a:ext cx="12192000" cy="841829"/>
            <a:chOff x="0" y="5631542"/>
            <a:chExt cx="12192000" cy="841829"/>
          </a:xfrm>
        </p:grpSpPr>
        <p:sp>
          <p:nvSpPr>
            <p:cNvPr id="3" name="Rectangle 2">
              <a:extLst>
                <a:ext uri="{FF2B5EF4-FFF2-40B4-BE49-F238E27FC236}">
                  <a16:creationId xmlns:a16="http://schemas.microsoft.com/office/drawing/2014/main" id="{98458454-5F79-F794-EB44-E9A6282A2750}"/>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6" name="TextBox 5">
              <a:extLst>
                <a:ext uri="{FF2B5EF4-FFF2-40B4-BE49-F238E27FC236}">
                  <a16:creationId xmlns:a16="http://schemas.microsoft.com/office/drawing/2014/main" id="{28CB6A98-CB16-86C6-E15C-821DF2EC7183}"/>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13826736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A0DB2D-64DE-3019-83A8-2BC597039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9A0DB2D-64DE-3019-83A8-2BC5970397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1D2E9AA-7FE4-78B0-D36B-3C959C0CA05E}"/>
              </a:ext>
            </a:extLst>
          </p:cNvPr>
          <p:cNvSpPr>
            <a:spLocks noGrp="1"/>
          </p:cNvSpPr>
          <p:nvPr>
            <p:ph type="body" sz="quarter" idx="27"/>
          </p:nvPr>
        </p:nvSpPr>
        <p:spPr>
          <a:xfrm>
            <a:off x="380996" y="2860467"/>
            <a:ext cx="3038479" cy="369332"/>
          </a:xfrm>
        </p:spPr>
        <p:txBody>
          <a:bodyPr/>
          <a:lstStyle/>
          <a:p>
            <a:r>
              <a:rPr lang="en-GB" sz="2400" i="1"/>
              <a:t>Revenue streams</a:t>
            </a:r>
          </a:p>
        </p:txBody>
      </p:sp>
      <p:sp>
        <p:nvSpPr>
          <p:cNvPr id="3" name="Text Placeholder 2">
            <a:extLst>
              <a:ext uri="{FF2B5EF4-FFF2-40B4-BE49-F238E27FC236}">
                <a16:creationId xmlns:a16="http://schemas.microsoft.com/office/drawing/2014/main" id="{A54D5BFC-8DFA-9E5F-B542-1941CC42EBC7}"/>
              </a:ext>
            </a:extLst>
          </p:cNvPr>
          <p:cNvSpPr>
            <a:spLocks noGrp="1"/>
          </p:cNvSpPr>
          <p:nvPr>
            <p:ph type="body" sz="quarter" idx="28"/>
          </p:nvPr>
        </p:nvSpPr>
        <p:spPr>
          <a:xfrm>
            <a:off x="3814481" y="1270000"/>
            <a:ext cx="8009220" cy="5124480"/>
          </a:xfrm>
        </p:spPr>
        <p:txBody>
          <a:bodyPr vert="horz" lIns="0" tIns="0" rIns="0" bIns="0" rtlCol="0" anchor="t">
            <a:spAutoFit/>
          </a:bodyPr>
          <a:lstStyle/>
          <a:p>
            <a:pPr marL="182880" indent="-182880">
              <a:buFont typeface="Wingdings" panose="05000000000000000000" pitchFamily="2" charset="2"/>
              <a:buChar char="§"/>
            </a:pPr>
            <a:r>
              <a:rPr lang="en-GB">
                <a:ea typeface="Lato"/>
                <a:cs typeface="Lato"/>
              </a:rPr>
              <a:t>Revenue streams available to battery assets include wholesale market revenues (intraday and day ahead price spreads), balancing market revenues, frequency response services (FCR, </a:t>
            </a:r>
            <a:r>
              <a:rPr lang="en-GB" err="1">
                <a:ea typeface="Lato"/>
                <a:cs typeface="Lato"/>
              </a:rPr>
              <a:t>aFRR</a:t>
            </a:r>
            <a:r>
              <a:rPr lang="en-GB">
                <a:ea typeface="Lato"/>
                <a:cs typeface="Lato"/>
              </a:rPr>
              <a:t>, etc) and capacity market payments.</a:t>
            </a:r>
          </a:p>
          <a:p>
            <a:pPr marL="182880" indent="-182880">
              <a:buFont typeface="Wingdings" panose="05000000000000000000" pitchFamily="2" charset="2"/>
              <a:buChar char="§"/>
            </a:pPr>
            <a:r>
              <a:rPr lang="en-GB">
                <a:ea typeface="Lato"/>
                <a:cs typeface="Lato"/>
              </a:rPr>
              <a:t>Across most of Europe</a:t>
            </a:r>
            <a:r>
              <a:rPr lang="en-GB">
                <a:solidFill>
                  <a:srgbClr val="808080"/>
                </a:solidFill>
                <a:ea typeface="Lato"/>
                <a:cs typeface="Lato"/>
              </a:rPr>
              <a:t>, </a:t>
            </a:r>
            <a:r>
              <a:rPr lang="en-GB">
                <a:solidFill>
                  <a:srgbClr val="808080"/>
                </a:solidFill>
                <a:highlight>
                  <a:srgbClr val="808080"/>
                </a:highlight>
                <a:ea typeface="Lato"/>
                <a:cs typeface="Lato"/>
              </a:rPr>
              <a:t>XXXXX</a:t>
            </a:r>
            <a:r>
              <a:rPr lang="en-GB">
                <a:solidFill>
                  <a:srgbClr val="808080"/>
                </a:solidFill>
                <a:ea typeface="Lato"/>
                <a:cs typeface="Lato"/>
              </a:rPr>
              <a:t> </a:t>
            </a:r>
            <a:r>
              <a:rPr lang="en-GB">
                <a:ea typeface="Lato"/>
                <a:cs typeface="Lato"/>
              </a:rPr>
              <a:t>and </a:t>
            </a:r>
            <a:r>
              <a:rPr lang="en-GB">
                <a:solidFill>
                  <a:srgbClr val="808080"/>
                </a:solidFill>
                <a:highlight>
                  <a:srgbClr val="808080"/>
                </a:highlight>
                <a:ea typeface="Lato"/>
                <a:cs typeface="Lato"/>
              </a:rPr>
              <a:t>XXXXX </a:t>
            </a:r>
            <a:r>
              <a:rPr lang="en-GB">
                <a:solidFill>
                  <a:schemeClr val="accent5"/>
                </a:solidFill>
                <a:ea typeface="Lato"/>
                <a:cs typeface="Lato"/>
              </a:rPr>
              <a:t> </a:t>
            </a:r>
            <a:r>
              <a:rPr lang="en-GB">
                <a:ea typeface="Lato"/>
                <a:cs typeface="Lato"/>
              </a:rPr>
              <a:t>offer the most valuable revenues for batteries, followed by  </a:t>
            </a:r>
            <a:r>
              <a:rPr lang="en-GB">
                <a:solidFill>
                  <a:srgbClr val="808080"/>
                </a:solidFill>
                <a:highlight>
                  <a:srgbClr val="808080"/>
                </a:highlight>
                <a:ea typeface="Lato"/>
                <a:cs typeface="Lato"/>
              </a:rPr>
              <a:t>XXXXX</a:t>
            </a:r>
            <a:r>
              <a:rPr lang="en-GB">
                <a:ea typeface="Lato"/>
                <a:cs typeface="Lato"/>
              </a:rPr>
              <a:t>. Profitable battery business models will however rely on </a:t>
            </a:r>
            <a:r>
              <a:rPr lang="en-GB">
                <a:solidFill>
                  <a:srgbClr val="808080"/>
                </a:solidFill>
                <a:highlight>
                  <a:srgbClr val="808080"/>
                </a:highlight>
                <a:ea typeface="Lato"/>
                <a:cs typeface="Lato"/>
              </a:rPr>
              <a:t>XXXXX</a:t>
            </a:r>
            <a:r>
              <a:rPr lang="en-GB">
                <a:ea typeface="Lato"/>
                <a:cs typeface="Lato"/>
              </a:rPr>
              <a:t> as </a:t>
            </a:r>
            <a:r>
              <a:rPr lang="en-GB">
                <a:solidFill>
                  <a:srgbClr val="808080"/>
                </a:solidFill>
                <a:highlight>
                  <a:srgbClr val="808080"/>
                </a:highlight>
                <a:ea typeface="Lato"/>
                <a:cs typeface="Lato"/>
              </a:rPr>
              <a:t>XXXXX</a:t>
            </a:r>
            <a:r>
              <a:rPr lang="en-GB">
                <a:solidFill>
                  <a:schemeClr val="accent5"/>
                </a:solidFill>
                <a:highlight>
                  <a:srgbClr val="808080"/>
                </a:highlight>
                <a:ea typeface="Lato"/>
                <a:cs typeface="Lato"/>
              </a:rPr>
              <a:t> </a:t>
            </a:r>
            <a:r>
              <a:rPr lang="en-GB">
                <a:ea typeface="Lato"/>
                <a:cs typeface="Lato"/>
              </a:rPr>
              <a:t>across Europe face increasing saturation risk.</a:t>
            </a:r>
          </a:p>
          <a:p>
            <a:pPr marL="182880" indent="-182880">
              <a:buFont typeface="Wingdings" panose="05000000000000000000" pitchFamily="2" charset="2"/>
              <a:buChar char="§"/>
            </a:pPr>
            <a:r>
              <a:rPr lang="en-GB">
                <a:ea typeface="Lato"/>
                <a:cs typeface="Lato"/>
              </a:rPr>
              <a:t>The share of wind and solar generation in Europe rises to </a:t>
            </a:r>
            <a:r>
              <a:rPr lang="en-GB">
                <a:solidFill>
                  <a:srgbClr val="808080"/>
                </a:solidFill>
                <a:highlight>
                  <a:srgbClr val="808080"/>
                </a:highlight>
                <a:ea typeface="Lato"/>
                <a:cs typeface="Lato"/>
              </a:rPr>
              <a:t>     </a:t>
            </a:r>
            <a:r>
              <a:rPr lang="en-GB">
                <a:ea typeface="Lato"/>
                <a:cs typeface="Lato"/>
              </a:rPr>
              <a:t>% by 2050 in Aurora's Central scenario, driving higher price volatility and system balancing needs. </a:t>
            </a:r>
          </a:p>
          <a:p>
            <a:pPr marL="182880" indent="-182880">
              <a:buFont typeface="Wingdings" panose="05000000000000000000" pitchFamily="2" charset="2"/>
              <a:buChar char="§"/>
            </a:pPr>
            <a:r>
              <a:rPr lang="en-GB">
                <a:ea typeface="Lato"/>
                <a:cs typeface="Lato"/>
              </a:rPr>
              <a:t>This leads to increasing wholesale and balancing price spreads in most countries, however countries with strong buildout of flexible technologies see price spreads decrease due to increased flexibility in the system.</a:t>
            </a:r>
          </a:p>
          <a:p>
            <a:pPr marL="182880" indent="-182880">
              <a:buFont typeface="Wingdings" panose="05000000000000000000" pitchFamily="2" charset="2"/>
              <a:buChar char="§"/>
            </a:pPr>
            <a:r>
              <a:rPr lang="en-GB">
                <a:solidFill>
                  <a:srgbClr val="808080"/>
                </a:solidFill>
                <a:highlight>
                  <a:srgbClr val="808080"/>
                </a:highlight>
                <a:ea typeface="Lato"/>
                <a:cs typeface="Lato"/>
              </a:rPr>
              <a:t>XXXXX</a:t>
            </a:r>
            <a:r>
              <a:rPr lang="en-GB">
                <a:ea typeface="Lato"/>
                <a:cs typeface="Lato"/>
              </a:rPr>
              <a:t> shows the highest demand for frequency response services, while </a:t>
            </a:r>
            <a:r>
              <a:rPr lang="en-GB">
                <a:solidFill>
                  <a:srgbClr val="808080"/>
                </a:solidFill>
                <a:highlight>
                  <a:srgbClr val="808080"/>
                </a:highlight>
                <a:ea typeface="Lato"/>
                <a:cs typeface="Lato"/>
              </a:rPr>
              <a:t>XXXXX </a:t>
            </a:r>
            <a:r>
              <a:rPr lang="en-GB">
                <a:ea typeface="Lato"/>
                <a:cs typeface="Lato"/>
              </a:rPr>
              <a:t>and </a:t>
            </a:r>
            <a:r>
              <a:rPr lang="en-GB">
                <a:solidFill>
                  <a:srgbClr val="808080"/>
                </a:solidFill>
                <a:highlight>
                  <a:srgbClr val="808080"/>
                </a:highlight>
                <a:ea typeface="Lato"/>
                <a:cs typeface="Lato"/>
              </a:rPr>
              <a:t>XXXXX</a:t>
            </a:r>
            <a:r>
              <a:rPr lang="en-GB">
                <a:ea typeface="Lato"/>
                <a:cs typeface="Lato"/>
              </a:rPr>
              <a:t> have the most batteries relative to market size. </a:t>
            </a:r>
            <a:endParaRPr lang="en-GB"/>
          </a:p>
          <a:p>
            <a:pPr marL="182880" indent="-182880">
              <a:buFont typeface="Wingdings" panose="05000000000000000000" pitchFamily="2" charset="2"/>
              <a:buChar char="§"/>
            </a:pPr>
            <a:r>
              <a:rPr lang="en-GB">
                <a:ea typeface="Lato"/>
                <a:cs typeface="Lato"/>
              </a:rPr>
              <a:t>The retirement of thermal assets and deployment of batteries changes the merit order curve for frequency response services, driving key frequency service prices down rapidly in the short term. </a:t>
            </a:r>
            <a:endParaRPr lang="en-GB"/>
          </a:p>
          <a:p>
            <a:pPr marL="182880" indent="-182880">
              <a:buFont typeface="Wingdings" panose="05000000000000000000" pitchFamily="2" charset="2"/>
              <a:buChar char="§"/>
            </a:pPr>
            <a:r>
              <a:rPr lang="en-GB">
                <a:ea typeface="Lato"/>
                <a:cs typeface="Lato"/>
              </a:rPr>
              <a:t>Other balancing service prices which rose to unprecedented levels over the past year, driven by the current commodity price volatility, are also expected to decrease in the short term as the market rebalances.</a:t>
            </a:r>
          </a:p>
          <a:p>
            <a:pPr marL="182880" indent="-182880">
              <a:buFont typeface="Wingdings" panose="05000000000000000000" pitchFamily="2" charset="2"/>
              <a:buChar char="§"/>
            </a:pPr>
            <a:r>
              <a:rPr lang="en-GB">
                <a:ea typeface="Lato"/>
                <a:cs typeface="Lato"/>
              </a:rPr>
              <a:t>Capacity markets ensure security of supply standards are fulfilled by paying generators for capacity, rather than for energy. They currently support over </a:t>
            </a:r>
            <a:r>
              <a:rPr lang="en-GB">
                <a:solidFill>
                  <a:srgbClr val="808080"/>
                </a:solidFill>
                <a:highlight>
                  <a:srgbClr val="808080"/>
                </a:highlight>
                <a:ea typeface="Lato"/>
                <a:cs typeface="Lato"/>
              </a:rPr>
              <a:t>XX</a:t>
            </a:r>
            <a:r>
              <a:rPr lang="en-GB">
                <a:ea typeface="Lato"/>
                <a:cs typeface="Lato"/>
              </a:rPr>
              <a:t>GW of batteries across Europe, although revenues across markets vary due to de-rating factors and clearing prices.</a:t>
            </a:r>
          </a:p>
          <a:p>
            <a:pPr marL="182880" indent="-182880">
              <a:buFont typeface="Wingdings" panose="05000000000000000000" pitchFamily="2" charset="2"/>
              <a:buChar char="§"/>
            </a:pPr>
            <a:r>
              <a:rPr lang="en-GB">
                <a:ea typeface="Lato"/>
                <a:cs typeface="Lato"/>
              </a:rPr>
              <a:t>While contracted revenues from capacity markets enhance battery bankability, they may restrict participation in other markets e.g.</a:t>
            </a:r>
            <a:r>
              <a:rPr lang="en-US">
                <a:ea typeface="Lato"/>
                <a:cs typeface="Lato"/>
              </a:rPr>
              <a:t>,</a:t>
            </a:r>
            <a:r>
              <a:rPr lang="en-GB">
                <a:ea typeface="Lato"/>
                <a:cs typeface="Lato"/>
              </a:rPr>
              <a:t> a</a:t>
            </a:r>
            <a:r>
              <a:rPr lang="en-GB" sz="1200">
                <a:ea typeface="Lato"/>
                <a:cs typeface="Lato"/>
              </a:rPr>
              <a:t>ssets with </a:t>
            </a:r>
            <a:r>
              <a:rPr lang="en-GB">
                <a:ea typeface="Lato"/>
                <a:cs typeface="Lato"/>
              </a:rPr>
              <a:t>capacity market</a:t>
            </a:r>
            <a:r>
              <a:rPr lang="en-GB" sz="1200">
                <a:ea typeface="Lato"/>
                <a:cs typeface="Lato"/>
              </a:rPr>
              <a:t> contracts in </a:t>
            </a:r>
            <a:r>
              <a:rPr lang="en-GB">
                <a:solidFill>
                  <a:srgbClr val="808080"/>
                </a:solidFill>
                <a:highlight>
                  <a:srgbClr val="808080"/>
                </a:highlight>
                <a:ea typeface="Lato"/>
                <a:cs typeface="Lato"/>
              </a:rPr>
              <a:t>XXXXX</a:t>
            </a:r>
            <a:r>
              <a:rPr lang="en-GB" sz="1200">
                <a:ea typeface="Lato"/>
                <a:cs typeface="Lato"/>
              </a:rPr>
              <a:t> are limited to a </a:t>
            </a:r>
            <a:r>
              <a:rPr lang="en-GB">
                <a:solidFill>
                  <a:srgbClr val="808080"/>
                </a:solidFill>
                <a:highlight>
                  <a:srgbClr val="808080"/>
                </a:highlight>
                <a:ea typeface="Lato"/>
                <a:cs typeface="Lato"/>
              </a:rPr>
              <a:t>XXXXX</a:t>
            </a:r>
            <a:r>
              <a:rPr lang="en-GB">
                <a:solidFill>
                  <a:schemeClr val="accent5"/>
                </a:solidFill>
                <a:highlight>
                  <a:srgbClr val="808080"/>
                </a:highlight>
                <a:ea typeface="Lato"/>
                <a:cs typeface="Lato"/>
              </a:rPr>
              <a:t> </a:t>
            </a:r>
            <a:r>
              <a:rPr lang="en-GB" sz="1200">
                <a:ea typeface="Lato"/>
                <a:cs typeface="Lato"/>
              </a:rPr>
              <a:t>€/MWh wholesale market price.</a:t>
            </a:r>
          </a:p>
          <a:p>
            <a:pPr marL="182880" indent="-182880">
              <a:buFont typeface="Wingdings" panose="05000000000000000000" pitchFamily="2" charset="2"/>
              <a:buChar char="§"/>
            </a:pPr>
            <a:r>
              <a:rPr lang="en-GB">
                <a:ea typeface="Lato"/>
                <a:cs typeface="Lato"/>
              </a:rPr>
              <a:t>Overall, </a:t>
            </a:r>
            <a:r>
              <a:rPr lang="en-GB">
                <a:solidFill>
                  <a:srgbClr val="808080"/>
                </a:solidFill>
                <a:highlight>
                  <a:srgbClr val="808080"/>
                </a:highlight>
                <a:ea typeface="Lato"/>
                <a:cs typeface="Lato"/>
              </a:rPr>
              <a:t>XXXXX</a:t>
            </a:r>
            <a:r>
              <a:rPr lang="en-GB">
                <a:ea typeface="Lato"/>
                <a:cs typeface="Lato"/>
              </a:rPr>
              <a:t> sees the most attractive revenue streams for battery storage due to increasing daily spreads in the wholesale market and capacity market revenues, followed by</a:t>
            </a:r>
            <a:r>
              <a:rPr lang="en-GB">
                <a:solidFill>
                  <a:srgbClr val="808080"/>
                </a:solidFill>
                <a:ea typeface="Lato"/>
                <a:cs typeface="Lato"/>
              </a:rPr>
              <a:t> </a:t>
            </a:r>
            <a:r>
              <a:rPr lang="en-GB">
                <a:solidFill>
                  <a:srgbClr val="808080"/>
                </a:solidFill>
                <a:highlight>
                  <a:srgbClr val="808080"/>
                </a:highlight>
                <a:ea typeface="Lato"/>
                <a:cs typeface="Lato"/>
              </a:rPr>
              <a:t>XXXXX </a:t>
            </a:r>
            <a:r>
              <a:rPr lang="en-GB">
                <a:ea typeface="Lato"/>
                <a:cs typeface="Lato"/>
              </a:rPr>
              <a:t>and </a:t>
            </a:r>
            <a:r>
              <a:rPr lang="en-GB">
                <a:solidFill>
                  <a:srgbClr val="808080"/>
                </a:solidFill>
                <a:highlight>
                  <a:srgbClr val="808080"/>
                </a:highlight>
                <a:ea typeface="Lato"/>
                <a:cs typeface="Lato"/>
              </a:rPr>
              <a:t>XXXXX</a:t>
            </a:r>
            <a:r>
              <a:rPr lang="en-GB">
                <a:solidFill>
                  <a:schemeClr val="accent5"/>
                </a:solidFill>
                <a:highlight>
                  <a:srgbClr val="808080"/>
                </a:highlight>
                <a:ea typeface="Lato"/>
                <a:cs typeface="Lato"/>
              </a:rPr>
              <a:t> </a:t>
            </a:r>
            <a:r>
              <a:rPr lang="en-GB">
                <a:ea typeface="Lato"/>
                <a:cs typeface="Lato"/>
              </a:rPr>
              <a:t>.</a:t>
            </a:r>
          </a:p>
        </p:txBody>
      </p:sp>
      <p:sp>
        <p:nvSpPr>
          <p:cNvPr id="7" name="Text Placeholder 6">
            <a:extLst>
              <a:ext uri="{FF2B5EF4-FFF2-40B4-BE49-F238E27FC236}">
                <a16:creationId xmlns:a16="http://schemas.microsoft.com/office/drawing/2014/main" id="{F8677988-F903-DF9C-5BD9-EA7F2B3FCB17}"/>
              </a:ext>
            </a:extLst>
          </p:cNvPr>
          <p:cNvSpPr>
            <a:spLocks noGrp="1"/>
          </p:cNvSpPr>
          <p:nvPr>
            <p:ph type="body" sz="quarter" idx="22"/>
          </p:nvPr>
        </p:nvSpPr>
        <p:spPr>
          <a:xfrm>
            <a:off x="3814481" y="6715169"/>
            <a:ext cx="1455527" cy="110800"/>
          </a:xfrm>
        </p:spPr>
        <p:txBody>
          <a:bodyPr/>
          <a:lstStyle/>
          <a:p>
            <a:r>
              <a:rPr lang="en-GB"/>
              <a:t>Source: Aurora Energy Research</a:t>
            </a:r>
          </a:p>
        </p:txBody>
      </p:sp>
      <p:sp>
        <p:nvSpPr>
          <p:cNvPr id="18" name="Text Placeholder 17">
            <a:extLst>
              <a:ext uri="{FF2B5EF4-FFF2-40B4-BE49-F238E27FC236}">
                <a16:creationId xmlns:a16="http://schemas.microsoft.com/office/drawing/2014/main" id="{C8CC6CB1-7DED-1ABC-933F-92458CA5C74A}"/>
              </a:ext>
            </a:extLst>
          </p:cNvPr>
          <p:cNvSpPr>
            <a:spLocks noGrp="1"/>
          </p:cNvSpPr>
          <p:nvPr>
            <p:ph type="body" sz="quarter" idx="32"/>
          </p:nvPr>
        </p:nvSpPr>
        <p:spPr/>
        <p:txBody>
          <a:bodyPr/>
          <a:lstStyle/>
          <a:p>
            <a:endParaRPr lang="en-GB"/>
          </a:p>
        </p:txBody>
      </p:sp>
      <p:sp>
        <p:nvSpPr>
          <p:cNvPr id="17" name="Text Placeholder 16">
            <a:extLst>
              <a:ext uri="{FF2B5EF4-FFF2-40B4-BE49-F238E27FC236}">
                <a16:creationId xmlns:a16="http://schemas.microsoft.com/office/drawing/2014/main" id="{94DC9BF6-D985-784A-3182-0996BCCCF56D}"/>
              </a:ext>
            </a:extLst>
          </p:cNvPr>
          <p:cNvSpPr>
            <a:spLocks noGrp="1"/>
          </p:cNvSpPr>
          <p:nvPr>
            <p:ph type="body" sz="quarter" idx="31"/>
          </p:nvPr>
        </p:nvSpPr>
        <p:spPr>
          <a:xfrm>
            <a:off x="3814481" y="79401"/>
            <a:ext cx="1415772" cy="184666"/>
          </a:xfrm>
        </p:spPr>
        <p:txBody>
          <a:bodyPr/>
          <a:lstStyle/>
          <a:p>
            <a:r>
              <a:rPr lang="en-GB"/>
              <a:t>	 Revenue streams</a:t>
            </a:r>
          </a:p>
        </p:txBody>
      </p:sp>
      <p:grpSp>
        <p:nvGrpSpPr>
          <p:cNvPr id="8" name="Group 254">
            <a:extLst>
              <a:ext uri="{FF2B5EF4-FFF2-40B4-BE49-F238E27FC236}">
                <a16:creationId xmlns:a16="http://schemas.microsoft.com/office/drawing/2014/main" id="{55CC2D29-E64E-BD3A-DB66-4D67CB15B774}"/>
              </a:ext>
            </a:extLst>
          </p:cNvPr>
          <p:cNvGrpSpPr/>
          <p:nvPr/>
        </p:nvGrpSpPr>
        <p:grpSpPr>
          <a:xfrm>
            <a:off x="541179" y="4052229"/>
            <a:ext cx="2341984" cy="1826057"/>
            <a:chOff x="1503363" y="3854451"/>
            <a:chExt cx="588962" cy="504825"/>
          </a:xfrm>
          <a:solidFill>
            <a:schemeClr val="tx1">
              <a:lumMod val="50000"/>
            </a:schemeClr>
          </a:solidFill>
        </p:grpSpPr>
        <p:sp>
          <p:nvSpPr>
            <p:cNvPr id="9" name="Freeform 118">
              <a:extLst>
                <a:ext uri="{FF2B5EF4-FFF2-40B4-BE49-F238E27FC236}">
                  <a16:creationId xmlns:a16="http://schemas.microsoft.com/office/drawing/2014/main" id="{A3D8F41C-9412-ECC2-4F40-4CDFCCDDC484}"/>
                </a:ext>
              </a:extLst>
            </p:cNvPr>
            <p:cNvSpPr>
              <a:spLocks noEditPoints="1"/>
            </p:cNvSpPr>
            <p:nvPr/>
          </p:nvSpPr>
          <p:spPr bwMode="auto">
            <a:xfrm>
              <a:off x="1503363" y="3978276"/>
              <a:ext cx="373062" cy="381000"/>
            </a:xfrm>
            <a:custGeom>
              <a:avLst/>
              <a:gdLst/>
              <a:ahLst/>
              <a:cxnLst>
                <a:cxn ang="0">
                  <a:pos x="1140" y="731"/>
                </a:cxn>
                <a:cxn ang="0">
                  <a:pos x="1140" y="431"/>
                </a:cxn>
                <a:cxn ang="0">
                  <a:pos x="1026" y="431"/>
                </a:cxn>
                <a:cxn ang="0">
                  <a:pos x="996" y="358"/>
                </a:cxn>
                <a:cxn ang="0">
                  <a:pos x="1077" y="276"/>
                </a:cxn>
                <a:cxn ang="0">
                  <a:pos x="869" y="64"/>
                </a:cxn>
                <a:cxn ang="0">
                  <a:pos x="788" y="147"/>
                </a:cxn>
                <a:cxn ang="0">
                  <a:pos x="717" y="116"/>
                </a:cxn>
                <a:cxn ang="0">
                  <a:pos x="717" y="0"/>
                </a:cxn>
                <a:cxn ang="0">
                  <a:pos x="423" y="0"/>
                </a:cxn>
                <a:cxn ang="0">
                  <a:pos x="423" y="116"/>
                </a:cxn>
                <a:cxn ang="0">
                  <a:pos x="351" y="147"/>
                </a:cxn>
                <a:cxn ang="0">
                  <a:pos x="271" y="64"/>
                </a:cxn>
                <a:cxn ang="0">
                  <a:pos x="63" y="276"/>
                </a:cxn>
                <a:cxn ang="0">
                  <a:pos x="144" y="358"/>
                </a:cxn>
                <a:cxn ang="0">
                  <a:pos x="114" y="431"/>
                </a:cxn>
                <a:cxn ang="0">
                  <a:pos x="0" y="431"/>
                </a:cxn>
                <a:cxn ang="0">
                  <a:pos x="0" y="731"/>
                </a:cxn>
                <a:cxn ang="0">
                  <a:pos x="114" y="731"/>
                </a:cxn>
                <a:cxn ang="0">
                  <a:pos x="144" y="804"/>
                </a:cxn>
                <a:cxn ang="0">
                  <a:pos x="63" y="886"/>
                </a:cxn>
                <a:cxn ang="0">
                  <a:pos x="271" y="1098"/>
                </a:cxn>
                <a:cxn ang="0">
                  <a:pos x="351" y="1016"/>
                </a:cxn>
                <a:cxn ang="0">
                  <a:pos x="423" y="1046"/>
                </a:cxn>
                <a:cxn ang="0">
                  <a:pos x="423" y="1162"/>
                </a:cxn>
                <a:cxn ang="0">
                  <a:pos x="717" y="1162"/>
                </a:cxn>
                <a:cxn ang="0">
                  <a:pos x="717" y="1046"/>
                </a:cxn>
                <a:cxn ang="0">
                  <a:pos x="788" y="1016"/>
                </a:cxn>
                <a:cxn ang="0">
                  <a:pos x="869" y="1098"/>
                </a:cxn>
                <a:cxn ang="0">
                  <a:pos x="1077" y="886"/>
                </a:cxn>
                <a:cxn ang="0">
                  <a:pos x="996" y="804"/>
                </a:cxn>
                <a:cxn ang="0">
                  <a:pos x="1026" y="731"/>
                </a:cxn>
                <a:cxn ang="0">
                  <a:pos x="1140" y="731"/>
                </a:cxn>
                <a:cxn ang="0">
                  <a:pos x="570" y="925"/>
                </a:cxn>
                <a:cxn ang="0">
                  <a:pos x="233" y="581"/>
                </a:cxn>
                <a:cxn ang="0">
                  <a:pos x="570" y="237"/>
                </a:cxn>
                <a:cxn ang="0">
                  <a:pos x="907" y="581"/>
                </a:cxn>
                <a:cxn ang="0">
                  <a:pos x="570" y="925"/>
                </a:cxn>
              </a:cxnLst>
              <a:rect l="0" t="0" r="r" b="b"/>
              <a:pathLst>
                <a:path w="1140" h="1162">
                  <a:moveTo>
                    <a:pt x="1140" y="731"/>
                  </a:moveTo>
                  <a:cubicBezTo>
                    <a:pt x="1140" y="431"/>
                    <a:pt x="1140" y="431"/>
                    <a:pt x="1140" y="431"/>
                  </a:cubicBezTo>
                  <a:cubicBezTo>
                    <a:pt x="1026" y="431"/>
                    <a:pt x="1026" y="431"/>
                    <a:pt x="1026" y="431"/>
                  </a:cubicBezTo>
                  <a:cubicBezTo>
                    <a:pt x="1018" y="406"/>
                    <a:pt x="1008" y="382"/>
                    <a:pt x="996" y="358"/>
                  </a:cubicBezTo>
                  <a:cubicBezTo>
                    <a:pt x="1077" y="276"/>
                    <a:pt x="1077" y="276"/>
                    <a:pt x="1077" y="276"/>
                  </a:cubicBezTo>
                  <a:cubicBezTo>
                    <a:pt x="869" y="64"/>
                    <a:pt x="869" y="64"/>
                    <a:pt x="869" y="64"/>
                  </a:cubicBezTo>
                  <a:cubicBezTo>
                    <a:pt x="788" y="147"/>
                    <a:pt x="788" y="147"/>
                    <a:pt x="788" y="147"/>
                  </a:cubicBezTo>
                  <a:cubicBezTo>
                    <a:pt x="766" y="135"/>
                    <a:pt x="742" y="124"/>
                    <a:pt x="717" y="116"/>
                  </a:cubicBezTo>
                  <a:cubicBezTo>
                    <a:pt x="717" y="0"/>
                    <a:pt x="717" y="0"/>
                    <a:pt x="717" y="0"/>
                  </a:cubicBezTo>
                  <a:cubicBezTo>
                    <a:pt x="423" y="0"/>
                    <a:pt x="423" y="0"/>
                    <a:pt x="423" y="0"/>
                  </a:cubicBezTo>
                  <a:cubicBezTo>
                    <a:pt x="423" y="116"/>
                    <a:pt x="423" y="116"/>
                    <a:pt x="423" y="116"/>
                  </a:cubicBezTo>
                  <a:cubicBezTo>
                    <a:pt x="398" y="124"/>
                    <a:pt x="374" y="135"/>
                    <a:pt x="351" y="147"/>
                  </a:cubicBezTo>
                  <a:cubicBezTo>
                    <a:pt x="271" y="64"/>
                    <a:pt x="271" y="64"/>
                    <a:pt x="271" y="64"/>
                  </a:cubicBezTo>
                  <a:cubicBezTo>
                    <a:pt x="63" y="276"/>
                    <a:pt x="63" y="276"/>
                    <a:pt x="63" y="276"/>
                  </a:cubicBezTo>
                  <a:cubicBezTo>
                    <a:pt x="144" y="358"/>
                    <a:pt x="144" y="358"/>
                    <a:pt x="144" y="358"/>
                  </a:cubicBezTo>
                  <a:cubicBezTo>
                    <a:pt x="132" y="382"/>
                    <a:pt x="122" y="406"/>
                    <a:pt x="114" y="431"/>
                  </a:cubicBezTo>
                  <a:cubicBezTo>
                    <a:pt x="0" y="431"/>
                    <a:pt x="0" y="431"/>
                    <a:pt x="0" y="431"/>
                  </a:cubicBezTo>
                  <a:cubicBezTo>
                    <a:pt x="0" y="731"/>
                    <a:pt x="0" y="731"/>
                    <a:pt x="0" y="731"/>
                  </a:cubicBezTo>
                  <a:cubicBezTo>
                    <a:pt x="114" y="731"/>
                    <a:pt x="114" y="731"/>
                    <a:pt x="114" y="731"/>
                  </a:cubicBezTo>
                  <a:cubicBezTo>
                    <a:pt x="122" y="756"/>
                    <a:pt x="132" y="781"/>
                    <a:pt x="144" y="804"/>
                  </a:cubicBezTo>
                  <a:cubicBezTo>
                    <a:pt x="63" y="886"/>
                    <a:pt x="63" y="886"/>
                    <a:pt x="63" y="886"/>
                  </a:cubicBezTo>
                  <a:cubicBezTo>
                    <a:pt x="271" y="1098"/>
                    <a:pt x="271" y="1098"/>
                    <a:pt x="271" y="1098"/>
                  </a:cubicBezTo>
                  <a:cubicBezTo>
                    <a:pt x="351" y="1016"/>
                    <a:pt x="351" y="1016"/>
                    <a:pt x="351" y="1016"/>
                  </a:cubicBezTo>
                  <a:cubicBezTo>
                    <a:pt x="374" y="1028"/>
                    <a:pt x="398" y="1038"/>
                    <a:pt x="423" y="1046"/>
                  </a:cubicBezTo>
                  <a:cubicBezTo>
                    <a:pt x="423" y="1162"/>
                    <a:pt x="423" y="1162"/>
                    <a:pt x="423" y="1162"/>
                  </a:cubicBezTo>
                  <a:cubicBezTo>
                    <a:pt x="717" y="1162"/>
                    <a:pt x="717" y="1162"/>
                    <a:pt x="717" y="1162"/>
                  </a:cubicBezTo>
                  <a:cubicBezTo>
                    <a:pt x="717" y="1046"/>
                    <a:pt x="717" y="1046"/>
                    <a:pt x="717" y="1046"/>
                  </a:cubicBezTo>
                  <a:cubicBezTo>
                    <a:pt x="742" y="1038"/>
                    <a:pt x="766" y="1028"/>
                    <a:pt x="788" y="1016"/>
                  </a:cubicBezTo>
                  <a:cubicBezTo>
                    <a:pt x="869" y="1098"/>
                    <a:pt x="869" y="1098"/>
                    <a:pt x="869" y="1098"/>
                  </a:cubicBezTo>
                  <a:cubicBezTo>
                    <a:pt x="1077" y="886"/>
                    <a:pt x="1077" y="886"/>
                    <a:pt x="1077" y="886"/>
                  </a:cubicBezTo>
                  <a:cubicBezTo>
                    <a:pt x="996" y="804"/>
                    <a:pt x="996" y="804"/>
                    <a:pt x="996" y="804"/>
                  </a:cubicBezTo>
                  <a:cubicBezTo>
                    <a:pt x="1008" y="781"/>
                    <a:pt x="1018" y="756"/>
                    <a:pt x="1026" y="731"/>
                  </a:cubicBezTo>
                  <a:lnTo>
                    <a:pt x="1140" y="731"/>
                  </a:lnTo>
                  <a:close/>
                  <a:moveTo>
                    <a:pt x="570" y="925"/>
                  </a:moveTo>
                  <a:cubicBezTo>
                    <a:pt x="384" y="925"/>
                    <a:pt x="233" y="771"/>
                    <a:pt x="233" y="581"/>
                  </a:cubicBezTo>
                  <a:cubicBezTo>
                    <a:pt x="233" y="391"/>
                    <a:pt x="384" y="237"/>
                    <a:pt x="570" y="237"/>
                  </a:cubicBezTo>
                  <a:cubicBezTo>
                    <a:pt x="756" y="237"/>
                    <a:pt x="907" y="391"/>
                    <a:pt x="907" y="581"/>
                  </a:cubicBezTo>
                  <a:cubicBezTo>
                    <a:pt x="907" y="771"/>
                    <a:pt x="756" y="925"/>
                    <a:pt x="570" y="925"/>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0" name="Freeform 119">
              <a:extLst>
                <a:ext uri="{FF2B5EF4-FFF2-40B4-BE49-F238E27FC236}">
                  <a16:creationId xmlns:a16="http://schemas.microsoft.com/office/drawing/2014/main" id="{239F8CD9-7AD3-E99D-8155-F2F57917F9A0}"/>
                </a:ext>
              </a:extLst>
            </p:cNvPr>
            <p:cNvSpPr>
              <a:spLocks noEditPoints="1"/>
            </p:cNvSpPr>
            <p:nvPr/>
          </p:nvSpPr>
          <p:spPr bwMode="auto">
            <a:xfrm>
              <a:off x="1846263" y="3854451"/>
              <a:ext cx="246062" cy="250825"/>
            </a:xfrm>
            <a:custGeom>
              <a:avLst/>
              <a:gdLst/>
              <a:ahLst/>
              <a:cxnLst>
                <a:cxn ang="0">
                  <a:pos x="750" y="481"/>
                </a:cxn>
                <a:cxn ang="0">
                  <a:pos x="750" y="284"/>
                </a:cxn>
                <a:cxn ang="0">
                  <a:pos x="675" y="284"/>
                </a:cxn>
                <a:cxn ang="0">
                  <a:pos x="656" y="236"/>
                </a:cxn>
                <a:cxn ang="0">
                  <a:pos x="709" y="182"/>
                </a:cxn>
                <a:cxn ang="0">
                  <a:pos x="572" y="42"/>
                </a:cxn>
                <a:cxn ang="0">
                  <a:pos x="519" y="96"/>
                </a:cxn>
                <a:cxn ang="0">
                  <a:pos x="472" y="76"/>
                </a:cxn>
                <a:cxn ang="0">
                  <a:pos x="472" y="0"/>
                </a:cxn>
                <a:cxn ang="0">
                  <a:pos x="279" y="0"/>
                </a:cxn>
                <a:cxn ang="0">
                  <a:pos x="279" y="76"/>
                </a:cxn>
                <a:cxn ang="0">
                  <a:pos x="232" y="96"/>
                </a:cxn>
                <a:cxn ang="0">
                  <a:pos x="179" y="42"/>
                </a:cxn>
                <a:cxn ang="0">
                  <a:pos x="42" y="182"/>
                </a:cxn>
                <a:cxn ang="0">
                  <a:pos x="95" y="236"/>
                </a:cxn>
                <a:cxn ang="0">
                  <a:pos x="75" y="284"/>
                </a:cxn>
                <a:cxn ang="0">
                  <a:pos x="0" y="284"/>
                </a:cxn>
                <a:cxn ang="0">
                  <a:pos x="0" y="481"/>
                </a:cxn>
                <a:cxn ang="0">
                  <a:pos x="75" y="481"/>
                </a:cxn>
                <a:cxn ang="0">
                  <a:pos x="95" y="529"/>
                </a:cxn>
                <a:cxn ang="0">
                  <a:pos x="42" y="583"/>
                </a:cxn>
                <a:cxn ang="0">
                  <a:pos x="179" y="722"/>
                </a:cxn>
                <a:cxn ang="0">
                  <a:pos x="232" y="668"/>
                </a:cxn>
                <a:cxn ang="0">
                  <a:pos x="279" y="688"/>
                </a:cxn>
                <a:cxn ang="0">
                  <a:pos x="279" y="765"/>
                </a:cxn>
                <a:cxn ang="0">
                  <a:pos x="472" y="765"/>
                </a:cxn>
                <a:cxn ang="0">
                  <a:pos x="472" y="688"/>
                </a:cxn>
                <a:cxn ang="0">
                  <a:pos x="519" y="668"/>
                </a:cxn>
                <a:cxn ang="0">
                  <a:pos x="572" y="722"/>
                </a:cxn>
                <a:cxn ang="0">
                  <a:pos x="709" y="583"/>
                </a:cxn>
                <a:cxn ang="0">
                  <a:pos x="656" y="529"/>
                </a:cxn>
                <a:cxn ang="0">
                  <a:pos x="675" y="481"/>
                </a:cxn>
                <a:cxn ang="0">
                  <a:pos x="750" y="481"/>
                </a:cxn>
                <a:cxn ang="0">
                  <a:pos x="375" y="624"/>
                </a:cxn>
                <a:cxn ang="0">
                  <a:pos x="139" y="382"/>
                </a:cxn>
                <a:cxn ang="0">
                  <a:pos x="375" y="141"/>
                </a:cxn>
                <a:cxn ang="0">
                  <a:pos x="612" y="382"/>
                </a:cxn>
                <a:cxn ang="0">
                  <a:pos x="375" y="624"/>
                </a:cxn>
              </a:cxnLst>
              <a:rect l="0" t="0" r="r" b="b"/>
              <a:pathLst>
                <a:path w="750" h="765">
                  <a:moveTo>
                    <a:pt x="750" y="481"/>
                  </a:moveTo>
                  <a:cubicBezTo>
                    <a:pt x="750" y="284"/>
                    <a:pt x="750" y="284"/>
                    <a:pt x="750" y="284"/>
                  </a:cubicBezTo>
                  <a:cubicBezTo>
                    <a:pt x="675" y="284"/>
                    <a:pt x="675" y="284"/>
                    <a:pt x="675" y="284"/>
                  </a:cubicBezTo>
                  <a:cubicBezTo>
                    <a:pt x="670" y="267"/>
                    <a:pt x="663" y="251"/>
                    <a:pt x="656" y="236"/>
                  </a:cubicBezTo>
                  <a:cubicBezTo>
                    <a:pt x="709" y="182"/>
                    <a:pt x="709" y="182"/>
                    <a:pt x="709" y="182"/>
                  </a:cubicBezTo>
                  <a:cubicBezTo>
                    <a:pt x="572" y="42"/>
                    <a:pt x="572" y="42"/>
                    <a:pt x="572" y="42"/>
                  </a:cubicBezTo>
                  <a:cubicBezTo>
                    <a:pt x="519" y="96"/>
                    <a:pt x="519" y="96"/>
                    <a:pt x="519" y="96"/>
                  </a:cubicBezTo>
                  <a:cubicBezTo>
                    <a:pt x="504" y="88"/>
                    <a:pt x="488" y="82"/>
                    <a:pt x="472" y="76"/>
                  </a:cubicBezTo>
                  <a:cubicBezTo>
                    <a:pt x="472" y="0"/>
                    <a:pt x="472" y="0"/>
                    <a:pt x="472" y="0"/>
                  </a:cubicBezTo>
                  <a:cubicBezTo>
                    <a:pt x="279" y="0"/>
                    <a:pt x="279" y="0"/>
                    <a:pt x="279" y="0"/>
                  </a:cubicBezTo>
                  <a:cubicBezTo>
                    <a:pt x="279" y="76"/>
                    <a:pt x="279" y="76"/>
                    <a:pt x="279" y="76"/>
                  </a:cubicBezTo>
                  <a:cubicBezTo>
                    <a:pt x="262" y="82"/>
                    <a:pt x="247" y="88"/>
                    <a:pt x="232" y="96"/>
                  </a:cubicBezTo>
                  <a:cubicBezTo>
                    <a:pt x="179" y="42"/>
                    <a:pt x="179" y="42"/>
                    <a:pt x="179" y="42"/>
                  </a:cubicBezTo>
                  <a:cubicBezTo>
                    <a:pt x="42" y="182"/>
                    <a:pt x="42" y="182"/>
                    <a:pt x="42" y="182"/>
                  </a:cubicBezTo>
                  <a:cubicBezTo>
                    <a:pt x="95" y="236"/>
                    <a:pt x="95" y="236"/>
                    <a:pt x="95" y="236"/>
                  </a:cubicBezTo>
                  <a:cubicBezTo>
                    <a:pt x="87" y="251"/>
                    <a:pt x="81" y="267"/>
                    <a:pt x="75" y="284"/>
                  </a:cubicBezTo>
                  <a:cubicBezTo>
                    <a:pt x="0" y="284"/>
                    <a:pt x="0" y="284"/>
                    <a:pt x="0" y="284"/>
                  </a:cubicBezTo>
                  <a:cubicBezTo>
                    <a:pt x="0" y="481"/>
                    <a:pt x="0" y="481"/>
                    <a:pt x="0" y="481"/>
                  </a:cubicBezTo>
                  <a:cubicBezTo>
                    <a:pt x="75" y="481"/>
                    <a:pt x="75" y="481"/>
                    <a:pt x="75" y="481"/>
                  </a:cubicBezTo>
                  <a:cubicBezTo>
                    <a:pt x="81" y="498"/>
                    <a:pt x="87" y="514"/>
                    <a:pt x="95" y="529"/>
                  </a:cubicBezTo>
                  <a:cubicBezTo>
                    <a:pt x="42" y="583"/>
                    <a:pt x="42" y="583"/>
                    <a:pt x="42" y="583"/>
                  </a:cubicBezTo>
                  <a:cubicBezTo>
                    <a:pt x="179" y="722"/>
                    <a:pt x="179" y="722"/>
                    <a:pt x="179" y="722"/>
                  </a:cubicBezTo>
                  <a:cubicBezTo>
                    <a:pt x="232" y="668"/>
                    <a:pt x="232" y="668"/>
                    <a:pt x="232" y="668"/>
                  </a:cubicBezTo>
                  <a:cubicBezTo>
                    <a:pt x="247" y="676"/>
                    <a:pt x="262" y="683"/>
                    <a:pt x="279" y="688"/>
                  </a:cubicBezTo>
                  <a:cubicBezTo>
                    <a:pt x="279" y="765"/>
                    <a:pt x="279" y="765"/>
                    <a:pt x="279" y="765"/>
                  </a:cubicBezTo>
                  <a:cubicBezTo>
                    <a:pt x="472" y="765"/>
                    <a:pt x="472" y="765"/>
                    <a:pt x="472" y="765"/>
                  </a:cubicBezTo>
                  <a:cubicBezTo>
                    <a:pt x="472" y="688"/>
                    <a:pt x="472" y="688"/>
                    <a:pt x="472" y="688"/>
                  </a:cubicBezTo>
                  <a:cubicBezTo>
                    <a:pt x="488" y="683"/>
                    <a:pt x="504" y="676"/>
                    <a:pt x="519" y="668"/>
                  </a:cubicBezTo>
                  <a:cubicBezTo>
                    <a:pt x="572" y="722"/>
                    <a:pt x="572" y="722"/>
                    <a:pt x="572" y="722"/>
                  </a:cubicBezTo>
                  <a:cubicBezTo>
                    <a:pt x="709" y="583"/>
                    <a:pt x="709" y="583"/>
                    <a:pt x="709" y="583"/>
                  </a:cubicBezTo>
                  <a:cubicBezTo>
                    <a:pt x="656" y="529"/>
                    <a:pt x="656" y="529"/>
                    <a:pt x="656" y="529"/>
                  </a:cubicBezTo>
                  <a:cubicBezTo>
                    <a:pt x="663" y="514"/>
                    <a:pt x="670" y="498"/>
                    <a:pt x="675" y="481"/>
                  </a:cubicBezTo>
                  <a:lnTo>
                    <a:pt x="750" y="481"/>
                  </a:lnTo>
                  <a:close/>
                  <a:moveTo>
                    <a:pt x="375" y="624"/>
                  </a:moveTo>
                  <a:cubicBezTo>
                    <a:pt x="245" y="624"/>
                    <a:pt x="139" y="516"/>
                    <a:pt x="139" y="382"/>
                  </a:cubicBezTo>
                  <a:cubicBezTo>
                    <a:pt x="139" y="249"/>
                    <a:pt x="245" y="141"/>
                    <a:pt x="375" y="141"/>
                  </a:cubicBezTo>
                  <a:cubicBezTo>
                    <a:pt x="506" y="141"/>
                    <a:pt x="612" y="249"/>
                    <a:pt x="612" y="382"/>
                  </a:cubicBezTo>
                  <a:cubicBezTo>
                    <a:pt x="612" y="516"/>
                    <a:pt x="506" y="624"/>
                    <a:pt x="375" y="624"/>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1" name="Oval 120">
              <a:extLst>
                <a:ext uri="{FF2B5EF4-FFF2-40B4-BE49-F238E27FC236}">
                  <a16:creationId xmlns:a16="http://schemas.microsoft.com/office/drawing/2014/main" id="{ECD5E545-3F62-9B66-1235-E233F3289BAB}"/>
                </a:ext>
              </a:extLst>
            </p:cNvPr>
            <p:cNvSpPr>
              <a:spLocks noChangeArrowheads="1"/>
            </p:cNvSpPr>
            <p:nvPr/>
          </p:nvSpPr>
          <p:spPr bwMode="auto">
            <a:xfrm>
              <a:off x="1912938" y="3922713"/>
              <a:ext cx="112712" cy="114300"/>
            </a:xfrm>
            <a:prstGeom prst="ellipse">
              <a:avLst/>
            </a:pr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grpSp>
        <p:nvGrpSpPr>
          <p:cNvPr id="12" name="Group 245">
            <a:extLst>
              <a:ext uri="{FF2B5EF4-FFF2-40B4-BE49-F238E27FC236}">
                <a16:creationId xmlns:a16="http://schemas.microsoft.com/office/drawing/2014/main" id="{01FDDA2C-BF8F-77A6-3E62-549E5BBE23FA}"/>
              </a:ext>
            </a:extLst>
          </p:cNvPr>
          <p:cNvGrpSpPr/>
          <p:nvPr/>
        </p:nvGrpSpPr>
        <p:grpSpPr>
          <a:xfrm>
            <a:off x="1010349" y="5001639"/>
            <a:ext cx="545123" cy="375138"/>
            <a:chOff x="776288" y="5162551"/>
            <a:chExt cx="590549" cy="406400"/>
          </a:xfrm>
          <a:solidFill>
            <a:schemeClr val="tx1">
              <a:lumMod val="50000"/>
            </a:schemeClr>
          </a:solidFill>
        </p:grpSpPr>
        <p:sp>
          <p:nvSpPr>
            <p:cNvPr id="13" name="Freeform 61">
              <a:extLst>
                <a:ext uri="{FF2B5EF4-FFF2-40B4-BE49-F238E27FC236}">
                  <a16:creationId xmlns:a16="http://schemas.microsoft.com/office/drawing/2014/main" id="{357E80A0-9236-CE11-FA47-DF66E9AC841F}"/>
                </a:ext>
              </a:extLst>
            </p:cNvPr>
            <p:cNvSpPr>
              <a:spLocks/>
            </p:cNvSpPr>
            <p:nvPr/>
          </p:nvSpPr>
          <p:spPr bwMode="auto">
            <a:xfrm>
              <a:off x="836613" y="5227638"/>
              <a:ext cx="485775" cy="215900"/>
            </a:xfrm>
            <a:custGeom>
              <a:avLst/>
              <a:gdLst/>
              <a:ahLst/>
              <a:cxnLst>
                <a:cxn ang="0">
                  <a:pos x="1484" y="9"/>
                </a:cxn>
                <a:cxn ang="0">
                  <a:pos x="1134" y="131"/>
                </a:cxn>
                <a:cxn ang="0">
                  <a:pos x="357" y="23"/>
                </a:cxn>
                <a:cxn ang="0">
                  <a:pos x="0" y="46"/>
                </a:cxn>
                <a:cxn ang="0">
                  <a:pos x="0" y="133"/>
                </a:cxn>
                <a:cxn ang="0">
                  <a:pos x="229" y="131"/>
                </a:cxn>
                <a:cxn ang="0">
                  <a:pos x="1000" y="255"/>
                </a:cxn>
                <a:cxn ang="0">
                  <a:pos x="1393" y="149"/>
                </a:cxn>
                <a:cxn ang="0">
                  <a:pos x="1393" y="658"/>
                </a:cxn>
                <a:cxn ang="0">
                  <a:pos x="1484" y="605"/>
                </a:cxn>
                <a:cxn ang="0">
                  <a:pos x="1484" y="9"/>
                </a:cxn>
              </a:cxnLst>
              <a:rect l="0" t="0" r="r" b="b"/>
              <a:pathLst>
                <a:path w="1484" h="658">
                  <a:moveTo>
                    <a:pt x="1484" y="9"/>
                  </a:moveTo>
                  <a:cubicBezTo>
                    <a:pt x="1484" y="9"/>
                    <a:pt x="1372" y="115"/>
                    <a:pt x="1134" y="131"/>
                  </a:cubicBezTo>
                  <a:cubicBezTo>
                    <a:pt x="930" y="144"/>
                    <a:pt x="525" y="47"/>
                    <a:pt x="357" y="23"/>
                  </a:cubicBezTo>
                  <a:cubicBezTo>
                    <a:pt x="190" y="0"/>
                    <a:pt x="0" y="46"/>
                    <a:pt x="0" y="46"/>
                  </a:cubicBezTo>
                  <a:cubicBezTo>
                    <a:pt x="0" y="133"/>
                    <a:pt x="0" y="133"/>
                    <a:pt x="0" y="133"/>
                  </a:cubicBezTo>
                  <a:cubicBezTo>
                    <a:pt x="62" y="127"/>
                    <a:pt x="142" y="123"/>
                    <a:pt x="229" y="131"/>
                  </a:cubicBezTo>
                  <a:cubicBezTo>
                    <a:pt x="511" y="157"/>
                    <a:pt x="840" y="259"/>
                    <a:pt x="1000" y="255"/>
                  </a:cubicBezTo>
                  <a:cubicBezTo>
                    <a:pt x="1238" y="248"/>
                    <a:pt x="1393" y="149"/>
                    <a:pt x="1393" y="149"/>
                  </a:cubicBezTo>
                  <a:cubicBezTo>
                    <a:pt x="1393" y="658"/>
                    <a:pt x="1393" y="658"/>
                    <a:pt x="1393" y="658"/>
                  </a:cubicBezTo>
                  <a:cubicBezTo>
                    <a:pt x="1474" y="634"/>
                    <a:pt x="1484" y="605"/>
                    <a:pt x="1484" y="605"/>
                  </a:cubicBezTo>
                  <a:lnTo>
                    <a:pt x="1484" y="9"/>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4" name="Freeform 62">
              <a:extLst>
                <a:ext uri="{FF2B5EF4-FFF2-40B4-BE49-F238E27FC236}">
                  <a16:creationId xmlns:a16="http://schemas.microsoft.com/office/drawing/2014/main" id="{F6605BD3-3DCD-79C0-A814-75D55849FFDC}"/>
                </a:ext>
              </a:extLst>
            </p:cNvPr>
            <p:cNvSpPr>
              <a:spLocks/>
            </p:cNvSpPr>
            <p:nvPr/>
          </p:nvSpPr>
          <p:spPr bwMode="auto">
            <a:xfrm>
              <a:off x="876300" y="5162551"/>
              <a:ext cx="490537" cy="212725"/>
            </a:xfrm>
            <a:custGeom>
              <a:avLst/>
              <a:gdLst/>
              <a:ahLst/>
              <a:cxnLst>
                <a:cxn ang="0">
                  <a:pos x="1497" y="0"/>
                </a:cxn>
                <a:cxn ang="0">
                  <a:pos x="1120" y="157"/>
                </a:cxn>
                <a:cxn ang="0">
                  <a:pos x="356" y="57"/>
                </a:cxn>
                <a:cxn ang="0">
                  <a:pos x="0" y="64"/>
                </a:cxn>
                <a:cxn ang="0">
                  <a:pos x="4" y="156"/>
                </a:cxn>
                <a:cxn ang="0">
                  <a:pos x="229" y="150"/>
                </a:cxn>
                <a:cxn ang="0">
                  <a:pos x="1005" y="265"/>
                </a:cxn>
                <a:cxn ang="0">
                  <a:pos x="1406" y="133"/>
                </a:cxn>
                <a:cxn ang="0">
                  <a:pos x="1406" y="650"/>
                </a:cxn>
                <a:cxn ang="0">
                  <a:pos x="1497" y="596"/>
                </a:cxn>
                <a:cxn ang="0">
                  <a:pos x="1497" y="0"/>
                </a:cxn>
              </a:cxnLst>
              <a:rect l="0" t="0" r="r" b="b"/>
              <a:pathLst>
                <a:path w="1497" h="650">
                  <a:moveTo>
                    <a:pt x="1497" y="0"/>
                  </a:moveTo>
                  <a:cubicBezTo>
                    <a:pt x="1497" y="0"/>
                    <a:pt x="1334" y="155"/>
                    <a:pt x="1120" y="157"/>
                  </a:cubicBezTo>
                  <a:cubicBezTo>
                    <a:pt x="881" y="160"/>
                    <a:pt x="525" y="81"/>
                    <a:pt x="356" y="57"/>
                  </a:cubicBezTo>
                  <a:cubicBezTo>
                    <a:pt x="189" y="34"/>
                    <a:pt x="0" y="64"/>
                    <a:pt x="0" y="64"/>
                  </a:cubicBezTo>
                  <a:cubicBezTo>
                    <a:pt x="4" y="156"/>
                    <a:pt x="4" y="156"/>
                    <a:pt x="4" y="156"/>
                  </a:cubicBezTo>
                  <a:cubicBezTo>
                    <a:pt x="66" y="149"/>
                    <a:pt x="142" y="142"/>
                    <a:pt x="229" y="150"/>
                  </a:cubicBezTo>
                  <a:cubicBezTo>
                    <a:pt x="511" y="175"/>
                    <a:pt x="817" y="268"/>
                    <a:pt x="1005" y="265"/>
                  </a:cubicBezTo>
                  <a:cubicBezTo>
                    <a:pt x="1289" y="260"/>
                    <a:pt x="1406" y="133"/>
                    <a:pt x="1406" y="133"/>
                  </a:cubicBezTo>
                  <a:cubicBezTo>
                    <a:pt x="1406" y="650"/>
                    <a:pt x="1406" y="650"/>
                    <a:pt x="1406" y="650"/>
                  </a:cubicBezTo>
                  <a:cubicBezTo>
                    <a:pt x="1487" y="625"/>
                    <a:pt x="1497" y="596"/>
                    <a:pt x="1497" y="596"/>
                  </a:cubicBezTo>
                  <a:lnTo>
                    <a:pt x="1497"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5" name="Freeform 63">
              <a:extLst>
                <a:ext uri="{FF2B5EF4-FFF2-40B4-BE49-F238E27FC236}">
                  <a16:creationId xmlns:a16="http://schemas.microsoft.com/office/drawing/2014/main" id="{E10A65F3-8247-E3C1-198B-24B217A96D1F}"/>
                </a:ext>
              </a:extLst>
            </p:cNvPr>
            <p:cNvSpPr>
              <a:spLocks noEditPoints="1"/>
            </p:cNvSpPr>
            <p:nvPr/>
          </p:nvSpPr>
          <p:spPr bwMode="auto">
            <a:xfrm>
              <a:off x="776288" y="5289551"/>
              <a:ext cx="501650" cy="279400"/>
            </a:xfrm>
            <a:custGeom>
              <a:avLst/>
              <a:gdLst/>
              <a:ahLst/>
              <a:cxnLst>
                <a:cxn ang="0">
                  <a:pos x="1141" y="134"/>
                </a:cxn>
                <a:cxn ang="0">
                  <a:pos x="359" y="10"/>
                </a:cxn>
                <a:cxn ang="0">
                  <a:pos x="128" y="12"/>
                </a:cxn>
                <a:cxn ang="0">
                  <a:pos x="0" y="35"/>
                </a:cxn>
                <a:cxn ang="0">
                  <a:pos x="0" y="753"/>
                </a:cxn>
                <a:cxn ang="0">
                  <a:pos x="393" y="726"/>
                </a:cxn>
                <a:cxn ang="0">
                  <a:pos x="1180" y="851"/>
                </a:cxn>
                <a:cxn ang="0">
                  <a:pos x="1530" y="753"/>
                </a:cxn>
                <a:cxn ang="0">
                  <a:pos x="1530" y="620"/>
                </a:cxn>
                <a:cxn ang="0">
                  <a:pos x="1530" y="35"/>
                </a:cxn>
                <a:cxn ang="0">
                  <a:pos x="1141" y="134"/>
                </a:cxn>
                <a:cxn ang="0">
                  <a:pos x="765" y="699"/>
                </a:cxn>
                <a:cxn ang="0">
                  <a:pos x="514" y="441"/>
                </a:cxn>
                <a:cxn ang="0">
                  <a:pos x="765" y="183"/>
                </a:cxn>
                <a:cxn ang="0">
                  <a:pos x="1016" y="441"/>
                </a:cxn>
                <a:cxn ang="0">
                  <a:pos x="765" y="699"/>
                </a:cxn>
              </a:cxnLst>
              <a:rect l="0" t="0" r="r" b="b"/>
              <a:pathLst>
                <a:path w="1530" h="851">
                  <a:moveTo>
                    <a:pt x="1141" y="134"/>
                  </a:moveTo>
                  <a:cubicBezTo>
                    <a:pt x="1010" y="139"/>
                    <a:pt x="642" y="39"/>
                    <a:pt x="359" y="10"/>
                  </a:cubicBezTo>
                  <a:cubicBezTo>
                    <a:pt x="271" y="0"/>
                    <a:pt x="191" y="4"/>
                    <a:pt x="128" y="12"/>
                  </a:cubicBezTo>
                  <a:cubicBezTo>
                    <a:pt x="50" y="21"/>
                    <a:pt x="0" y="35"/>
                    <a:pt x="0" y="35"/>
                  </a:cubicBezTo>
                  <a:cubicBezTo>
                    <a:pt x="0" y="753"/>
                    <a:pt x="0" y="753"/>
                    <a:pt x="0" y="753"/>
                  </a:cubicBezTo>
                  <a:cubicBezTo>
                    <a:pt x="0" y="753"/>
                    <a:pt x="178" y="705"/>
                    <a:pt x="393" y="726"/>
                  </a:cubicBezTo>
                  <a:cubicBezTo>
                    <a:pt x="687" y="754"/>
                    <a:pt x="1056" y="851"/>
                    <a:pt x="1180" y="851"/>
                  </a:cubicBezTo>
                  <a:cubicBezTo>
                    <a:pt x="1394" y="851"/>
                    <a:pt x="1530" y="753"/>
                    <a:pt x="1530" y="753"/>
                  </a:cubicBezTo>
                  <a:cubicBezTo>
                    <a:pt x="1530" y="620"/>
                    <a:pt x="1530" y="620"/>
                    <a:pt x="1530" y="620"/>
                  </a:cubicBezTo>
                  <a:cubicBezTo>
                    <a:pt x="1530" y="35"/>
                    <a:pt x="1530" y="35"/>
                    <a:pt x="1530" y="35"/>
                  </a:cubicBezTo>
                  <a:cubicBezTo>
                    <a:pt x="1530" y="35"/>
                    <a:pt x="1381" y="124"/>
                    <a:pt x="1141" y="134"/>
                  </a:cubicBezTo>
                  <a:close/>
                  <a:moveTo>
                    <a:pt x="765" y="699"/>
                  </a:moveTo>
                  <a:cubicBezTo>
                    <a:pt x="626" y="699"/>
                    <a:pt x="514" y="583"/>
                    <a:pt x="514" y="441"/>
                  </a:cubicBezTo>
                  <a:cubicBezTo>
                    <a:pt x="514" y="299"/>
                    <a:pt x="626" y="183"/>
                    <a:pt x="765" y="183"/>
                  </a:cubicBezTo>
                  <a:cubicBezTo>
                    <a:pt x="904" y="183"/>
                    <a:pt x="1016" y="299"/>
                    <a:pt x="1016" y="441"/>
                  </a:cubicBezTo>
                  <a:cubicBezTo>
                    <a:pt x="1016" y="583"/>
                    <a:pt x="904" y="699"/>
                    <a:pt x="765" y="699"/>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6" name="Freeform 64">
              <a:extLst>
                <a:ext uri="{FF2B5EF4-FFF2-40B4-BE49-F238E27FC236}">
                  <a16:creationId xmlns:a16="http://schemas.microsoft.com/office/drawing/2014/main" id="{478849F7-8CFA-C0D9-5279-58142362FF19}"/>
                </a:ext>
              </a:extLst>
            </p:cNvPr>
            <p:cNvSpPr>
              <a:spLocks/>
            </p:cNvSpPr>
            <p:nvPr/>
          </p:nvSpPr>
          <p:spPr bwMode="auto">
            <a:xfrm>
              <a:off x="977900" y="5353051"/>
              <a:ext cx="107950" cy="158750"/>
            </a:xfrm>
            <a:custGeom>
              <a:avLst/>
              <a:gdLst/>
              <a:ahLst/>
              <a:cxnLst>
                <a:cxn ang="0">
                  <a:pos x="323" y="141"/>
                </a:cxn>
                <a:cxn ang="0">
                  <a:pos x="292" y="177"/>
                </a:cxn>
                <a:cxn ang="0">
                  <a:pos x="183" y="116"/>
                </a:cxn>
                <a:cxn ang="0">
                  <a:pos x="151" y="144"/>
                </a:cxn>
                <a:cxn ang="0">
                  <a:pos x="331" y="307"/>
                </a:cxn>
                <a:cxn ang="0">
                  <a:pos x="204" y="432"/>
                </a:cxn>
                <a:cxn ang="0">
                  <a:pos x="192" y="453"/>
                </a:cxn>
                <a:cxn ang="0">
                  <a:pos x="161" y="482"/>
                </a:cxn>
                <a:cxn ang="0">
                  <a:pos x="127" y="455"/>
                </a:cxn>
                <a:cxn ang="0">
                  <a:pos x="118" y="433"/>
                </a:cxn>
                <a:cxn ang="0">
                  <a:pos x="32" y="407"/>
                </a:cxn>
                <a:cxn ang="0">
                  <a:pos x="0" y="313"/>
                </a:cxn>
                <a:cxn ang="0">
                  <a:pos x="21" y="284"/>
                </a:cxn>
                <a:cxn ang="0">
                  <a:pos x="145" y="369"/>
                </a:cxn>
                <a:cxn ang="0">
                  <a:pos x="188" y="343"/>
                </a:cxn>
                <a:cxn ang="0">
                  <a:pos x="119" y="298"/>
                </a:cxn>
                <a:cxn ang="0">
                  <a:pos x="9" y="175"/>
                </a:cxn>
                <a:cxn ang="0">
                  <a:pos x="113" y="55"/>
                </a:cxn>
                <a:cxn ang="0">
                  <a:pos x="127" y="33"/>
                </a:cxn>
                <a:cxn ang="0">
                  <a:pos x="157" y="4"/>
                </a:cxn>
                <a:cxn ang="0">
                  <a:pos x="192" y="31"/>
                </a:cxn>
                <a:cxn ang="0">
                  <a:pos x="199" y="54"/>
                </a:cxn>
                <a:cxn ang="0">
                  <a:pos x="240" y="63"/>
                </a:cxn>
                <a:cxn ang="0">
                  <a:pos x="267" y="57"/>
                </a:cxn>
                <a:cxn ang="0">
                  <a:pos x="323" y="141"/>
                </a:cxn>
              </a:cxnLst>
              <a:rect l="0" t="0" r="r" b="b"/>
              <a:pathLst>
                <a:path w="331" h="486">
                  <a:moveTo>
                    <a:pt x="323" y="141"/>
                  </a:moveTo>
                  <a:cubicBezTo>
                    <a:pt x="323" y="161"/>
                    <a:pt x="312" y="177"/>
                    <a:pt x="292" y="177"/>
                  </a:cubicBezTo>
                  <a:cubicBezTo>
                    <a:pt x="260" y="177"/>
                    <a:pt x="237" y="116"/>
                    <a:pt x="183" y="116"/>
                  </a:cubicBezTo>
                  <a:cubicBezTo>
                    <a:pt x="166" y="116"/>
                    <a:pt x="151" y="125"/>
                    <a:pt x="151" y="144"/>
                  </a:cubicBezTo>
                  <a:cubicBezTo>
                    <a:pt x="151" y="202"/>
                    <a:pt x="331" y="168"/>
                    <a:pt x="331" y="307"/>
                  </a:cubicBezTo>
                  <a:cubicBezTo>
                    <a:pt x="331" y="386"/>
                    <a:pt x="247" y="428"/>
                    <a:pt x="204" y="432"/>
                  </a:cubicBezTo>
                  <a:cubicBezTo>
                    <a:pt x="190" y="433"/>
                    <a:pt x="192" y="438"/>
                    <a:pt x="192" y="453"/>
                  </a:cubicBezTo>
                  <a:cubicBezTo>
                    <a:pt x="192" y="482"/>
                    <a:pt x="190" y="482"/>
                    <a:pt x="161" y="482"/>
                  </a:cubicBezTo>
                  <a:cubicBezTo>
                    <a:pt x="134" y="482"/>
                    <a:pt x="127" y="486"/>
                    <a:pt x="127" y="455"/>
                  </a:cubicBezTo>
                  <a:cubicBezTo>
                    <a:pt x="127" y="445"/>
                    <a:pt x="130" y="434"/>
                    <a:pt x="118" y="433"/>
                  </a:cubicBezTo>
                  <a:cubicBezTo>
                    <a:pt x="96" y="430"/>
                    <a:pt x="50" y="419"/>
                    <a:pt x="32" y="407"/>
                  </a:cubicBezTo>
                  <a:cubicBezTo>
                    <a:pt x="12" y="391"/>
                    <a:pt x="0" y="337"/>
                    <a:pt x="0" y="313"/>
                  </a:cubicBezTo>
                  <a:cubicBezTo>
                    <a:pt x="0" y="299"/>
                    <a:pt x="6" y="284"/>
                    <a:pt x="21" y="284"/>
                  </a:cubicBezTo>
                  <a:cubicBezTo>
                    <a:pt x="62" y="284"/>
                    <a:pt x="54" y="369"/>
                    <a:pt x="145" y="369"/>
                  </a:cubicBezTo>
                  <a:cubicBezTo>
                    <a:pt x="158" y="369"/>
                    <a:pt x="188" y="363"/>
                    <a:pt x="188" y="343"/>
                  </a:cubicBezTo>
                  <a:cubicBezTo>
                    <a:pt x="188" y="325"/>
                    <a:pt x="183" y="321"/>
                    <a:pt x="119" y="298"/>
                  </a:cubicBezTo>
                  <a:cubicBezTo>
                    <a:pt x="65" y="278"/>
                    <a:pt x="9" y="240"/>
                    <a:pt x="9" y="175"/>
                  </a:cubicBezTo>
                  <a:cubicBezTo>
                    <a:pt x="9" y="115"/>
                    <a:pt x="57" y="66"/>
                    <a:pt x="113" y="55"/>
                  </a:cubicBezTo>
                  <a:cubicBezTo>
                    <a:pt x="129" y="52"/>
                    <a:pt x="127" y="50"/>
                    <a:pt x="127" y="33"/>
                  </a:cubicBezTo>
                  <a:cubicBezTo>
                    <a:pt x="127" y="3"/>
                    <a:pt x="129" y="4"/>
                    <a:pt x="157" y="4"/>
                  </a:cubicBezTo>
                  <a:cubicBezTo>
                    <a:pt x="185" y="4"/>
                    <a:pt x="192" y="0"/>
                    <a:pt x="192" y="31"/>
                  </a:cubicBezTo>
                  <a:cubicBezTo>
                    <a:pt x="192" y="40"/>
                    <a:pt x="189" y="52"/>
                    <a:pt x="199" y="54"/>
                  </a:cubicBezTo>
                  <a:cubicBezTo>
                    <a:pt x="207" y="55"/>
                    <a:pt x="236" y="63"/>
                    <a:pt x="240" y="63"/>
                  </a:cubicBezTo>
                  <a:cubicBezTo>
                    <a:pt x="247" y="63"/>
                    <a:pt x="256" y="57"/>
                    <a:pt x="267" y="57"/>
                  </a:cubicBezTo>
                  <a:cubicBezTo>
                    <a:pt x="288" y="57"/>
                    <a:pt x="323" y="104"/>
                    <a:pt x="323" y="141"/>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sp>
        <p:nvSpPr>
          <p:cNvPr id="19" name="Oval 18">
            <a:extLst>
              <a:ext uri="{FF2B5EF4-FFF2-40B4-BE49-F238E27FC236}">
                <a16:creationId xmlns:a16="http://schemas.microsoft.com/office/drawing/2014/main" id="{0BC58E50-522D-428B-9F05-49819E4DF99C}"/>
              </a:ext>
            </a:extLst>
          </p:cNvPr>
          <p:cNvSpPr/>
          <p:nvPr/>
        </p:nvSpPr>
        <p:spPr>
          <a:xfrm>
            <a:off x="3814481"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5" name="Rectangle 4">
            <a:extLst>
              <a:ext uri="{FF2B5EF4-FFF2-40B4-BE49-F238E27FC236}">
                <a16:creationId xmlns:a16="http://schemas.microsoft.com/office/drawing/2014/main" id="{CE8C7220-095C-E3CA-0FF5-B6E061A32215}"/>
              </a:ext>
            </a:extLst>
          </p:cNvPr>
          <p:cNvSpPr/>
          <p:nvPr/>
        </p:nvSpPr>
        <p:spPr>
          <a:xfrm>
            <a:off x="3994975" y="800898"/>
            <a:ext cx="8109509" cy="5369083"/>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9088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1290001"/>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3431421"/>
          </a:xfrm>
        </p:spPr>
        <p:txBody>
          <a:bodyPr/>
          <a:lstStyle/>
          <a:p>
            <a:r>
              <a:rPr lang="en-GB" sz="1400" dirty="0">
                <a:hlinkClick r:id="rId6" action="ppaction://hlinksldjump"/>
              </a:rPr>
              <a:t>Executive summary</a:t>
            </a:r>
            <a:endParaRPr lang="en-GB" sz="1400" dirty="0"/>
          </a:p>
          <a:p>
            <a:r>
              <a:rPr lang="en-GB" sz="1400" dirty="0">
                <a:hlinkClick r:id="" action="ppaction://noaction"/>
              </a:rPr>
              <a:t>Introduction to battery storage</a:t>
            </a:r>
            <a:r>
              <a:rPr lang="en-GB" sz="1400" dirty="0"/>
              <a:t>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GB" sz="1400" b="1" u="sng" dirty="0">
                <a:effectLst/>
                <a:ea typeface="Calibri" panose="020F0502020204030204" pitchFamily="34" charset="0"/>
              </a:rPr>
              <a:t>Revenue stream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6" name="Group 5">
            <a:extLst>
              <a:ext uri="{FF2B5EF4-FFF2-40B4-BE49-F238E27FC236}">
                <a16:creationId xmlns:a16="http://schemas.microsoft.com/office/drawing/2014/main" id="{9F511F05-E48F-F244-A296-4EEB99DA4108}"/>
              </a:ext>
            </a:extLst>
          </p:cNvPr>
          <p:cNvGrpSpPr/>
          <p:nvPr/>
        </p:nvGrpSpPr>
        <p:grpSpPr>
          <a:xfrm>
            <a:off x="0" y="5631542"/>
            <a:ext cx="12192000" cy="841829"/>
            <a:chOff x="0" y="5631542"/>
            <a:chExt cx="12192000" cy="841829"/>
          </a:xfrm>
        </p:grpSpPr>
        <p:sp>
          <p:nvSpPr>
            <p:cNvPr id="2" name="Rectangle 1">
              <a:extLst>
                <a:ext uri="{FF2B5EF4-FFF2-40B4-BE49-F238E27FC236}">
                  <a16:creationId xmlns:a16="http://schemas.microsoft.com/office/drawing/2014/main" id="{D824DD34-C3F9-65CA-AD49-D2C5D5BC9DC3}"/>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3" name="TextBox 2">
              <a:extLst>
                <a:ext uri="{FF2B5EF4-FFF2-40B4-BE49-F238E27FC236}">
                  <a16:creationId xmlns:a16="http://schemas.microsoft.com/office/drawing/2014/main" id="{C30B3C99-2806-89DC-0C34-E568E185680A}"/>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37683009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E69CE6-A077-4331-9700-35F6304FA5F3}"/>
              </a:ext>
            </a:extLst>
          </p:cNvPr>
          <p:cNvGraphicFramePr>
            <a:graphicFrameLocks noChangeAspect="1"/>
          </p:cNvGraphicFramePr>
          <p:nvPr>
            <p:custDataLst>
              <p:tags r:id="rId1"/>
            </p:custDataLst>
            <p:extLst>
              <p:ext uri="{D42A27DB-BD31-4B8C-83A1-F6EECF244321}">
                <p14:modId xmlns:p14="http://schemas.microsoft.com/office/powerpoint/2010/main" val="535294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Object 6" hidden="1">
                        <a:extLst>
                          <a:ext uri="{FF2B5EF4-FFF2-40B4-BE49-F238E27FC236}">
                            <a16:creationId xmlns:a16="http://schemas.microsoft.com/office/drawing/2014/main" id="{97E69CE6-A077-4331-9700-35F6304FA5F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11" name="Table 42">
            <a:extLst>
              <a:ext uri="{FF2B5EF4-FFF2-40B4-BE49-F238E27FC236}">
                <a16:creationId xmlns:a16="http://schemas.microsoft.com/office/drawing/2014/main" id="{3EB52EE8-2589-4F36-86F6-AAEEB2049D15}"/>
              </a:ext>
            </a:extLst>
          </p:cNvPr>
          <p:cNvGraphicFramePr>
            <a:graphicFrameLocks noGrp="1"/>
          </p:cNvGraphicFramePr>
          <p:nvPr/>
        </p:nvGraphicFramePr>
        <p:xfrm>
          <a:off x="374689" y="1709168"/>
          <a:ext cx="11461990" cy="1280160"/>
        </p:xfrm>
        <a:graphic>
          <a:graphicData uri="http://schemas.openxmlformats.org/drawingml/2006/table">
            <a:tbl>
              <a:tblPr firstRow="1" bandRow="1">
                <a:tableStyleId>{2D5ABB26-0587-4C30-8999-92F81FD0307C}</a:tableStyleId>
              </a:tblPr>
              <a:tblGrid>
                <a:gridCol w="4231430">
                  <a:extLst>
                    <a:ext uri="{9D8B030D-6E8A-4147-A177-3AD203B41FA5}">
                      <a16:colId xmlns:a16="http://schemas.microsoft.com/office/drawing/2014/main" val="501274450"/>
                    </a:ext>
                  </a:extLst>
                </a:gridCol>
                <a:gridCol w="934872">
                  <a:extLst>
                    <a:ext uri="{9D8B030D-6E8A-4147-A177-3AD203B41FA5}">
                      <a16:colId xmlns:a16="http://schemas.microsoft.com/office/drawing/2014/main" val="4065989005"/>
                    </a:ext>
                  </a:extLst>
                </a:gridCol>
                <a:gridCol w="6295688">
                  <a:extLst>
                    <a:ext uri="{9D8B030D-6E8A-4147-A177-3AD203B41FA5}">
                      <a16:colId xmlns:a16="http://schemas.microsoft.com/office/drawing/2014/main" val="3864269130"/>
                    </a:ext>
                  </a:extLst>
                </a:gridCol>
              </a:tblGrid>
              <a:tr h="0">
                <a:tc>
                  <a:txBody>
                    <a:bodyPr/>
                    <a:lstStyle/>
                    <a:p>
                      <a:pPr algn="l" rtl="0"/>
                      <a:r>
                        <a:rPr lang="en-GB" sz="1200" b="1"/>
                        <a:t>Metri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b="1"/>
                        <a:t>Weight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b="1"/>
                        <a:t>Rationa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1830504"/>
                  </a:ext>
                </a:extLst>
              </a:tr>
              <a:tr h="240032">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baseline="0"/>
                        <a:t>Average wholesale market daily spread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kumimoji="0" lang="en-GB" sz="1200" b="0" i="1" u="none" strike="noStrike" kern="1200" cap="none" spc="0" normalizeH="0" baseline="0" noProof="0">
                          <a:ln>
                            <a:noFill/>
                          </a:ln>
                          <a:solidFill>
                            <a:srgbClr val="3C3C3B"/>
                          </a:solidFill>
                          <a:effectLst/>
                          <a:uLnTx/>
                          <a:uFillTx/>
                          <a:latin typeface="Lato"/>
                          <a:ea typeface="+mn-ea"/>
                          <a:cs typeface="+mn-cs"/>
                        </a:rPr>
                        <a:t>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a:t>Indicates the value available from energy arbitrage in the wholesale mark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3895335"/>
                  </a:ext>
                </a:extLst>
              </a:tr>
              <a:tr h="240032">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baseline="0"/>
                        <a:t>Frequency and balancing markets saturation risk</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kumimoji="0" lang="en-GB" sz="1200" b="0" i="1" u="none" strike="noStrike" kern="1200" cap="none" spc="0" normalizeH="0" baseline="0" noProof="0">
                          <a:ln>
                            <a:noFill/>
                          </a:ln>
                          <a:solidFill>
                            <a:srgbClr val="3C3C3B"/>
                          </a:solidFill>
                          <a:effectLst/>
                          <a:uLnTx/>
                          <a:uFillTx/>
                          <a:latin typeface="Lato"/>
                          <a:ea typeface="+mn-ea"/>
                          <a:cs typeface="+mn-cs"/>
                        </a:rPr>
                        <a:t>2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a:t>Assesses the risk of market saturation in frequency response and balancing services due to the deployment of other batter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8744179"/>
                  </a:ext>
                </a:extLst>
              </a:tr>
              <a:tr h="240032">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baseline="0"/>
                        <a:t>Capacity market revenue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783" rtl="0" eaLnBrk="1" fontAlgn="auto" latinLnBrk="0" hangingPunct="1">
                        <a:lnSpc>
                          <a:spcPts val="1340"/>
                        </a:lnSpc>
                        <a:spcBef>
                          <a:spcPts val="0"/>
                        </a:spcBef>
                        <a:spcAft>
                          <a:spcPts val="0"/>
                        </a:spcAft>
                        <a:buClrTx/>
                        <a:buSzTx/>
                        <a:buFontTx/>
                        <a:buNone/>
                        <a:tabLst/>
                        <a:defRPr/>
                      </a:pPr>
                      <a:r>
                        <a:rPr kumimoji="0" lang="en-GB" sz="1200" b="0" i="1" u="none" strike="noStrike" kern="1200" cap="none" spc="0" normalizeH="0" baseline="0" noProof="0">
                          <a:ln>
                            <a:noFill/>
                          </a:ln>
                          <a:solidFill>
                            <a:srgbClr val="3C3C3B"/>
                          </a:solidFill>
                          <a:effectLst/>
                          <a:uLnTx/>
                          <a:uFillTx/>
                          <a:latin typeface="Lato"/>
                          <a:ea typeface="+mn-ea"/>
                          <a:cs typeface="+mn-cs"/>
                        </a:rPr>
                        <a:t>2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a:t>Indicates the value available from receiving capacity market pay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7699454"/>
                  </a:ext>
                </a:extLst>
              </a:tr>
            </a:tbl>
          </a:graphicData>
        </a:graphic>
      </p:graphicFrame>
      <p:sp>
        <p:nvSpPr>
          <p:cNvPr id="208" name="Text Placeholder 207">
            <a:extLst>
              <a:ext uri="{FF2B5EF4-FFF2-40B4-BE49-F238E27FC236}">
                <a16:creationId xmlns:a16="http://schemas.microsoft.com/office/drawing/2014/main" id="{83729209-CEA6-404D-ABE4-51581910B7F2}"/>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3" name="Title 2">
            <a:extLst>
              <a:ext uri="{FF2B5EF4-FFF2-40B4-BE49-F238E27FC236}">
                <a16:creationId xmlns:a16="http://schemas.microsoft.com/office/drawing/2014/main" id="{83F456BF-D62F-4BA3-9D8F-8884BA87F243}"/>
              </a:ext>
            </a:extLst>
          </p:cNvPr>
          <p:cNvSpPr>
            <a:spLocks noGrp="1"/>
          </p:cNvSpPr>
          <p:nvPr>
            <p:ph type="title"/>
          </p:nvPr>
        </p:nvSpPr>
        <p:spPr/>
        <p:txBody>
          <a:bodyPr vert="horz"/>
          <a:lstStyle/>
          <a:p>
            <a:r>
              <a:rPr lang="en-GB">
                <a:solidFill>
                  <a:srgbClr val="808080"/>
                </a:solidFill>
                <a:highlight>
                  <a:srgbClr val="808080"/>
                </a:highlight>
                <a:ea typeface="Lato"/>
                <a:cs typeface="Lato"/>
              </a:rPr>
              <a:t>XXXXX</a:t>
            </a:r>
            <a:r>
              <a:rPr lang="en-GB">
                <a:solidFill>
                  <a:schemeClr val="tx1"/>
                </a:solidFill>
              </a:rPr>
              <a:t> sees the most attractive revenue streams for battery storage, followed by</a:t>
            </a:r>
            <a:r>
              <a:rPr lang="en-GB">
                <a:solidFill>
                  <a:srgbClr val="808080"/>
                </a:solidFill>
                <a:highlight>
                  <a:srgbClr val="808080"/>
                </a:highlight>
                <a:ea typeface="Lato"/>
                <a:cs typeface="Lato"/>
              </a:rPr>
              <a:t> XXXXX </a:t>
            </a:r>
            <a:r>
              <a:rPr lang="en-GB">
                <a:solidFill>
                  <a:schemeClr val="tx1"/>
                </a:solidFill>
              </a:rPr>
              <a:t>and </a:t>
            </a:r>
            <a:r>
              <a:rPr lang="en-GB">
                <a:solidFill>
                  <a:srgbClr val="808080"/>
                </a:solidFill>
                <a:highlight>
                  <a:srgbClr val="808080"/>
                </a:highlight>
                <a:ea typeface="Lato"/>
                <a:cs typeface="Lato"/>
              </a:rPr>
              <a:t>XXXXX</a:t>
            </a:r>
            <a:r>
              <a:rPr lang="en-GB">
                <a:solidFill>
                  <a:schemeClr val="accent5"/>
                </a:solidFill>
                <a:highlight>
                  <a:srgbClr val="808080"/>
                </a:highlight>
                <a:ea typeface="Lato"/>
                <a:cs typeface="Lato"/>
              </a:rPr>
              <a:t> </a:t>
            </a:r>
            <a:endParaRPr lang="en-GB"/>
          </a:p>
        </p:txBody>
      </p:sp>
      <p:sp>
        <p:nvSpPr>
          <p:cNvPr id="15" name="Text Placeholder 14">
            <a:extLst>
              <a:ext uri="{FF2B5EF4-FFF2-40B4-BE49-F238E27FC236}">
                <a16:creationId xmlns:a16="http://schemas.microsoft.com/office/drawing/2014/main" id="{FB08D5BD-EEB0-C0CA-7285-C2F01C35B96F}"/>
              </a:ext>
            </a:extLst>
          </p:cNvPr>
          <p:cNvSpPr>
            <a:spLocks noGrp="1"/>
          </p:cNvSpPr>
          <p:nvPr>
            <p:ph type="body" sz="quarter" idx="32"/>
          </p:nvPr>
        </p:nvSpPr>
        <p:spPr/>
        <p:txBody>
          <a:bodyPr/>
          <a:lstStyle/>
          <a:p>
            <a:endParaRPr lang="en-GB"/>
          </a:p>
        </p:txBody>
      </p:sp>
      <p:sp>
        <p:nvSpPr>
          <p:cNvPr id="216" name="Text Placeholder 13">
            <a:extLst>
              <a:ext uri="{FF2B5EF4-FFF2-40B4-BE49-F238E27FC236}">
                <a16:creationId xmlns:a16="http://schemas.microsoft.com/office/drawing/2014/main" id="{4530BF9A-D8DD-48E3-BE71-6B5D42C452CE}"/>
              </a:ext>
            </a:extLst>
          </p:cNvPr>
          <p:cNvSpPr txBox="1">
            <a:spLocks/>
          </p:cNvSpPr>
          <p:nvPr/>
        </p:nvSpPr>
        <p:spPr>
          <a:xfrm>
            <a:off x="381599" y="79401"/>
            <a:ext cx="1385316"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a:t>
            </a:r>
          </a:p>
        </p:txBody>
      </p:sp>
      <p:sp>
        <p:nvSpPr>
          <p:cNvPr id="99" name="Text Placeholder 11">
            <a:extLst>
              <a:ext uri="{FF2B5EF4-FFF2-40B4-BE49-F238E27FC236}">
                <a16:creationId xmlns:a16="http://schemas.microsoft.com/office/drawing/2014/main" id="{59D1FC59-42D5-5875-AD60-A26E1004321D}"/>
              </a:ext>
            </a:extLst>
          </p:cNvPr>
          <p:cNvSpPr txBox="1">
            <a:spLocks/>
          </p:cNvSpPr>
          <p:nvPr/>
        </p:nvSpPr>
        <p:spPr>
          <a:xfrm>
            <a:off x="3025775" y="1282473"/>
            <a:ext cx="8795527" cy="369332"/>
          </a:xfrm>
          <a:prstGeom prst="rect">
            <a:avLst/>
          </a:prstGeom>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r>
              <a:rPr lang="en-GB" i="1"/>
              <a:t>Countries are assessed in terms of their revenue streams for batteries between 2023-2030, based on two criteria shown below. An overall score between 0-10 is assigned for each country reflecting the following weighting of assessment criteria.</a:t>
            </a:r>
          </a:p>
        </p:txBody>
      </p:sp>
      <p:graphicFrame>
        <p:nvGraphicFramePr>
          <p:cNvPr id="100" name="Tabelle 7">
            <a:extLst>
              <a:ext uri="{FF2B5EF4-FFF2-40B4-BE49-F238E27FC236}">
                <a16:creationId xmlns:a16="http://schemas.microsoft.com/office/drawing/2014/main" id="{5F05063F-AE7D-A73B-C10C-D9B5A0F576E1}"/>
              </a:ext>
            </a:extLst>
          </p:cNvPr>
          <p:cNvGraphicFramePr>
            <a:graphicFrameLocks noGrp="1"/>
          </p:cNvGraphicFramePr>
          <p:nvPr>
            <p:custDataLst>
              <p:tags r:id="rId2"/>
            </p:custDataLst>
            <p:extLst>
              <p:ext uri="{D42A27DB-BD31-4B8C-83A1-F6EECF244321}">
                <p14:modId xmlns:p14="http://schemas.microsoft.com/office/powerpoint/2010/main" val="4085425698"/>
              </p:ext>
            </p:extLst>
          </p:nvPr>
        </p:nvGraphicFramePr>
        <p:xfrm>
          <a:off x="375304" y="3046184"/>
          <a:ext cx="5346766" cy="3017520"/>
        </p:xfrm>
        <a:graphic>
          <a:graphicData uri="http://schemas.openxmlformats.org/drawingml/2006/table">
            <a:tbl>
              <a:tblPr firstRow="1" bandRow="1">
                <a:effectLst/>
                <a:tableStyleId>{5C22544A-7EE6-4342-B048-85BDC9FD1C3A}</a:tableStyleId>
              </a:tblPr>
              <a:tblGrid>
                <a:gridCol w="612248">
                  <a:extLst>
                    <a:ext uri="{9D8B030D-6E8A-4147-A177-3AD203B41FA5}">
                      <a16:colId xmlns:a16="http://schemas.microsoft.com/office/drawing/2014/main" val="2084924206"/>
                    </a:ext>
                  </a:extLst>
                </a:gridCol>
                <a:gridCol w="1146450">
                  <a:extLst>
                    <a:ext uri="{9D8B030D-6E8A-4147-A177-3AD203B41FA5}">
                      <a16:colId xmlns:a16="http://schemas.microsoft.com/office/drawing/2014/main" val="2561383920"/>
                    </a:ext>
                  </a:extLst>
                </a:gridCol>
                <a:gridCol w="116840">
                  <a:extLst>
                    <a:ext uri="{9D8B030D-6E8A-4147-A177-3AD203B41FA5}">
                      <a16:colId xmlns:a16="http://schemas.microsoft.com/office/drawing/2014/main" val="872547697"/>
                    </a:ext>
                  </a:extLst>
                </a:gridCol>
                <a:gridCol w="3471228">
                  <a:extLst>
                    <a:ext uri="{9D8B030D-6E8A-4147-A177-3AD203B41FA5}">
                      <a16:colId xmlns:a16="http://schemas.microsoft.com/office/drawing/2014/main" val="3029055405"/>
                    </a:ext>
                  </a:extLst>
                </a:gridCol>
              </a:tblGrid>
              <a:tr h="251536">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ank</a:t>
                      </a:r>
                    </a:p>
                  </a:txBody>
                  <a:tcPr marL="45720" marR="45720" anchor="b">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45720" marR="45720" anchor="b">
                    <a:lnR w="12700" cmpd="sng">
                      <a:noFill/>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200" b="1" i="0" kern="1200">
                        <a:solidFill>
                          <a:schemeClr val="tx1"/>
                        </a:solidFill>
                        <a:latin typeface="+mn-lt"/>
                        <a:ea typeface="Lato" panose="020F0502020204030203" pitchFamily="34" charset="0"/>
                        <a:cs typeface="Lato" panose="020F0502020204030203" pitchFamily="34" charset="0"/>
                      </a:endParaRPr>
                    </a:p>
                  </a:txBody>
                  <a:tcPr marL="45720" marR="45720" anchor="b">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i="0" kern="1200">
                          <a:solidFill>
                            <a:schemeClr val="tx1"/>
                          </a:solidFill>
                          <a:latin typeface="+mn-lt"/>
                          <a:ea typeface="Lato" panose="020F0502020204030203" pitchFamily="34" charset="0"/>
                          <a:cs typeface="Lato" panose="020F0502020204030203" pitchFamily="34" charset="0"/>
                        </a:rPr>
                        <a:t>Market attractiveness score</a:t>
                      </a:r>
                    </a:p>
                  </a:txBody>
                  <a:tcPr marL="45720" marR="45720" anchor="b">
                    <a:lnL w="12700" cmpd="sng">
                      <a:noFill/>
                    </a:lnL>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5036239"/>
                  </a:ext>
                </a:extLst>
              </a:tr>
              <a:tr h="266721">
                <a:tc>
                  <a:txBody>
                    <a:bodyPr/>
                    <a:lstStyle/>
                    <a:p>
                      <a:pPr algn="ctr" rtl="0" fontAlgn="b"/>
                      <a:r>
                        <a:rPr lang="en-GB" sz="1200" b="0" i="0" u="none" strike="noStrike">
                          <a:solidFill>
                            <a:schemeClr val="tx1"/>
                          </a:solidFill>
                          <a:effectLst/>
                          <a:latin typeface="+mn-lt"/>
                        </a:rPr>
                        <a:t>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6721">
                <a:tc>
                  <a:txBody>
                    <a:bodyPr/>
                    <a:lstStyle/>
                    <a:p>
                      <a:pPr algn="ctr" rtl="0" fontAlgn="b"/>
                      <a:r>
                        <a:rPr lang="en-GB" sz="1200" b="0" i="0" u="none" strike="noStrike">
                          <a:solidFill>
                            <a:schemeClr val="tx1"/>
                          </a:solidFill>
                          <a:effectLst/>
                          <a:latin typeface="+mn-lt"/>
                        </a:rPr>
                        <a:t>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9210508"/>
                  </a:ext>
                </a:extLst>
              </a:tr>
              <a:tr h="266721">
                <a:tc>
                  <a:txBody>
                    <a:bodyPr/>
                    <a:lstStyle/>
                    <a:p>
                      <a:pPr algn="ctr" rtl="0" fontAlgn="b"/>
                      <a:r>
                        <a:rPr lang="en-GB" sz="1200" b="0" i="0" u="none" strike="noStrike">
                          <a:solidFill>
                            <a:schemeClr val="tx1"/>
                          </a:solidFill>
                          <a:effectLst/>
                          <a:latin typeface="+mn-lt"/>
                        </a:rPr>
                        <a:t>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baseline="0">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8080983"/>
                  </a:ext>
                </a:extLst>
              </a:tr>
              <a:tr h="266721">
                <a:tc>
                  <a:txBody>
                    <a:bodyPr/>
                    <a:lstStyle/>
                    <a:p>
                      <a:pPr algn="ctr" rtl="0" fontAlgn="b"/>
                      <a:r>
                        <a:rPr lang="en-GB" sz="1200" b="0" i="0" u="none" strike="noStrike">
                          <a:solidFill>
                            <a:schemeClr val="tx1"/>
                          </a:solidFill>
                          <a:effectLst/>
                          <a:latin typeface="+mn-lt"/>
                        </a:rPr>
                        <a:t>4</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8261833"/>
                  </a:ext>
                </a:extLst>
              </a:tr>
              <a:tr h="266721">
                <a:tc>
                  <a:txBody>
                    <a:bodyPr/>
                    <a:lstStyle/>
                    <a:p>
                      <a:pPr algn="ctr" rtl="0" fontAlgn="b"/>
                      <a:r>
                        <a:rPr lang="en-GB" sz="1200" b="0" i="0" u="none" strike="noStrike">
                          <a:solidFill>
                            <a:schemeClr val="tx1"/>
                          </a:solidFill>
                          <a:effectLst/>
                          <a:latin typeface="+mn-lt"/>
                        </a:rPr>
                        <a:t>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8506081"/>
                  </a:ext>
                </a:extLst>
              </a:tr>
              <a:tr h="266721">
                <a:tc>
                  <a:txBody>
                    <a:bodyPr/>
                    <a:lstStyle/>
                    <a:p>
                      <a:pPr algn="ctr" rtl="0" fontAlgn="b"/>
                      <a:r>
                        <a:rPr lang="en-GB" sz="1200" b="0" i="0" u="none" strike="noStrike">
                          <a:solidFill>
                            <a:schemeClr val="tx1"/>
                          </a:solidFill>
                          <a:effectLst/>
                          <a:latin typeface="+mn-lt"/>
                        </a:rPr>
                        <a:t>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9309152"/>
                  </a:ext>
                </a:extLst>
              </a:tr>
              <a:tr h="266721">
                <a:tc>
                  <a:txBody>
                    <a:bodyPr/>
                    <a:lstStyle/>
                    <a:p>
                      <a:pPr algn="ctr" rtl="0" fontAlgn="b"/>
                      <a:r>
                        <a:rPr lang="en-GB" sz="1200" b="0" i="0" u="none" strike="noStrike">
                          <a:solidFill>
                            <a:schemeClr val="tx1"/>
                          </a:solidFill>
                          <a:effectLst/>
                          <a:latin typeface="+mn-lt"/>
                        </a:rPr>
                        <a:t>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0424253"/>
                  </a:ext>
                </a:extLst>
              </a:tr>
              <a:tr h="266721">
                <a:tc>
                  <a:txBody>
                    <a:bodyPr/>
                    <a:lstStyle/>
                    <a:p>
                      <a:pPr algn="ctr" rtl="0" fontAlgn="b"/>
                      <a:r>
                        <a:rPr lang="en-GB" sz="1200" b="0" i="0" u="none" strike="noStrike">
                          <a:solidFill>
                            <a:schemeClr val="tx1"/>
                          </a:solidFill>
                          <a:effectLst/>
                          <a:latin typeface="+mn-lt"/>
                        </a:rPr>
                        <a:t>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5004117"/>
                  </a:ext>
                </a:extLst>
              </a:tr>
              <a:tr h="266721">
                <a:tc>
                  <a:txBody>
                    <a:bodyPr/>
                    <a:lstStyle/>
                    <a:p>
                      <a:pPr algn="ctr" rtl="0" fontAlgn="b"/>
                      <a:r>
                        <a:rPr lang="en-GB" sz="1200" b="0" i="0" u="none" strike="noStrike">
                          <a:solidFill>
                            <a:schemeClr val="tx1"/>
                          </a:solidFill>
                          <a:effectLst/>
                          <a:latin typeface="+mn-lt"/>
                        </a:rPr>
                        <a:t>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675267"/>
                  </a:ext>
                </a:extLst>
              </a:tr>
              <a:tr h="266721">
                <a:tc>
                  <a:txBody>
                    <a:bodyPr/>
                    <a:lstStyle/>
                    <a:p>
                      <a:pPr algn="ctr" rtl="0" fontAlgn="b"/>
                      <a:r>
                        <a:rPr lang="en-GB" sz="1200" b="0" i="0" u="none" strike="noStrike">
                          <a:solidFill>
                            <a:schemeClr val="tx1"/>
                          </a:solidFill>
                          <a:effectLst/>
                          <a:latin typeface="+mn-lt"/>
                        </a:rPr>
                        <a:t>10</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lang="en-GB" sz="1200" b="1"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chemeClr val="tx1"/>
                        </a:solidFill>
                        <a:effectLst/>
                        <a:uLnTx/>
                        <a:uFillTx/>
                        <a:latin typeface="+mn-lt"/>
                        <a:ea typeface="Lato"/>
                        <a:cs typeface="Lato"/>
                        <a:sym typeface="Lato" panose="020F050202020403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en-GB" sz="1200" b="0" i="0" u="none" strike="noStrike">
                        <a:solidFill>
                          <a:schemeClr val="tx1"/>
                        </a:solidFill>
                        <a:effectLst/>
                        <a:latin typeface="+mn-lt"/>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7503049"/>
                  </a:ext>
                </a:extLst>
              </a:tr>
            </a:tbl>
          </a:graphicData>
        </a:graphic>
      </p:graphicFrame>
      <p:graphicFrame>
        <p:nvGraphicFramePr>
          <p:cNvPr id="8" name="Chart 7">
            <a:extLst>
              <a:ext uri="{FF2B5EF4-FFF2-40B4-BE49-F238E27FC236}">
                <a16:creationId xmlns:a16="http://schemas.microsoft.com/office/drawing/2014/main" id="{F7A1EE98-072E-48D7-5928-69D4BB3F33F1}"/>
              </a:ext>
            </a:extLst>
          </p:cNvPr>
          <p:cNvGraphicFramePr/>
          <p:nvPr>
            <p:custDataLst>
              <p:tags r:id="rId3"/>
            </p:custDataLst>
            <p:extLst>
              <p:ext uri="{D42A27DB-BD31-4B8C-83A1-F6EECF244321}">
                <p14:modId xmlns:p14="http://schemas.microsoft.com/office/powerpoint/2010/main" val="3327744606"/>
              </p:ext>
            </p:extLst>
          </p:nvPr>
        </p:nvGraphicFramePr>
        <p:xfrm>
          <a:off x="2170113" y="3244850"/>
          <a:ext cx="3633787" cy="2901950"/>
        </p:xfrm>
        <a:graphic>
          <a:graphicData uri="http://schemas.openxmlformats.org/drawingml/2006/chart">
            <c:chart xmlns:c="http://schemas.openxmlformats.org/drawingml/2006/chart" xmlns:r="http://schemas.openxmlformats.org/officeDocument/2006/relationships" r:id="rId14"/>
          </a:graphicData>
        </a:graphic>
      </p:graphicFrame>
      <p:sp>
        <p:nvSpPr>
          <p:cNvPr id="133" name="Rectangle 132">
            <a:extLst>
              <a:ext uri="{FF2B5EF4-FFF2-40B4-BE49-F238E27FC236}">
                <a16:creationId xmlns:a16="http://schemas.microsoft.com/office/drawing/2014/main" id="{4169BAC9-E7BF-54F6-AE5E-1AEE7C0ED4DD}"/>
              </a:ext>
            </a:extLst>
          </p:cNvPr>
          <p:cNvSpPr/>
          <p:nvPr>
            <p:custDataLst>
              <p:tags r:id="rId4"/>
            </p:custDataLst>
          </p:nvPr>
        </p:nvSpPr>
        <p:spPr bwMode="auto">
          <a:xfrm>
            <a:off x="420688" y="6276975"/>
            <a:ext cx="179388" cy="133350"/>
          </a:xfrm>
          <a:prstGeom prst="rect">
            <a:avLst/>
          </a:prstGeom>
          <a:solidFill>
            <a:srgbClr val="99AF79"/>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6" name="Rectangle 155">
            <a:extLst>
              <a:ext uri="{FF2B5EF4-FFF2-40B4-BE49-F238E27FC236}">
                <a16:creationId xmlns:a16="http://schemas.microsoft.com/office/drawing/2014/main" id="{EAF4E85F-4677-E75D-124D-9114CBB14E31}"/>
              </a:ext>
            </a:extLst>
          </p:cNvPr>
          <p:cNvSpPr/>
          <p:nvPr>
            <p:custDataLst>
              <p:tags r:id="rId5"/>
            </p:custDataLst>
          </p:nvPr>
        </p:nvSpPr>
        <p:spPr bwMode="auto">
          <a:xfrm>
            <a:off x="2968625" y="6276975"/>
            <a:ext cx="179388" cy="133350"/>
          </a:xfrm>
          <a:prstGeom prst="rect">
            <a:avLst/>
          </a:prstGeom>
          <a:solidFill>
            <a:srgbClr val="778E54"/>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 name="Rectangle 5">
            <a:extLst>
              <a:ext uri="{FF2B5EF4-FFF2-40B4-BE49-F238E27FC236}">
                <a16:creationId xmlns:a16="http://schemas.microsoft.com/office/drawing/2014/main" id="{5BE43803-588B-EA5E-053A-1D0B19F6309F}"/>
              </a:ext>
            </a:extLst>
          </p:cNvPr>
          <p:cNvSpPr/>
          <p:nvPr>
            <p:custDataLst>
              <p:tags r:id="rId6"/>
            </p:custDataLst>
          </p:nvPr>
        </p:nvSpPr>
        <p:spPr bwMode="auto">
          <a:xfrm>
            <a:off x="5980113" y="6276975"/>
            <a:ext cx="179388" cy="133350"/>
          </a:xfrm>
          <a:prstGeom prst="rect">
            <a:avLst/>
          </a:prstGeom>
          <a:solidFill>
            <a:srgbClr val="657D1A"/>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60" name="Text Placeholder 19">
            <a:extLst>
              <a:ext uri="{FF2B5EF4-FFF2-40B4-BE49-F238E27FC236}">
                <a16:creationId xmlns:a16="http://schemas.microsoft.com/office/drawing/2014/main" id="{EE9E8BCB-A5E4-D4AD-A8C7-10D03CFD49B3}"/>
              </a:ext>
            </a:extLst>
          </p:cNvPr>
          <p:cNvSpPr>
            <a:spLocks noGrp="1"/>
          </p:cNvSpPr>
          <p:nvPr>
            <p:custDataLst>
              <p:tags r:id="rId7"/>
            </p:custDataLst>
          </p:nvPr>
        </p:nvSpPr>
        <p:spPr bwMode="auto">
          <a:xfrm>
            <a:off x="650875" y="6272213"/>
            <a:ext cx="2216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67130479-238D-4D6A-BD75-543150693829}" type="datetime'Average wh''ole''s''ale mark''''e''t ''''''da''ily spr''eads'">
              <a:rPr lang="en-GB" altLang="en-US" sz="1000" smtClean="0"/>
              <a:pPr>
                <a:spcBef>
                  <a:spcPct val="0"/>
                </a:spcBef>
                <a:spcAft>
                  <a:spcPct val="0"/>
                </a:spcAft>
              </a:pPr>
              <a:t>Average wholesale market daily spreads</a:t>
            </a:fld>
            <a:endParaRPr lang="en-GB" sz="1000"/>
          </a:p>
        </p:txBody>
      </p:sp>
      <p:sp>
        <p:nvSpPr>
          <p:cNvPr id="159" name="Text Placeholder 19">
            <a:extLst>
              <a:ext uri="{FF2B5EF4-FFF2-40B4-BE49-F238E27FC236}">
                <a16:creationId xmlns:a16="http://schemas.microsoft.com/office/drawing/2014/main" id="{D993F250-3E6D-0353-D598-1412A1A1F041}"/>
              </a:ext>
            </a:extLst>
          </p:cNvPr>
          <p:cNvSpPr>
            <a:spLocks noGrp="1"/>
          </p:cNvSpPr>
          <p:nvPr>
            <p:custDataLst>
              <p:tags r:id="rId8"/>
            </p:custDataLst>
          </p:nvPr>
        </p:nvSpPr>
        <p:spPr bwMode="auto">
          <a:xfrm>
            <a:off x="3198813" y="6272213"/>
            <a:ext cx="267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4EA7E1A7-DB45-4B57-B98C-C24E9FC77747}" type="datetime'Frequenc''y and ''balancing m''ar''kets saturation'''' r''isk'">
              <a:rPr lang="en-GB" altLang="en-US" sz="1000" smtClean="0"/>
              <a:pPr>
                <a:spcBef>
                  <a:spcPct val="0"/>
                </a:spcBef>
                <a:spcAft>
                  <a:spcPct val="0"/>
                </a:spcAft>
              </a:pPr>
              <a:t>Frequency and balancing markets saturation risk</a:t>
            </a:fld>
            <a:endParaRPr lang="en-GB" sz="1000"/>
          </a:p>
        </p:txBody>
      </p:sp>
      <p:sp>
        <p:nvSpPr>
          <p:cNvPr id="2" name="Text Placeholder 19">
            <a:extLst>
              <a:ext uri="{FF2B5EF4-FFF2-40B4-BE49-F238E27FC236}">
                <a16:creationId xmlns:a16="http://schemas.microsoft.com/office/drawing/2014/main" id="{70F94A52-52D2-3F24-4A7A-1782868EB12C}"/>
              </a:ext>
            </a:extLst>
          </p:cNvPr>
          <p:cNvSpPr>
            <a:spLocks noGrp="1"/>
          </p:cNvSpPr>
          <p:nvPr>
            <p:custDataLst>
              <p:tags r:id="rId9"/>
            </p:custDataLst>
          </p:nvPr>
        </p:nvSpPr>
        <p:spPr bwMode="auto">
          <a:xfrm>
            <a:off x="6210300" y="6272213"/>
            <a:ext cx="1463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98C7DF7E-98FF-48F5-BBDA-BB42CA48D167}" type="datetime'Ca''p''a''c''''it''''y Ma''r''''ket'''''' r''ev''enu''es'">
              <a:rPr lang="en-GB" altLang="en-US" sz="1000" smtClean="0"/>
              <a:pPr>
                <a:spcBef>
                  <a:spcPct val="0"/>
                </a:spcBef>
                <a:spcAft>
                  <a:spcPct val="0"/>
                </a:spcAft>
              </a:pPr>
              <a:t>Capacity Market revenues</a:t>
            </a:fld>
            <a:endParaRPr lang="en-GB" sz="1000"/>
          </a:p>
        </p:txBody>
      </p:sp>
      <p:sp>
        <p:nvSpPr>
          <p:cNvPr id="182" name="Text Placeholder 10">
            <a:extLst>
              <a:ext uri="{FF2B5EF4-FFF2-40B4-BE49-F238E27FC236}">
                <a16:creationId xmlns:a16="http://schemas.microsoft.com/office/drawing/2014/main" id="{5CA8336B-F7AE-494F-40E4-9ECD0A2CDB8B}"/>
              </a:ext>
            </a:extLst>
          </p:cNvPr>
          <p:cNvSpPr txBox="1">
            <a:spLocks/>
          </p:cNvSpPr>
          <p:nvPr/>
        </p:nvSpPr>
        <p:spPr>
          <a:xfrm>
            <a:off x="6438900" y="3443149"/>
            <a:ext cx="5376000" cy="2236510"/>
          </a:xfrm>
          <a:prstGeom prst="rect">
            <a:avLst/>
          </a:prstGeom>
        </p:spPr>
        <p:txBody>
          <a:bodyPr vert="horz"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2880" indent="-182880">
              <a:buFont typeface="Wingdings" panose="05000000000000000000" pitchFamily="2" charset="2"/>
              <a:buChar char="§"/>
            </a:pPr>
            <a:r>
              <a:rPr lang="en-GB">
                <a:solidFill>
                  <a:srgbClr val="808080"/>
                </a:solidFill>
                <a:highlight>
                  <a:srgbClr val="808080"/>
                </a:highlight>
                <a:ea typeface="Lato"/>
                <a:cs typeface="Lato"/>
              </a:rPr>
              <a:t>XXXXX</a:t>
            </a:r>
            <a:r>
              <a:rPr lang="en-GB" b="1"/>
              <a:t> </a:t>
            </a:r>
            <a:r>
              <a:rPr lang="en-GB"/>
              <a:t>presents a relatively unsaturated wholesale market with spreads increasing in 2030s driven by an increase in solar PV capacity, supported by capacity market revenues, with CM premiums expected to increase in 2030s when gas power plants retire.</a:t>
            </a:r>
          </a:p>
          <a:p>
            <a:pPr marL="182880" indent="-182880">
              <a:buFont typeface="Wingdings" panose="05000000000000000000" pitchFamily="2" charset="2"/>
              <a:buChar char="§"/>
            </a:pPr>
            <a:r>
              <a:rPr lang="en-GB">
                <a:solidFill>
                  <a:srgbClr val="808080"/>
                </a:solidFill>
                <a:highlight>
                  <a:srgbClr val="808080"/>
                </a:highlight>
                <a:ea typeface="Lato"/>
                <a:cs typeface="Lato"/>
              </a:rPr>
              <a:t>XXXXX</a:t>
            </a:r>
            <a:r>
              <a:rPr lang="en-GB">
                <a:solidFill>
                  <a:schemeClr val="accent5"/>
                </a:solidFill>
                <a:highlight>
                  <a:srgbClr val="808080"/>
                </a:highlight>
                <a:ea typeface="Lato"/>
                <a:cs typeface="Lato"/>
              </a:rPr>
              <a:t> </a:t>
            </a:r>
            <a:r>
              <a:rPr lang="en-GB"/>
              <a:t>is a mature market presenting </a:t>
            </a:r>
            <a:r>
              <a:rPr lang="en-US"/>
              <a:t>potential opportunities from ongoing developments in </a:t>
            </a:r>
            <a:r>
              <a:rPr lang="en-GB">
                <a:solidFill>
                  <a:srgbClr val="808080"/>
                </a:solidFill>
                <a:highlight>
                  <a:srgbClr val="808080"/>
                </a:highlight>
                <a:ea typeface="Lato"/>
                <a:cs typeface="Lato"/>
              </a:rPr>
              <a:t>XXXXX</a:t>
            </a:r>
            <a:r>
              <a:rPr lang="en-US"/>
              <a:t> </a:t>
            </a:r>
            <a:r>
              <a:rPr lang="en-GB"/>
              <a:t>and high and constant daily spreads in the wholesale market in the coming years.</a:t>
            </a:r>
          </a:p>
          <a:p>
            <a:pPr marL="182880" indent="-182880">
              <a:buFont typeface="Wingdings" panose="05000000000000000000" pitchFamily="2" charset="2"/>
              <a:buChar char="§"/>
            </a:pPr>
            <a:r>
              <a:rPr lang="en-GB">
                <a:solidFill>
                  <a:srgbClr val="808080"/>
                </a:solidFill>
                <a:highlight>
                  <a:srgbClr val="808080"/>
                </a:highlight>
                <a:ea typeface="Lato"/>
                <a:cs typeface="Lato"/>
              </a:rPr>
              <a:t>XXXXX</a:t>
            </a:r>
            <a:r>
              <a:rPr lang="en-GB"/>
              <a:t> emerges as a top market for its favourable wholesale market for batteries, presenting one of the highest daily spreads, driven by high renewable penetration. Its revenues are supported by elevated capacity market clearing prices.</a:t>
            </a:r>
          </a:p>
        </p:txBody>
      </p:sp>
      <p:sp>
        <p:nvSpPr>
          <p:cNvPr id="183" name="Text Placeholder 12">
            <a:extLst>
              <a:ext uri="{FF2B5EF4-FFF2-40B4-BE49-F238E27FC236}">
                <a16:creationId xmlns:a16="http://schemas.microsoft.com/office/drawing/2014/main" id="{D3DF5E63-263B-CABD-2143-5453BDFDF7B9}"/>
              </a:ext>
            </a:extLst>
          </p:cNvPr>
          <p:cNvSpPr txBox="1">
            <a:spLocks/>
          </p:cNvSpPr>
          <p:nvPr/>
        </p:nvSpPr>
        <p:spPr>
          <a:xfrm>
            <a:off x="6438900" y="3155812"/>
            <a:ext cx="5376000" cy="184150"/>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u="sng"/>
              <a:t>Top markets</a:t>
            </a:r>
          </a:p>
        </p:txBody>
      </p:sp>
      <p:sp>
        <p:nvSpPr>
          <p:cNvPr id="34" name="Oval 11">
            <a:extLst>
              <a:ext uri="{FF2B5EF4-FFF2-40B4-BE49-F238E27FC236}">
                <a16:creationId xmlns:a16="http://schemas.microsoft.com/office/drawing/2014/main" id="{51282721-F664-D0D1-10A6-D1B62B7678B5}"/>
              </a:ext>
            </a:extLst>
          </p:cNvPr>
          <p:cNvSpPr>
            <a:spLocks/>
          </p:cNvSpPr>
          <p:nvPr/>
        </p:nvSpPr>
        <p:spPr>
          <a:xfrm>
            <a:off x="393029" y="1346511"/>
            <a:ext cx="2503967" cy="253119"/>
          </a:xfrm>
          <a:prstGeom prst="roundRect">
            <a:avLst>
              <a:gd name="adj" fmla="val 50000"/>
            </a:avLst>
          </a:prstGeom>
          <a:solidFill>
            <a:srgbClr val="6F854E"/>
          </a:solidFill>
          <a:ln>
            <a:noFill/>
          </a:ln>
        </p:spPr>
        <p:style>
          <a:lnRef idx="2">
            <a:schemeClr val="accent1"/>
          </a:lnRef>
          <a:fillRef idx="1">
            <a:schemeClr val="lt1"/>
          </a:fillRef>
          <a:effectRef idx="0">
            <a:schemeClr val="accent1"/>
          </a:effectRef>
          <a:fontRef idx="minor">
            <a:schemeClr val="dk1"/>
          </a:fontRef>
        </p:style>
        <p:txBody>
          <a:bodyPr lIns="46800" tIns="46800" rIns="46800" bIns="46800" rtlCol="0" anchor="ctr" anchorCtr="0">
            <a:noAutofit/>
          </a:bodyPr>
          <a:lstStyle/>
          <a:p>
            <a:r>
              <a:rPr lang="en-GB" sz="1100" b="1">
                <a:ea typeface="Calibri" panose="020F0502020204030204" pitchFamily="34" charset="0"/>
              </a:rPr>
              <a:t>Revenue streams </a:t>
            </a:r>
            <a:r>
              <a:rPr lang="en-GB" sz="1100" b="1">
                <a:effectLst/>
                <a:ea typeface="Calibri" panose="020F0502020204030204" pitchFamily="34" charset="0"/>
              </a:rPr>
              <a:t>for battery storage</a:t>
            </a:r>
          </a:p>
        </p:txBody>
      </p:sp>
      <p:sp>
        <p:nvSpPr>
          <p:cNvPr id="35" name="Text Placeholder 14">
            <a:extLst>
              <a:ext uri="{FF2B5EF4-FFF2-40B4-BE49-F238E27FC236}">
                <a16:creationId xmlns:a16="http://schemas.microsoft.com/office/drawing/2014/main" id="{766C8344-38E0-E2DA-3F98-35A05150334E}"/>
              </a:ext>
            </a:extLst>
          </p:cNvPr>
          <p:cNvSpPr txBox="1">
            <a:spLocks/>
          </p:cNvSpPr>
          <p:nvPr/>
        </p:nvSpPr>
        <p:spPr>
          <a:xfrm>
            <a:off x="379585" y="2027719"/>
            <a:ext cx="180000" cy="180000"/>
          </a:xfrm>
          <a:prstGeom prst="ellipse">
            <a:avLst/>
          </a:prstGeom>
          <a:solidFill>
            <a:srgbClr val="99AF79"/>
          </a:solidFill>
          <a:ln w="19050">
            <a:noFill/>
          </a:ln>
        </p:spPr>
        <p:txBody>
          <a:bodyPr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a:t>9</a:t>
            </a:r>
          </a:p>
        </p:txBody>
      </p:sp>
      <p:sp>
        <p:nvSpPr>
          <p:cNvPr id="36" name="Text Placeholder 14">
            <a:extLst>
              <a:ext uri="{FF2B5EF4-FFF2-40B4-BE49-F238E27FC236}">
                <a16:creationId xmlns:a16="http://schemas.microsoft.com/office/drawing/2014/main" id="{0457B81E-117A-0631-C924-5F42A896016B}"/>
              </a:ext>
            </a:extLst>
          </p:cNvPr>
          <p:cNvSpPr txBox="1">
            <a:spLocks/>
          </p:cNvSpPr>
          <p:nvPr/>
        </p:nvSpPr>
        <p:spPr>
          <a:xfrm>
            <a:off x="370060" y="2280866"/>
            <a:ext cx="216000" cy="216000"/>
          </a:xfrm>
          <a:prstGeom prst="ellipse">
            <a:avLst/>
          </a:prstGeom>
          <a:solidFill>
            <a:srgbClr val="778E54"/>
          </a:solidFill>
          <a:ln w="19050">
            <a:noFill/>
          </a:ln>
        </p:spPr>
        <p:txBody>
          <a:bodyPr lIns="0" r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sz="1000">
                <a:solidFill>
                  <a:schemeClr val="bg1"/>
                </a:solidFill>
              </a:rPr>
              <a:t>10</a:t>
            </a:r>
          </a:p>
        </p:txBody>
      </p:sp>
      <p:sp>
        <p:nvSpPr>
          <p:cNvPr id="21" name="Text Placeholder 14">
            <a:extLst>
              <a:ext uri="{FF2B5EF4-FFF2-40B4-BE49-F238E27FC236}">
                <a16:creationId xmlns:a16="http://schemas.microsoft.com/office/drawing/2014/main" id="{5F6BB410-A13C-C7BE-7B13-D753BCDD11DC}"/>
              </a:ext>
            </a:extLst>
          </p:cNvPr>
          <p:cNvSpPr txBox="1">
            <a:spLocks/>
          </p:cNvSpPr>
          <p:nvPr/>
        </p:nvSpPr>
        <p:spPr>
          <a:xfrm>
            <a:off x="370060" y="2728273"/>
            <a:ext cx="216000" cy="216000"/>
          </a:xfrm>
          <a:prstGeom prst="ellipse">
            <a:avLst/>
          </a:prstGeom>
          <a:solidFill>
            <a:srgbClr val="657D1A"/>
          </a:solidFill>
          <a:ln w="19050">
            <a:noFill/>
          </a:ln>
        </p:spPr>
        <p:txBody>
          <a:bodyPr lIns="0" rIns="0" anchor="ct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GB" sz="1000">
                <a:solidFill>
                  <a:schemeClr val="bg1"/>
                </a:solidFill>
              </a:rPr>
              <a:t>11</a:t>
            </a:r>
          </a:p>
        </p:txBody>
      </p:sp>
      <p:sp>
        <p:nvSpPr>
          <p:cNvPr id="33" name="Oval 32">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4" name="Rectangle 3">
            <a:extLst>
              <a:ext uri="{FF2B5EF4-FFF2-40B4-BE49-F238E27FC236}">
                <a16:creationId xmlns:a16="http://schemas.microsoft.com/office/drawing/2014/main" id="{B5465955-6D9C-AADD-F0D7-C735C64C8EEA}"/>
              </a:ext>
            </a:extLst>
          </p:cNvPr>
          <p:cNvSpPr/>
          <p:nvPr/>
        </p:nvSpPr>
        <p:spPr>
          <a:xfrm>
            <a:off x="6357071" y="3339962"/>
            <a:ext cx="5453330" cy="2519300"/>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1081206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7">
            <a:hlinkClick r:id="rId6" action="ppaction://hlinksldjump"/>
            <a:extLst>
              <a:ext uri="{FF2B5EF4-FFF2-40B4-BE49-F238E27FC236}">
                <a16:creationId xmlns:a16="http://schemas.microsoft.com/office/drawing/2014/main" id="{C5B4F7CF-7051-8370-98F7-A7380764AB44}"/>
              </a:ext>
            </a:extLst>
          </p:cNvPr>
          <p:cNvSpPr txBox="1">
            <a:spLocks/>
          </p:cNvSpPr>
          <p:nvPr/>
        </p:nvSpPr>
        <p:spPr>
          <a:xfrm>
            <a:off x="0" y="3339217"/>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9" name="Text Placeholder 7">
            <a:hlinkClick r:id="rId7" action="ppaction://hlinksldjump"/>
            <a:extLst>
              <a:ext uri="{FF2B5EF4-FFF2-40B4-BE49-F238E27FC236}">
                <a16:creationId xmlns:a16="http://schemas.microsoft.com/office/drawing/2014/main" id="{C5B4F7CF-7051-8370-98F7-A7380764AB44}"/>
              </a:ext>
            </a:extLst>
          </p:cNvPr>
          <p:cNvSpPr txBox="1">
            <a:spLocks/>
          </p:cNvSpPr>
          <p:nvPr/>
        </p:nvSpPr>
        <p:spPr>
          <a:xfrm>
            <a:off x="0" y="3339217"/>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0" name="Text Placeholder 7">
            <a:hlinkClick r:id="rId8" action="ppaction://hlinksldjump"/>
            <a:extLst>
              <a:ext uri="{FF2B5EF4-FFF2-40B4-BE49-F238E27FC236}">
                <a16:creationId xmlns:a16="http://schemas.microsoft.com/office/drawing/2014/main" id="{C5B4F7CF-7051-8370-98F7-A7380764AB44}"/>
              </a:ext>
            </a:extLst>
          </p:cNvPr>
          <p:cNvSpPr txBox="1">
            <a:spLocks/>
          </p:cNvSpPr>
          <p:nvPr/>
        </p:nvSpPr>
        <p:spPr>
          <a:xfrm>
            <a:off x="0" y="3923423"/>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1" name="Text Placeholder 7">
            <a:hlinkClick r:id="rId9" action="ppaction://hlinksldjump"/>
            <a:extLst>
              <a:ext uri="{FF2B5EF4-FFF2-40B4-BE49-F238E27FC236}">
                <a16:creationId xmlns:a16="http://schemas.microsoft.com/office/drawing/2014/main" id="{C5B4F7CF-7051-8370-98F7-A7380764AB44}"/>
              </a:ext>
            </a:extLst>
          </p:cNvPr>
          <p:cNvSpPr txBox="1">
            <a:spLocks/>
          </p:cNvSpPr>
          <p:nvPr/>
        </p:nvSpPr>
        <p:spPr>
          <a:xfrm>
            <a:off x="0" y="4215527"/>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3050370"/>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751066"/>
          </a:xfrm>
        </p:spPr>
        <p:txBody>
          <a:bodyPr/>
          <a:lstStyle/>
          <a:p>
            <a:r>
              <a:rPr lang="en-GB" sz="1400" dirty="0">
                <a:hlinkClick r:id="rId7" action="ppaction://hlinksldjump"/>
              </a:rPr>
              <a:t>Executive summary</a:t>
            </a:r>
            <a:endParaRPr lang="en-GB" sz="1400" dirty="0"/>
          </a:p>
          <a:p>
            <a:r>
              <a:rPr lang="en-GB" sz="1400" dirty="0">
                <a:hlinkClick r:id="rId8" action="ppaction://hlinksldjump"/>
              </a:rPr>
              <a:t>Introduction to battery storage </a:t>
            </a:r>
            <a:r>
              <a:rPr lang="en-GB" sz="1400" dirty="0"/>
              <a:t>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GB" sz="1400" dirty="0">
                <a:ea typeface="Calibri" panose="020F0502020204030204" pitchFamily="34" charset="0"/>
                <a:hlinkClick r:id="" action="ppaction://noaction"/>
              </a:rPr>
              <a:t>Revenue streams</a:t>
            </a:r>
            <a:endParaRPr lang="en-GB" sz="1400" b="1" dirty="0">
              <a:effectLst/>
              <a:ea typeface="Calibri" panose="020F0502020204030204" pitchFamily="34" charset="0"/>
            </a:endParaRPr>
          </a:p>
          <a:p>
            <a:pPr lvl="1"/>
            <a:r>
              <a:rPr lang="en-GB" sz="1400" dirty="0">
                <a:ea typeface="Calibri" panose="020F0502020204030204" pitchFamily="34" charset="0"/>
              </a:rPr>
              <a:t>Wholesale markets</a:t>
            </a:r>
          </a:p>
          <a:p>
            <a:pPr lvl="1"/>
            <a:r>
              <a:rPr lang="en-GB" sz="1400" dirty="0">
                <a:ea typeface="Calibri" panose="020F0502020204030204" pitchFamily="34" charset="0"/>
              </a:rPr>
              <a:t>Frequency response services</a:t>
            </a:r>
          </a:p>
          <a:p>
            <a:pPr lvl="1"/>
            <a:r>
              <a:rPr lang="en-GB" sz="1400" dirty="0">
                <a:ea typeface="Calibri" panose="020F0502020204030204" pitchFamily="34" charset="0"/>
              </a:rPr>
              <a:t>Balancing and restoration services</a:t>
            </a:r>
          </a:p>
          <a:p>
            <a:pPr lvl="1"/>
            <a:r>
              <a:rPr lang="en-GB" sz="1400" dirty="0">
                <a:ea typeface="Calibri" panose="020F0502020204030204" pitchFamily="34" charset="0"/>
              </a:rPr>
              <a:t>Capacity market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2" name="Group 1">
            <a:extLst>
              <a:ext uri="{FF2B5EF4-FFF2-40B4-BE49-F238E27FC236}">
                <a16:creationId xmlns:a16="http://schemas.microsoft.com/office/drawing/2014/main" id="{C261EE9B-B91A-E819-A3F2-637ABEA7A7A1}"/>
              </a:ext>
            </a:extLst>
          </p:cNvPr>
          <p:cNvGrpSpPr/>
          <p:nvPr/>
        </p:nvGrpSpPr>
        <p:grpSpPr>
          <a:xfrm>
            <a:off x="-794" y="5661878"/>
            <a:ext cx="12192000" cy="841829"/>
            <a:chOff x="0" y="5631542"/>
            <a:chExt cx="12192000" cy="841829"/>
          </a:xfrm>
        </p:grpSpPr>
        <p:sp>
          <p:nvSpPr>
            <p:cNvPr id="3" name="Rectangle 2">
              <a:extLst>
                <a:ext uri="{FF2B5EF4-FFF2-40B4-BE49-F238E27FC236}">
                  <a16:creationId xmlns:a16="http://schemas.microsoft.com/office/drawing/2014/main" id="{A141C9B4-D171-C7DC-B59E-4F6A1FFD1DB5}"/>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6" name="TextBox 5">
              <a:extLst>
                <a:ext uri="{FF2B5EF4-FFF2-40B4-BE49-F238E27FC236}">
                  <a16:creationId xmlns:a16="http://schemas.microsoft.com/office/drawing/2014/main" id="{D641A73A-3E4A-739D-FEA8-643308E306E2}"/>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17248220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3" name="Object 172" hidden="1">
            <a:extLst>
              <a:ext uri="{FF2B5EF4-FFF2-40B4-BE49-F238E27FC236}">
                <a16:creationId xmlns:a16="http://schemas.microsoft.com/office/drawing/2014/main" id="{A3A025FF-90ED-45B7-A1D4-55167BE3737B}"/>
              </a:ext>
            </a:extLst>
          </p:cNvPr>
          <p:cNvGraphicFramePr>
            <a:graphicFrameLocks noChangeAspect="1"/>
          </p:cNvGraphicFramePr>
          <p:nvPr>
            <p:custDataLst>
              <p:tags r:id="rId1"/>
            </p:custDataLst>
            <p:extLst>
              <p:ext uri="{D42A27DB-BD31-4B8C-83A1-F6EECF244321}">
                <p14:modId xmlns:p14="http://schemas.microsoft.com/office/powerpoint/2010/main" val="2582721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8" imgW="473" imgH="473" progId="TCLayout.ActiveDocument.1">
                  <p:embed/>
                </p:oleObj>
              </mc:Choice>
              <mc:Fallback>
                <p:oleObj name="think-cell Slide" r:id="rId108" imgW="473" imgH="473" progId="TCLayout.ActiveDocument.1">
                  <p:embed/>
                  <p:pic>
                    <p:nvPicPr>
                      <p:cNvPr id="173" name="Object 172" hidden="1">
                        <a:extLst>
                          <a:ext uri="{FF2B5EF4-FFF2-40B4-BE49-F238E27FC236}">
                            <a16:creationId xmlns:a16="http://schemas.microsoft.com/office/drawing/2014/main" id="{A3A025FF-90ED-45B7-A1D4-55167BE3737B}"/>
                          </a:ext>
                        </a:extLst>
                      </p:cNvPr>
                      <p:cNvPicPr/>
                      <p:nvPr/>
                    </p:nvPicPr>
                    <p:blipFill>
                      <a:blip r:embed="rId109"/>
                      <a:stretch>
                        <a:fillRect/>
                      </a:stretch>
                    </p:blipFill>
                    <p:spPr>
                      <a:xfrm>
                        <a:off x="1588" y="1588"/>
                        <a:ext cx="1588" cy="1588"/>
                      </a:xfrm>
                      <a:prstGeom prst="rect">
                        <a:avLst/>
                      </a:prstGeom>
                    </p:spPr>
                  </p:pic>
                </p:oleObj>
              </mc:Fallback>
            </mc:AlternateContent>
          </a:graphicData>
        </a:graphic>
      </p:graphicFrame>
      <p:sp>
        <p:nvSpPr>
          <p:cNvPr id="185" name="Text Placeholder 184">
            <a:extLst>
              <a:ext uri="{FF2B5EF4-FFF2-40B4-BE49-F238E27FC236}">
                <a16:creationId xmlns:a16="http://schemas.microsoft.com/office/drawing/2014/main" id="{EACB797E-532A-4F4E-9215-00674E1B5384}"/>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184" name="Title 183">
            <a:extLst>
              <a:ext uri="{FF2B5EF4-FFF2-40B4-BE49-F238E27FC236}">
                <a16:creationId xmlns:a16="http://schemas.microsoft.com/office/drawing/2014/main" id="{543ABCCD-308A-467C-A8FE-C6C8F9B828AB}"/>
              </a:ext>
            </a:extLst>
          </p:cNvPr>
          <p:cNvSpPr>
            <a:spLocks noGrp="1"/>
          </p:cNvSpPr>
          <p:nvPr>
            <p:ph type="title"/>
          </p:nvPr>
        </p:nvSpPr>
        <p:spPr>
          <a:xfrm>
            <a:off x="381599" y="411856"/>
            <a:ext cx="8649688" cy="609398"/>
          </a:xfrm>
        </p:spPr>
        <p:txBody>
          <a:bodyPr vert="horz"/>
          <a:lstStyle/>
          <a:p>
            <a:r>
              <a:rPr lang="en-GB"/>
              <a:t>The share of wind and solar generation in Europe rises to </a:t>
            </a:r>
            <a:r>
              <a:rPr lang="en-GB">
                <a:solidFill>
                  <a:srgbClr val="808080"/>
                </a:solidFill>
                <a:highlight>
                  <a:srgbClr val="808080"/>
                </a:highlight>
              </a:rPr>
              <a:t>XXXX</a:t>
            </a:r>
            <a:r>
              <a:rPr lang="en-GB">
                <a:solidFill>
                  <a:schemeClr val="tx1"/>
                </a:solidFill>
              </a:rPr>
              <a:t>% </a:t>
            </a:r>
            <a:r>
              <a:rPr lang="en-GB"/>
              <a:t>by 2050, driving higher price volatility and system balancing needs</a:t>
            </a:r>
            <a:endParaRPr lang="en-GB">
              <a:highlight>
                <a:srgbClr val="FFFF00"/>
              </a:highlight>
            </a:endParaRPr>
          </a:p>
        </p:txBody>
      </p:sp>
      <p:sp>
        <p:nvSpPr>
          <p:cNvPr id="189" name="Text Placeholder 188">
            <a:extLst>
              <a:ext uri="{FF2B5EF4-FFF2-40B4-BE49-F238E27FC236}">
                <a16:creationId xmlns:a16="http://schemas.microsoft.com/office/drawing/2014/main" id="{B1751880-9E45-4CB2-8EF8-29E7E68919B2}"/>
              </a:ext>
            </a:extLst>
          </p:cNvPr>
          <p:cNvSpPr>
            <a:spLocks noGrp="1"/>
          </p:cNvSpPr>
          <p:nvPr>
            <p:ph type="body" sz="quarter" idx="32"/>
          </p:nvPr>
        </p:nvSpPr>
        <p:spPr>
          <a:xfrm>
            <a:off x="381600" y="6474841"/>
            <a:ext cx="8601074" cy="110800"/>
          </a:xfrm>
        </p:spPr>
        <p:txBody>
          <a:bodyPr/>
          <a:lstStyle/>
          <a:p>
            <a:endParaRPr lang="en-GB"/>
          </a:p>
        </p:txBody>
      </p:sp>
      <p:sp>
        <p:nvSpPr>
          <p:cNvPr id="258" name="Rectangle 257">
            <a:extLst>
              <a:ext uri="{FF2B5EF4-FFF2-40B4-BE49-F238E27FC236}">
                <a16:creationId xmlns:a16="http://schemas.microsoft.com/office/drawing/2014/main" id="{38031805-77AC-4931-876B-FFDC80771AAE}"/>
              </a:ext>
            </a:extLst>
          </p:cNvPr>
          <p:cNvSpPr/>
          <p:nvPr>
            <p:custDataLst>
              <p:tags r:id="rId2"/>
            </p:custDataLst>
          </p:nvPr>
        </p:nvSpPr>
        <p:spPr bwMode="auto">
          <a:xfrm>
            <a:off x="7604125" y="5051425"/>
            <a:ext cx="1344613" cy="538163"/>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04" name="Rectangle 603">
            <a:extLst>
              <a:ext uri="{FF2B5EF4-FFF2-40B4-BE49-F238E27FC236}">
                <a16:creationId xmlns:a16="http://schemas.microsoft.com/office/drawing/2014/main" id="{CE503377-B578-D4AC-B52B-5E53103B46DD}"/>
              </a:ext>
            </a:extLst>
          </p:cNvPr>
          <p:cNvSpPr/>
          <p:nvPr>
            <p:custDataLst>
              <p:tags r:id="rId3"/>
            </p:custDataLst>
          </p:nvPr>
        </p:nvSpPr>
        <p:spPr bwMode="auto">
          <a:xfrm>
            <a:off x="6846888" y="5051425"/>
            <a:ext cx="757238" cy="538163"/>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51" name="Rectangle 250">
            <a:extLst>
              <a:ext uri="{FF2B5EF4-FFF2-40B4-BE49-F238E27FC236}">
                <a16:creationId xmlns:a16="http://schemas.microsoft.com/office/drawing/2014/main" id="{6ED2DB9E-EE57-48D6-88F2-7543C9A10167}"/>
              </a:ext>
            </a:extLst>
          </p:cNvPr>
          <p:cNvSpPr/>
          <p:nvPr>
            <p:custDataLst>
              <p:tags r:id="rId4"/>
            </p:custDataLst>
          </p:nvPr>
        </p:nvSpPr>
        <p:spPr bwMode="auto">
          <a:xfrm>
            <a:off x="6605588" y="5051425"/>
            <a:ext cx="241300" cy="538163"/>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74" name="Rectangle 173">
            <a:extLst>
              <a:ext uri="{FF2B5EF4-FFF2-40B4-BE49-F238E27FC236}">
                <a16:creationId xmlns:a16="http://schemas.microsoft.com/office/drawing/2014/main" id="{16C1CE25-9881-4BF2-957D-186CE29C20EE}"/>
              </a:ext>
            </a:extLst>
          </p:cNvPr>
          <p:cNvSpPr/>
          <p:nvPr>
            <p:custDataLst>
              <p:tags r:id="rId5"/>
            </p:custDataLst>
          </p:nvPr>
        </p:nvSpPr>
        <p:spPr bwMode="auto">
          <a:xfrm>
            <a:off x="6707187" y="4891087"/>
            <a:ext cx="2241550" cy="16033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3" name="Rectangle 132">
            <a:extLst>
              <a:ext uri="{FF2B5EF4-FFF2-40B4-BE49-F238E27FC236}">
                <a16:creationId xmlns:a16="http://schemas.microsoft.com/office/drawing/2014/main" id="{65067C8E-0500-4B0B-8CBE-0FB038B4BEFD}"/>
              </a:ext>
            </a:extLst>
          </p:cNvPr>
          <p:cNvSpPr/>
          <p:nvPr>
            <p:custDataLst>
              <p:tags r:id="rId6"/>
            </p:custDataLst>
          </p:nvPr>
        </p:nvSpPr>
        <p:spPr bwMode="auto">
          <a:xfrm>
            <a:off x="6672263" y="4891087"/>
            <a:ext cx="34925" cy="16033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44" name="Rectangle 243">
            <a:extLst>
              <a:ext uri="{FF2B5EF4-FFF2-40B4-BE49-F238E27FC236}">
                <a16:creationId xmlns:a16="http://schemas.microsoft.com/office/drawing/2014/main" id="{DA6C033B-D0F8-4C9B-9693-E1F05432FF88}"/>
              </a:ext>
            </a:extLst>
          </p:cNvPr>
          <p:cNvSpPr/>
          <p:nvPr>
            <p:custDataLst>
              <p:tags r:id="rId7"/>
            </p:custDataLst>
          </p:nvPr>
        </p:nvSpPr>
        <p:spPr bwMode="auto">
          <a:xfrm>
            <a:off x="6605588" y="4891087"/>
            <a:ext cx="66675" cy="160338"/>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64" name="Rectangle 163">
            <a:extLst>
              <a:ext uri="{FF2B5EF4-FFF2-40B4-BE49-F238E27FC236}">
                <a16:creationId xmlns:a16="http://schemas.microsoft.com/office/drawing/2014/main" id="{B8090807-3B21-44F4-BDCF-2C18E8480379}"/>
              </a:ext>
            </a:extLst>
          </p:cNvPr>
          <p:cNvSpPr/>
          <p:nvPr>
            <p:custDataLst>
              <p:tags r:id="rId8"/>
            </p:custDataLst>
          </p:nvPr>
        </p:nvSpPr>
        <p:spPr bwMode="auto">
          <a:xfrm>
            <a:off x="6996113" y="4656138"/>
            <a:ext cx="1952625" cy="23495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00" name="Rectangle 599">
            <a:extLst>
              <a:ext uri="{FF2B5EF4-FFF2-40B4-BE49-F238E27FC236}">
                <a16:creationId xmlns:a16="http://schemas.microsoft.com/office/drawing/2014/main" id="{FE0E13C7-8DD7-E34C-B2B6-5F129BFB46EA}"/>
              </a:ext>
            </a:extLst>
          </p:cNvPr>
          <p:cNvSpPr/>
          <p:nvPr>
            <p:custDataLst>
              <p:tags r:id="rId9"/>
            </p:custDataLst>
          </p:nvPr>
        </p:nvSpPr>
        <p:spPr bwMode="auto">
          <a:xfrm>
            <a:off x="6913563" y="4656138"/>
            <a:ext cx="82550" cy="234950"/>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8" name="Rectangle 57">
            <a:extLst>
              <a:ext uri="{FF2B5EF4-FFF2-40B4-BE49-F238E27FC236}">
                <a16:creationId xmlns:a16="http://schemas.microsoft.com/office/drawing/2014/main" id="{C72134E4-AFCC-41D5-A447-35C979AFACD0}"/>
              </a:ext>
            </a:extLst>
          </p:cNvPr>
          <p:cNvSpPr/>
          <p:nvPr>
            <p:custDataLst>
              <p:tags r:id="rId10"/>
            </p:custDataLst>
          </p:nvPr>
        </p:nvSpPr>
        <p:spPr bwMode="auto">
          <a:xfrm>
            <a:off x="6605588" y="4656138"/>
            <a:ext cx="307975" cy="234950"/>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163" name="Rectangle 162">
            <a:extLst>
              <a:ext uri="{FF2B5EF4-FFF2-40B4-BE49-F238E27FC236}">
                <a16:creationId xmlns:a16="http://schemas.microsoft.com/office/drawing/2014/main" id="{644C44E1-1833-47FD-ADE5-80984B001C7F}"/>
              </a:ext>
            </a:extLst>
          </p:cNvPr>
          <p:cNvSpPr/>
          <p:nvPr>
            <p:custDataLst>
              <p:tags r:id="rId11"/>
            </p:custDataLst>
          </p:nvPr>
        </p:nvSpPr>
        <p:spPr bwMode="auto">
          <a:xfrm>
            <a:off x="7277100" y="4356100"/>
            <a:ext cx="1671638" cy="30003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97" name="Rectangle 596">
            <a:extLst>
              <a:ext uri="{FF2B5EF4-FFF2-40B4-BE49-F238E27FC236}">
                <a16:creationId xmlns:a16="http://schemas.microsoft.com/office/drawing/2014/main" id="{DCBB2D0C-8CCC-E12D-B06F-03DEB0CC5FCF}"/>
              </a:ext>
            </a:extLst>
          </p:cNvPr>
          <p:cNvSpPr/>
          <p:nvPr>
            <p:custDataLst>
              <p:tags r:id="rId12"/>
            </p:custDataLst>
          </p:nvPr>
        </p:nvSpPr>
        <p:spPr bwMode="auto">
          <a:xfrm>
            <a:off x="6923088" y="4356100"/>
            <a:ext cx="354013" cy="30003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1" name="Rectangle 60">
            <a:extLst>
              <a:ext uri="{FF2B5EF4-FFF2-40B4-BE49-F238E27FC236}">
                <a16:creationId xmlns:a16="http://schemas.microsoft.com/office/drawing/2014/main" id="{80555856-D7B4-4018-A561-C9F036465744}"/>
              </a:ext>
            </a:extLst>
          </p:cNvPr>
          <p:cNvSpPr/>
          <p:nvPr>
            <p:custDataLst>
              <p:tags r:id="rId13"/>
            </p:custDataLst>
          </p:nvPr>
        </p:nvSpPr>
        <p:spPr bwMode="auto">
          <a:xfrm>
            <a:off x="6605588" y="4356100"/>
            <a:ext cx="317500" cy="300038"/>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160" name="Rectangle 159">
            <a:extLst>
              <a:ext uri="{FF2B5EF4-FFF2-40B4-BE49-F238E27FC236}">
                <a16:creationId xmlns:a16="http://schemas.microsoft.com/office/drawing/2014/main" id="{678D740C-1B4B-4BCD-BAB7-E80A6D7AA229}"/>
              </a:ext>
            </a:extLst>
          </p:cNvPr>
          <p:cNvSpPr/>
          <p:nvPr>
            <p:custDataLst>
              <p:tags r:id="rId14"/>
            </p:custDataLst>
          </p:nvPr>
        </p:nvSpPr>
        <p:spPr bwMode="auto">
          <a:xfrm>
            <a:off x="7477126" y="4005263"/>
            <a:ext cx="1471613" cy="35083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94" name="Rectangle 593">
            <a:extLst>
              <a:ext uri="{FF2B5EF4-FFF2-40B4-BE49-F238E27FC236}">
                <a16:creationId xmlns:a16="http://schemas.microsoft.com/office/drawing/2014/main" id="{97A608D5-70D7-8BB3-41B2-9E730500C0AC}"/>
              </a:ext>
            </a:extLst>
          </p:cNvPr>
          <p:cNvSpPr/>
          <p:nvPr>
            <p:custDataLst>
              <p:tags r:id="rId15"/>
            </p:custDataLst>
          </p:nvPr>
        </p:nvSpPr>
        <p:spPr bwMode="auto">
          <a:xfrm>
            <a:off x="6759575" y="4005263"/>
            <a:ext cx="717550" cy="35083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4" name="Rectangle 63">
            <a:extLst>
              <a:ext uri="{FF2B5EF4-FFF2-40B4-BE49-F238E27FC236}">
                <a16:creationId xmlns:a16="http://schemas.microsoft.com/office/drawing/2014/main" id="{2019CD31-C122-478C-B1B8-03F847653DAD}"/>
              </a:ext>
            </a:extLst>
          </p:cNvPr>
          <p:cNvSpPr/>
          <p:nvPr>
            <p:custDataLst>
              <p:tags r:id="rId16"/>
            </p:custDataLst>
          </p:nvPr>
        </p:nvSpPr>
        <p:spPr bwMode="auto">
          <a:xfrm>
            <a:off x="6605588" y="4005263"/>
            <a:ext cx="153988" cy="350838"/>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177" name="Rectangle 176">
            <a:extLst>
              <a:ext uri="{FF2B5EF4-FFF2-40B4-BE49-F238E27FC236}">
                <a16:creationId xmlns:a16="http://schemas.microsoft.com/office/drawing/2014/main" id="{F87DD5B3-4329-4445-8136-9C58F1B7A7BA}"/>
              </a:ext>
            </a:extLst>
          </p:cNvPr>
          <p:cNvSpPr/>
          <p:nvPr>
            <p:custDataLst>
              <p:tags r:id="rId17"/>
            </p:custDataLst>
          </p:nvPr>
        </p:nvSpPr>
        <p:spPr bwMode="auto">
          <a:xfrm>
            <a:off x="6975475" y="3633788"/>
            <a:ext cx="1973263" cy="371475"/>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91" name="Rectangle 590">
            <a:extLst>
              <a:ext uri="{FF2B5EF4-FFF2-40B4-BE49-F238E27FC236}">
                <a16:creationId xmlns:a16="http://schemas.microsoft.com/office/drawing/2014/main" id="{74B78633-9F0D-128F-FDD5-BDD7B3CD8E02}"/>
              </a:ext>
            </a:extLst>
          </p:cNvPr>
          <p:cNvSpPr/>
          <p:nvPr>
            <p:custDataLst>
              <p:tags r:id="rId18"/>
            </p:custDataLst>
          </p:nvPr>
        </p:nvSpPr>
        <p:spPr bwMode="auto">
          <a:xfrm>
            <a:off x="6683374" y="3633788"/>
            <a:ext cx="292100" cy="371475"/>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7" name="Rectangle 66">
            <a:extLst>
              <a:ext uri="{FF2B5EF4-FFF2-40B4-BE49-F238E27FC236}">
                <a16:creationId xmlns:a16="http://schemas.microsoft.com/office/drawing/2014/main" id="{AAC3FE3A-0D6C-4976-B8F2-7AF0B54C5C3E}"/>
              </a:ext>
            </a:extLst>
          </p:cNvPr>
          <p:cNvSpPr/>
          <p:nvPr>
            <p:custDataLst>
              <p:tags r:id="rId19"/>
            </p:custDataLst>
          </p:nvPr>
        </p:nvSpPr>
        <p:spPr bwMode="auto">
          <a:xfrm>
            <a:off x="6605587" y="3633788"/>
            <a:ext cx="77788" cy="371475"/>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252" name="Rectangle 251">
            <a:extLst>
              <a:ext uri="{FF2B5EF4-FFF2-40B4-BE49-F238E27FC236}">
                <a16:creationId xmlns:a16="http://schemas.microsoft.com/office/drawing/2014/main" id="{5160FC7C-774E-4BBD-A60A-31D71B53AC9E}"/>
              </a:ext>
            </a:extLst>
          </p:cNvPr>
          <p:cNvSpPr/>
          <p:nvPr>
            <p:custDataLst>
              <p:tags r:id="rId20"/>
            </p:custDataLst>
          </p:nvPr>
        </p:nvSpPr>
        <p:spPr bwMode="auto">
          <a:xfrm>
            <a:off x="7697788" y="3097213"/>
            <a:ext cx="1250950" cy="536575"/>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88" name="Rectangle 587">
            <a:extLst>
              <a:ext uri="{FF2B5EF4-FFF2-40B4-BE49-F238E27FC236}">
                <a16:creationId xmlns:a16="http://schemas.microsoft.com/office/drawing/2014/main" id="{D8C528A8-2954-DA2E-9189-19FCAAF44496}"/>
              </a:ext>
            </a:extLst>
          </p:cNvPr>
          <p:cNvSpPr/>
          <p:nvPr>
            <p:custDataLst>
              <p:tags r:id="rId21"/>
            </p:custDataLst>
          </p:nvPr>
        </p:nvSpPr>
        <p:spPr bwMode="auto">
          <a:xfrm>
            <a:off x="6642100" y="3097213"/>
            <a:ext cx="1055688" cy="536575"/>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0" name="Rectangle 69">
            <a:extLst>
              <a:ext uri="{FF2B5EF4-FFF2-40B4-BE49-F238E27FC236}">
                <a16:creationId xmlns:a16="http://schemas.microsoft.com/office/drawing/2014/main" id="{564844D0-49F6-446B-A760-8B6A6FA677CE}"/>
              </a:ext>
            </a:extLst>
          </p:cNvPr>
          <p:cNvSpPr/>
          <p:nvPr>
            <p:custDataLst>
              <p:tags r:id="rId22"/>
            </p:custDataLst>
          </p:nvPr>
        </p:nvSpPr>
        <p:spPr bwMode="auto">
          <a:xfrm>
            <a:off x="6605589" y="3097213"/>
            <a:ext cx="36513" cy="536575"/>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196" name="Rectangle 195">
            <a:extLst>
              <a:ext uri="{FF2B5EF4-FFF2-40B4-BE49-F238E27FC236}">
                <a16:creationId xmlns:a16="http://schemas.microsoft.com/office/drawing/2014/main" id="{ACDFF81D-55AF-415E-B726-BA56FC901211}"/>
              </a:ext>
            </a:extLst>
          </p:cNvPr>
          <p:cNvSpPr/>
          <p:nvPr>
            <p:custDataLst>
              <p:tags r:id="rId23"/>
            </p:custDataLst>
          </p:nvPr>
        </p:nvSpPr>
        <p:spPr bwMode="auto">
          <a:xfrm>
            <a:off x="7646987" y="2613024"/>
            <a:ext cx="1301750" cy="48418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85" name="Rectangle 584">
            <a:extLst>
              <a:ext uri="{FF2B5EF4-FFF2-40B4-BE49-F238E27FC236}">
                <a16:creationId xmlns:a16="http://schemas.microsoft.com/office/drawing/2014/main" id="{85BFFEF8-D7A1-A445-FCDB-924DFEB7712E}"/>
              </a:ext>
            </a:extLst>
          </p:cNvPr>
          <p:cNvSpPr/>
          <p:nvPr>
            <p:custDataLst>
              <p:tags r:id="rId24"/>
            </p:custDataLst>
          </p:nvPr>
        </p:nvSpPr>
        <p:spPr bwMode="auto">
          <a:xfrm>
            <a:off x="6629400" y="2613024"/>
            <a:ext cx="1017588" cy="48418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3" name="Rectangle 72">
            <a:extLst>
              <a:ext uri="{FF2B5EF4-FFF2-40B4-BE49-F238E27FC236}">
                <a16:creationId xmlns:a16="http://schemas.microsoft.com/office/drawing/2014/main" id="{61F3285F-D3D3-4198-B654-5D49CF137908}"/>
              </a:ext>
            </a:extLst>
          </p:cNvPr>
          <p:cNvSpPr/>
          <p:nvPr>
            <p:custDataLst>
              <p:tags r:id="rId25"/>
            </p:custDataLst>
          </p:nvPr>
        </p:nvSpPr>
        <p:spPr bwMode="auto">
          <a:xfrm>
            <a:off x="6605588" y="2613024"/>
            <a:ext cx="23813" cy="484188"/>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188" name="Rectangle 187">
            <a:extLst>
              <a:ext uri="{FF2B5EF4-FFF2-40B4-BE49-F238E27FC236}">
                <a16:creationId xmlns:a16="http://schemas.microsoft.com/office/drawing/2014/main" id="{F4DAE7F4-B0AA-4BAE-B771-49810685B6EE}"/>
              </a:ext>
            </a:extLst>
          </p:cNvPr>
          <p:cNvSpPr/>
          <p:nvPr>
            <p:custDataLst>
              <p:tags r:id="rId26"/>
            </p:custDataLst>
          </p:nvPr>
        </p:nvSpPr>
        <p:spPr bwMode="auto">
          <a:xfrm>
            <a:off x="6946900" y="1974850"/>
            <a:ext cx="2001838" cy="638175"/>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00" name="Rectangle 99">
            <a:extLst>
              <a:ext uri="{FF2B5EF4-FFF2-40B4-BE49-F238E27FC236}">
                <a16:creationId xmlns:a16="http://schemas.microsoft.com/office/drawing/2014/main" id="{9A1B69E6-A6DC-459D-8528-2B697752FD7C}"/>
              </a:ext>
            </a:extLst>
          </p:cNvPr>
          <p:cNvSpPr/>
          <p:nvPr>
            <p:custDataLst>
              <p:tags r:id="rId27"/>
            </p:custDataLst>
          </p:nvPr>
        </p:nvSpPr>
        <p:spPr bwMode="auto">
          <a:xfrm>
            <a:off x="6738938" y="1974850"/>
            <a:ext cx="207963" cy="638175"/>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6" name="Rectangle 75">
            <a:extLst>
              <a:ext uri="{FF2B5EF4-FFF2-40B4-BE49-F238E27FC236}">
                <a16:creationId xmlns:a16="http://schemas.microsoft.com/office/drawing/2014/main" id="{6E6DAC62-635A-4232-BEDA-5880D242AF29}"/>
              </a:ext>
            </a:extLst>
          </p:cNvPr>
          <p:cNvSpPr/>
          <p:nvPr>
            <p:custDataLst>
              <p:tags r:id="rId28"/>
            </p:custDataLst>
          </p:nvPr>
        </p:nvSpPr>
        <p:spPr bwMode="auto">
          <a:xfrm>
            <a:off x="6605588" y="1974850"/>
            <a:ext cx="133350" cy="638175"/>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cxnSp>
        <p:nvCxnSpPr>
          <p:cNvPr id="77" name="Straight Connector 76">
            <a:extLst>
              <a:ext uri="{FF2B5EF4-FFF2-40B4-BE49-F238E27FC236}">
                <a16:creationId xmlns:a16="http://schemas.microsoft.com/office/drawing/2014/main" id="{CC7413A9-2D9F-499B-ACD1-FC04C30943B3}"/>
              </a:ext>
            </a:extLst>
          </p:cNvPr>
          <p:cNvCxnSpPr/>
          <p:nvPr>
            <p:custDataLst>
              <p:tags r:id="rId29"/>
            </p:custDataLst>
          </p:nvPr>
        </p:nvCxnSpPr>
        <p:spPr bwMode="auto">
          <a:xfrm>
            <a:off x="6605588" y="1970088"/>
            <a:ext cx="0" cy="36242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1" name="Rectangle 400">
            <a:extLst>
              <a:ext uri="{FF2B5EF4-FFF2-40B4-BE49-F238E27FC236}">
                <a16:creationId xmlns:a16="http://schemas.microsoft.com/office/drawing/2014/main" id="{5E9E531E-C79D-5B5F-3B90-874EC0205E9F}"/>
              </a:ext>
            </a:extLst>
          </p:cNvPr>
          <p:cNvSpPr/>
          <p:nvPr>
            <p:custDataLst>
              <p:tags r:id="rId30"/>
            </p:custDataLst>
          </p:nvPr>
        </p:nvSpPr>
        <p:spPr bwMode="auto">
          <a:xfrm>
            <a:off x="3419476" y="4962525"/>
            <a:ext cx="423863" cy="627063"/>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00" name="Rectangle 399">
            <a:extLst>
              <a:ext uri="{FF2B5EF4-FFF2-40B4-BE49-F238E27FC236}">
                <a16:creationId xmlns:a16="http://schemas.microsoft.com/office/drawing/2014/main" id="{ECEA9468-EC6A-D7D1-3CF4-6500207EA7B8}"/>
              </a:ext>
            </a:extLst>
          </p:cNvPr>
          <p:cNvSpPr/>
          <p:nvPr>
            <p:custDataLst>
              <p:tags r:id="rId31"/>
            </p:custDataLst>
          </p:nvPr>
        </p:nvSpPr>
        <p:spPr bwMode="auto">
          <a:xfrm>
            <a:off x="2398713" y="4962525"/>
            <a:ext cx="1020763" cy="627063"/>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9" name="Rectangle 398">
            <a:extLst>
              <a:ext uri="{FF2B5EF4-FFF2-40B4-BE49-F238E27FC236}">
                <a16:creationId xmlns:a16="http://schemas.microsoft.com/office/drawing/2014/main" id="{146CCC88-99CA-07A3-0335-484F9DBB6A1B}"/>
              </a:ext>
            </a:extLst>
          </p:cNvPr>
          <p:cNvSpPr/>
          <p:nvPr>
            <p:custDataLst>
              <p:tags r:id="rId32"/>
            </p:custDataLst>
          </p:nvPr>
        </p:nvSpPr>
        <p:spPr bwMode="auto">
          <a:xfrm>
            <a:off x="1500189" y="4962525"/>
            <a:ext cx="898525" cy="627063"/>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8" name="Rectangle 397">
            <a:extLst>
              <a:ext uri="{FF2B5EF4-FFF2-40B4-BE49-F238E27FC236}">
                <a16:creationId xmlns:a16="http://schemas.microsoft.com/office/drawing/2014/main" id="{148C69B7-4F71-28A3-8C22-0C68F9AD53A5}"/>
              </a:ext>
            </a:extLst>
          </p:cNvPr>
          <p:cNvSpPr/>
          <p:nvPr>
            <p:custDataLst>
              <p:tags r:id="rId33"/>
            </p:custDataLst>
          </p:nvPr>
        </p:nvSpPr>
        <p:spPr bwMode="auto">
          <a:xfrm>
            <a:off x="2930525" y="4818063"/>
            <a:ext cx="912813" cy="144463"/>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5" name="Rectangle 394">
            <a:extLst>
              <a:ext uri="{FF2B5EF4-FFF2-40B4-BE49-F238E27FC236}">
                <a16:creationId xmlns:a16="http://schemas.microsoft.com/office/drawing/2014/main" id="{FB46FDCD-733B-24C7-6169-74AF1322A509}"/>
              </a:ext>
            </a:extLst>
          </p:cNvPr>
          <p:cNvSpPr/>
          <p:nvPr>
            <p:custDataLst>
              <p:tags r:id="rId34"/>
            </p:custDataLst>
          </p:nvPr>
        </p:nvSpPr>
        <p:spPr bwMode="auto">
          <a:xfrm>
            <a:off x="2700338" y="4818063"/>
            <a:ext cx="230188" cy="144463"/>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4" name="Rectangle 393">
            <a:extLst>
              <a:ext uri="{FF2B5EF4-FFF2-40B4-BE49-F238E27FC236}">
                <a16:creationId xmlns:a16="http://schemas.microsoft.com/office/drawing/2014/main" id="{48C42477-DCC2-EDD5-2762-92C7BCEF6635}"/>
              </a:ext>
            </a:extLst>
          </p:cNvPr>
          <p:cNvSpPr/>
          <p:nvPr>
            <p:custDataLst>
              <p:tags r:id="rId35"/>
            </p:custDataLst>
          </p:nvPr>
        </p:nvSpPr>
        <p:spPr bwMode="auto">
          <a:xfrm>
            <a:off x="1500187" y="4818063"/>
            <a:ext cx="1200150" cy="144463"/>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1" name="Rectangle 390">
            <a:extLst>
              <a:ext uri="{FF2B5EF4-FFF2-40B4-BE49-F238E27FC236}">
                <a16:creationId xmlns:a16="http://schemas.microsoft.com/office/drawing/2014/main" id="{6EC6C375-DF4A-BBF5-F718-45387D214E80}"/>
              </a:ext>
            </a:extLst>
          </p:cNvPr>
          <p:cNvSpPr/>
          <p:nvPr>
            <p:custDataLst>
              <p:tags r:id="rId36"/>
            </p:custDataLst>
          </p:nvPr>
        </p:nvSpPr>
        <p:spPr bwMode="auto">
          <a:xfrm>
            <a:off x="3328988" y="4645025"/>
            <a:ext cx="514350" cy="17303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14" name="Rectangle 413">
            <a:extLst>
              <a:ext uri="{FF2B5EF4-FFF2-40B4-BE49-F238E27FC236}">
                <a16:creationId xmlns:a16="http://schemas.microsoft.com/office/drawing/2014/main" id="{83B7ECDD-402A-A17C-FCEF-47F7CEE1DC17}"/>
              </a:ext>
            </a:extLst>
          </p:cNvPr>
          <p:cNvSpPr/>
          <p:nvPr>
            <p:custDataLst>
              <p:tags r:id="rId37"/>
            </p:custDataLst>
          </p:nvPr>
        </p:nvSpPr>
        <p:spPr bwMode="auto">
          <a:xfrm>
            <a:off x="3209925" y="4645025"/>
            <a:ext cx="119063" cy="17303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0" name="Rectangle 389">
            <a:extLst>
              <a:ext uri="{FF2B5EF4-FFF2-40B4-BE49-F238E27FC236}">
                <a16:creationId xmlns:a16="http://schemas.microsoft.com/office/drawing/2014/main" id="{8B68F66F-6A98-5FB4-2825-42D29066B60A}"/>
              </a:ext>
            </a:extLst>
          </p:cNvPr>
          <p:cNvSpPr/>
          <p:nvPr>
            <p:custDataLst>
              <p:tags r:id="rId38"/>
            </p:custDataLst>
          </p:nvPr>
        </p:nvSpPr>
        <p:spPr bwMode="auto">
          <a:xfrm>
            <a:off x="1500188" y="4645025"/>
            <a:ext cx="1709738" cy="173038"/>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89" name="Rectangle 388">
            <a:extLst>
              <a:ext uri="{FF2B5EF4-FFF2-40B4-BE49-F238E27FC236}">
                <a16:creationId xmlns:a16="http://schemas.microsoft.com/office/drawing/2014/main" id="{04D8E845-7839-B57C-4549-C8822E8A278D}"/>
              </a:ext>
            </a:extLst>
          </p:cNvPr>
          <p:cNvSpPr/>
          <p:nvPr>
            <p:custDataLst>
              <p:tags r:id="rId39"/>
            </p:custDataLst>
          </p:nvPr>
        </p:nvSpPr>
        <p:spPr bwMode="auto">
          <a:xfrm>
            <a:off x="3387726" y="4354513"/>
            <a:ext cx="455613" cy="290513"/>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12" name="Rectangle 411">
            <a:extLst>
              <a:ext uri="{FF2B5EF4-FFF2-40B4-BE49-F238E27FC236}">
                <a16:creationId xmlns:a16="http://schemas.microsoft.com/office/drawing/2014/main" id="{23DB2A0E-3B39-670E-D294-72A99BE0FE95}"/>
              </a:ext>
            </a:extLst>
          </p:cNvPr>
          <p:cNvSpPr/>
          <p:nvPr>
            <p:custDataLst>
              <p:tags r:id="rId40"/>
            </p:custDataLst>
          </p:nvPr>
        </p:nvSpPr>
        <p:spPr bwMode="auto">
          <a:xfrm>
            <a:off x="2933701" y="4354513"/>
            <a:ext cx="454025" cy="290513"/>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87" name="Rectangle 386">
            <a:extLst>
              <a:ext uri="{FF2B5EF4-FFF2-40B4-BE49-F238E27FC236}">
                <a16:creationId xmlns:a16="http://schemas.microsoft.com/office/drawing/2014/main" id="{292FF050-2750-11EE-78A3-D8510C7F2124}"/>
              </a:ext>
            </a:extLst>
          </p:cNvPr>
          <p:cNvSpPr/>
          <p:nvPr>
            <p:custDataLst>
              <p:tags r:id="rId41"/>
            </p:custDataLst>
          </p:nvPr>
        </p:nvSpPr>
        <p:spPr bwMode="auto">
          <a:xfrm>
            <a:off x="1500188" y="4354513"/>
            <a:ext cx="1433513" cy="290513"/>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86" name="Rectangle 385">
            <a:extLst>
              <a:ext uri="{FF2B5EF4-FFF2-40B4-BE49-F238E27FC236}">
                <a16:creationId xmlns:a16="http://schemas.microsoft.com/office/drawing/2014/main" id="{1AD777CB-8AB2-9BD1-4A09-A40965A967D5}"/>
              </a:ext>
            </a:extLst>
          </p:cNvPr>
          <p:cNvSpPr/>
          <p:nvPr>
            <p:custDataLst>
              <p:tags r:id="rId42"/>
            </p:custDataLst>
          </p:nvPr>
        </p:nvSpPr>
        <p:spPr bwMode="auto">
          <a:xfrm>
            <a:off x="3149600" y="3995738"/>
            <a:ext cx="693738" cy="358775"/>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85" name="Rectangle 384">
            <a:extLst>
              <a:ext uri="{FF2B5EF4-FFF2-40B4-BE49-F238E27FC236}">
                <a16:creationId xmlns:a16="http://schemas.microsoft.com/office/drawing/2014/main" id="{387508D5-39BE-F873-E379-E05F7F5D09A3}"/>
              </a:ext>
            </a:extLst>
          </p:cNvPr>
          <p:cNvSpPr/>
          <p:nvPr>
            <p:custDataLst>
              <p:tags r:id="rId43"/>
            </p:custDataLst>
          </p:nvPr>
        </p:nvSpPr>
        <p:spPr bwMode="auto">
          <a:xfrm>
            <a:off x="2479676" y="3995738"/>
            <a:ext cx="669925" cy="358775"/>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84" name="Rectangle 383">
            <a:extLst>
              <a:ext uri="{FF2B5EF4-FFF2-40B4-BE49-F238E27FC236}">
                <a16:creationId xmlns:a16="http://schemas.microsoft.com/office/drawing/2014/main" id="{DDB625B1-9975-AEF9-DEA7-18586EDBB6A9}"/>
              </a:ext>
            </a:extLst>
          </p:cNvPr>
          <p:cNvSpPr/>
          <p:nvPr>
            <p:custDataLst>
              <p:tags r:id="rId44"/>
            </p:custDataLst>
          </p:nvPr>
        </p:nvSpPr>
        <p:spPr bwMode="auto">
          <a:xfrm>
            <a:off x="1500187" y="3995738"/>
            <a:ext cx="979488" cy="358775"/>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82" name="Rectangle 381">
            <a:extLst>
              <a:ext uri="{FF2B5EF4-FFF2-40B4-BE49-F238E27FC236}">
                <a16:creationId xmlns:a16="http://schemas.microsoft.com/office/drawing/2014/main" id="{D7DFB22A-2954-E14E-0475-62A59B1487F4}"/>
              </a:ext>
            </a:extLst>
          </p:cNvPr>
          <p:cNvSpPr/>
          <p:nvPr>
            <p:custDataLst>
              <p:tags r:id="rId45"/>
            </p:custDataLst>
          </p:nvPr>
        </p:nvSpPr>
        <p:spPr bwMode="auto">
          <a:xfrm>
            <a:off x="2854325" y="3640138"/>
            <a:ext cx="989013" cy="35560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81" name="Rectangle 380">
            <a:extLst>
              <a:ext uri="{FF2B5EF4-FFF2-40B4-BE49-F238E27FC236}">
                <a16:creationId xmlns:a16="http://schemas.microsoft.com/office/drawing/2014/main" id="{DF9E84A5-9866-3033-9B4C-9665DF61A3E6}"/>
              </a:ext>
            </a:extLst>
          </p:cNvPr>
          <p:cNvSpPr/>
          <p:nvPr>
            <p:custDataLst>
              <p:tags r:id="rId46"/>
            </p:custDataLst>
          </p:nvPr>
        </p:nvSpPr>
        <p:spPr bwMode="auto">
          <a:xfrm>
            <a:off x="2066925" y="3640138"/>
            <a:ext cx="787400" cy="355600"/>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80" name="Rectangle 379">
            <a:extLst>
              <a:ext uri="{FF2B5EF4-FFF2-40B4-BE49-F238E27FC236}">
                <a16:creationId xmlns:a16="http://schemas.microsoft.com/office/drawing/2014/main" id="{DA177136-F2DF-254F-43E6-44CA18F4D817}"/>
              </a:ext>
            </a:extLst>
          </p:cNvPr>
          <p:cNvSpPr/>
          <p:nvPr>
            <p:custDataLst>
              <p:tags r:id="rId47"/>
            </p:custDataLst>
          </p:nvPr>
        </p:nvSpPr>
        <p:spPr bwMode="auto">
          <a:xfrm>
            <a:off x="1500188" y="3640138"/>
            <a:ext cx="566738" cy="355600"/>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79" name="Rectangle 378">
            <a:extLst>
              <a:ext uri="{FF2B5EF4-FFF2-40B4-BE49-F238E27FC236}">
                <a16:creationId xmlns:a16="http://schemas.microsoft.com/office/drawing/2014/main" id="{D3217636-21EB-FECA-0EB7-D72648E94F45}"/>
              </a:ext>
            </a:extLst>
          </p:cNvPr>
          <p:cNvSpPr/>
          <p:nvPr>
            <p:custDataLst>
              <p:tags r:id="rId48"/>
            </p:custDataLst>
          </p:nvPr>
        </p:nvSpPr>
        <p:spPr bwMode="auto">
          <a:xfrm>
            <a:off x="3336925" y="3105150"/>
            <a:ext cx="506413" cy="53498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78" name="Rectangle 377">
            <a:extLst>
              <a:ext uri="{FF2B5EF4-FFF2-40B4-BE49-F238E27FC236}">
                <a16:creationId xmlns:a16="http://schemas.microsoft.com/office/drawing/2014/main" id="{DD166950-FBB3-5A2B-B61A-F8121EB47A9F}"/>
              </a:ext>
            </a:extLst>
          </p:cNvPr>
          <p:cNvSpPr/>
          <p:nvPr>
            <p:custDataLst>
              <p:tags r:id="rId49"/>
            </p:custDataLst>
          </p:nvPr>
        </p:nvSpPr>
        <p:spPr bwMode="auto">
          <a:xfrm>
            <a:off x="1614488" y="3105150"/>
            <a:ext cx="1722438" cy="53498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76" name="Rectangle 375">
            <a:extLst>
              <a:ext uri="{FF2B5EF4-FFF2-40B4-BE49-F238E27FC236}">
                <a16:creationId xmlns:a16="http://schemas.microsoft.com/office/drawing/2014/main" id="{67224CFD-9E3F-DA01-86EC-27B8C6B5A12C}"/>
              </a:ext>
            </a:extLst>
          </p:cNvPr>
          <p:cNvSpPr/>
          <p:nvPr>
            <p:custDataLst>
              <p:tags r:id="rId50"/>
            </p:custDataLst>
          </p:nvPr>
        </p:nvSpPr>
        <p:spPr bwMode="auto">
          <a:xfrm>
            <a:off x="1500188" y="3105150"/>
            <a:ext cx="114300" cy="534988"/>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75" name="Rectangle 374">
            <a:extLst>
              <a:ext uri="{FF2B5EF4-FFF2-40B4-BE49-F238E27FC236}">
                <a16:creationId xmlns:a16="http://schemas.microsoft.com/office/drawing/2014/main" id="{52BC8C26-BEFA-F3A2-8F27-73F7AE066197}"/>
              </a:ext>
            </a:extLst>
          </p:cNvPr>
          <p:cNvSpPr/>
          <p:nvPr>
            <p:custDataLst>
              <p:tags r:id="rId51"/>
            </p:custDataLst>
          </p:nvPr>
        </p:nvSpPr>
        <p:spPr bwMode="auto">
          <a:xfrm>
            <a:off x="3487738" y="2573338"/>
            <a:ext cx="355600" cy="531813"/>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74" name="Rectangle 373">
            <a:extLst>
              <a:ext uri="{FF2B5EF4-FFF2-40B4-BE49-F238E27FC236}">
                <a16:creationId xmlns:a16="http://schemas.microsoft.com/office/drawing/2014/main" id="{10A901D4-B9C9-F040-EABA-2FBA7719C766}"/>
              </a:ext>
            </a:extLst>
          </p:cNvPr>
          <p:cNvSpPr/>
          <p:nvPr>
            <p:custDataLst>
              <p:tags r:id="rId52"/>
            </p:custDataLst>
          </p:nvPr>
        </p:nvSpPr>
        <p:spPr bwMode="auto">
          <a:xfrm>
            <a:off x="1585913" y="2573338"/>
            <a:ext cx="1901825" cy="531813"/>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73" name="Rectangle 372">
            <a:extLst>
              <a:ext uri="{FF2B5EF4-FFF2-40B4-BE49-F238E27FC236}">
                <a16:creationId xmlns:a16="http://schemas.microsoft.com/office/drawing/2014/main" id="{2709F2D0-F358-DAB6-17F1-BBBD04495BB5}"/>
              </a:ext>
            </a:extLst>
          </p:cNvPr>
          <p:cNvSpPr/>
          <p:nvPr>
            <p:custDataLst>
              <p:tags r:id="rId53"/>
            </p:custDataLst>
          </p:nvPr>
        </p:nvSpPr>
        <p:spPr bwMode="auto">
          <a:xfrm>
            <a:off x="1500189" y="2573338"/>
            <a:ext cx="85725" cy="531813"/>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2" name="Rectangle 21">
            <a:extLst>
              <a:ext uri="{FF2B5EF4-FFF2-40B4-BE49-F238E27FC236}">
                <a16:creationId xmlns:a16="http://schemas.microsoft.com/office/drawing/2014/main" id="{723B9475-D2B1-4DF8-BCDF-B62A82089D1B}"/>
              </a:ext>
            </a:extLst>
          </p:cNvPr>
          <p:cNvSpPr/>
          <p:nvPr>
            <p:custDataLst>
              <p:tags r:id="rId54"/>
            </p:custDataLst>
          </p:nvPr>
        </p:nvSpPr>
        <p:spPr bwMode="auto">
          <a:xfrm>
            <a:off x="2927349" y="1974849"/>
            <a:ext cx="915988" cy="59848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03" name="Rectangle 302">
            <a:extLst>
              <a:ext uri="{FF2B5EF4-FFF2-40B4-BE49-F238E27FC236}">
                <a16:creationId xmlns:a16="http://schemas.microsoft.com/office/drawing/2014/main" id="{98EDA29E-8B0E-081D-B2A0-643162D8570A}"/>
              </a:ext>
            </a:extLst>
          </p:cNvPr>
          <p:cNvSpPr/>
          <p:nvPr>
            <p:custDataLst>
              <p:tags r:id="rId55"/>
            </p:custDataLst>
          </p:nvPr>
        </p:nvSpPr>
        <p:spPr bwMode="auto">
          <a:xfrm>
            <a:off x="2651125" y="1974849"/>
            <a:ext cx="276225" cy="59848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20" name="Rectangle 119">
            <a:extLst>
              <a:ext uri="{FF2B5EF4-FFF2-40B4-BE49-F238E27FC236}">
                <a16:creationId xmlns:a16="http://schemas.microsoft.com/office/drawing/2014/main" id="{B1169235-688A-4BE1-A475-87BE987CDDFF}"/>
              </a:ext>
            </a:extLst>
          </p:cNvPr>
          <p:cNvSpPr/>
          <p:nvPr>
            <p:custDataLst>
              <p:tags r:id="rId56"/>
            </p:custDataLst>
          </p:nvPr>
        </p:nvSpPr>
        <p:spPr bwMode="auto">
          <a:xfrm>
            <a:off x="1500188" y="1974849"/>
            <a:ext cx="1150938" cy="598488"/>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cxnSp>
        <p:nvCxnSpPr>
          <p:cNvPr id="121" name="Straight Connector 120">
            <a:extLst>
              <a:ext uri="{FF2B5EF4-FFF2-40B4-BE49-F238E27FC236}">
                <a16:creationId xmlns:a16="http://schemas.microsoft.com/office/drawing/2014/main" id="{428C0182-5107-4DE3-B722-3EBF172EAD0D}"/>
              </a:ext>
            </a:extLst>
          </p:cNvPr>
          <p:cNvCxnSpPr/>
          <p:nvPr>
            <p:custDataLst>
              <p:tags r:id="rId57"/>
            </p:custDataLst>
          </p:nvPr>
        </p:nvCxnSpPr>
        <p:spPr bwMode="auto">
          <a:xfrm>
            <a:off x="1500188" y="1970088"/>
            <a:ext cx="0" cy="3624263"/>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19">
            <a:extLst>
              <a:ext uri="{FF2B5EF4-FFF2-40B4-BE49-F238E27FC236}">
                <a16:creationId xmlns:a16="http://schemas.microsoft.com/office/drawing/2014/main" id="{9F9869AF-B0F6-4E89-B216-4EC18C7334C2}"/>
              </a:ext>
            </a:extLst>
          </p:cNvPr>
          <p:cNvSpPr>
            <a:spLocks noGrp="1"/>
          </p:cNvSpPr>
          <p:nvPr>
            <p:custDataLst>
              <p:tags r:id="rId58"/>
            </p:custDataLst>
          </p:nvPr>
        </p:nvSpPr>
        <p:spPr bwMode="auto">
          <a:xfrm>
            <a:off x="715964" y="2182813"/>
            <a:ext cx="682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03173D6-73EE-498A-AA32-A0B285015CB2}" type="datetime'C''o''''''''''''''''''''u''n''''t''''''''''''''ry'''''' X'''">
              <a:rPr lang="en-GB" altLang="en-US" smtClean="0">
                <a:effectLst/>
                <a:ea typeface="+mn-ea"/>
                <a:cs typeface="+mn-cs"/>
                <a:sym typeface="+mn-lt"/>
              </a:rPr>
              <a:pPr lvl="0" algn="r">
                <a:spcBef>
                  <a:spcPct val="0"/>
                </a:spcBef>
                <a:spcAft>
                  <a:spcPct val="0"/>
                </a:spcAft>
              </a:pPr>
              <a:t>Country X</a:t>
            </a:fld>
            <a:endParaRPr lang="en-GB">
              <a:ea typeface="+mn-ea"/>
              <a:cs typeface="+mn-cs"/>
              <a:sym typeface="+mn-lt"/>
            </a:endParaRPr>
          </a:p>
        </p:txBody>
      </p:sp>
      <p:sp>
        <p:nvSpPr>
          <p:cNvPr id="12" name="Text Placeholder 19">
            <a:extLst>
              <a:ext uri="{FF2B5EF4-FFF2-40B4-BE49-F238E27FC236}">
                <a16:creationId xmlns:a16="http://schemas.microsoft.com/office/drawing/2014/main" id="{9F9869AF-B0F6-4E89-B216-4EC18C7334C2}"/>
              </a:ext>
            </a:extLst>
          </p:cNvPr>
          <p:cNvSpPr>
            <a:spLocks noGrp="1"/>
          </p:cNvSpPr>
          <p:nvPr>
            <p:custDataLst>
              <p:tags r:id="rId59"/>
            </p:custDataLst>
          </p:nvPr>
        </p:nvSpPr>
        <p:spPr bwMode="auto">
          <a:xfrm>
            <a:off x="1287464" y="2747963"/>
            <a:ext cx="111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07D6FF0-C480-42B5-8658-356518024C1E}" type="datetime'''''''''''''''''''''''''''…'''''''''''''''''''''''''''''">
              <a:rPr lang="en-GB" altLang="en-US" smtClean="0">
                <a:effectLst/>
                <a:ea typeface="+mn-ea"/>
                <a:cs typeface="+mn-cs"/>
                <a:sym typeface="+mn-lt"/>
              </a:rPr>
              <a:pPr lvl="0" algn="r">
                <a:spcBef>
                  <a:spcPct val="0"/>
                </a:spcBef>
                <a:spcAft>
                  <a:spcPct val="0"/>
                </a:spcAft>
              </a:pPr>
              <a:t>…</a:t>
            </a:fld>
            <a:endParaRPr lang="en-GB">
              <a:ea typeface="+mn-ea"/>
              <a:cs typeface="+mn-cs"/>
              <a:sym typeface="+mn-lt"/>
            </a:endParaRPr>
          </a:p>
        </p:txBody>
      </p:sp>
      <p:sp>
        <p:nvSpPr>
          <p:cNvPr id="13" name="Text Placeholder 19">
            <a:extLst>
              <a:ext uri="{FF2B5EF4-FFF2-40B4-BE49-F238E27FC236}">
                <a16:creationId xmlns:a16="http://schemas.microsoft.com/office/drawing/2014/main" id="{9F9869AF-B0F6-4E89-B216-4EC18C7334C2}"/>
              </a:ext>
            </a:extLst>
          </p:cNvPr>
          <p:cNvSpPr>
            <a:spLocks noGrp="1"/>
          </p:cNvSpPr>
          <p:nvPr>
            <p:custDataLst>
              <p:tags r:id="rId60"/>
            </p:custDataLst>
          </p:nvPr>
        </p:nvSpPr>
        <p:spPr bwMode="auto">
          <a:xfrm>
            <a:off x="1287464" y="3281363"/>
            <a:ext cx="111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729DC538-1DF8-48B7-98B7-7854BE96286D}" type="datetime'''''''''''''''''''…'''''''''''''''''''">
              <a:rPr lang="en-GB" altLang="en-US" smtClean="0">
                <a:effectLst/>
                <a:ea typeface="+mn-ea"/>
                <a:cs typeface="+mn-cs"/>
                <a:sym typeface="+mn-lt"/>
              </a:rPr>
              <a:pPr lvl="0" algn="r">
                <a:spcBef>
                  <a:spcPct val="0"/>
                </a:spcBef>
                <a:spcAft>
                  <a:spcPct val="0"/>
                </a:spcAft>
              </a:pPr>
              <a:t>…</a:t>
            </a:fld>
            <a:endParaRPr lang="en-GB">
              <a:ea typeface="+mn-ea"/>
              <a:cs typeface="+mn-cs"/>
              <a:sym typeface="+mn-lt"/>
            </a:endParaRPr>
          </a:p>
        </p:txBody>
      </p:sp>
      <p:sp>
        <p:nvSpPr>
          <p:cNvPr id="14" name="Text Placeholder 19">
            <a:extLst>
              <a:ext uri="{FF2B5EF4-FFF2-40B4-BE49-F238E27FC236}">
                <a16:creationId xmlns:a16="http://schemas.microsoft.com/office/drawing/2014/main" id="{9F9869AF-B0F6-4E89-B216-4EC18C7334C2}"/>
              </a:ext>
            </a:extLst>
          </p:cNvPr>
          <p:cNvSpPr>
            <a:spLocks noGrp="1"/>
          </p:cNvSpPr>
          <p:nvPr>
            <p:custDataLst>
              <p:tags r:id="rId61"/>
            </p:custDataLst>
          </p:nvPr>
        </p:nvSpPr>
        <p:spPr bwMode="auto">
          <a:xfrm>
            <a:off x="1287464" y="3727450"/>
            <a:ext cx="111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24F3D5F-98CA-40F6-8FDF-FF30663C16F4}" type="datetime'''''''''''''…'''''''''''''''''''''''''''''''''''''''''''''''''">
              <a:rPr lang="en-GB" altLang="en-US" smtClean="0">
                <a:effectLst/>
                <a:ea typeface="+mn-ea"/>
                <a:cs typeface="+mn-cs"/>
                <a:sym typeface="+mn-lt"/>
              </a:rPr>
              <a:pPr lvl="0" algn="r">
                <a:spcBef>
                  <a:spcPct val="0"/>
                </a:spcBef>
                <a:spcAft>
                  <a:spcPct val="0"/>
                </a:spcAft>
              </a:pPr>
              <a:t>…</a:t>
            </a:fld>
            <a:endParaRPr lang="en-GB">
              <a:ea typeface="+mn-ea"/>
              <a:cs typeface="+mn-cs"/>
              <a:sym typeface="+mn-lt"/>
            </a:endParaRPr>
          </a:p>
        </p:txBody>
      </p:sp>
      <p:sp>
        <p:nvSpPr>
          <p:cNvPr id="15" name="Text Placeholder 19">
            <a:extLst>
              <a:ext uri="{FF2B5EF4-FFF2-40B4-BE49-F238E27FC236}">
                <a16:creationId xmlns:a16="http://schemas.microsoft.com/office/drawing/2014/main" id="{9F9869AF-B0F6-4E89-B216-4EC18C7334C2}"/>
              </a:ext>
            </a:extLst>
          </p:cNvPr>
          <p:cNvSpPr>
            <a:spLocks noGrp="1"/>
          </p:cNvSpPr>
          <p:nvPr>
            <p:custDataLst>
              <p:tags r:id="rId62"/>
            </p:custDataLst>
          </p:nvPr>
        </p:nvSpPr>
        <p:spPr bwMode="auto">
          <a:xfrm>
            <a:off x="1287464" y="4084638"/>
            <a:ext cx="111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4E361E40-C437-4802-82DB-7587AB3AAD05}" type="datetime'''''''''''''''''''''''''''''''''''''''''''''''''''''''…'''''''">
              <a:rPr lang="en-GB" altLang="en-US" smtClean="0">
                <a:effectLst/>
                <a:ea typeface="+mn-ea"/>
                <a:cs typeface="+mn-cs"/>
                <a:sym typeface="+mn-lt"/>
              </a:rPr>
              <a:pPr lvl="0" algn="r">
                <a:spcBef>
                  <a:spcPct val="0"/>
                </a:spcBef>
                <a:spcAft>
                  <a:spcPct val="0"/>
                </a:spcAft>
              </a:pPr>
              <a:t>…</a:t>
            </a:fld>
            <a:endParaRPr lang="en-GB">
              <a:ea typeface="+mn-ea"/>
              <a:cs typeface="+mn-cs"/>
              <a:sym typeface="+mn-lt"/>
            </a:endParaRPr>
          </a:p>
        </p:txBody>
      </p:sp>
      <p:sp>
        <p:nvSpPr>
          <p:cNvPr id="16" name="Text Placeholder 19">
            <a:extLst>
              <a:ext uri="{FF2B5EF4-FFF2-40B4-BE49-F238E27FC236}">
                <a16:creationId xmlns:a16="http://schemas.microsoft.com/office/drawing/2014/main" id="{9F9869AF-B0F6-4E89-B216-4EC18C7334C2}"/>
              </a:ext>
            </a:extLst>
          </p:cNvPr>
          <p:cNvSpPr>
            <a:spLocks noGrp="1"/>
          </p:cNvSpPr>
          <p:nvPr>
            <p:custDataLst>
              <p:tags r:id="rId63"/>
            </p:custDataLst>
          </p:nvPr>
        </p:nvSpPr>
        <p:spPr bwMode="auto">
          <a:xfrm>
            <a:off x="1287464" y="4408488"/>
            <a:ext cx="111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9A0FC25-1187-4154-872D-0A1E2D90E1AF}" type="datetime'''''''''''''''''''''''''''''''''''''…'''''''">
              <a:rPr lang="en-GB" altLang="en-US" smtClean="0">
                <a:effectLst/>
                <a:ea typeface="+mn-ea"/>
                <a:cs typeface="+mn-cs"/>
                <a:sym typeface="+mn-lt"/>
              </a:rPr>
              <a:pPr lvl="0" algn="r">
                <a:spcBef>
                  <a:spcPct val="0"/>
                </a:spcBef>
                <a:spcAft>
                  <a:spcPct val="0"/>
                </a:spcAft>
              </a:pPr>
              <a:t>…</a:t>
            </a:fld>
            <a:endParaRPr lang="en-GB">
              <a:ea typeface="+mn-ea"/>
              <a:cs typeface="+mn-cs"/>
              <a:sym typeface="+mn-lt"/>
            </a:endParaRPr>
          </a:p>
        </p:txBody>
      </p:sp>
      <p:sp>
        <p:nvSpPr>
          <p:cNvPr id="17" name="Text Placeholder 19">
            <a:extLst>
              <a:ext uri="{FF2B5EF4-FFF2-40B4-BE49-F238E27FC236}">
                <a16:creationId xmlns:a16="http://schemas.microsoft.com/office/drawing/2014/main" id="{9F9869AF-B0F6-4E89-B216-4EC18C7334C2}"/>
              </a:ext>
            </a:extLst>
          </p:cNvPr>
          <p:cNvSpPr>
            <a:spLocks noGrp="1"/>
          </p:cNvSpPr>
          <p:nvPr>
            <p:custDataLst>
              <p:tags r:id="rId64"/>
            </p:custDataLst>
          </p:nvPr>
        </p:nvSpPr>
        <p:spPr bwMode="auto">
          <a:xfrm>
            <a:off x="1287464" y="4640263"/>
            <a:ext cx="111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997761C-DD68-4DEF-956C-5C1A4157C63B}" type="datetime'''''''''''''''''''''''''''''''''''''''…'''''''''''''">
              <a:rPr lang="en-GB" altLang="en-US" smtClean="0">
                <a:effectLst/>
                <a:ea typeface="+mn-ea"/>
                <a:cs typeface="+mn-cs"/>
                <a:sym typeface="+mn-lt"/>
              </a:rPr>
              <a:pPr lvl="0" algn="r">
                <a:spcBef>
                  <a:spcPct val="0"/>
                </a:spcBef>
                <a:spcAft>
                  <a:spcPct val="0"/>
                </a:spcAft>
              </a:pPr>
              <a:t>…</a:t>
            </a:fld>
            <a:endParaRPr lang="en-GB">
              <a:ea typeface="+mn-ea"/>
              <a:cs typeface="+mn-cs"/>
              <a:sym typeface="+mn-lt"/>
            </a:endParaRPr>
          </a:p>
        </p:txBody>
      </p:sp>
      <p:sp>
        <p:nvSpPr>
          <p:cNvPr id="18" name="Text Placeholder 19">
            <a:extLst>
              <a:ext uri="{FF2B5EF4-FFF2-40B4-BE49-F238E27FC236}">
                <a16:creationId xmlns:a16="http://schemas.microsoft.com/office/drawing/2014/main" id="{9F9869AF-B0F6-4E89-B216-4EC18C7334C2}"/>
              </a:ext>
            </a:extLst>
          </p:cNvPr>
          <p:cNvSpPr>
            <a:spLocks noGrp="1"/>
          </p:cNvSpPr>
          <p:nvPr>
            <p:custDataLst>
              <p:tags r:id="rId65"/>
            </p:custDataLst>
          </p:nvPr>
        </p:nvSpPr>
        <p:spPr bwMode="auto">
          <a:xfrm>
            <a:off x="1287464" y="4799013"/>
            <a:ext cx="111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DF613B6D-4611-4EEA-801C-63173F51CB34}" type="datetime'''''''''''''''''''''''…'''''">
              <a:rPr lang="en-GB" altLang="en-US" smtClean="0">
                <a:effectLst/>
                <a:ea typeface="+mn-ea"/>
                <a:cs typeface="+mn-cs"/>
                <a:sym typeface="+mn-lt"/>
              </a:rPr>
              <a:pPr lvl="0" algn="r">
                <a:spcBef>
                  <a:spcPct val="0"/>
                </a:spcBef>
                <a:spcAft>
                  <a:spcPct val="0"/>
                </a:spcAft>
              </a:pPr>
              <a:t>…</a:t>
            </a:fld>
            <a:endParaRPr lang="en-GB">
              <a:ea typeface="+mn-ea"/>
              <a:cs typeface="+mn-cs"/>
              <a:sym typeface="+mn-lt"/>
            </a:endParaRPr>
          </a:p>
        </p:txBody>
      </p:sp>
      <p:sp>
        <p:nvSpPr>
          <p:cNvPr id="19" name="Text Placeholder 19">
            <a:extLst>
              <a:ext uri="{FF2B5EF4-FFF2-40B4-BE49-F238E27FC236}">
                <a16:creationId xmlns:a16="http://schemas.microsoft.com/office/drawing/2014/main" id="{9F9869AF-B0F6-4E89-B216-4EC18C7334C2}"/>
              </a:ext>
            </a:extLst>
          </p:cNvPr>
          <p:cNvSpPr>
            <a:spLocks noGrp="1"/>
          </p:cNvSpPr>
          <p:nvPr>
            <p:custDataLst>
              <p:tags r:id="rId66"/>
            </p:custDataLst>
          </p:nvPr>
        </p:nvSpPr>
        <p:spPr bwMode="auto">
          <a:xfrm>
            <a:off x="993776" y="5184775"/>
            <a:ext cx="404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ACC2907D-5BDA-4397-85F9-64DA2F68F984}" type="datetime'''''''''''O''t''h''''''er'''''''''''">
              <a:rPr lang="en-GB" altLang="en-US" smtClean="0">
                <a:effectLst/>
                <a:ea typeface="+mn-ea"/>
                <a:cs typeface="+mn-cs"/>
                <a:sym typeface="+mn-lt"/>
              </a:rPr>
              <a:pPr lvl="0" algn="r">
                <a:spcBef>
                  <a:spcPct val="0"/>
                </a:spcBef>
                <a:spcAft>
                  <a:spcPct val="0"/>
                </a:spcAft>
              </a:pPr>
              <a:t>Other</a:t>
            </a:fld>
            <a:endParaRPr lang="en-GB">
              <a:ea typeface="+mn-ea"/>
              <a:cs typeface="+mn-cs"/>
              <a:sym typeface="+mn-lt"/>
            </a:endParaRPr>
          </a:p>
        </p:txBody>
      </p:sp>
      <p:sp>
        <p:nvSpPr>
          <p:cNvPr id="99" name="TextBox 98">
            <a:extLst>
              <a:ext uri="{FF2B5EF4-FFF2-40B4-BE49-F238E27FC236}">
                <a16:creationId xmlns:a16="http://schemas.microsoft.com/office/drawing/2014/main" id="{B152D6EE-87EC-4AF9-8A6C-A8F8201B528D}"/>
              </a:ext>
            </a:extLst>
          </p:cNvPr>
          <p:cNvSpPr txBox="1"/>
          <p:nvPr/>
        </p:nvSpPr>
        <p:spPr>
          <a:xfrm>
            <a:off x="381600" y="1282515"/>
            <a:ext cx="4491038" cy="369332"/>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200" b="1">
                <a:latin typeface="Lato"/>
              </a:rPr>
              <a:t>Share of total generation in Europe</a:t>
            </a:r>
            <a:r>
              <a:rPr lang="en-GB" sz="1200" b="1" baseline="30000">
                <a:latin typeface="Lato"/>
              </a:rPr>
              <a:t>1 </a:t>
            </a:r>
            <a:r>
              <a:rPr lang="en-GB" sz="1200" b="1">
                <a:latin typeface="Lato"/>
              </a:rPr>
              <a:t>(Aurora Central scenario)</a:t>
            </a:r>
          </a:p>
          <a:p>
            <a:pPr marL="0" marR="0" lvl="0" indent="0" algn="l" defTabSz="914400" eaLnBrk="1" fontAlgn="auto" latinLnBrk="0" hangingPunct="1">
              <a:lnSpc>
                <a:spcPct val="100000"/>
              </a:lnSpc>
              <a:spcBef>
                <a:spcPts val="0"/>
              </a:spcBef>
              <a:spcAft>
                <a:spcPts val="0"/>
              </a:spcAft>
              <a:buClrTx/>
              <a:buSzTx/>
              <a:buFontTx/>
              <a:buNone/>
              <a:tabLst/>
              <a:defRPr/>
            </a:pPr>
            <a:r>
              <a:rPr lang="en-GB" sz="1200">
                <a:solidFill>
                  <a:srgbClr val="838383"/>
                </a:solidFill>
              </a:rPr>
              <a:t>%</a:t>
            </a:r>
            <a:endParaRPr kumimoji="0" lang="en-GB" sz="1200" b="0" i="0" u="none" strike="noStrike" kern="1200" cap="none" spc="0" normalizeH="0" baseline="0" noProof="0">
              <a:ln>
                <a:noFill/>
              </a:ln>
              <a:solidFill>
                <a:srgbClr val="838383"/>
              </a:solidFill>
              <a:effectLst/>
              <a:uLnTx/>
              <a:uFillTx/>
              <a:ea typeface="+mn-ea"/>
              <a:cs typeface="+mn-cs"/>
            </a:endParaRPr>
          </a:p>
        </p:txBody>
      </p:sp>
      <p:sp>
        <p:nvSpPr>
          <p:cNvPr id="150" name="Rectangle 149">
            <a:extLst>
              <a:ext uri="{FF2B5EF4-FFF2-40B4-BE49-F238E27FC236}">
                <a16:creationId xmlns:a16="http://schemas.microsoft.com/office/drawing/2014/main" id="{6B45E828-C538-4E1B-92EC-D055864F9E54}"/>
              </a:ext>
            </a:extLst>
          </p:cNvPr>
          <p:cNvSpPr/>
          <p:nvPr/>
        </p:nvSpPr>
        <p:spPr>
          <a:xfrm>
            <a:off x="4941888" y="1636358"/>
            <a:ext cx="659155" cy="338554"/>
          </a:xfrm>
          <a:prstGeom prst="rect">
            <a:avLst/>
          </a:prstGeom>
        </p:spPr>
        <p:txBody>
          <a:bodyPr wrap="none">
            <a:spAutoFit/>
          </a:bodyPr>
          <a:lstStyle/>
          <a:p>
            <a:pPr lvl="0">
              <a:defRPr/>
            </a:pPr>
            <a:r>
              <a:rPr lang="en-GB" sz="1600" b="1"/>
              <a:t>2030</a:t>
            </a:r>
          </a:p>
        </p:txBody>
      </p:sp>
      <p:sp>
        <p:nvSpPr>
          <p:cNvPr id="151" name="Rectangle 150">
            <a:extLst>
              <a:ext uri="{FF2B5EF4-FFF2-40B4-BE49-F238E27FC236}">
                <a16:creationId xmlns:a16="http://schemas.microsoft.com/office/drawing/2014/main" id="{9A84A50A-79FE-4D94-A7CE-ECD42A31B8BD}"/>
              </a:ext>
            </a:extLst>
          </p:cNvPr>
          <p:cNvSpPr/>
          <p:nvPr/>
        </p:nvSpPr>
        <p:spPr>
          <a:xfrm>
            <a:off x="7462577" y="1636358"/>
            <a:ext cx="659155" cy="338554"/>
          </a:xfrm>
          <a:prstGeom prst="rect">
            <a:avLst/>
          </a:prstGeom>
        </p:spPr>
        <p:txBody>
          <a:bodyPr wrap="none">
            <a:spAutoFit/>
          </a:bodyPr>
          <a:lstStyle/>
          <a:p>
            <a:pPr lvl="0">
              <a:defRPr/>
            </a:pPr>
            <a:r>
              <a:rPr lang="en-GB" sz="1600" b="1"/>
              <a:t>2050</a:t>
            </a:r>
          </a:p>
        </p:txBody>
      </p:sp>
      <p:sp>
        <p:nvSpPr>
          <p:cNvPr id="152" name="Rectangle 151">
            <a:extLst>
              <a:ext uri="{FF2B5EF4-FFF2-40B4-BE49-F238E27FC236}">
                <a16:creationId xmlns:a16="http://schemas.microsoft.com/office/drawing/2014/main" id="{6CEF3F92-65BA-4534-B64F-BBD1F932C931}"/>
              </a:ext>
            </a:extLst>
          </p:cNvPr>
          <p:cNvSpPr/>
          <p:nvPr/>
        </p:nvSpPr>
        <p:spPr>
          <a:xfrm>
            <a:off x="2301874" y="1635326"/>
            <a:ext cx="659155" cy="338554"/>
          </a:xfrm>
          <a:prstGeom prst="rect">
            <a:avLst/>
          </a:prstGeom>
        </p:spPr>
        <p:txBody>
          <a:bodyPr wrap="none">
            <a:spAutoFit/>
          </a:bodyPr>
          <a:lstStyle/>
          <a:p>
            <a:pPr lvl="0">
              <a:defRPr/>
            </a:pPr>
            <a:r>
              <a:rPr lang="en-GB" sz="1600" b="1"/>
              <a:t>2023</a:t>
            </a:r>
          </a:p>
        </p:txBody>
      </p:sp>
      <p:graphicFrame>
        <p:nvGraphicFramePr>
          <p:cNvPr id="4" name="Chart 3">
            <a:extLst>
              <a:ext uri="{FF2B5EF4-FFF2-40B4-BE49-F238E27FC236}">
                <a16:creationId xmlns:a16="http://schemas.microsoft.com/office/drawing/2014/main" id="{C00F7402-0E26-6E3F-F415-6501F34B8F79}"/>
              </a:ext>
            </a:extLst>
          </p:cNvPr>
          <p:cNvGraphicFramePr/>
          <p:nvPr>
            <p:custDataLst>
              <p:tags r:id="rId67"/>
            </p:custDataLst>
            <p:extLst>
              <p:ext uri="{D42A27DB-BD31-4B8C-83A1-F6EECF244321}">
                <p14:modId xmlns:p14="http://schemas.microsoft.com/office/powerpoint/2010/main" val="1935827872"/>
              </p:ext>
            </p:extLst>
          </p:nvPr>
        </p:nvGraphicFramePr>
        <p:xfrm>
          <a:off x="1417638" y="5616575"/>
          <a:ext cx="2508250" cy="525463"/>
        </p:xfrm>
        <a:graphic>
          <a:graphicData uri="http://schemas.openxmlformats.org/drawingml/2006/chart">
            <c:chart xmlns:c="http://schemas.openxmlformats.org/drawingml/2006/chart" xmlns:r="http://schemas.openxmlformats.org/officeDocument/2006/relationships" r:id="rId110"/>
          </a:graphicData>
        </a:graphic>
      </p:graphicFrame>
      <p:sp>
        <p:nvSpPr>
          <p:cNvPr id="350" name="Text Placeholder 19">
            <a:extLst>
              <a:ext uri="{FF2B5EF4-FFF2-40B4-BE49-F238E27FC236}">
                <a16:creationId xmlns:a16="http://schemas.microsoft.com/office/drawing/2014/main" id="{9F9869AF-B0F6-4E89-B216-4EC18C7334C2}"/>
              </a:ext>
            </a:extLst>
          </p:cNvPr>
          <p:cNvSpPr>
            <a:spLocks noGrp="1"/>
          </p:cNvSpPr>
          <p:nvPr>
            <p:custDataLst>
              <p:tags r:id="rId68"/>
            </p:custDataLst>
          </p:nvPr>
        </p:nvSpPr>
        <p:spPr bwMode="auto">
          <a:xfrm>
            <a:off x="915987" y="5788025"/>
            <a:ext cx="4826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97FB8AD1-F338-42CA-9D17-7CE7DF3F6EEE}" type="datetime'''''''''''Eur''''''''''''''''''''o''p''e'''''''">
              <a:rPr lang="en-GB" altLang="en-US" smtClean="0">
                <a:effectLst/>
                <a:ea typeface="+mn-ea"/>
                <a:cs typeface="+mn-cs"/>
                <a:sym typeface="+mn-lt"/>
              </a:rPr>
              <a:pPr algn="r">
                <a:spcBef>
                  <a:spcPct val="0"/>
                </a:spcBef>
                <a:spcAft>
                  <a:spcPct val="0"/>
                </a:spcAft>
              </a:pPr>
              <a:t>Europe</a:t>
            </a:fld>
            <a:endParaRPr lang="en-GB" sz="1400">
              <a:ea typeface="+mn-ea"/>
              <a:cs typeface="+mn-cs"/>
              <a:sym typeface="+mn-lt"/>
            </a:endParaRPr>
          </a:p>
        </p:txBody>
      </p:sp>
      <p:graphicFrame>
        <p:nvGraphicFramePr>
          <p:cNvPr id="6" name="Chart 5">
            <a:extLst>
              <a:ext uri="{FF2B5EF4-FFF2-40B4-BE49-F238E27FC236}">
                <a16:creationId xmlns:a16="http://schemas.microsoft.com/office/drawing/2014/main" id="{BFF92974-756C-3809-5F0D-0D6E8D05FC3A}"/>
              </a:ext>
            </a:extLst>
          </p:cNvPr>
          <p:cNvGraphicFramePr/>
          <p:nvPr>
            <p:custDataLst>
              <p:tags r:id="rId69"/>
            </p:custDataLst>
            <p:extLst>
              <p:ext uri="{D42A27DB-BD31-4B8C-83A1-F6EECF244321}">
                <p14:modId xmlns:p14="http://schemas.microsoft.com/office/powerpoint/2010/main" val="3987126362"/>
              </p:ext>
            </p:extLst>
          </p:nvPr>
        </p:nvGraphicFramePr>
        <p:xfrm>
          <a:off x="3970338" y="5616575"/>
          <a:ext cx="2508250" cy="525463"/>
        </p:xfrm>
        <a:graphic>
          <a:graphicData uri="http://schemas.openxmlformats.org/drawingml/2006/chart">
            <c:chart xmlns:c="http://schemas.openxmlformats.org/drawingml/2006/chart" xmlns:r="http://schemas.openxmlformats.org/officeDocument/2006/relationships" r:id="rId111"/>
          </a:graphicData>
        </a:graphic>
      </p:graphicFrame>
      <p:graphicFrame>
        <p:nvGraphicFramePr>
          <p:cNvPr id="7" name="Chart 6">
            <a:extLst>
              <a:ext uri="{FF2B5EF4-FFF2-40B4-BE49-F238E27FC236}">
                <a16:creationId xmlns:a16="http://schemas.microsoft.com/office/drawing/2014/main" id="{D4A17BAF-4E09-754D-CB4B-181287E8A50D}"/>
              </a:ext>
            </a:extLst>
          </p:cNvPr>
          <p:cNvGraphicFramePr/>
          <p:nvPr>
            <p:custDataLst>
              <p:tags r:id="rId70"/>
            </p:custDataLst>
            <p:extLst>
              <p:ext uri="{D42A27DB-BD31-4B8C-83A1-F6EECF244321}">
                <p14:modId xmlns:p14="http://schemas.microsoft.com/office/powerpoint/2010/main" val="4273078063"/>
              </p:ext>
            </p:extLst>
          </p:nvPr>
        </p:nvGraphicFramePr>
        <p:xfrm>
          <a:off x="6523038" y="5616575"/>
          <a:ext cx="2508250" cy="525463"/>
        </p:xfrm>
        <a:graphic>
          <a:graphicData uri="http://schemas.openxmlformats.org/drawingml/2006/chart">
            <c:chart xmlns:c="http://schemas.openxmlformats.org/drawingml/2006/chart" xmlns:r="http://schemas.openxmlformats.org/officeDocument/2006/relationships" r:id="rId112"/>
          </a:graphicData>
        </a:graphic>
      </p:graphicFrame>
      <p:sp>
        <p:nvSpPr>
          <p:cNvPr id="92" name="Rectangle 91">
            <a:extLst>
              <a:ext uri="{FF2B5EF4-FFF2-40B4-BE49-F238E27FC236}">
                <a16:creationId xmlns:a16="http://schemas.microsoft.com/office/drawing/2014/main" id="{8637B5EC-B601-4961-8950-1FB2EF352130}"/>
              </a:ext>
            </a:extLst>
          </p:cNvPr>
          <p:cNvSpPr/>
          <p:nvPr>
            <p:custDataLst>
              <p:tags r:id="rId71"/>
            </p:custDataLst>
          </p:nvPr>
        </p:nvSpPr>
        <p:spPr bwMode="auto">
          <a:xfrm>
            <a:off x="5467349" y="4983163"/>
            <a:ext cx="928688" cy="606425"/>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12" name="Rectangle 511">
            <a:extLst>
              <a:ext uri="{FF2B5EF4-FFF2-40B4-BE49-F238E27FC236}">
                <a16:creationId xmlns:a16="http://schemas.microsoft.com/office/drawing/2014/main" id="{91B886A2-084A-95D4-CD02-FDBF0A902B12}"/>
              </a:ext>
            </a:extLst>
          </p:cNvPr>
          <p:cNvSpPr/>
          <p:nvPr>
            <p:custDataLst>
              <p:tags r:id="rId72"/>
            </p:custDataLst>
          </p:nvPr>
        </p:nvSpPr>
        <p:spPr bwMode="auto">
          <a:xfrm>
            <a:off x="4591050" y="4983163"/>
            <a:ext cx="876300" cy="606425"/>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90" name="Rectangle 189">
            <a:extLst>
              <a:ext uri="{FF2B5EF4-FFF2-40B4-BE49-F238E27FC236}">
                <a16:creationId xmlns:a16="http://schemas.microsoft.com/office/drawing/2014/main" id="{57E21EBC-B183-4D0A-9226-5F19066DEFBA}"/>
              </a:ext>
            </a:extLst>
          </p:cNvPr>
          <p:cNvSpPr/>
          <p:nvPr>
            <p:custDataLst>
              <p:tags r:id="rId73"/>
            </p:custDataLst>
          </p:nvPr>
        </p:nvSpPr>
        <p:spPr bwMode="auto">
          <a:xfrm>
            <a:off x="4052888" y="4983163"/>
            <a:ext cx="538163" cy="606425"/>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6" name="Rectangle 85">
            <a:extLst>
              <a:ext uri="{FF2B5EF4-FFF2-40B4-BE49-F238E27FC236}">
                <a16:creationId xmlns:a16="http://schemas.microsoft.com/office/drawing/2014/main" id="{6E93C8CB-6ADC-4007-A876-E0E56AD6D17F}"/>
              </a:ext>
            </a:extLst>
          </p:cNvPr>
          <p:cNvSpPr/>
          <p:nvPr>
            <p:custDataLst>
              <p:tags r:id="rId74"/>
            </p:custDataLst>
          </p:nvPr>
        </p:nvSpPr>
        <p:spPr bwMode="auto">
          <a:xfrm>
            <a:off x="4694238" y="4852988"/>
            <a:ext cx="1701800" cy="130175"/>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07" name="Rectangle 506">
            <a:extLst>
              <a:ext uri="{FF2B5EF4-FFF2-40B4-BE49-F238E27FC236}">
                <a16:creationId xmlns:a16="http://schemas.microsoft.com/office/drawing/2014/main" id="{A37CFCDD-57FE-4954-A107-2E06809E74A2}"/>
              </a:ext>
            </a:extLst>
          </p:cNvPr>
          <p:cNvSpPr/>
          <p:nvPr>
            <p:custDataLst>
              <p:tags r:id="rId75"/>
            </p:custDataLst>
          </p:nvPr>
        </p:nvSpPr>
        <p:spPr bwMode="auto">
          <a:xfrm>
            <a:off x="4595813" y="4852988"/>
            <a:ext cx="98425" cy="130175"/>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93" name="Rectangle 192">
            <a:extLst>
              <a:ext uri="{FF2B5EF4-FFF2-40B4-BE49-F238E27FC236}">
                <a16:creationId xmlns:a16="http://schemas.microsoft.com/office/drawing/2014/main" id="{43B08A0C-89DC-4CBC-884F-7A8F4590827F}"/>
              </a:ext>
            </a:extLst>
          </p:cNvPr>
          <p:cNvSpPr/>
          <p:nvPr>
            <p:custDataLst>
              <p:tags r:id="rId76"/>
            </p:custDataLst>
          </p:nvPr>
        </p:nvSpPr>
        <p:spPr bwMode="auto">
          <a:xfrm>
            <a:off x="4052889" y="4852988"/>
            <a:ext cx="542925" cy="130175"/>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2" name="Rectangle 81">
            <a:extLst>
              <a:ext uri="{FF2B5EF4-FFF2-40B4-BE49-F238E27FC236}">
                <a16:creationId xmlns:a16="http://schemas.microsoft.com/office/drawing/2014/main" id="{721C48DE-9C32-4323-8394-9194F02C28F4}"/>
              </a:ext>
            </a:extLst>
          </p:cNvPr>
          <p:cNvSpPr/>
          <p:nvPr>
            <p:custDataLst>
              <p:tags r:id="rId77"/>
            </p:custDataLst>
          </p:nvPr>
        </p:nvSpPr>
        <p:spPr bwMode="auto">
          <a:xfrm>
            <a:off x="5033963" y="4660900"/>
            <a:ext cx="1362075" cy="19208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03" name="Rectangle 502">
            <a:extLst>
              <a:ext uri="{FF2B5EF4-FFF2-40B4-BE49-F238E27FC236}">
                <a16:creationId xmlns:a16="http://schemas.microsoft.com/office/drawing/2014/main" id="{43C52B1C-9D3C-9340-27B1-A5A596BA9851}"/>
              </a:ext>
            </a:extLst>
          </p:cNvPr>
          <p:cNvSpPr/>
          <p:nvPr>
            <p:custDataLst>
              <p:tags r:id="rId78"/>
            </p:custDataLst>
          </p:nvPr>
        </p:nvSpPr>
        <p:spPr bwMode="auto">
          <a:xfrm>
            <a:off x="4937124" y="4660900"/>
            <a:ext cx="96838" cy="19208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98" name="Rectangle 197">
            <a:extLst>
              <a:ext uri="{FF2B5EF4-FFF2-40B4-BE49-F238E27FC236}">
                <a16:creationId xmlns:a16="http://schemas.microsoft.com/office/drawing/2014/main" id="{5E1A698A-C568-4494-A450-E92CFB2E2106}"/>
              </a:ext>
            </a:extLst>
          </p:cNvPr>
          <p:cNvSpPr/>
          <p:nvPr>
            <p:custDataLst>
              <p:tags r:id="rId79"/>
            </p:custDataLst>
          </p:nvPr>
        </p:nvSpPr>
        <p:spPr bwMode="auto">
          <a:xfrm>
            <a:off x="4052888" y="4660900"/>
            <a:ext cx="884238" cy="192088"/>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81" name="Rectangle 80">
            <a:extLst>
              <a:ext uri="{FF2B5EF4-FFF2-40B4-BE49-F238E27FC236}">
                <a16:creationId xmlns:a16="http://schemas.microsoft.com/office/drawing/2014/main" id="{0E0F93F3-12E0-408A-921A-7E67C072D6E6}"/>
              </a:ext>
            </a:extLst>
          </p:cNvPr>
          <p:cNvSpPr/>
          <p:nvPr>
            <p:custDataLst>
              <p:tags r:id="rId80"/>
            </p:custDataLst>
          </p:nvPr>
        </p:nvSpPr>
        <p:spPr bwMode="auto">
          <a:xfrm>
            <a:off x="5186363" y="4387849"/>
            <a:ext cx="1209675" cy="27305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00" name="Rectangle 499">
            <a:extLst>
              <a:ext uri="{FF2B5EF4-FFF2-40B4-BE49-F238E27FC236}">
                <a16:creationId xmlns:a16="http://schemas.microsoft.com/office/drawing/2014/main" id="{2844FC5A-E168-2132-FF8E-FE673A7AB2D0}"/>
              </a:ext>
            </a:extLst>
          </p:cNvPr>
          <p:cNvSpPr/>
          <p:nvPr>
            <p:custDataLst>
              <p:tags r:id="rId81"/>
            </p:custDataLst>
          </p:nvPr>
        </p:nvSpPr>
        <p:spPr bwMode="auto">
          <a:xfrm>
            <a:off x="4806950" y="4387849"/>
            <a:ext cx="379413" cy="273050"/>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01" name="Rectangle 200">
            <a:extLst>
              <a:ext uri="{FF2B5EF4-FFF2-40B4-BE49-F238E27FC236}">
                <a16:creationId xmlns:a16="http://schemas.microsoft.com/office/drawing/2014/main" id="{E4808B4F-7571-497A-8C3E-8BDA0609D9A3}"/>
              </a:ext>
            </a:extLst>
          </p:cNvPr>
          <p:cNvSpPr/>
          <p:nvPr>
            <p:custDataLst>
              <p:tags r:id="rId82"/>
            </p:custDataLst>
          </p:nvPr>
        </p:nvSpPr>
        <p:spPr bwMode="auto">
          <a:xfrm>
            <a:off x="4052888" y="4387849"/>
            <a:ext cx="754063" cy="273050"/>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90" name="Rectangle 89">
            <a:extLst>
              <a:ext uri="{FF2B5EF4-FFF2-40B4-BE49-F238E27FC236}">
                <a16:creationId xmlns:a16="http://schemas.microsoft.com/office/drawing/2014/main" id="{F00B586F-21A3-4DB3-981E-A23816D34F5C}"/>
              </a:ext>
            </a:extLst>
          </p:cNvPr>
          <p:cNvSpPr/>
          <p:nvPr>
            <p:custDataLst>
              <p:tags r:id="rId83"/>
            </p:custDataLst>
          </p:nvPr>
        </p:nvSpPr>
        <p:spPr bwMode="auto">
          <a:xfrm>
            <a:off x="4919664" y="4056062"/>
            <a:ext cx="1476375" cy="33178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97" name="Rectangle 496">
            <a:extLst>
              <a:ext uri="{FF2B5EF4-FFF2-40B4-BE49-F238E27FC236}">
                <a16:creationId xmlns:a16="http://schemas.microsoft.com/office/drawing/2014/main" id="{72B4F463-94EF-155A-FEC9-DF697252ABDD}"/>
              </a:ext>
            </a:extLst>
          </p:cNvPr>
          <p:cNvSpPr/>
          <p:nvPr>
            <p:custDataLst>
              <p:tags r:id="rId84"/>
            </p:custDataLst>
          </p:nvPr>
        </p:nvSpPr>
        <p:spPr bwMode="auto">
          <a:xfrm>
            <a:off x="4445000" y="4056062"/>
            <a:ext cx="474663" cy="33178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05" name="Rectangle 204">
            <a:extLst>
              <a:ext uri="{FF2B5EF4-FFF2-40B4-BE49-F238E27FC236}">
                <a16:creationId xmlns:a16="http://schemas.microsoft.com/office/drawing/2014/main" id="{B5A26AD4-AC28-45FD-A200-79B9A4019CD4}"/>
              </a:ext>
            </a:extLst>
          </p:cNvPr>
          <p:cNvSpPr/>
          <p:nvPr>
            <p:custDataLst>
              <p:tags r:id="rId85"/>
            </p:custDataLst>
          </p:nvPr>
        </p:nvSpPr>
        <p:spPr bwMode="auto">
          <a:xfrm>
            <a:off x="4052888" y="4056062"/>
            <a:ext cx="392113" cy="331788"/>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88" name="Rectangle 87">
            <a:extLst>
              <a:ext uri="{FF2B5EF4-FFF2-40B4-BE49-F238E27FC236}">
                <a16:creationId xmlns:a16="http://schemas.microsoft.com/office/drawing/2014/main" id="{4BF2C136-99DB-4421-AC65-F0725AE828AD}"/>
              </a:ext>
            </a:extLst>
          </p:cNvPr>
          <p:cNvSpPr/>
          <p:nvPr>
            <p:custDataLst>
              <p:tags r:id="rId86"/>
            </p:custDataLst>
          </p:nvPr>
        </p:nvSpPr>
        <p:spPr bwMode="auto">
          <a:xfrm>
            <a:off x="4783137" y="3698875"/>
            <a:ext cx="1612900" cy="357188"/>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94" name="Rectangle 493">
            <a:extLst>
              <a:ext uri="{FF2B5EF4-FFF2-40B4-BE49-F238E27FC236}">
                <a16:creationId xmlns:a16="http://schemas.microsoft.com/office/drawing/2014/main" id="{197B718F-4A1E-06FF-72E4-AED670DB407D}"/>
              </a:ext>
            </a:extLst>
          </p:cNvPr>
          <p:cNvSpPr/>
          <p:nvPr>
            <p:custDataLst>
              <p:tags r:id="rId87"/>
            </p:custDataLst>
          </p:nvPr>
        </p:nvSpPr>
        <p:spPr bwMode="auto">
          <a:xfrm>
            <a:off x="4270376" y="3698875"/>
            <a:ext cx="512763" cy="357188"/>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08" name="Rectangle 207">
            <a:extLst>
              <a:ext uri="{FF2B5EF4-FFF2-40B4-BE49-F238E27FC236}">
                <a16:creationId xmlns:a16="http://schemas.microsoft.com/office/drawing/2014/main" id="{F570AEDC-5AB1-4786-A769-22527F3CA9C7}"/>
              </a:ext>
            </a:extLst>
          </p:cNvPr>
          <p:cNvSpPr/>
          <p:nvPr>
            <p:custDataLst>
              <p:tags r:id="rId88"/>
            </p:custDataLst>
          </p:nvPr>
        </p:nvSpPr>
        <p:spPr bwMode="auto">
          <a:xfrm>
            <a:off x="4052888" y="3698875"/>
            <a:ext cx="217488" cy="357188"/>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43" name="Rectangle 42">
            <a:extLst>
              <a:ext uri="{FF2B5EF4-FFF2-40B4-BE49-F238E27FC236}">
                <a16:creationId xmlns:a16="http://schemas.microsoft.com/office/drawing/2014/main" id="{C68A0A5A-1FAA-4909-886B-8CCBDAC38529}"/>
              </a:ext>
            </a:extLst>
          </p:cNvPr>
          <p:cNvSpPr/>
          <p:nvPr>
            <p:custDataLst>
              <p:tags r:id="rId89"/>
            </p:custDataLst>
          </p:nvPr>
        </p:nvSpPr>
        <p:spPr bwMode="auto">
          <a:xfrm>
            <a:off x="5570537" y="3162300"/>
            <a:ext cx="825500" cy="536575"/>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91" name="Rectangle 490">
            <a:extLst>
              <a:ext uri="{FF2B5EF4-FFF2-40B4-BE49-F238E27FC236}">
                <a16:creationId xmlns:a16="http://schemas.microsoft.com/office/drawing/2014/main" id="{F838F1F6-F3BC-F710-76A2-D1C5FA25AFB9}"/>
              </a:ext>
            </a:extLst>
          </p:cNvPr>
          <p:cNvSpPr/>
          <p:nvPr>
            <p:custDataLst>
              <p:tags r:id="rId90"/>
            </p:custDataLst>
          </p:nvPr>
        </p:nvSpPr>
        <p:spPr bwMode="auto">
          <a:xfrm>
            <a:off x="4108450" y="3162300"/>
            <a:ext cx="1462088" cy="536575"/>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11" name="Rectangle 210">
            <a:extLst>
              <a:ext uri="{FF2B5EF4-FFF2-40B4-BE49-F238E27FC236}">
                <a16:creationId xmlns:a16="http://schemas.microsoft.com/office/drawing/2014/main" id="{A196A238-E8FA-45F4-8E82-B035D8B48D0F}"/>
              </a:ext>
            </a:extLst>
          </p:cNvPr>
          <p:cNvSpPr/>
          <p:nvPr>
            <p:custDataLst>
              <p:tags r:id="rId91"/>
            </p:custDataLst>
          </p:nvPr>
        </p:nvSpPr>
        <p:spPr bwMode="auto">
          <a:xfrm>
            <a:off x="4052889" y="3162300"/>
            <a:ext cx="55563" cy="536575"/>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42" name="Rectangle 41">
            <a:extLst>
              <a:ext uri="{FF2B5EF4-FFF2-40B4-BE49-F238E27FC236}">
                <a16:creationId xmlns:a16="http://schemas.microsoft.com/office/drawing/2014/main" id="{8F583029-2C58-4511-AD09-BB2A64AD78C4}"/>
              </a:ext>
            </a:extLst>
          </p:cNvPr>
          <p:cNvSpPr/>
          <p:nvPr>
            <p:custDataLst>
              <p:tags r:id="rId92"/>
            </p:custDataLst>
          </p:nvPr>
        </p:nvSpPr>
        <p:spPr bwMode="auto">
          <a:xfrm>
            <a:off x="5856287" y="2592388"/>
            <a:ext cx="539750" cy="569913"/>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88" name="Rectangle 487">
            <a:extLst>
              <a:ext uri="{FF2B5EF4-FFF2-40B4-BE49-F238E27FC236}">
                <a16:creationId xmlns:a16="http://schemas.microsoft.com/office/drawing/2014/main" id="{CF30CD1E-165C-D291-40C9-588E7A44CB12}"/>
              </a:ext>
            </a:extLst>
          </p:cNvPr>
          <p:cNvSpPr/>
          <p:nvPr>
            <p:custDataLst>
              <p:tags r:id="rId93"/>
            </p:custDataLst>
          </p:nvPr>
        </p:nvSpPr>
        <p:spPr bwMode="auto">
          <a:xfrm>
            <a:off x="4137025" y="2592388"/>
            <a:ext cx="1719263" cy="569913"/>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14" name="Rectangle 213">
            <a:extLst>
              <a:ext uri="{FF2B5EF4-FFF2-40B4-BE49-F238E27FC236}">
                <a16:creationId xmlns:a16="http://schemas.microsoft.com/office/drawing/2014/main" id="{EA11FD01-E3E1-4674-AD71-F84A65E8A3DD}"/>
              </a:ext>
            </a:extLst>
          </p:cNvPr>
          <p:cNvSpPr/>
          <p:nvPr>
            <p:custDataLst>
              <p:tags r:id="rId94"/>
            </p:custDataLst>
          </p:nvPr>
        </p:nvSpPr>
        <p:spPr bwMode="auto">
          <a:xfrm>
            <a:off x="4052888" y="2592388"/>
            <a:ext cx="84138" cy="569913"/>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sp>
        <p:nvSpPr>
          <p:cNvPr id="41" name="Rectangle 40">
            <a:extLst>
              <a:ext uri="{FF2B5EF4-FFF2-40B4-BE49-F238E27FC236}">
                <a16:creationId xmlns:a16="http://schemas.microsoft.com/office/drawing/2014/main" id="{8AB4B457-7E46-474B-A16C-245954349D01}"/>
              </a:ext>
            </a:extLst>
          </p:cNvPr>
          <p:cNvSpPr/>
          <p:nvPr>
            <p:custDataLst>
              <p:tags r:id="rId95"/>
            </p:custDataLst>
          </p:nvPr>
        </p:nvSpPr>
        <p:spPr bwMode="auto">
          <a:xfrm>
            <a:off x="4851400" y="1973263"/>
            <a:ext cx="1544638" cy="619125"/>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85" name="Rectangle 484">
            <a:extLst>
              <a:ext uri="{FF2B5EF4-FFF2-40B4-BE49-F238E27FC236}">
                <a16:creationId xmlns:a16="http://schemas.microsoft.com/office/drawing/2014/main" id="{E01E8F1B-7088-7ECA-45B3-CDC317BBAF6E}"/>
              </a:ext>
            </a:extLst>
          </p:cNvPr>
          <p:cNvSpPr/>
          <p:nvPr>
            <p:custDataLst>
              <p:tags r:id="rId96"/>
            </p:custDataLst>
          </p:nvPr>
        </p:nvSpPr>
        <p:spPr bwMode="auto">
          <a:xfrm>
            <a:off x="4641850" y="1973263"/>
            <a:ext cx="209550" cy="619125"/>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17" name="Rectangle 216">
            <a:extLst>
              <a:ext uri="{FF2B5EF4-FFF2-40B4-BE49-F238E27FC236}">
                <a16:creationId xmlns:a16="http://schemas.microsoft.com/office/drawing/2014/main" id="{396D21E3-7A38-4558-A04C-9903197DB3EB}"/>
              </a:ext>
            </a:extLst>
          </p:cNvPr>
          <p:cNvSpPr/>
          <p:nvPr>
            <p:custDataLst>
              <p:tags r:id="rId97"/>
            </p:custDataLst>
          </p:nvPr>
        </p:nvSpPr>
        <p:spPr bwMode="auto">
          <a:xfrm>
            <a:off x="4052888" y="1973263"/>
            <a:ext cx="588963" cy="619125"/>
          </a:xfrm>
          <a:prstGeom prst="rect">
            <a:avLst/>
          </a:prstGeom>
          <a:solidFill>
            <a:srgbClr val="5A5A5A"/>
          </a:solidFill>
          <a:ln w="9525" cap="flat" cmpd="sng" algn="ctr">
            <a:solidFill>
              <a:schemeClr val="bg1"/>
            </a:solidFill>
            <a:prstDash val="solid"/>
            <a:miter lim="800000"/>
            <a:headEnd type="none" w="med" len="med"/>
            <a:tailEnd type="none" w="med" len="med"/>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endParaRPr>
          </a:p>
        </p:txBody>
      </p:sp>
      <p:cxnSp>
        <p:nvCxnSpPr>
          <p:cNvPr id="218" name="Straight Connector 217">
            <a:extLst>
              <a:ext uri="{FF2B5EF4-FFF2-40B4-BE49-F238E27FC236}">
                <a16:creationId xmlns:a16="http://schemas.microsoft.com/office/drawing/2014/main" id="{297F6C98-8260-4E48-A097-09705A7DCC32}"/>
              </a:ext>
            </a:extLst>
          </p:cNvPr>
          <p:cNvCxnSpPr/>
          <p:nvPr>
            <p:custDataLst>
              <p:tags r:id="rId98"/>
            </p:custDataLst>
          </p:nvPr>
        </p:nvCxnSpPr>
        <p:spPr bwMode="auto">
          <a:xfrm>
            <a:off x="4052888" y="1968500"/>
            <a:ext cx="0" cy="362585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5" name="Text Placeholder 13">
            <a:extLst>
              <a:ext uri="{FF2B5EF4-FFF2-40B4-BE49-F238E27FC236}">
                <a16:creationId xmlns:a16="http://schemas.microsoft.com/office/drawing/2014/main" id="{04C8128A-E46D-4BF0-9F7B-18595AA9C44E}"/>
              </a:ext>
            </a:extLst>
          </p:cNvPr>
          <p:cNvSpPr txBox="1">
            <a:spLocks/>
          </p:cNvSpPr>
          <p:nvPr/>
        </p:nvSpPr>
        <p:spPr>
          <a:xfrm>
            <a:off x="381599" y="79401"/>
            <a:ext cx="3089307"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Wholesale markets</a:t>
            </a:r>
          </a:p>
        </p:txBody>
      </p:sp>
      <p:sp>
        <p:nvSpPr>
          <p:cNvPr id="393" name="Rectangle 392">
            <a:extLst>
              <a:ext uri="{FF2B5EF4-FFF2-40B4-BE49-F238E27FC236}">
                <a16:creationId xmlns:a16="http://schemas.microsoft.com/office/drawing/2014/main" id="{29B6C40B-EF22-4719-B76F-826B9843285E}"/>
              </a:ext>
            </a:extLst>
          </p:cNvPr>
          <p:cNvSpPr/>
          <p:nvPr>
            <p:custDataLst>
              <p:tags r:id="rId99"/>
            </p:custDataLst>
          </p:nvPr>
        </p:nvSpPr>
        <p:spPr bwMode="auto">
          <a:xfrm>
            <a:off x="438150" y="6276975"/>
            <a:ext cx="179388" cy="133350"/>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 name="Rectangle 4">
            <a:extLst>
              <a:ext uri="{FF2B5EF4-FFF2-40B4-BE49-F238E27FC236}">
                <a16:creationId xmlns:a16="http://schemas.microsoft.com/office/drawing/2014/main" id="{2CADF91B-8633-4D2B-BF29-69B3EC927899}"/>
              </a:ext>
            </a:extLst>
          </p:cNvPr>
          <p:cNvSpPr/>
          <p:nvPr>
            <p:custDataLst>
              <p:tags r:id="rId100"/>
            </p:custDataLst>
          </p:nvPr>
        </p:nvSpPr>
        <p:spPr bwMode="auto">
          <a:xfrm>
            <a:off x="1135063" y="6276975"/>
            <a:ext cx="179388" cy="133350"/>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6" name="Rectangle 395">
            <a:extLst>
              <a:ext uri="{FF2B5EF4-FFF2-40B4-BE49-F238E27FC236}">
                <a16:creationId xmlns:a16="http://schemas.microsoft.com/office/drawing/2014/main" id="{B0E4E3F1-87EA-4C76-87A0-2130FEE1291F}"/>
              </a:ext>
            </a:extLst>
          </p:cNvPr>
          <p:cNvSpPr/>
          <p:nvPr>
            <p:custDataLst>
              <p:tags r:id="rId101"/>
            </p:custDataLst>
          </p:nvPr>
        </p:nvSpPr>
        <p:spPr bwMode="auto">
          <a:xfrm>
            <a:off x="2484438" y="6276975"/>
            <a:ext cx="179388" cy="13335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2" name="Text Placeholder 19">
            <a:extLst>
              <a:ext uri="{FF2B5EF4-FFF2-40B4-BE49-F238E27FC236}">
                <a16:creationId xmlns:a16="http://schemas.microsoft.com/office/drawing/2014/main" id="{9F9869AF-B0F6-4E89-B216-4EC18C7334C2}"/>
              </a:ext>
            </a:extLst>
          </p:cNvPr>
          <p:cNvSpPr>
            <a:spLocks noGrp="1"/>
          </p:cNvSpPr>
          <p:nvPr>
            <p:custDataLst>
              <p:tags r:id="rId102"/>
            </p:custDataLst>
          </p:nvPr>
        </p:nvSpPr>
        <p:spPr bwMode="auto">
          <a:xfrm>
            <a:off x="668338" y="6272213"/>
            <a:ext cx="365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D85D2368-E7DD-48D1-9BE7-BE6B40928D31}" type="datetime'''''''''''''''Fo''''''ss''''''''''''i''''''''''''''''''l'''">
              <a:rPr lang="en-GB" altLang="en-US" sz="1000" smtClean="0">
                <a:effectLst/>
                <a:ea typeface="+mn-ea"/>
                <a:cs typeface="+mn-cs"/>
                <a:sym typeface="+mn-lt"/>
              </a:rPr>
              <a:pPr>
                <a:spcBef>
                  <a:spcPct val="0"/>
                </a:spcBef>
                <a:spcAft>
                  <a:spcPct val="0"/>
                </a:spcAft>
              </a:pPr>
              <a:t>Fossil</a:t>
            </a:fld>
            <a:r>
              <a:rPr lang="en-GB" altLang="en-US" sz="1000" baseline="30000">
                <a:effectLst/>
                <a:ea typeface="+mn-ea"/>
                <a:cs typeface="+mn-cs"/>
                <a:sym typeface="+mn-lt"/>
              </a:rPr>
              <a:t>2</a:t>
            </a:r>
            <a:endParaRPr lang="en-GB" sz="1000">
              <a:ea typeface="+mn-ea"/>
              <a:cs typeface="+mn-cs"/>
              <a:sym typeface="+mn-lt"/>
            </a:endParaRPr>
          </a:p>
        </p:txBody>
      </p:sp>
      <p:sp>
        <p:nvSpPr>
          <p:cNvPr id="259" name="Text Placeholder 19">
            <a:extLst>
              <a:ext uri="{FF2B5EF4-FFF2-40B4-BE49-F238E27FC236}">
                <a16:creationId xmlns:a16="http://schemas.microsoft.com/office/drawing/2014/main" id="{877D9CDC-C01C-48F4-8CCE-618EE0AB1B6E}"/>
              </a:ext>
            </a:extLst>
          </p:cNvPr>
          <p:cNvSpPr>
            <a:spLocks noGrp="1"/>
          </p:cNvSpPr>
          <p:nvPr>
            <p:custDataLst>
              <p:tags r:id="rId103"/>
            </p:custDataLst>
          </p:nvPr>
        </p:nvSpPr>
        <p:spPr bwMode="auto">
          <a:xfrm>
            <a:off x="1365250" y="6272213"/>
            <a:ext cx="1017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301F7EB5-D7F6-4631-BB97-AF1F0B66A2FE}" type="datetime'Ot''''h''''''''er'' l''ow ''c''a''''r''''b''''''''o''n'''">
              <a:rPr lang="en-GB" altLang="en-US" sz="1000" smtClean="0">
                <a:ea typeface="+mn-ea"/>
                <a:cs typeface="+mn-cs"/>
              </a:rPr>
              <a:pPr>
                <a:spcBef>
                  <a:spcPct val="0"/>
                </a:spcBef>
                <a:spcAft>
                  <a:spcPct val="0"/>
                </a:spcAft>
              </a:pPr>
              <a:t>Other low carbon</a:t>
            </a:fld>
            <a:r>
              <a:rPr lang="en-GB" altLang="en-US" sz="1000" baseline="30000">
                <a:ea typeface="+mn-ea"/>
                <a:cs typeface="+mn-cs"/>
              </a:rPr>
              <a:t>3</a:t>
            </a:r>
            <a:endParaRPr lang="en-GB" sz="1000">
              <a:ea typeface="+mn-ea"/>
              <a:cs typeface="+mn-cs"/>
              <a:sym typeface="+mn-lt"/>
            </a:endParaRPr>
          </a:p>
        </p:txBody>
      </p:sp>
      <p:sp>
        <p:nvSpPr>
          <p:cNvPr id="388" name="Text Placeholder 19">
            <a:extLst>
              <a:ext uri="{FF2B5EF4-FFF2-40B4-BE49-F238E27FC236}">
                <a16:creationId xmlns:a16="http://schemas.microsoft.com/office/drawing/2014/main" id="{9F9869AF-B0F6-4E89-B216-4EC18C7334C2}"/>
              </a:ext>
            </a:extLst>
          </p:cNvPr>
          <p:cNvSpPr>
            <a:spLocks noGrp="1"/>
          </p:cNvSpPr>
          <p:nvPr>
            <p:custDataLst>
              <p:tags r:id="rId104"/>
            </p:custDataLst>
          </p:nvPr>
        </p:nvSpPr>
        <p:spPr bwMode="auto">
          <a:xfrm>
            <a:off x="2714625" y="6272213"/>
            <a:ext cx="1182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6B3672E1-4F9E-4AB3-A9AC-A8A136D611BB}" type="datetime'V''ari''able'''' ren''e''wa''''''''''''''''b''le''s'''''''''''">
              <a:rPr lang="en-GB" altLang="en-US" sz="1000" smtClean="0">
                <a:ea typeface="+mn-ea"/>
                <a:cs typeface="+mn-cs"/>
              </a:rPr>
              <a:pPr>
                <a:spcBef>
                  <a:spcPct val="0"/>
                </a:spcBef>
                <a:spcAft>
                  <a:spcPct val="0"/>
                </a:spcAft>
              </a:pPr>
              <a:t>Variable renewables</a:t>
            </a:fld>
            <a:r>
              <a:rPr lang="en-GB" altLang="en-US" sz="1000" baseline="30000">
                <a:effectLst/>
                <a:ea typeface="+mn-ea"/>
                <a:cs typeface="+mn-cs"/>
                <a:sym typeface="+mn-lt"/>
              </a:rPr>
              <a:t>4</a:t>
            </a:r>
            <a:endParaRPr lang="en-GB" sz="1000">
              <a:ea typeface="+mn-ea"/>
              <a:cs typeface="+mn-cs"/>
              <a:sym typeface="+mn-lt"/>
            </a:endParaRPr>
          </a:p>
        </p:txBody>
      </p:sp>
      <p:sp>
        <p:nvSpPr>
          <p:cNvPr id="204" name="Oval 203">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206" name="Oval 205">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8" name="Text Placeholder 16">
            <a:extLst>
              <a:ext uri="{FF2B5EF4-FFF2-40B4-BE49-F238E27FC236}">
                <a16:creationId xmlns:a16="http://schemas.microsoft.com/office/drawing/2014/main" id="{5CF17715-D8A4-6542-1606-0602E85BD025}"/>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2" name="Rectangle 1">
            <a:extLst>
              <a:ext uri="{FF2B5EF4-FFF2-40B4-BE49-F238E27FC236}">
                <a16:creationId xmlns:a16="http://schemas.microsoft.com/office/drawing/2014/main" id="{5DB042DF-9982-38DA-A235-EA1B5B6D8B6D}"/>
              </a:ext>
            </a:extLst>
          </p:cNvPr>
          <p:cNvSpPr/>
          <p:nvPr/>
        </p:nvSpPr>
        <p:spPr>
          <a:xfrm>
            <a:off x="1417638" y="1968500"/>
            <a:ext cx="7565036" cy="4135058"/>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557435363"/>
      </p:ext>
    </p:extLst>
  </p:cSld>
  <p:clrMapOvr>
    <a:masterClrMapping/>
  </p:clrMapOvr>
  <p:extLst>
    <p:ext uri="{6950BFC3-D8DA-4A85-94F7-54DA5524770B}">
      <p188:commentRel xmlns:p188="http://schemas.microsoft.com/office/powerpoint/2018/8/main" r:id="rId107"/>
    </p:ext>
  </p:extLs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DAD4F194-5D6A-4123-8605-60BC70CBE390}"/>
              </a:ext>
            </a:extLst>
          </p:cNvPr>
          <p:cNvGraphicFramePr>
            <a:graphicFrameLocks noChangeAspect="1"/>
          </p:cNvGraphicFramePr>
          <p:nvPr>
            <p:custDataLst>
              <p:tags r:id="rId1"/>
            </p:custDataLst>
            <p:extLst>
              <p:ext uri="{D42A27DB-BD31-4B8C-83A1-F6EECF244321}">
                <p14:modId xmlns:p14="http://schemas.microsoft.com/office/powerpoint/2010/main" val="3016430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395" imgH="396" progId="TCLayout.ActiveDocument.1">
                  <p:embed/>
                </p:oleObj>
              </mc:Choice>
              <mc:Fallback>
                <p:oleObj name="think-cell Slide" r:id="rId54" imgW="395" imgH="396" progId="TCLayout.ActiveDocument.1">
                  <p:embed/>
                  <p:pic>
                    <p:nvPicPr>
                      <p:cNvPr id="51" name="Object 50" hidden="1">
                        <a:extLst>
                          <a:ext uri="{FF2B5EF4-FFF2-40B4-BE49-F238E27FC236}">
                            <a16:creationId xmlns:a16="http://schemas.microsoft.com/office/drawing/2014/main" id="{DAD4F194-5D6A-4123-8605-60BC70CBE390}"/>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59" name="Text Placeholder 258">
            <a:extLst>
              <a:ext uri="{FF2B5EF4-FFF2-40B4-BE49-F238E27FC236}">
                <a16:creationId xmlns:a16="http://schemas.microsoft.com/office/drawing/2014/main" id="{C980D1CD-8D7A-581C-FD4F-ABF810333023}"/>
              </a:ext>
            </a:extLst>
          </p:cNvPr>
          <p:cNvSpPr>
            <a:spLocks noGrp="1"/>
          </p:cNvSpPr>
          <p:nvPr>
            <p:ph type="body" sz="quarter" idx="29"/>
          </p:nvPr>
        </p:nvSpPr>
        <p:spPr>
          <a:xfrm>
            <a:off x="381000" y="1268129"/>
            <a:ext cx="8601074" cy="369332"/>
          </a:xfrm>
        </p:spPr>
        <p:txBody>
          <a:bodyPr/>
          <a:lstStyle/>
          <a:p>
            <a:r>
              <a:rPr lang="en-GB">
                <a:latin typeface="Lato"/>
              </a:rPr>
              <a:t>Average daily 1h</a:t>
            </a:r>
            <a:r>
              <a:rPr lang="en-GB" baseline="30000">
                <a:latin typeface="Lato"/>
              </a:rPr>
              <a:t>1</a:t>
            </a:r>
            <a:r>
              <a:rPr lang="en-GB">
                <a:latin typeface="Lato"/>
              </a:rPr>
              <a:t> wholesale day-ahead market price spread</a:t>
            </a:r>
            <a:br>
              <a:rPr lang="en-GB">
                <a:solidFill>
                  <a:schemeClr val="accent5"/>
                </a:solidFill>
                <a:latin typeface="Lato"/>
              </a:rPr>
            </a:br>
            <a:r>
              <a:rPr lang="en-GB" b="0">
                <a:solidFill>
                  <a:schemeClr val="accent5"/>
                </a:solidFill>
                <a:latin typeface="Lato"/>
              </a:rPr>
              <a:t>€/MWh (real 2022)</a:t>
            </a:r>
          </a:p>
        </p:txBody>
      </p:sp>
      <p:sp>
        <p:nvSpPr>
          <p:cNvPr id="5" name="Text Placeholder 4">
            <a:extLst>
              <a:ext uri="{FF2B5EF4-FFF2-40B4-BE49-F238E27FC236}">
                <a16:creationId xmlns:a16="http://schemas.microsoft.com/office/drawing/2014/main" id="{A9DC3FA6-4595-40C3-8A95-E99AD3136EC6}"/>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6" name="Title 5">
            <a:extLst>
              <a:ext uri="{FF2B5EF4-FFF2-40B4-BE49-F238E27FC236}">
                <a16:creationId xmlns:a16="http://schemas.microsoft.com/office/drawing/2014/main" id="{5B7BFA44-2E24-4779-A825-F4D3F423F667}"/>
              </a:ext>
            </a:extLst>
          </p:cNvPr>
          <p:cNvSpPr>
            <a:spLocks noGrp="1"/>
          </p:cNvSpPr>
          <p:nvPr>
            <p:ph type="title"/>
          </p:nvPr>
        </p:nvSpPr>
        <p:spPr/>
        <p:txBody>
          <a:bodyPr vert="horz"/>
          <a:lstStyle/>
          <a:p>
            <a:r>
              <a:rPr lang="en-GB"/>
              <a:t>Wholesale price spreads rise in the 2030s across a few countries due to higher renewables penetration and rising commodity prices…</a:t>
            </a:r>
          </a:p>
        </p:txBody>
      </p:sp>
      <p:sp>
        <p:nvSpPr>
          <p:cNvPr id="261" name="Text Placeholder 260">
            <a:extLst>
              <a:ext uri="{FF2B5EF4-FFF2-40B4-BE49-F238E27FC236}">
                <a16:creationId xmlns:a16="http://schemas.microsoft.com/office/drawing/2014/main" id="{EB73BD94-39C4-C512-9E17-7A00AA0117B4}"/>
              </a:ext>
            </a:extLst>
          </p:cNvPr>
          <p:cNvSpPr>
            <a:spLocks noGrp="1"/>
          </p:cNvSpPr>
          <p:nvPr>
            <p:ph type="body" sz="quarter" idx="32"/>
          </p:nvPr>
        </p:nvSpPr>
        <p:spPr>
          <a:xfrm>
            <a:off x="381600" y="6474841"/>
            <a:ext cx="8601074" cy="110800"/>
          </a:xfrm>
        </p:spPr>
        <p:txBody>
          <a:bodyPr/>
          <a:lstStyle/>
          <a:p>
            <a:r>
              <a:rPr lang="en-GB"/>
              <a:t>1) Yearly average of the daily spreads. The daily spreads are the difference between the average of the highest 1h and the lowest 1h for each day; </a:t>
            </a:r>
          </a:p>
        </p:txBody>
      </p:sp>
      <p:sp>
        <p:nvSpPr>
          <p:cNvPr id="26" name="Text Placeholder 25">
            <a:extLst>
              <a:ext uri="{FF2B5EF4-FFF2-40B4-BE49-F238E27FC236}">
                <a16:creationId xmlns:a16="http://schemas.microsoft.com/office/drawing/2014/main" id="{2CA8F3B2-2D36-4390-696B-FD8498E4363C}"/>
              </a:ext>
            </a:extLst>
          </p:cNvPr>
          <p:cNvSpPr>
            <a:spLocks noGrp="1"/>
          </p:cNvSpPr>
          <p:nvPr>
            <p:ph type="body" sz="quarter" idx="31"/>
          </p:nvPr>
        </p:nvSpPr>
        <p:spPr>
          <a:xfrm>
            <a:off x="381599" y="79401"/>
            <a:ext cx="3089307" cy="184666"/>
          </a:xfrm>
        </p:spPr>
        <p:txBody>
          <a:bodyPr/>
          <a:lstStyle/>
          <a:p>
            <a:r>
              <a:rPr lang="en-GB"/>
              <a:t>		 Revenue streams – Wholesale markets</a:t>
            </a:r>
          </a:p>
        </p:txBody>
      </p:sp>
      <p:graphicFrame>
        <p:nvGraphicFramePr>
          <p:cNvPr id="63" name="Chart 62">
            <a:extLst>
              <a:ext uri="{FF2B5EF4-FFF2-40B4-BE49-F238E27FC236}">
                <a16:creationId xmlns:a16="http://schemas.microsoft.com/office/drawing/2014/main" id="{24287F61-C1DE-FF64-C0DC-D2641D6F5D2C}"/>
              </a:ext>
            </a:extLst>
          </p:cNvPr>
          <p:cNvGraphicFramePr/>
          <p:nvPr>
            <p:custDataLst>
              <p:tags r:id="rId2"/>
            </p:custDataLst>
            <p:extLst>
              <p:ext uri="{D42A27DB-BD31-4B8C-83A1-F6EECF244321}">
                <p14:modId xmlns:p14="http://schemas.microsoft.com/office/powerpoint/2010/main" val="1633870518"/>
              </p:ext>
            </p:extLst>
          </p:nvPr>
        </p:nvGraphicFramePr>
        <p:xfrm>
          <a:off x="715963" y="1776413"/>
          <a:ext cx="8348662" cy="4140200"/>
        </p:xfrm>
        <a:graphic>
          <a:graphicData uri="http://schemas.openxmlformats.org/drawingml/2006/chart">
            <c:chart xmlns:c="http://schemas.openxmlformats.org/drawingml/2006/chart" xmlns:r="http://schemas.openxmlformats.org/officeDocument/2006/relationships" r:id="rId56"/>
          </a:graphicData>
        </a:graphic>
      </p:graphicFrame>
      <p:cxnSp>
        <p:nvCxnSpPr>
          <p:cNvPr id="10" name="Straight Connector 9">
            <a:extLst>
              <a:ext uri="{FF2B5EF4-FFF2-40B4-BE49-F238E27FC236}">
                <a16:creationId xmlns:a16="http://schemas.microsoft.com/office/drawing/2014/main" id="{1C6F03DB-5E2C-DC55-30B2-C6BE88E80213}"/>
              </a:ext>
            </a:extLst>
          </p:cNvPr>
          <p:cNvCxnSpPr/>
          <p:nvPr>
            <p:custDataLst>
              <p:tags r:id="rId3"/>
            </p:custDataLst>
          </p:nvPr>
        </p:nvCxnSpPr>
        <p:spPr bwMode="gray">
          <a:xfrm flipV="1">
            <a:off x="1208088" y="3732213"/>
            <a:ext cx="0" cy="2698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07628238-DCA0-719E-EC1A-20290808FDE2}"/>
              </a:ext>
            </a:extLst>
          </p:cNvPr>
          <p:cNvCxnSpPr/>
          <p:nvPr>
            <p:custDataLst>
              <p:tags r:id="rId4"/>
            </p:custDataLst>
          </p:nvPr>
        </p:nvCxnSpPr>
        <p:spPr bwMode="gray">
          <a:xfrm>
            <a:off x="1208088" y="3732213"/>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F987D71-9B00-2FAB-6A67-D3B18DF3839C}"/>
              </a:ext>
            </a:extLst>
          </p:cNvPr>
          <p:cNvCxnSpPr/>
          <p:nvPr>
            <p:custDataLst>
              <p:tags r:id="rId5"/>
            </p:custDataLst>
          </p:nvPr>
        </p:nvCxnSpPr>
        <p:spPr bwMode="gray">
          <a:xfrm>
            <a:off x="1371600" y="3732213"/>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7536CB42-E0BB-82DA-1F4B-98AC5953E2E8}"/>
              </a:ext>
            </a:extLst>
          </p:cNvPr>
          <p:cNvCxnSpPr>
            <a:cxnSpLocks/>
          </p:cNvCxnSpPr>
          <p:nvPr>
            <p:custDataLst>
              <p:tags r:id="rId6"/>
            </p:custDataLst>
          </p:nvPr>
        </p:nvCxnSpPr>
        <p:spPr bwMode="gray">
          <a:xfrm flipV="1">
            <a:off x="2025650" y="3225800"/>
            <a:ext cx="0" cy="8731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6CDA5D73-1FBC-845F-0325-A46EAF3218BF}"/>
              </a:ext>
            </a:extLst>
          </p:cNvPr>
          <p:cNvCxnSpPr/>
          <p:nvPr>
            <p:custDataLst>
              <p:tags r:id="rId7"/>
            </p:custDataLst>
          </p:nvPr>
        </p:nvCxnSpPr>
        <p:spPr bwMode="gray">
          <a:xfrm>
            <a:off x="2025650" y="3225800"/>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4EA2D627-13A6-8D61-B00E-02887FDB3B39}"/>
              </a:ext>
            </a:extLst>
          </p:cNvPr>
          <p:cNvCxnSpPr/>
          <p:nvPr>
            <p:custDataLst>
              <p:tags r:id="rId8"/>
            </p:custDataLst>
          </p:nvPr>
        </p:nvCxnSpPr>
        <p:spPr bwMode="gray">
          <a:xfrm>
            <a:off x="2189163" y="3225800"/>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33" name="Straight Connector 1132">
            <a:extLst>
              <a:ext uri="{FF2B5EF4-FFF2-40B4-BE49-F238E27FC236}">
                <a16:creationId xmlns:a16="http://schemas.microsoft.com/office/drawing/2014/main" id="{9E7E33C7-E55A-9EE1-459D-8D0293CCC6B1}"/>
              </a:ext>
            </a:extLst>
          </p:cNvPr>
          <p:cNvCxnSpPr>
            <a:cxnSpLocks/>
          </p:cNvCxnSpPr>
          <p:nvPr>
            <p:custDataLst>
              <p:tags r:id="rId9"/>
            </p:custDataLst>
          </p:nvPr>
        </p:nvCxnSpPr>
        <p:spPr bwMode="gray">
          <a:xfrm flipV="1">
            <a:off x="2844800" y="2962275"/>
            <a:ext cx="0" cy="106203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5270842C-C7A8-5DCA-4477-5DE841FDAD43}"/>
              </a:ext>
            </a:extLst>
          </p:cNvPr>
          <p:cNvCxnSpPr/>
          <p:nvPr>
            <p:custDataLst>
              <p:tags r:id="rId10"/>
            </p:custDataLst>
          </p:nvPr>
        </p:nvCxnSpPr>
        <p:spPr bwMode="gray">
          <a:xfrm>
            <a:off x="2844800" y="2962275"/>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6" name="Straight Connector 1145">
            <a:extLst>
              <a:ext uri="{FF2B5EF4-FFF2-40B4-BE49-F238E27FC236}">
                <a16:creationId xmlns:a16="http://schemas.microsoft.com/office/drawing/2014/main" id="{A3615981-FEAA-3A24-F683-5AA856F75DBE}"/>
              </a:ext>
            </a:extLst>
          </p:cNvPr>
          <p:cNvCxnSpPr/>
          <p:nvPr>
            <p:custDataLst>
              <p:tags r:id="rId11"/>
            </p:custDataLst>
          </p:nvPr>
        </p:nvCxnSpPr>
        <p:spPr bwMode="gray">
          <a:xfrm>
            <a:off x="3008313" y="2962275"/>
            <a:ext cx="0" cy="92868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C975832A-637A-F09F-A068-3D696E7B059C}"/>
              </a:ext>
            </a:extLst>
          </p:cNvPr>
          <p:cNvCxnSpPr/>
          <p:nvPr>
            <p:custDataLst>
              <p:tags r:id="rId12"/>
            </p:custDataLst>
          </p:nvPr>
        </p:nvCxnSpPr>
        <p:spPr bwMode="gray">
          <a:xfrm flipV="1">
            <a:off x="3662363" y="3430588"/>
            <a:ext cx="0" cy="6032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60471735-9980-5936-4A1C-7830EC5525BA}"/>
              </a:ext>
            </a:extLst>
          </p:cNvPr>
          <p:cNvCxnSpPr>
            <a:cxnSpLocks/>
          </p:cNvCxnSpPr>
          <p:nvPr>
            <p:custDataLst>
              <p:tags r:id="rId13"/>
            </p:custDataLst>
          </p:nvPr>
        </p:nvCxnSpPr>
        <p:spPr bwMode="gray">
          <a:xfrm>
            <a:off x="3662363" y="3430588"/>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5B56024D-235D-77C2-61A0-9DE20668A6DE}"/>
              </a:ext>
            </a:extLst>
          </p:cNvPr>
          <p:cNvCxnSpPr/>
          <p:nvPr>
            <p:custDataLst>
              <p:tags r:id="rId14"/>
            </p:custDataLst>
          </p:nvPr>
        </p:nvCxnSpPr>
        <p:spPr bwMode="gray">
          <a:xfrm>
            <a:off x="3825875" y="3430588"/>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43" name="Straight Connector 1042">
            <a:extLst>
              <a:ext uri="{FF2B5EF4-FFF2-40B4-BE49-F238E27FC236}">
                <a16:creationId xmlns:a16="http://schemas.microsoft.com/office/drawing/2014/main" id="{E5B5F067-46A0-017F-7CE0-D6B8947EAE00}"/>
              </a:ext>
            </a:extLst>
          </p:cNvPr>
          <p:cNvCxnSpPr/>
          <p:nvPr>
            <p:custDataLst>
              <p:tags r:id="rId15"/>
            </p:custDataLst>
          </p:nvPr>
        </p:nvCxnSpPr>
        <p:spPr bwMode="gray">
          <a:xfrm flipV="1">
            <a:off x="4481513" y="2816225"/>
            <a:ext cx="0" cy="33813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4" name="Straight Connector 1043">
            <a:extLst>
              <a:ext uri="{FF2B5EF4-FFF2-40B4-BE49-F238E27FC236}">
                <a16:creationId xmlns:a16="http://schemas.microsoft.com/office/drawing/2014/main" id="{5D17AC5A-9759-276B-BE02-0FAFAABFBCD8}"/>
              </a:ext>
            </a:extLst>
          </p:cNvPr>
          <p:cNvCxnSpPr>
            <a:cxnSpLocks/>
          </p:cNvCxnSpPr>
          <p:nvPr>
            <p:custDataLst>
              <p:tags r:id="rId16"/>
            </p:custDataLst>
          </p:nvPr>
        </p:nvCxnSpPr>
        <p:spPr bwMode="gray">
          <a:xfrm>
            <a:off x="4481513" y="2816225"/>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5" name="Straight Connector 1044">
            <a:extLst>
              <a:ext uri="{FF2B5EF4-FFF2-40B4-BE49-F238E27FC236}">
                <a16:creationId xmlns:a16="http://schemas.microsoft.com/office/drawing/2014/main" id="{4766894B-D760-F6A1-52DE-4F98FC9CFD17}"/>
              </a:ext>
            </a:extLst>
          </p:cNvPr>
          <p:cNvCxnSpPr/>
          <p:nvPr>
            <p:custDataLst>
              <p:tags r:id="rId17"/>
            </p:custDataLst>
          </p:nvPr>
        </p:nvCxnSpPr>
        <p:spPr bwMode="gray">
          <a:xfrm>
            <a:off x="4645025" y="2816225"/>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54" name="Straight Connector 1053">
            <a:extLst>
              <a:ext uri="{FF2B5EF4-FFF2-40B4-BE49-F238E27FC236}">
                <a16:creationId xmlns:a16="http://schemas.microsoft.com/office/drawing/2014/main" id="{E1C4C4FD-FCF1-99A0-6440-DA92550579A5}"/>
              </a:ext>
            </a:extLst>
          </p:cNvPr>
          <p:cNvCxnSpPr/>
          <p:nvPr>
            <p:custDataLst>
              <p:tags r:id="rId18"/>
            </p:custDataLst>
          </p:nvPr>
        </p:nvCxnSpPr>
        <p:spPr bwMode="gray">
          <a:xfrm flipV="1">
            <a:off x="5299075" y="2652712"/>
            <a:ext cx="0" cy="4953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5" name="Straight Connector 1054">
            <a:extLst>
              <a:ext uri="{FF2B5EF4-FFF2-40B4-BE49-F238E27FC236}">
                <a16:creationId xmlns:a16="http://schemas.microsoft.com/office/drawing/2014/main" id="{93EC4A0A-83F5-5FA6-DAE3-45A4E7015E39}"/>
              </a:ext>
            </a:extLst>
          </p:cNvPr>
          <p:cNvCxnSpPr>
            <a:cxnSpLocks/>
          </p:cNvCxnSpPr>
          <p:nvPr>
            <p:custDataLst>
              <p:tags r:id="rId19"/>
            </p:custDataLst>
          </p:nvPr>
        </p:nvCxnSpPr>
        <p:spPr bwMode="gray">
          <a:xfrm>
            <a:off x="5299075" y="2652713"/>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6" name="Straight Connector 1055">
            <a:extLst>
              <a:ext uri="{FF2B5EF4-FFF2-40B4-BE49-F238E27FC236}">
                <a16:creationId xmlns:a16="http://schemas.microsoft.com/office/drawing/2014/main" id="{A8977257-1564-DFE0-CB4D-516D1FFF130E}"/>
              </a:ext>
            </a:extLst>
          </p:cNvPr>
          <p:cNvCxnSpPr/>
          <p:nvPr>
            <p:custDataLst>
              <p:tags r:id="rId20"/>
            </p:custDataLst>
          </p:nvPr>
        </p:nvCxnSpPr>
        <p:spPr bwMode="gray">
          <a:xfrm>
            <a:off x="5462588" y="2652713"/>
            <a:ext cx="0" cy="4651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21" name="Straight Connector 1120">
            <a:extLst>
              <a:ext uri="{FF2B5EF4-FFF2-40B4-BE49-F238E27FC236}">
                <a16:creationId xmlns:a16="http://schemas.microsoft.com/office/drawing/2014/main" id="{25E0F3D7-A16B-3B93-B417-CEB43F1A5DC6}"/>
              </a:ext>
            </a:extLst>
          </p:cNvPr>
          <p:cNvCxnSpPr/>
          <p:nvPr>
            <p:custDataLst>
              <p:tags r:id="rId21"/>
            </p:custDataLst>
          </p:nvPr>
        </p:nvCxnSpPr>
        <p:spPr bwMode="gray">
          <a:xfrm>
            <a:off x="6281738" y="3181350"/>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24" name="Straight Connector 1123">
            <a:extLst>
              <a:ext uri="{FF2B5EF4-FFF2-40B4-BE49-F238E27FC236}">
                <a16:creationId xmlns:a16="http://schemas.microsoft.com/office/drawing/2014/main" id="{B2E6FB5A-49BE-5243-5529-A1706605496E}"/>
              </a:ext>
            </a:extLst>
          </p:cNvPr>
          <p:cNvCxnSpPr/>
          <p:nvPr>
            <p:custDataLst>
              <p:tags r:id="rId22"/>
            </p:custDataLst>
          </p:nvPr>
        </p:nvCxnSpPr>
        <p:spPr bwMode="gray">
          <a:xfrm>
            <a:off x="6118225" y="3181350"/>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7" name="Straight Connector 1066">
            <a:extLst>
              <a:ext uri="{FF2B5EF4-FFF2-40B4-BE49-F238E27FC236}">
                <a16:creationId xmlns:a16="http://schemas.microsoft.com/office/drawing/2014/main" id="{1DBA5F39-97C0-8008-A994-8D65A0A5C6EF}"/>
              </a:ext>
            </a:extLst>
          </p:cNvPr>
          <p:cNvCxnSpPr>
            <a:cxnSpLocks/>
          </p:cNvCxnSpPr>
          <p:nvPr>
            <p:custDataLst>
              <p:tags r:id="rId23"/>
            </p:custDataLst>
          </p:nvPr>
        </p:nvCxnSpPr>
        <p:spPr bwMode="gray">
          <a:xfrm flipV="1">
            <a:off x="6118225" y="3181350"/>
            <a:ext cx="0" cy="48418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2" name="Straight Connector 1111">
            <a:extLst>
              <a:ext uri="{FF2B5EF4-FFF2-40B4-BE49-F238E27FC236}">
                <a16:creationId xmlns:a16="http://schemas.microsoft.com/office/drawing/2014/main" id="{219809DE-F931-5B71-2645-28F7FF716C9B}"/>
              </a:ext>
            </a:extLst>
          </p:cNvPr>
          <p:cNvCxnSpPr/>
          <p:nvPr>
            <p:custDataLst>
              <p:tags r:id="rId24"/>
            </p:custDataLst>
          </p:nvPr>
        </p:nvCxnSpPr>
        <p:spPr bwMode="gray">
          <a:xfrm flipV="1">
            <a:off x="6935788" y="3086100"/>
            <a:ext cx="0" cy="32543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3" name="Straight Connector 1112">
            <a:extLst>
              <a:ext uri="{FF2B5EF4-FFF2-40B4-BE49-F238E27FC236}">
                <a16:creationId xmlns:a16="http://schemas.microsoft.com/office/drawing/2014/main" id="{A165F336-1C33-1004-1836-FE1EAE618A5B}"/>
              </a:ext>
            </a:extLst>
          </p:cNvPr>
          <p:cNvCxnSpPr>
            <a:cxnSpLocks/>
          </p:cNvCxnSpPr>
          <p:nvPr>
            <p:custDataLst>
              <p:tags r:id="rId25"/>
            </p:custDataLst>
          </p:nvPr>
        </p:nvCxnSpPr>
        <p:spPr bwMode="gray">
          <a:xfrm>
            <a:off x="6935788" y="3086100"/>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4" name="Straight Connector 1113">
            <a:extLst>
              <a:ext uri="{FF2B5EF4-FFF2-40B4-BE49-F238E27FC236}">
                <a16:creationId xmlns:a16="http://schemas.microsoft.com/office/drawing/2014/main" id="{BD9A2DBC-D4A8-1B50-0C85-7C5C3B21A42D}"/>
              </a:ext>
            </a:extLst>
          </p:cNvPr>
          <p:cNvCxnSpPr/>
          <p:nvPr>
            <p:custDataLst>
              <p:tags r:id="rId26"/>
            </p:custDataLst>
          </p:nvPr>
        </p:nvCxnSpPr>
        <p:spPr bwMode="gray">
          <a:xfrm>
            <a:off x="7099300" y="3086100"/>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28" name="Straight Connector 1127">
            <a:extLst>
              <a:ext uri="{FF2B5EF4-FFF2-40B4-BE49-F238E27FC236}">
                <a16:creationId xmlns:a16="http://schemas.microsoft.com/office/drawing/2014/main" id="{3BEC1A4A-AFCF-1C45-D79B-C36EA39ACE7E}"/>
              </a:ext>
            </a:extLst>
          </p:cNvPr>
          <p:cNvCxnSpPr/>
          <p:nvPr>
            <p:custDataLst>
              <p:tags r:id="rId27"/>
            </p:custDataLst>
          </p:nvPr>
        </p:nvCxnSpPr>
        <p:spPr bwMode="gray">
          <a:xfrm flipV="1">
            <a:off x="7754938" y="2932113"/>
            <a:ext cx="0" cy="6635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9" name="Straight Connector 1128">
            <a:extLst>
              <a:ext uri="{FF2B5EF4-FFF2-40B4-BE49-F238E27FC236}">
                <a16:creationId xmlns:a16="http://schemas.microsoft.com/office/drawing/2014/main" id="{1FAF3467-D143-5E27-E7AE-15814A13705B}"/>
              </a:ext>
            </a:extLst>
          </p:cNvPr>
          <p:cNvCxnSpPr>
            <a:cxnSpLocks/>
          </p:cNvCxnSpPr>
          <p:nvPr>
            <p:custDataLst>
              <p:tags r:id="rId28"/>
            </p:custDataLst>
          </p:nvPr>
        </p:nvCxnSpPr>
        <p:spPr bwMode="gray">
          <a:xfrm>
            <a:off x="7754938" y="2932113"/>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0" name="Straight Connector 1129">
            <a:extLst>
              <a:ext uri="{FF2B5EF4-FFF2-40B4-BE49-F238E27FC236}">
                <a16:creationId xmlns:a16="http://schemas.microsoft.com/office/drawing/2014/main" id="{94A40900-D255-5D95-D979-FA2CC2772AFB}"/>
              </a:ext>
            </a:extLst>
          </p:cNvPr>
          <p:cNvCxnSpPr/>
          <p:nvPr>
            <p:custDataLst>
              <p:tags r:id="rId29"/>
            </p:custDataLst>
          </p:nvPr>
        </p:nvCxnSpPr>
        <p:spPr bwMode="gray">
          <a:xfrm>
            <a:off x="7918450" y="2932113"/>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40" name="Straight Connector 1139">
            <a:extLst>
              <a:ext uri="{FF2B5EF4-FFF2-40B4-BE49-F238E27FC236}">
                <a16:creationId xmlns:a16="http://schemas.microsoft.com/office/drawing/2014/main" id="{341A89AC-74A2-91F1-C832-3F0DE41C66CD}"/>
              </a:ext>
            </a:extLst>
          </p:cNvPr>
          <p:cNvCxnSpPr/>
          <p:nvPr>
            <p:custDataLst>
              <p:tags r:id="rId30"/>
            </p:custDataLst>
          </p:nvPr>
        </p:nvCxnSpPr>
        <p:spPr bwMode="gray">
          <a:xfrm flipV="1">
            <a:off x="8572500" y="2940051"/>
            <a:ext cx="0" cy="3540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2" name="Straight Connector 1141">
            <a:extLst>
              <a:ext uri="{FF2B5EF4-FFF2-40B4-BE49-F238E27FC236}">
                <a16:creationId xmlns:a16="http://schemas.microsoft.com/office/drawing/2014/main" id="{B06D4CB3-880E-BBC2-EE77-7C6291E7E60D}"/>
              </a:ext>
            </a:extLst>
          </p:cNvPr>
          <p:cNvCxnSpPr>
            <a:cxnSpLocks/>
          </p:cNvCxnSpPr>
          <p:nvPr>
            <p:custDataLst>
              <p:tags r:id="rId31"/>
            </p:custDataLst>
          </p:nvPr>
        </p:nvCxnSpPr>
        <p:spPr bwMode="gray">
          <a:xfrm>
            <a:off x="8572500" y="2940050"/>
            <a:ext cx="16351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3" name="Straight Connector 1142">
            <a:extLst>
              <a:ext uri="{FF2B5EF4-FFF2-40B4-BE49-F238E27FC236}">
                <a16:creationId xmlns:a16="http://schemas.microsoft.com/office/drawing/2014/main" id="{32005B00-C670-AA67-FBE0-62F5008A218A}"/>
              </a:ext>
            </a:extLst>
          </p:cNvPr>
          <p:cNvCxnSpPr/>
          <p:nvPr>
            <p:custDataLst>
              <p:tags r:id="rId32"/>
            </p:custDataLst>
          </p:nvPr>
        </p:nvCxnSpPr>
        <p:spPr bwMode="gray">
          <a:xfrm>
            <a:off x="8736013" y="2940050"/>
            <a:ext cx="0" cy="2603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 name="Text Placeholder 19">
            <a:extLst>
              <a:ext uri="{FF2B5EF4-FFF2-40B4-BE49-F238E27FC236}">
                <a16:creationId xmlns:a16="http://schemas.microsoft.com/office/drawing/2014/main" id="{9F9869AF-B0F6-4E89-B216-4EC18C7334C2}"/>
              </a:ext>
            </a:extLst>
          </p:cNvPr>
          <p:cNvSpPr>
            <a:spLocks noGrp="1"/>
          </p:cNvSpPr>
          <p:nvPr>
            <p:custDataLst>
              <p:tags r:id="rId33"/>
            </p:custDataLst>
          </p:nvPr>
        </p:nvSpPr>
        <p:spPr bwMode="auto">
          <a:xfrm>
            <a:off x="1095375" y="3624263"/>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72"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auto">
          <a:xfrm>
            <a:off x="1912938" y="3117850"/>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8" name="Text Placeholder 19">
            <a:extLst>
              <a:ext uri="{FF2B5EF4-FFF2-40B4-BE49-F238E27FC236}">
                <a16:creationId xmlns:a16="http://schemas.microsoft.com/office/drawing/2014/main" id="{9F9869AF-B0F6-4E89-B216-4EC18C7334C2}"/>
              </a:ext>
            </a:extLst>
          </p:cNvPr>
          <p:cNvSpPr>
            <a:spLocks noGrp="1"/>
          </p:cNvSpPr>
          <p:nvPr>
            <p:custDataLst>
              <p:tags r:id="rId35"/>
            </p:custDataLst>
          </p:nvPr>
        </p:nvSpPr>
        <p:spPr bwMode="auto">
          <a:xfrm>
            <a:off x="2732088" y="2854325"/>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9" name="Text Placeholder 19">
            <a:extLst>
              <a:ext uri="{FF2B5EF4-FFF2-40B4-BE49-F238E27FC236}">
                <a16:creationId xmlns:a16="http://schemas.microsoft.com/office/drawing/2014/main" id="{9F9869AF-B0F6-4E89-B216-4EC18C7334C2}"/>
              </a:ext>
            </a:extLst>
          </p:cNvPr>
          <p:cNvSpPr>
            <a:spLocks noGrp="1"/>
          </p:cNvSpPr>
          <p:nvPr>
            <p:custDataLst>
              <p:tags r:id="rId36"/>
            </p:custDataLst>
          </p:nvPr>
        </p:nvSpPr>
        <p:spPr bwMode="auto">
          <a:xfrm>
            <a:off x="3549650" y="3322638"/>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42" name="Text Placeholder 19">
            <a:extLst>
              <a:ext uri="{FF2B5EF4-FFF2-40B4-BE49-F238E27FC236}">
                <a16:creationId xmlns:a16="http://schemas.microsoft.com/office/drawing/2014/main" id="{9F9869AF-B0F6-4E89-B216-4EC18C7334C2}"/>
              </a:ext>
            </a:extLst>
          </p:cNvPr>
          <p:cNvSpPr>
            <a:spLocks noGrp="1"/>
          </p:cNvSpPr>
          <p:nvPr>
            <p:custDataLst>
              <p:tags r:id="rId37"/>
            </p:custDataLst>
          </p:nvPr>
        </p:nvSpPr>
        <p:spPr bwMode="auto">
          <a:xfrm>
            <a:off x="4368800" y="2708275"/>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53" name="Text Placeholder 19">
            <a:extLst>
              <a:ext uri="{FF2B5EF4-FFF2-40B4-BE49-F238E27FC236}">
                <a16:creationId xmlns:a16="http://schemas.microsoft.com/office/drawing/2014/main" id="{9F9869AF-B0F6-4E89-B216-4EC18C7334C2}"/>
              </a:ext>
            </a:extLst>
          </p:cNvPr>
          <p:cNvSpPr>
            <a:spLocks noGrp="1"/>
          </p:cNvSpPr>
          <p:nvPr>
            <p:custDataLst>
              <p:tags r:id="rId38"/>
            </p:custDataLst>
          </p:nvPr>
        </p:nvSpPr>
        <p:spPr bwMode="auto">
          <a:xfrm>
            <a:off x="5186363" y="2544763"/>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64" name="Text Placeholder 19">
            <a:extLst>
              <a:ext uri="{FF2B5EF4-FFF2-40B4-BE49-F238E27FC236}">
                <a16:creationId xmlns:a16="http://schemas.microsoft.com/office/drawing/2014/main" id="{9F9869AF-B0F6-4E89-B216-4EC18C7334C2}"/>
              </a:ext>
            </a:extLst>
          </p:cNvPr>
          <p:cNvSpPr>
            <a:spLocks noGrp="1"/>
          </p:cNvSpPr>
          <p:nvPr>
            <p:custDataLst>
              <p:tags r:id="rId39"/>
            </p:custDataLst>
          </p:nvPr>
        </p:nvSpPr>
        <p:spPr bwMode="auto">
          <a:xfrm>
            <a:off x="6005513" y="3073400"/>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11" name="Text Placeholder 19">
            <a:extLst>
              <a:ext uri="{FF2B5EF4-FFF2-40B4-BE49-F238E27FC236}">
                <a16:creationId xmlns:a16="http://schemas.microsoft.com/office/drawing/2014/main" id="{9F9869AF-B0F6-4E89-B216-4EC18C7334C2}"/>
              </a:ext>
            </a:extLst>
          </p:cNvPr>
          <p:cNvSpPr>
            <a:spLocks noGrp="1"/>
          </p:cNvSpPr>
          <p:nvPr>
            <p:custDataLst>
              <p:tags r:id="rId40"/>
            </p:custDataLst>
          </p:nvPr>
        </p:nvSpPr>
        <p:spPr bwMode="auto">
          <a:xfrm>
            <a:off x="6823075" y="2978150"/>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27" name="Text Placeholder 19">
            <a:extLst>
              <a:ext uri="{FF2B5EF4-FFF2-40B4-BE49-F238E27FC236}">
                <a16:creationId xmlns:a16="http://schemas.microsoft.com/office/drawing/2014/main" id="{9F9869AF-B0F6-4E89-B216-4EC18C7334C2}"/>
              </a:ext>
            </a:extLst>
          </p:cNvPr>
          <p:cNvSpPr>
            <a:spLocks noGrp="1"/>
          </p:cNvSpPr>
          <p:nvPr>
            <p:custDataLst>
              <p:tags r:id="rId41"/>
            </p:custDataLst>
          </p:nvPr>
        </p:nvSpPr>
        <p:spPr bwMode="auto">
          <a:xfrm>
            <a:off x="7642225" y="2824163"/>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39" name="Text Placeholder 19">
            <a:extLst>
              <a:ext uri="{FF2B5EF4-FFF2-40B4-BE49-F238E27FC236}">
                <a16:creationId xmlns:a16="http://schemas.microsoft.com/office/drawing/2014/main" id="{9F9869AF-B0F6-4E89-B216-4EC18C7334C2}"/>
              </a:ext>
            </a:extLst>
          </p:cNvPr>
          <p:cNvSpPr>
            <a:spLocks noGrp="1"/>
          </p:cNvSpPr>
          <p:nvPr>
            <p:custDataLst>
              <p:tags r:id="rId42"/>
            </p:custDataLst>
          </p:nvPr>
        </p:nvSpPr>
        <p:spPr bwMode="auto">
          <a:xfrm>
            <a:off x="8459788" y="2832100"/>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97" name="TextBox 96">
            <a:extLst>
              <a:ext uri="{FF2B5EF4-FFF2-40B4-BE49-F238E27FC236}">
                <a16:creationId xmlns:a16="http://schemas.microsoft.com/office/drawing/2014/main" id="{73DCCB91-A76E-0F75-874D-C34C1F05F75D}"/>
              </a:ext>
            </a:extLst>
          </p:cNvPr>
          <p:cNvSpPr txBox="1"/>
          <p:nvPr/>
        </p:nvSpPr>
        <p:spPr>
          <a:xfrm>
            <a:off x="976889" y="1698606"/>
            <a:ext cx="1724904" cy="226591"/>
          </a:xfrm>
          <a:prstGeom prst="rect">
            <a:avLst/>
          </a:prstGeom>
          <a:solidFill>
            <a:schemeClr val="bg1"/>
          </a:solidFill>
          <a:ln>
            <a:solidFill>
              <a:schemeClr val="tx1"/>
            </a:solidFill>
          </a:ln>
        </p:spPr>
        <p:txBody>
          <a:bodyPr wrap="square" lIns="36000" tIns="36000" rIns="36000" bIns="36000" rtlCol="0">
            <a:spAutoFit/>
          </a:bodyPr>
          <a:lstStyle/>
          <a:p>
            <a:pPr>
              <a:spcBef>
                <a:spcPts val="600"/>
              </a:spcBef>
            </a:pPr>
            <a:endParaRPr lang="en-GB" sz="1000">
              <a:highlight>
                <a:srgbClr val="FFFF00"/>
              </a:highlight>
            </a:endParaRPr>
          </a:p>
        </p:txBody>
      </p:sp>
      <p:cxnSp>
        <p:nvCxnSpPr>
          <p:cNvPr id="98" name="Straight Connector 97">
            <a:extLst>
              <a:ext uri="{FF2B5EF4-FFF2-40B4-BE49-F238E27FC236}">
                <a16:creationId xmlns:a16="http://schemas.microsoft.com/office/drawing/2014/main" id="{FC1525A2-3C7E-3F6D-47DD-B0BA236E9DAE}"/>
              </a:ext>
            </a:extLst>
          </p:cNvPr>
          <p:cNvCxnSpPr>
            <a:cxnSpLocks/>
            <a:stCxn id="97" idx="2"/>
          </p:cNvCxnSpPr>
          <p:nvPr/>
        </p:nvCxnSpPr>
        <p:spPr>
          <a:xfrm>
            <a:off x="1839341" y="1925197"/>
            <a:ext cx="186309" cy="1085991"/>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083" name="Rectangle 1082">
            <a:extLst>
              <a:ext uri="{FF2B5EF4-FFF2-40B4-BE49-F238E27FC236}">
                <a16:creationId xmlns:a16="http://schemas.microsoft.com/office/drawing/2014/main" id="{D52EC66B-1325-DF32-28D0-008A4F121C0A}"/>
              </a:ext>
            </a:extLst>
          </p:cNvPr>
          <p:cNvSpPr/>
          <p:nvPr>
            <p:custDataLst>
              <p:tags r:id="rId43"/>
            </p:custDataLst>
          </p:nvPr>
        </p:nvSpPr>
        <p:spPr bwMode="auto">
          <a:xfrm>
            <a:off x="566738" y="6276975"/>
            <a:ext cx="179388" cy="133350"/>
          </a:xfrm>
          <a:prstGeom prst="rect">
            <a:avLst/>
          </a:prstGeom>
          <a:solidFill>
            <a:schemeClr val="accent1"/>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084" name="Rectangle 1083">
            <a:extLst>
              <a:ext uri="{FF2B5EF4-FFF2-40B4-BE49-F238E27FC236}">
                <a16:creationId xmlns:a16="http://schemas.microsoft.com/office/drawing/2014/main" id="{B7FF12D0-8BC9-00A4-E8C9-576E13768A27}"/>
              </a:ext>
            </a:extLst>
          </p:cNvPr>
          <p:cNvSpPr/>
          <p:nvPr>
            <p:custDataLst>
              <p:tags r:id="rId44"/>
            </p:custDataLst>
          </p:nvPr>
        </p:nvSpPr>
        <p:spPr bwMode="auto">
          <a:xfrm>
            <a:off x="1325563" y="6276975"/>
            <a:ext cx="179388" cy="133350"/>
          </a:xfrm>
          <a:prstGeom prst="rect">
            <a:avLst/>
          </a:prstGeom>
          <a:solidFill>
            <a:schemeClr val="accent2"/>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085" name="Rectangle 1084">
            <a:extLst>
              <a:ext uri="{FF2B5EF4-FFF2-40B4-BE49-F238E27FC236}">
                <a16:creationId xmlns:a16="http://schemas.microsoft.com/office/drawing/2014/main" id="{064481C3-FEA8-A0DD-BD6B-FDC866456E17}"/>
              </a:ext>
            </a:extLst>
          </p:cNvPr>
          <p:cNvSpPr/>
          <p:nvPr>
            <p:custDataLst>
              <p:tags r:id="rId45"/>
            </p:custDataLst>
          </p:nvPr>
        </p:nvSpPr>
        <p:spPr bwMode="auto">
          <a:xfrm>
            <a:off x="2084388" y="6276975"/>
            <a:ext cx="179388" cy="133350"/>
          </a:xfrm>
          <a:prstGeom prst="rect">
            <a:avLst/>
          </a:prstGeom>
          <a:solidFill>
            <a:schemeClr val="accent3"/>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cxnSp>
        <p:nvCxnSpPr>
          <p:cNvPr id="1141" name="Straight Connector 1140">
            <a:extLst>
              <a:ext uri="{FF2B5EF4-FFF2-40B4-BE49-F238E27FC236}">
                <a16:creationId xmlns:a16="http://schemas.microsoft.com/office/drawing/2014/main" id="{5F973F5A-023C-4FCE-A855-4D6E97AD70FE}"/>
              </a:ext>
            </a:extLst>
          </p:cNvPr>
          <p:cNvCxnSpPr/>
          <p:nvPr>
            <p:custDataLst>
              <p:tags r:id="rId46"/>
            </p:custDataLst>
          </p:nvPr>
        </p:nvCxnSpPr>
        <p:spPr bwMode="auto">
          <a:xfrm>
            <a:off x="2722563" y="6343650"/>
            <a:ext cx="285750" cy="0"/>
          </a:xfrm>
          <a:prstGeom prst="line">
            <a:avLst/>
          </a:prstGeom>
          <a:ln w="28575" cap="rnd"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93" name="Text Placeholder 19">
            <a:extLst>
              <a:ext uri="{FF2B5EF4-FFF2-40B4-BE49-F238E27FC236}">
                <a16:creationId xmlns:a16="http://schemas.microsoft.com/office/drawing/2014/main" id="{9F9869AF-B0F6-4E89-B216-4EC18C7334C2}"/>
              </a:ext>
            </a:extLst>
          </p:cNvPr>
          <p:cNvSpPr>
            <a:spLocks noGrp="1"/>
          </p:cNvSpPr>
          <p:nvPr>
            <p:custDataLst>
              <p:tags r:id="rId47"/>
            </p:custDataLst>
          </p:nvPr>
        </p:nvSpPr>
        <p:spPr bwMode="auto">
          <a:xfrm>
            <a:off x="796925" y="62722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12168FF5-C4CA-4F2C-91DC-CBD6E0D68EE6}" type="datetime'2''''''''''''''''''''''0''''''''''''''2''''''''''''''''5'''">
              <a:rPr lang="en-GB" altLang="en-US" sz="1000" smtClean="0">
                <a:ea typeface="+mn-ea"/>
                <a:cs typeface="+mn-cs"/>
              </a:rPr>
              <a:pPr>
                <a:spcBef>
                  <a:spcPct val="0"/>
                </a:spcBef>
                <a:spcAft>
                  <a:spcPct val="0"/>
                </a:spcAft>
              </a:pPr>
              <a:t>2025</a:t>
            </a:fld>
            <a:endParaRPr lang="en-GB" sz="1000">
              <a:ea typeface="+mn-ea"/>
              <a:cs typeface="+mn-cs"/>
              <a:sym typeface="+mn-lt"/>
            </a:endParaRPr>
          </a:p>
        </p:txBody>
      </p:sp>
      <p:sp>
        <p:nvSpPr>
          <p:cNvPr id="1025" name="Text Placeholder 19">
            <a:extLst>
              <a:ext uri="{FF2B5EF4-FFF2-40B4-BE49-F238E27FC236}">
                <a16:creationId xmlns:a16="http://schemas.microsoft.com/office/drawing/2014/main" id="{9F9869AF-B0F6-4E89-B216-4EC18C7334C2}"/>
              </a:ext>
            </a:extLst>
          </p:cNvPr>
          <p:cNvSpPr>
            <a:spLocks noGrp="1"/>
          </p:cNvSpPr>
          <p:nvPr>
            <p:custDataLst>
              <p:tags r:id="rId48"/>
            </p:custDataLst>
          </p:nvPr>
        </p:nvSpPr>
        <p:spPr bwMode="auto">
          <a:xfrm>
            <a:off x="1555750" y="62722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9B3980C8-E11B-4659-B318-8CE0D694F0BA}" type="datetime'''''''2''03''''''''''''''''0'''''''''''''''''''">
              <a:rPr lang="en-GB" altLang="en-US" sz="1000" smtClean="0">
                <a:ea typeface="+mn-ea"/>
                <a:cs typeface="+mn-cs"/>
              </a:rPr>
              <a:pPr>
                <a:spcBef>
                  <a:spcPct val="0"/>
                </a:spcBef>
                <a:spcAft>
                  <a:spcPct val="0"/>
                </a:spcAft>
              </a:pPr>
              <a:t>2030</a:t>
            </a:fld>
            <a:endParaRPr lang="en-GB" sz="1000">
              <a:ea typeface="+mn-ea"/>
              <a:cs typeface="+mn-cs"/>
              <a:sym typeface="+mn-lt"/>
            </a:endParaRPr>
          </a:p>
        </p:txBody>
      </p:sp>
      <p:sp>
        <p:nvSpPr>
          <p:cNvPr id="1026" name="Text Placeholder 19">
            <a:extLst>
              <a:ext uri="{FF2B5EF4-FFF2-40B4-BE49-F238E27FC236}">
                <a16:creationId xmlns:a16="http://schemas.microsoft.com/office/drawing/2014/main" id="{9F9869AF-B0F6-4E89-B216-4EC18C7334C2}"/>
              </a:ext>
            </a:extLst>
          </p:cNvPr>
          <p:cNvSpPr>
            <a:spLocks noGrp="1"/>
          </p:cNvSpPr>
          <p:nvPr>
            <p:custDataLst>
              <p:tags r:id="rId49"/>
            </p:custDataLst>
          </p:nvPr>
        </p:nvSpPr>
        <p:spPr bwMode="auto">
          <a:xfrm>
            <a:off x="2314575" y="62722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A88418CC-5299-4C6B-A68B-7BE19D1585B3}" type="datetime'''2''''''''''''0''''''''''''''''''''35'''">
              <a:rPr lang="en-GB" altLang="en-US" sz="1000" smtClean="0">
                <a:ea typeface="+mn-ea"/>
                <a:cs typeface="+mn-cs"/>
              </a:rPr>
              <a:pPr>
                <a:spcBef>
                  <a:spcPct val="0"/>
                </a:spcBef>
                <a:spcAft>
                  <a:spcPct val="0"/>
                </a:spcAft>
              </a:pPr>
              <a:t>2035</a:t>
            </a:fld>
            <a:endParaRPr lang="en-GB" sz="1000">
              <a:ea typeface="+mn-ea"/>
              <a:cs typeface="+mn-cs"/>
              <a:sym typeface="+mn-lt"/>
            </a:endParaRPr>
          </a:p>
        </p:txBody>
      </p:sp>
      <p:sp>
        <p:nvSpPr>
          <p:cNvPr id="1027" name="Text Placeholder 19">
            <a:extLst>
              <a:ext uri="{FF2B5EF4-FFF2-40B4-BE49-F238E27FC236}">
                <a16:creationId xmlns:a16="http://schemas.microsoft.com/office/drawing/2014/main" id="{9F9869AF-B0F6-4E89-B216-4EC18C7334C2}"/>
              </a:ext>
            </a:extLst>
          </p:cNvPr>
          <p:cNvSpPr>
            <a:spLocks noGrp="1"/>
          </p:cNvSpPr>
          <p:nvPr>
            <p:custDataLst>
              <p:tags r:id="rId50"/>
            </p:custDataLst>
          </p:nvPr>
        </p:nvSpPr>
        <p:spPr bwMode="auto">
          <a:xfrm>
            <a:off x="3073400" y="6272213"/>
            <a:ext cx="1395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3A74AD62-E06E-48D8-AFC7-1EF7DE457720}" type="datetime'''Eur''''''o''''pean'' a''v''era''g''e ''(2''0''30'')'''''''">
              <a:rPr lang="en-GB" altLang="en-US" sz="1000" smtClean="0">
                <a:ea typeface="+mn-ea"/>
                <a:cs typeface="+mn-cs"/>
              </a:rPr>
              <a:pPr>
                <a:spcBef>
                  <a:spcPct val="0"/>
                </a:spcBef>
                <a:spcAft>
                  <a:spcPct val="0"/>
                </a:spcAft>
              </a:pPr>
              <a:t>European average (2030)</a:t>
            </a:fld>
            <a:endParaRPr lang="en-GB" sz="1000">
              <a:ea typeface="+mn-ea"/>
              <a:cs typeface="+mn-cs"/>
              <a:sym typeface="+mn-lt"/>
            </a:endParaRPr>
          </a:p>
        </p:txBody>
      </p:sp>
      <p:sp>
        <p:nvSpPr>
          <p:cNvPr id="1247" name="TextBox 1246">
            <a:extLst>
              <a:ext uri="{FF2B5EF4-FFF2-40B4-BE49-F238E27FC236}">
                <a16:creationId xmlns:a16="http://schemas.microsoft.com/office/drawing/2014/main" id="{008927BF-D855-49F6-586F-A5EAD58A4669}"/>
              </a:ext>
            </a:extLst>
          </p:cNvPr>
          <p:cNvSpPr txBox="1"/>
          <p:nvPr/>
        </p:nvSpPr>
        <p:spPr>
          <a:xfrm>
            <a:off x="2740706" y="1699200"/>
            <a:ext cx="1926782" cy="226591"/>
          </a:xfrm>
          <a:prstGeom prst="rect">
            <a:avLst/>
          </a:prstGeom>
          <a:solidFill>
            <a:schemeClr val="bg1"/>
          </a:solidFill>
          <a:ln>
            <a:solidFill>
              <a:schemeClr val="tx1"/>
            </a:solidFill>
          </a:ln>
        </p:spPr>
        <p:txBody>
          <a:bodyPr wrap="square" lIns="36000" tIns="36000" rIns="36000" bIns="36000" rtlCol="0">
            <a:spAutoFit/>
          </a:bodyPr>
          <a:lstStyle/>
          <a:p>
            <a:pPr>
              <a:spcBef>
                <a:spcPts val="600"/>
              </a:spcBef>
            </a:pPr>
            <a:endParaRPr lang="en-GB" sz="1000"/>
          </a:p>
        </p:txBody>
      </p:sp>
      <p:cxnSp>
        <p:nvCxnSpPr>
          <p:cNvPr id="1248" name="Straight Connector 1247">
            <a:extLst>
              <a:ext uri="{FF2B5EF4-FFF2-40B4-BE49-F238E27FC236}">
                <a16:creationId xmlns:a16="http://schemas.microsoft.com/office/drawing/2014/main" id="{70EC3DAF-E0D5-5A7F-A8BC-1CE3FC007C39}"/>
              </a:ext>
            </a:extLst>
          </p:cNvPr>
          <p:cNvCxnSpPr>
            <a:cxnSpLocks/>
            <a:stCxn id="1247" idx="2"/>
          </p:cNvCxnSpPr>
          <p:nvPr/>
        </p:nvCxnSpPr>
        <p:spPr>
          <a:xfrm>
            <a:off x="3704097" y="1925791"/>
            <a:ext cx="0" cy="130000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990" name="TextBox 989">
            <a:extLst>
              <a:ext uri="{FF2B5EF4-FFF2-40B4-BE49-F238E27FC236}">
                <a16:creationId xmlns:a16="http://schemas.microsoft.com/office/drawing/2014/main" id="{F968DCF9-88D0-6072-9DFB-CBB8B99E968D}"/>
              </a:ext>
            </a:extLst>
          </p:cNvPr>
          <p:cNvSpPr txBox="1"/>
          <p:nvPr/>
        </p:nvSpPr>
        <p:spPr>
          <a:xfrm>
            <a:off x="5793437" y="1307300"/>
            <a:ext cx="3007664" cy="226591"/>
          </a:xfrm>
          <a:prstGeom prst="rect">
            <a:avLst/>
          </a:prstGeom>
          <a:solidFill>
            <a:schemeClr val="bg1"/>
          </a:solidFill>
          <a:ln>
            <a:solidFill>
              <a:schemeClr val="tx1"/>
            </a:solidFill>
          </a:ln>
        </p:spPr>
        <p:txBody>
          <a:bodyPr wrap="square" lIns="36000" tIns="36000" rIns="36000" bIns="36000" rtlCol="0">
            <a:spAutoFit/>
          </a:bodyPr>
          <a:lstStyle/>
          <a:p>
            <a:pPr>
              <a:spcBef>
                <a:spcPts val="600"/>
              </a:spcBef>
            </a:pPr>
            <a:endParaRPr lang="en-GB" sz="1000"/>
          </a:p>
        </p:txBody>
      </p:sp>
      <p:cxnSp>
        <p:nvCxnSpPr>
          <p:cNvPr id="991" name="Straight Connector 990">
            <a:extLst>
              <a:ext uri="{FF2B5EF4-FFF2-40B4-BE49-F238E27FC236}">
                <a16:creationId xmlns:a16="http://schemas.microsoft.com/office/drawing/2014/main" id="{13BA8514-768D-6475-E409-0163C1D88BD9}"/>
              </a:ext>
            </a:extLst>
          </p:cNvPr>
          <p:cNvCxnSpPr>
            <a:cxnSpLocks/>
            <a:stCxn id="990" idx="2"/>
          </p:cNvCxnSpPr>
          <p:nvPr/>
        </p:nvCxnSpPr>
        <p:spPr>
          <a:xfrm flipH="1">
            <a:off x="4562375" y="1533891"/>
            <a:ext cx="2734894" cy="1108438"/>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C7028C7A-DA36-D4FD-7D8F-B933FD3BC530}"/>
              </a:ext>
            </a:extLst>
          </p:cNvPr>
          <p:cNvCxnSpPr>
            <a:cxnSpLocks/>
            <a:stCxn id="990" idx="2"/>
          </p:cNvCxnSpPr>
          <p:nvPr/>
        </p:nvCxnSpPr>
        <p:spPr>
          <a:xfrm flipH="1">
            <a:off x="6118225" y="1533891"/>
            <a:ext cx="1179044" cy="144425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999" name="Straight Connector 998">
            <a:extLst>
              <a:ext uri="{FF2B5EF4-FFF2-40B4-BE49-F238E27FC236}">
                <a16:creationId xmlns:a16="http://schemas.microsoft.com/office/drawing/2014/main" id="{2F2080C8-7363-C30A-24B8-C046673CE119}"/>
              </a:ext>
            </a:extLst>
          </p:cNvPr>
          <p:cNvCxnSpPr>
            <a:cxnSpLocks/>
            <a:stCxn id="990" idx="2"/>
          </p:cNvCxnSpPr>
          <p:nvPr/>
        </p:nvCxnSpPr>
        <p:spPr>
          <a:xfrm flipH="1">
            <a:off x="6935788" y="1533891"/>
            <a:ext cx="361481" cy="1390284"/>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002" name="Straight Connector 1001">
            <a:extLst>
              <a:ext uri="{FF2B5EF4-FFF2-40B4-BE49-F238E27FC236}">
                <a16:creationId xmlns:a16="http://schemas.microsoft.com/office/drawing/2014/main" id="{CC23484A-601F-327D-30A8-72DF5AC6205B}"/>
              </a:ext>
            </a:extLst>
          </p:cNvPr>
          <p:cNvCxnSpPr>
            <a:cxnSpLocks/>
            <a:stCxn id="990" idx="2"/>
          </p:cNvCxnSpPr>
          <p:nvPr/>
        </p:nvCxnSpPr>
        <p:spPr>
          <a:xfrm>
            <a:off x="7297269" y="1533891"/>
            <a:ext cx="457669" cy="121565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005" name="Straight Connector 1004">
            <a:extLst>
              <a:ext uri="{FF2B5EF4-FFF2-40B4-BE49-F238E27FC236}">
                <a16:creationId xmlns:a16="http://schemas.microsoft.com/office/drawing/2014/main" id="{26A5038D-E04C-D101-DF5B-09E25CA95BC3}"/>
              </a:ext>
            </a:extLst>
          </p:cNvPr>
          <p:cNvCxnSpPr>
            <a:cxnSpLocks/>
            <a:stCxn id="990" idx="2"/>
          </p:cNvCxnSpPr>
          <p:nvPr/>
        </p:nvCxnSpPr>
        <p:spPr>
          <a:xfrm>
            <a:off x="7297269" y="1533891"/>
            <a:ext cx="1229194" cy="121565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122" name="Oval 121">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cxnSp>
        <p:nvCxnSpPr>
          <p:cNvPr id="8" name="Straight Connector 7">
            <a:extLst>
              <a:ext uri="{FF2B5EF4-FFF2-40B4-BE49-F238E27FC236}">
                <a16:creationId xmlns:a16="http://schemas.microsoft.com/office/drawing/2014/main" id="{E54E6439-146E-FC4F-8ACD-CAC596F1ADBE}"/>
              </a:ext>
            </a:extLst>
          </p:cNvPr>
          <p:cNvCxnSpPr>
            <a:cxnSpLocks/>
            <a:stCxn id="990" idx="2"/>
          </p:cNvCxnSpPr>
          <p:nvPr/>
        </p:nvCxnSpPr>
        <p:spPr>
          <a:xfrm flipH="1">
            <a:off x="5640404" y="1533891"/>
            <a:ext cx="1656865" cy="1079135"/>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58" name="Text Placeholder 16">
            <a:extLst>
              <a:ext uri="{FF2B5EF4-FFF2-40B4-BE49-F238E27FC236}">
                <a16:creationId xmlns:a16="http://schemas.microsoft.com/office/drawing/2014/main" id="{734EACB0-9157-4831-5849-1F967D09CF1A}"/>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Tree>
    <p:extLst>
      <p:ext uri="{BB962C8B-B14F-4D97-AF65-F5344CB8AC3E}">
        <p14:creationId xmlns:p14="http://schemas.microsoft.com/office/powerpoint/2010/main" val="3956813360"/>
      </p:ext>
    </p:extLst>
  </p:cSld>
  <p:clrMapOvr>
    <a:masterClrMapping/>
  </p:clrMapOvr>
  <p:extLst>
    <p:ext uri="{6950BFC3-D8DA-4A85-94F7-54DA5524770B}">
      <p188:commentRel xmlns:p188="http://schemas.microsoft.com/office/powerpoint/2018/8/main" r:id="rId53"/>
    </p:ext>
  </p:extLs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DAD4F194-5D6A-4123-8605-60BC70CBE390}"/>
              </a:ext>
            </a:extLst>
          </p:cNvPr>
          <p:cNvGraphicFramePr>
            <a:graphicFrameLocks noChangeAspect="1"/>
          </p:cNvGraphicFramePr>
          <p:nvPr>
            <p:custDataLst>
              <p:tags r:id="rId1"/>
            </p:custDataLst>
            <p:extLst>
              <p:ext uri="{D42A27DB-BD31-4B8C-83A1-F6EECF244321}">
                <p14:modId xmlns:p14="http://schemas.microsoft.com/office/powerpoint/2010/main" val="4052988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395" imgH="396" progId="TCLayout.ActiveDocument.1">
                  <p:embed/>
                </p:oleObj>
              </mc:Choice>
              <mc:Fallback>
                <p:oleObj name="think-cell Slide" r:id="rId70" imgW="395" imgH="396" progId="TCLayout.ActiveDocument.1">
                  <p:embed/>
                  <p:pic>
                    <p:nvPicPr>
                      <p:cNvPr id="51" name="Object 50" hidden="1">
                        <a:extLst>
                          <a:ext uri="{FF2B5EF4-FFF2-40B4-BE49-F238E27FC236}">
                            <a16:creationId xmlns:a16="http://schemas.microsoft.com/office/drawing/2014/main" id="{DAD4F194-5D6A-4123-8605-60BC70CBE390}"/>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59" name="Text Placeholder 258">
            <a:extLst>
              <a:ext uri="{FF2B5EF4-FFF2-40B4-BE49-F238E27FC236}">
                <a16:creationId xmlns:a16="http://schemas.microsoft.com/office/drawing/2014/main" id="{C980D1CD-8D7A-581C-FD4F-ABF810333023}"/>
              </a:ext>
            </a:extLst>
          </p:cNvPr>
          <p:cNvSpPr>
            <a:spLocks noGrp="1"/>
          </p:cNvSpPr>
          <p:nvPr>
            <p:ph type="body" sz="quarter" idx="29"/>
          </p:nvPr>
        </p:nvSpPr>
        <p:spPr/>
        <p:txBody>
          <a:bodyPr/>
          <a:lstStyle/>
          <a:p>
            <a:r>
              <a:rPr lang="en-GB">
                <a:latin typeface="Lato"/>
              </a:rPr>
              <a:t>Average daily 1h</a:t>
            </a:r>
            <a:r>
              <a:rPr lang="en-GB" baseline="30000">
                <a:latin typeface="Lato"/>
              </a:rPr>
              <a:t>1</a:t>
            </a:r>
            <a:r>
              <a:rPr lang="en-GB">
                <a:latin typeface="Lato"/>
              </a:rPr>
              <a:t> wholesale day-ahead market price spread</a:t>
            </a:r>
            <a:br>
              <a:rPr lang="en-GB">
                <a:solidFill>
                  <a:schemeClr val="accent5"/>
                </a:solidFill>
                <a:latin typeface="Lato"/>
              </a:rPr>
            </a:br>
            <a:r>
              <a:rPr lang="en-GB" b="0">
                <a:solidFill>
                  <a:schemeClr val="accent5"/>
                </a:solidFill>
                <a:latin typeface="Lato"/>
              </a:rPr>
              <a:t>€/MWh (real 2022)</a:t>
            </a:r>
          </a:p>
        </p:txBody>
      </p:sp>
      <p:sp>
        <p:nvSpPr>
          <p:cNvPr id="5" name="Text Placeholder 4">
            <a:extLst>
              <a:ext uri="{FF2B5EF4-FFF2-40B4-BE49-F238E27FC236}">
                <a16:creationId xmlns:a16="http://schemas.microsoft.com/office/drawing/2014/main" id="{A9DC3FA6-4595-40C3-8A95-E99AD3136EC6}"/>
              </a:ext>
            </a:extLst>
          </p:cNvPr>
          <p:cNvSpPr>
            <a:spLocks noGrp="1"/>
          </p:cNvSpPr>
          <p:nvPr>
            <p:ph type="body" sz="quarter" idx="22"/>
          </p:nvPr>
        </p:nvSpPr>
        <p:spPr>
          <a:xfrm>
            <a:off x="381001" y="6715169"/>
            <a:ext cx="1455527" cy="110800"/>
          </a:xfrm>
        </p:spPr>
        <p:txBody>
          <a:bodyPr/>
          <a:lstStyle/>
          <a:p>
            <a:r>
              <a:rPr lang="en-GB"/>
              <a:t>Source: Aurora Energy Research</a:t>
            </a:r>
          </a:p>
        </p:txBody>
      </p:sp>
      <p:sp>
        <p:nvSpPr>
          <p:cNvPr id="6" name="Title 5">
            <a:extLst>
              <a:ext uri="{FF2B5EF4-FFF2-40B4-BE49-F238E27FC236}">
                <a16:creationId xmlns:a16="http://schemas.microsoft.com/office/drawing/2014/main" id="{5B7BFA44-2E24-4779-A825-F4D3F423F667}"/>
              </a:ext>
            </a:extLst>
          </p:cNvPr>
          <p:cNvSpPr>
            <a:spLocks noGrp="1"/>
          </p:cNvSpPr>
          <p:nvPr>
            <p:ph type="title"/>
          </p:nvPr>
        </p:nvSpPr>
        <p:spPr/>
        <p:txBody>
          <a:bodyPr vert="horz"/>
          <a:lstStyle/>
          <a:p>
            <a:r>
              <a:rPr lang="en-GB"/>
              <a:t>…while they decrease in other countries due to increased flexibility in the system from batteries, EVs and electrolysers</a:t>
            </a:r>
          </a:p>
        </p:txBody>
      </p:sp>
      <p:sp>
        <p:nvSpPr>
          <p:cNvPr id="261" name="Text Placeholder 260">
            <a:extLst>
              <a:ext uri="{FF2B5EF4-FFF2-40B4-BE49-F238E27FC236}">
                <a16:creationId xmlns:a16="http://schemas.microsoft.com/office/drawing/2014/main" id="{EB73BD94-39C4-C512-9E17-7A00AA0117B4}"/>
              </a:ext>
            </a:extLst>
          </p:cNvPr>
          <p:cNvSpPr>
            <a:spLocks noGrp="1"/>
          </p:cNvSpPr>
          <p:nvPr>
            <p:ph type="body" sz="quarter" idx="32"/>
          </p:nvPr>
        </p:nvSpPr>
        <p:spPr>
          <a:xfrm>
            <a:off x="381600" y="6474841"/>
            <a:ext cx="8601074" cy="110800"/>
          </a:xfrm>
        </p:spPr>
        <p:txBody>
          <a:bodyPr/>
          <a:lstStyle/>
          <a:p>
            <a:endParaRPr lang="en-GB"/>
          </a:p>
        </p:txBody>
      </p:sp>
      <p:sp>
        <p:nvSpPr>
          <p:cNvPr id="26" name="Text Placeholder 25">
            <a:extLst>
              <a:ext uri="{FF2B5EF4-FFF2-40B4-BE49-F238E27FC236}">
                <a16:creationId xmlns:a16="http://schemas.microsoft.com/office/drawing/2014/main" id="{2CA8F3B2-2D36-4390-696B-FD8498E4363C}"/>
              </a:ext>
            </a:extLst>
          </p:cNvPr>
          <p:cNvSpPr>
            <a:spLocks noGrp="1"/>
          </p:cNvSpPr>
          <p:nvPr>
            <p:ph type="body" sz="quarter" idx="31"/>
          </p:nvPr>
        </p:nvSpPr>
        <p:spPr>
          <a:xfrm>
            <a:off x="381599" y="79401"/>
            <a:ext cx="3089307" cy="184666"/>
          </a:xfrm>
        </p:spPr>
        <p:txBody>
          <a:bodyPr/>
          <a:lstStyle/>
          <a:p>
            <a:r>
              <a:rPr lang="en-GB"/>
              <a:t>		 Revenue streams – Wholesale markets</a:t>
            </a:r>
          </a:p>
        </p:txBody>
      </p:sp>
      <p:graphicFrame>
        <p:nvGraphicFramePr>
          <p:cNvPr id="907" name="Chart 906">
            <a:extLst>
              <a:ext uri="{FF2B5EF4-FFF2-40B4-BE49-F238E27FC236}">
                <a16:creationId xmlns:a16="http://schemas.microsoft.com/office/drawing/2014/main" id="{0DD4DBFC-99F1-E878-B32A-81D8FFAE60C4}"/>
              </a:ext>
            </a:extLst>
          </p:cNvPr>
          <p:cNvGraphicFramePr/>
          <p:nvPr>
            <p:custDataLst>
              <p:tags r:id="rId2"/>
            </p:custDataLst>
            <p:extLst>
              <p:ext uri="{D42A27DB-BD31-4B8C-83A1-F6EECF244321}">
                <p14:modId xmlns:p14="http://schemas.microsoft.com/office/powerpoint/2010/main" val="1365119053"/>
              </p:ext>
            </p:extLst>
          </p:nvPr>
        </p:nvGraphicFramePr>
        <p:xfrm>
          <a:off x="744538" y="1739900"/>
          <a:ext cx="8193087" cy="4140200"/>
        </p:xfrm>
        <a:graphic>
          <a:graphicData uri="http://schemas.openxmlformats.org/drawingml/2006/chart">
            <c:chart xmlns:c="http://schemas.openxmlformats.org/drawingml/2006/chart" xmlns:r="http://schemas.openxmlformats.org/officeDocument/2006/relationships" r:id="rId72"/>
          </a:graphicData>
        </a:graphic>
      </p:graphicFrame>
      <p:cxnSp>
        <p:nvCxnSpPr>
          <p:cNvPr id="889" name="Straight Connector 888">
            <a:extLst>
              <a:ext uri="{FF2B5EF4-FFF2-40B4-BE49-F238E27FC236}">
                <a16:creationId xmlns:a16="http://schemas.microsoft.com/office/drawing/2014/main" id="{BBE9C376-C996-3552-A364-49153126C20D}"/>
              </a:ext>
            </a:extLst>
          </p:cNvPr>
          <p:cNvCxnSpPr/>
          <p:nvPr>
            <p:custDataLst>
              <p:tags r:id="rId3"/>
            </p:custDataLst>
          </p:nvPr>
        </p:nvCxnSpPr>
        <p:spPr bwMode="gray">
          <a:xfrm flipV="1">
            <a:off x="1114425" y="2298700"/>
            <a:ext cx="0" cy="86518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0" name="Straight Connector 889">
            <a:extLst>
              <a:ext uri="{FF2B5EF4-FFF2-40B4-BE49-F238E27FC236}">
                <a16:creationId xmlns:a16="http://schemas.microsoft.com/office/drawing/2014/main" id="{01DDE4D0-0BCA-9CDD-63A4-28323CCA1BC7}"/>
              </a:ext>
            </a:extLst>
          </p:cNvPr>
          <p:cNvCxnSpPr/>
          <p:nvPr>
            <p:custDataLst>
              <p:tags r:id="rId4"/>
            </p:custDataLst>
          </p:nvPr>
        </p:nvCxnSpPr>
        <p:spPr bwMode="gray">
          <a:xfrm>
            <a:off x="1114425" y="2298700"/>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1" name="Straight Connector 890">
            <a:extLst>
              <a:ext uri="{FF2B5EF4-FFF2-40B4-BE49-F238E27FC236}">
                <a16:creationId xmlns:a16="http://schemas.microsoft.com/office/drawing/2014/main" id="{C322E6F3-98A4-439C-B9B9-0E7DA9418D18}"/>
              </a:ext>
            </a:extLst>
          </p:cNvPr>
          <p:cNvCxnSpPr/>
          <p:nvPr>
            <p:custDataLst>
              <p:tags r:id="rId5"/>
            </p:custDataLst>
          </p:nvPr>
        </p:nvCxnSpPr>
        <p:spPr bwMode="gray">
          <a:xfrm>
            <a:off x="1241425" y="2298700"/>
            <a:ext cx="0" cy="9144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31" name="Straight Connector 1030">
            <a:extLst>
              <a:ext uri="{FF2B5EF4-FFF2-40B4-BE49-F238E27FC236}">
                <a16:creationId xmlns:a16="http://schemas.microsoft.com/office/drawing/2014/main" id="{937372F6-7899-D55F-4D36-2336CB3C3531}"/>
              </a:ext>
            </a:extLst>
          </p:cNvPr>
          <p:cNvCxnSpPr/>
          <p:nvPr>
            <p:custDataLst>
              <p:tags r:id="rId6"/>
            </p:custDataLst>
          </p:nvPr>
        </p:nvCxnSpPr>
        <p:spPr bwMode="gray">
          <a:xfrm>
            <a:off x="1814513" y="2354263"/>
            <a:ext cx="0" cy="8159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29" name="Straight Connector 1028">
            <a:extLst>
              <a:ext uri="{FF2B5EF4-FFF2-40B4-BE49-F238E27FC236}">
                <a16:creationId xmlns:a16="http://schemas.microsoft.com/office/drawing/2014/main" id="{C4F389A0-49F6-F199-593E-0CC91998ECEE}"/>
              </a:ext>
            </a:extLst>
          </p:cNvPr>
          <p:cNvCxnSpPr/>
          <p:nvPr>
            <p:custDataLst>
              <p:tags r:id="rId7"/>
            </p:custDataLst>
          </p:nvPr>
        </p:nvCxnSpPr>
        <p:spPr bwMode="gray">
          <a:xfrm flipV="1">
            <a:off x="1687513" y="2354263"/>
            <a:ext cx="0" cy="7080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5" name="Straight Connector 1164">
            <a:extLst>
              <a:ext uri="{FF2B5EF4-FFF2-40B4-BE49-F238E27FC236}">
                <a16:creationId xmlns:a16="http://schemas.microsoft.com/office/drawing/2014/main" id="{8FC80877-CB25-4C16-EE2C-603980BF763E}"/>
              </a:ext>
            </a:extLst>
          </p:cNvPr>
          <p:cNvCxnSpPr/>
          <p:nvPr>
            <p:custDataLst>
              <p:tags r:id="rId8"/>
            </p:custDataLst>
          </p:nvPr>
        </p:nvCxnSpPr>
        <p:spPr bwMode="gray">
          <a:xfrm>
            <a:off x="1687513" y="2354263"/>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341BF196-9E4F-EB1B-5C62-B25264D4751E}"/>
              </a:ext>
            </a:extLst>
          </p:cNvPr>
          <p:cNvCxnSpPr/>
          <p:nvPr>
            <p:custDataLst>
              <p:tags r:id="rId9"/>
            </p:custDataLst>
          </p:nvPr>
        </p:nvCxnSpPr>
        <p:spPr bwMode="gray">
          <a:xfrm flipV="1">
            <a:off x="2260600" y="3703638"/>
            <a:ext cx="0" cy="30638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091AD10-9873-6492-91B3-B8DACE8F5290}"/>
              </a:ext>
            </a:extLst>
          </p:cNvPr>
          <p:cNvCxnSpPr/>
          <p:nvPr>
            <p:custDataLst>
              <p:tags r:id="rId10"/>
            </p:custDataLst>
          </p:nvPr>
        </p:nvCxnSpPr>
        <p:spPr bwMode="gray">
          <a:xfrm>
            <a:off x="2389188" y="3703638"/>
            <a:ext cx="0" cy="3143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9379155-EF8A-101D-4FBF-BA0FAF1AB490}"/>
              </a:ext>
            </a:extLst>
          </p:cNvPr>
          <p:cNvCxnSpPr/>
          <p:nvPr>
            <p:custDataLst>
              <p:tags r:id="rId11"/>
            </p:custDataLst>
          </p:nvPr>
        </p:nvCxnSpPr>
        <p:spPr bwMode="gray">
          <a:xfrm>
            <a:off x="2260600" y="3703638"/>
            <a:ext cx="128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A74C6432-B0AD-77EF-1CA8-3B2607F3524E}"/>
              </a:ext>
            </a:extLst>
          </p:cNvPr>
          <p:cNvCxnSpPr/>
          <p:nvPr>
            <p:custDataLst>
              <p:tags r:id="rId12"/>
            </p:custDataLst>
          </p:nvPr>
        </p:nvCxnSpPr>
        <p:spPr bwMode="gray">
          <a:xfrm>
            <a:off x="2962275" y="3009900"/>
            <a:ext cx="0" cy="66198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D1102C33-4D6B-3145-F3E2-4C5FD6848BDD}"/>
              </a:ext>
            </a:extLst>
          </p:cNvPr>
          <p:cNvCxnSpPr/>
          <p:nvPr>
            <p:custDataLst>
              <p:tags r:id="rId13"/>
            </p:custDataLst>
          </p:nvPr>
        </p:nvCxnSpPr>
        <p:spPr bwMode="gray">
          <a:xfrm>
            <a:off x="2835275" y="3009900"/>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90BF0DB3-208B-50B7-855E-339C000A3B56}"/>
              </a:ext>
            </a:extLst>
          </p:cNvPr>
          <p:cNvCxnSpPr/>
          <p:nvPr>
            <p:custDataLst>
              <p:tags r:id="rId14"/>
            </p:custDataLst>
          </p:nvPr>
        </p:nvCxnSpPr>
        <p:spPr bwMode="gray">
          <a:xfrm flipV="1">
            <a:off x="2835275" y="3009900"/>
            <a:ext cx="0" cy="4921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1" name="Straight Connector 1060">
            <a:extLst>
              <a:ext uri="{FF2B5EF4-FFF2-40B4-BE49-F238E27FC236}">
                <a16:creationId xmlns:a16="http://schemas.microsoft.com/office/drawing/2014/main" id="{CC042601-28DB-4923-A393-94ECA2306607}"/>
              </a:ext>
            </a:extLst>
          </p:cNvPr>
          <p:cNvCxnSpPr/>
          <p:nvPr>
            <p:custDataLst>
              <p:tags r:id="rId15"/>
            </p:custDataLst>
          </p:nvPr>
        </p:nvCxnSpPr>
        <p:spPr bwMode="gray">
          <a:xfrm flipV="1">
            <a:off x="3408363" y="2747963"/>
            <a:ext cx="0" cy="6953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2" name="Straight Connector 1061">
            <a:extLst>
              <a:ext uri="{FF2B5EF4-FFF2-40B4-BE49-F238E27FC236}">
                <a16:creationId xmlns:a16="http://schemas.microsoft.com/office/drawing/2014/main" id="{663017CB-A0B9-D7D7-BFDD-650588626848}"/>
              </a:ext>
            </a:extLst>
          </p:cNvPr>
          <p:cNvCxnSpPr/>
          <p:nvPr>
            <p:custDataLst>
              <p:tags r:id="rId16"/>
            </p:custDataLst>
          </p:nvPr>
        </p:nvCxnSpPr>
        <p:spPr bwMode="gray">
          <a:xfrm>
            <a:off x="3408363" y="2747963"/>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3" name="Straight Connector 1062">
            <a:extLst>
              <a:ext uri="{FF2B5EF4-FFF2-40B4-BE49-F238E27FC236}">
                <a16:creationId xmlns:a16="http://schemas.microsoft.com/office/drawing/2014/main" id="{77890A35-5AC0-913B-7B7B-CB04725A3C3D}"/>
              </a:ext>
            </a:extLst>
          </p:cNvPr>
          <p:cNvCxnSpPr/>
          <p:nvPr>
            <p:custDataLst>
              <p:tags r:id="rId17"/>
            </p:custDataLst>
          </p:nvPr>
        </p:nvCxnSpPr>
        <p:spPr bwMode="gray">
          <a:xfrm>
            <a:off x="3535363" y="2747963"/>
            <a:ext cx="0" cy="10652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72" name="Straight Connector 1071">
            <a:extLst>
              <a:ext uri="{FF2B5EF4-FFF2-40B4-BE49-F238E27FC236}">
                <a16:creationId xmlns:a16="http://schemas.microsoft.com/office/drawing/2014/main" id="{E8913AF2-4DE8-E4CF-90CE-4BAA7F4003C5}"/>
              </a:ext>
            </a:extLst>
          </p:cNvPr>
          <p:cNvCxnSpPr/>
          <p:nvPr>
            <p:custDataLst>
              <p:tags r:id="rId18"/>
            </p:custDataLst>
          </p:nvPr>
        </p:nvCxnSpPr>
        <p:spPr bwMode="gray">
          <a:xfrm flipV="1">
            <a:off x="3981450" y="3286126"/>
            <a:ext cx="0" cy="6461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3" name="Straight Connector 1072">
            <a:extLst>
              <a:ext uri="{FF2B5EF4-FFF2-40B4-BE49-F238E27FC236}">
                <a16:creationId xmlns:a16="http://schemas.microsoft.com/office/drawing/2014/main" id="{FC3BA1C8-3C29-C563-4858-B33A4C65029D}"/>
              </a:ext>
            </a:extLst>
          </p:cNvPr>
          <p:cNvCxnSpPr/>
          <p:nvPr>
            <p:custDataLst>
              <p:tags r:id="rId19"/>
            </p:custDataLst>
          </p:nvPr>
        </p:nvCxnSpPr>
        <p:spPr bwMode="gray">
          <a:xfrm>
            <a:off x="3981450" y="3286125"/>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4" name="Straight Connector 1073">
            <a:extLst>
              <a:ext uri="{FF2B5EF4-FFF2-40B4-BE49-F238E27FC236}">
                <a16:creationId xmlns:a16="http://schemas.microsoft.com/office/drawing/2014/main" id="{ADCCF188-1C31-DC26-8C87-C2E55A2C4EBF}"/>
              </a:ext>
            </a:extLst>
          </p:cNvPr>
          <p:cNvCxnSpPr/>
          <p:nvPr>
            <p:custDataLst>
              <p:tags r:id="rId20"/>
            </p:custDataLst>
          </p:nvPr>
        </p:nvCxnSpPr>
        <p:spPr bwMode="gray">
          <a:xfrm>
            <a:off x="4108450" y="3286125"/>
            <a:ext cx="0" cy="9080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83" name="Straight Connector 1082">
            <a:extLst>
              <a:ext uri="{FF2B5EF4-FFF2-40B4-BE49-F238E27FC236}">
                <a16:creationId xmlns:a16="http://schemas.microsoft.com/office/drawing/2014/main" id="{9BCCFA66-CDE5-08F9-B2EC-8DDF99B654ED}"/>
              </a:ext>
            </a:extLst>
          </p:cNvPr>
          <p:cNvCxnSpPr/>
          <p:nvPr>
            <p:custDataLst>
              <p:tags r:id="rId21"/>
            </p:custDataLst>
          </p:nvPr>
        </p:nvCxnSpPr>
        <p:spPr bwMode="gray">
          <a:xfrm flipV="1">
            <a:off x="4554538" y="3589338"/>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4" name="Straight Connector 1083">
            <a:extLst>
              <a:ext uri="{FF2B5EF4-FFF2-40B4-BE49-F238E27FC236}">
                <a16:creationId xmlns:a16="http://schemas.microsoft.com/office/drawing/2014/main" id="{6B64E6D7-79F2-F8F0-A09F-1A735BB249C0}"/>
              </a:ext>
            </a:extLst>
          </p:cNvPr>
          <p:cNvCxnSpPr/>
          <p:nvPr>
            <p:custDataLst>
              <p:tags r:id="rId22"/>
            </p:custDataLst>
          </p:nvPr>
        </p:nvCxnSpPr>
        <p:spPr bwMode="gray">
          <a:xfrm>
            <a:off x="4554538" y="3589338"/>
            <a:ext cx="128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5" name="Straight Connector 1084">
            <a:extLst>
              <a:ext uri="{FF2B5EF4-FFF2-40B4-BE49-F238E27FC236}">
                <a16:creationId xmlns:a16="http://schemas.microsoft.com/office/drawing/2014/main" id="{FACB4D38-AF30-B493-2476-0F594FC9368F}"/>
              </a:ext>
            </a:extLst>
          </p:cNvPr>
          <p:cNvCxnSpPr/>
          <p:nvPr>
            <p:custDataLst>
              <p:tags r:id="rId23"/>
            </p:custDataLst>
          </p:nvPr>
        </p:nvCxnSpPr>
        <p:spPr bwMode="gray">
          <a:xfrm>
            <a:off x="4683125" y="3589338"/>
            <a:ext cx="0" cy="29368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95" name="Straight Connector 1094">
            <a:extLst>
              <a:ext uri="{FF2B5EF4-FFF2-40B4-BE49-F238E27FC236}">
                <a16:creationId xmlns:a16="http://schemas.microsoft.com/office/drawing/2014/main" id="{26857EBE-8622-AA9C-F34D-3A686E1F0D65}"/>
              </a:ext>
            </a:extLst>
          </p:cNvPr>
          <p:cNvCxnSpPr/>
          <p:nvPr>
            <p:custDataLst>
              <p:tags r:id="rId24"/>
            </p:custDataLst>
          </p:nvPr>
        </p:nvCxnSpPr>
        <p:spPr bwMode="gray">
          <a:xfrm>
            <a:off x="5129213" y="3703638"/>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6" name="Straight Connector 1095">
            <a:extLst>
              <a:ext uri="{FF2B5EF4-FFF2-40B4-BE49-F238E27FC236}">
                <a16:creationId xmlns:a16="http://schemas.microsoft.com/office/drawing/2014/main" id="{82C55D15-E83D-0609-1C9C-B75656872132}"/>
              </a:ext>
            </a:extLst>
          </p:cNvPr>
          <p:cNvCxnSpPr/>
          <p:nvPr>
            <p:custDataLst>
              <p:tags r:id="rId25"/>
            </p:custDataLst>
          </p:nvPr>
        </p:nvCxnSpPr>
        <p:spPr bwMode="gray">
          <a:xfrm>
            <a:off x="5256213" y="3703638"/>
            <a:ext cx="0" cy="4524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94" name="Straight Connector 1093">
            <a:extLst>
              <a:ext uri="{FF2B5EF4-FFF2-40B4-BE49-F238E27FC236}">
                <a16:creationId xmlns:a16="http://schemas.microsoft.com/office/drawing/2014/main" id="{3C34945D-BAF1-FB3E-5FEE-214EFAC7AD5B}"/>
              </a:ext>
            </a:extLst>
          </p:cNvPr>
          <p:cNvCxnSpPr/>
          <p:nvPr>
            <p:custDataLst>
              <p:tags r:id="rId26"/>
            </p:custDataLst>
          </p:nvPr>
        </p:nvCxnSpPr>
        <p:spPr bwMode="gray">
          <a:xfrm flipV="1">
            <a:off x="5129213" y="3703639"/>
            <a:ext cx="0" cy="3667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5" name="Straight Connector 1104">
            <a:extLst>
              <a:ext uri="{FF2B5EF4-FFF2-40B4-BE49-F238E27FC236}">
                <a16:creationId xmlns:a16="http://schemas.microsoft.com/office/drawing/2014/main" id="{F30E365C-6AD0-C7DC-F2DB-25819EE9BB11}"/>
              </a:ext>
            </a:extLst>
          </p:cNvPr>
          <p:cNvCxnSpPr/>
          <p:nvPr>
            <p:custDataLst>
              <p:tags r:id="rId27"/>
            </p:custDataLst>
          </p:nvPr>
        </p:nvCxnSpPr>
        <p:spPr bwMode="gray">
          <a:xfrm flipV="1">
            <a:off x="5702300" y="2943225"/>
            <a:ext cx="0" cy="133826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6" name="Straight Connector 1105">
            <a:extLst>
              <a:ext uri="{FF2B5EF4-FFF2-40B4-BE49-F238E27FC236}">
                <a16:creationId xmlns:a16="http://schemas.microsoft.com/office/drawing/2014/main" id="{C340A416-E67D-733C-2198-93A346202AAE}"/>
              </a:ext>
            </a:extLst>
          </p:cNvPr>
          <p:cNvCxnSpPr/>
          <p:nvPr>
            <p:custDataLst>
              <p:tags r:id="rId28"/>
            </p:custDataLst>
          </p:nvPr>
        </p:nvCxnSpPr>
        <p:spPr bwMode="gray">
          <a:xfrm>
            <a:off x="5702300" y="2943225"/>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7" name="Straight Connector 1106">
            <a:extLst>
              <a:ext uri="{FF2B5EF4-FFF2-40B4-BE49-F238E27FC236}">
                <a16:creationId xmlns:a16="http://schemas.microsoft.com/office/drawing/2014/main" id="{A34F6634-89AE-3933-85AC-074934A5753E}"/>
              </a:ext>
            </a:extLst>
          </p:cNvPr>
          <p:cNvCxnSpPr/>
          <p:nvPr>
            <p:custDataLst>
              <p:tags r:id="rId29"/>
            </p:custDataLst>
          </p:nvPr>
        </p:nvCxnSpPr>
        <p:spPr bwMode="gray">
          <a:xfrm>
            <a:off x="5829300" y="2943225"/>
            <a:ext cx="0" cy="15192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16" name="Straight Connector 1115">
            <a:extLst>
              <a:ext uri="{FF2B5EF4-FFF2-40B4-BE49-F238E27FC236}">
                <a16:creationId xmlns:a16="http://schemas.microsoft.com/office/drawing/2014/main" id="{D77DB870-6E1F-A7D8-BCF0-6860FDEADCDF}"/>
              </a:ext>
            </a:extLst>
          </p:cNvPr>
          <p:cNvCxnSpPr/>
          <p:nvPr>
            <p:custDataLst>
              <p:tags r:id="rId30"/>
            </p:custDataLst>
          </p:nvPr>
        </p:nvCxnSpPr>
        <p:spPr bwMode="gray">
          <a:xfrm flipV="1">
            <a:off x="6275388" y="4945063"/>
            <a:ext cx="0" cy="184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7" name="Straight Connector 1116">
            <a:extLst>
              <a:ext uri="{FF2B5EF4-FFF2-40B4-BE49-F238E27FC236}">
                <a16:creationId xmlns:a16="http://schemas.microsoft.com/office/drawing/2014/main" id="{8408150A-9ECD-CA41-E866-ADE3B9A2E6C4}"/>
              </a:ext>
            </a:extLst>
          </p:cNvPr>
          <p:cNvCxnSpPr/>
          <p:nvPr>
            <p:custDataLst>
              <p:tags r:id="rId31"/>
            </p:custDataLst>
          </p:nvPr>
        </p:nvCxnSpPr>
        <p:spPr bwMode="gray">
          <a:xfrm>
            <a:off x="6275388" y="4945063"/>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8" name="Straight Connector 1117">
            <a:extLst>
              <a:ext uri="{FF2B5EF4-FFF2-40B4-BE49-F238E27FC236}">
                <a16:creationId xmlns:a16="http://schemas.microsoft.com/office/drawing/2014/main" id="{CD60F853-D971-2209-3487-12F9155A575E}"/>
              </a:ext>
            </a:extLst>
          </p:cNvPr>
          <p:cNvCxnSpPr/>
          <p:nvPr>
            <p:custDataLst>
              <p:tags r:id="rId32"/>
            </p:custDataLst>
          </p:nvPr>
        </p:nvCxnSpPr>
        <p:spPr bwMode="gray">
          <a:xfrm>
            <a:off x="6402388" y="4945064"/>
            <a:ext cx="0" cy="3206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29" name="Straight Connector 1128">
            <a:extLst>
              <a:ext uri="{FF2B5EF4-FFF2-40B4-BE49-F238E27FC236}">
                <a16:creationId xmlns:a16="http://schemas.microsoft.com/office/drawing/2014/main" id="{3F3CE27C-448A-20C4-2D1A-80F1FF24D152}"/>
              </a:ext>
            </a:extLst>
          </p:cNvPr>
          <p:cNvCxnSpPr/>
          <p:nvPr>
            <p:custDataLst>
              <p:tags r:id="rId33"/>
            </p:custDataLst>
          </p:nvPr>
        </p:nvCxnSpPr>
        <p:spPr bwMode="gray">
          <a:xfrm>
            <a:off x="6975475" y="4338638"/>
            <a:ext cx="0" cy="6508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27" name="Straight Connector 1126">
            <a:extLst>
              <a:ext uri="{FF2B5EF4-FFF2-40B4-BE49-F238E27FC236}">
                <a16:creationId xmlns:a16="http://schemas.microsoft.com/office/drawing/2014/main" id="{7942BD48-4A2B-8189-7CA7-1168CEB8AFEB}"/>
              </a:ext>
            </a:extLst>
          </p:cNvPr>
          <p:cNvCxnSpPr/>
          <p:nvPr>
            <p:custDataLst>
              <p:tags r:id="rId34"/>
            </p:custDataLst>
          </p:nvPr>
        </p:nvCxnSpPr>
        <p:spPr bwMode="gray">
          <a:xfrm flipV="1">
            <a:off x="6848475" y="4338638"/>
            <a:ext cx="0" cy="5397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8" name="Straight Connector 1127">
            <a:extLst>
              <a:ext uri="{FF2B5EF4-FFF2-40B4-BE49-F238E27FC236}">
                <a16:creationId xmlns:a16="http://schemas.microsoft.com/office/drawing/2014/main" id="{D0EE9F2E-BD0E-B20C-B954-92E677176DDF}"/>
              </a:ext>
            </a:extLst>
          </p:cNvPr>
          <p:cNvCxnSpPr/>
          <p:nvPr>
            <p:custDataLst>
              <p:tags r:id="rId35"/>
            </p:custDataLst>
          </p:nvPr>
        </p:nvCxnSpPr>
        <p:spPr bwMode="gray">
          <a:xfrm>
            <a:off x="6848475" y="4338638"/>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9" name="Straight Connector 1138">
            <a:extLst>
              <a:ext uri="{FF2B5EF4-FFF2-40B4-BE49-F238E27FC236}">
                <a16:creationId xmlns:a16="http://schemas.microsoft.com/office/drawing/2014/main" id="{88DEE4E0-E088-2D20-1233-FF363ACC318F}"/>
              </a:ext>
            </a:extLst>
          </p:cNvPr>
          <p:cNvCxnSpPr/>
          <p:nvPr>
            <p:custDataLst>
              <p:tags r:id="rId36"/>
            </p:custDataLst>
          </p:nvPr>
        </p:nvCxnSpPr>
        <p:spPr bwMode="gray">
          <a:xfrm>
            <a:off x="7421563" y="3482975"/>
            <a:ext cx="1285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8" name="Straight Connector 1137">
            <a:extLst>
              <a:ext uri="{FF2B5EF4-FFF2-40B4-BE49-F238E27FC236}">
                <a16:creationId xmlns:a16="http://schemas.microsoft.com/office/drawing/2014/main" id="{EF2AFC23-9C5B-DBE5-90D7-50FF3F4182BF}"/>
              </a:ext>
            </a:extLst>
          </p:cNvPr>
          <p:cNvCxnSpPr/>
          <p:nvPr>
            <p:custDataLst>
              <p:tags r:id="rId37"/>
            </p:custDataLst>
          </p:nvPr>
        </p:nvCxnSpPr>
        <p:spPr bwMode="gray">
          <a:xfrm flipV="1">
            <a:off x="7421563" y="3482975"/>
            <a:ext cx="0" cy="8826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0" name="Straight Connector 1139">
            <a:extLst>
              <a:ext uri="{FF2B5EF4-FFF2-40B4-BE49-F238E27FC236}">
                <a16:creationId xmlns:a16="http://schemas.microsoft.com/office/drawing/2014/main" id="{CDBC0B46-F687-D573-5B96-605457874F81}"/>
              </a:ext>
            </a:extLst>
          </p:cNvPr>
          <p:cNvCxnSpPr/>
          <p:nvPr>
            <p:custDataLst>
              <p:tags r:id="rId38"/>
            </p:custDataLst>
          </p:nvPr>
        </p:nvCxnSpPr>
        <p:spPr bwMode="gray">
          <a:xfrm>
            <a:off x="7550150" y="3482975"/>
            <a:ext cx="0" cy="10731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51" name="Straight Connector 1150">
            <a:extLst>
              <a:ext uri="{FF2B5EF4-FFF2-40B4-BE49-F238E27FC236}">
                <a16:creationId xmlns:a16="http://schemas.microsoft.com/office/drawing/2014/main" id="{08245F26-FE95-FBFE-EFD4-63F8C7EEB92A}"/>
              </a:ext>
            </a:extLst>
          </p:cNvPr>
          <p:cNvCxnSpPr/>
          <p:nvPr>
            <p:custDataLst>
              <p:tags r:id="rId39"/>
            </p:custDataLst>
          </p:nvPr>
        </p:nvCxnSpPr>
        <p:spPr bwMode="gray">
          <a:xfrm>
            <a:off x="8123238" y="3446463"/>
            <a:ext cx="0" cy="9525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50" name="Straight Connector 1149">
            <a:extLst>
              <a:ext uri="{FF2B5EF4-FFF2-40B4-BE49-F238E27FC236}">
                <a16:creationId xmlns:a16="http://schemas.microsoft.com/office/drawing/2014/main" id="{63F18BDC-FE36-C716-43C3-06B24E6D90A9}"/>
              </a:ext>
            </a:extLst>
          </p:cNvPr>
          <p:cNvCxnSpPr/>
          <p:nvPr>
            <p:custDataLst>
              <p:tags r:id="rId40"/>
            </p:custDataLst>
          </p:nvPr>
        </p:nvCxnSpPr>
        <p:spPr bwMode="gray">
          <a:xfrm>
            <a:off x="7996238" y="3446463"/>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9" name="Straight Connector 1148">
            <a:extLst>
              <a:ext uri="{FF2B5EF4-FFF2-40B4-BE49-F238E27FC236}">
                <a16:creationId xmlns:a16="http://schemas.microsoft.com/office/drawing/2014/main" id="{E2D88BDF-FB27-32B3-0BC2-D93EBD5C5576}"/>
              </a:ext>
            </a:extLst>
          </p:cNvPr>
          <p:cNvCxnSpPr/>
          <p:nvPr>
            <p:custDataLst>
              <p:tags r:id="rId41"/>
            </p:custDataLst>
          </p:nvPr>
        </p:nvCxnSpPr>
        <p:spPr bwMode="gray">
          <a:xfrm flipV="1">
            <a:off x="7996238" y="3446464"/>
            <a:ext cx="0" cy="83026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0" name="Straight Connector 1159">
            <a:extLst>
              <a:ext uri="{FF2B5EF4-FFF2-40B4-BE49-F238E27FC236}">
                <a16:creationId xmlns:a16="http://schemas.microsoft.com/office/drawing/2014/main" id="{3737900D-6E6A-27E2-484E-EAFD0C0F94BA}"/>
              </a:ext>
            </a:extLst>
          </p:cNvPr>
          <p:cNvCxnSpPr/>
          <p:nvPr>
            <p:custDataLst>
              <p:tags r:id="rId42"/>
            </p:custDataLst>
          </p:nvPr>
        </p:nvCxnSpPr>
        <p:spPr bwMode="gray">
          <a:xfrm flipV="1">
            <a:off x="8569325" y="3498851"/>
            <a:ext cx="0" cy="849313"/>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1" name="Straight Connector 1160">
            <a:extLst>
              <a:ext uri="{FF2B5EF4-FFF2-40B4-BE49-F238E27FC236}">
                <a16:creationId xmlns:a16="http://schemas.microsoft.com/office/drawing/2014/main" id="{7D2F6BD2-F9F0-CC76-B54D-4636A5F350CC}"/>
              </a:ext>
            </a:extLst>
          </p:cNvPr>
          <p:cNvCxnSpPr/>
          <p:nvPr>
            <p:custDataLst>
              <p:tags r:id="rId43"/>
            </p:custDataLst>
          </p:nvPr>
        </p:nvCxnSpPr>
        <p:spPr bwMode="gray">
          <a:xfrm>
            <a:off x="8569325" y="3498850"/>
            <a:ext cx="1270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2" name="Straight Connector 1161">
            <a:extLst>
              <a:ext uri="{FF2B5EF4-FFF2-40B4-BE49-F238E27FC236}">
                <a16:creationId xmlns:a16="http://schemas.microsoft.com/office/drawing/2014/main" id="{AAFE50BA-CF88-C4DC-ABD4-C826D9F86E5B}"/>
              </a:ext>
            </a:extLst>
          </p:cNvPr>
          <p:cNvCxnSpPr/>
          <p:nvPr>
            <p:custDataLst>
              <p:tags r:id="rId44"/>
            </p:custDataLst>
          </p:nvPr>
        </p:nvCxnSpPr>
        <p:spPr bwMode="gray">
          <a:xfrm>
            <a:off x="8696325" y="3498850"/>
            <a:ext cx="0" cy="10350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88" name="Text Placeholder 19">
            <a:extLst>
              <a:ext uri="{FF2B5EF4-FFF2-40B4-BE49-F238E27FC236}">
                <a16:creationId xmlns:a16="http://schemas.microsoft.com/office/drawing/2014/main" id="{9F9869AF-B0F6-4E89-B216-4EC18C7334C2}"/>
              </a:ext>
            </a:extLst>
          </p:cNvPr>
          <p:cNvSpPr>
            <a:spLocks noGrp="1"/>
          </p:cNvSpPr>
          <p:nvPr>
            <p:custDataLst>
              <p:tags r:id="rId45"/>
            </p:custDataLst>
          </p:nvPr>
        </p:nvSpPr>
        <p:spPr bwMode="auto">
          <a:xfrm>
            <a:off x="984250" y="2190750"/>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28" name="Text Placeholder 19">
            <a:extLst>
              <a:ext uri="{FF2B5EF4-FFF2-40B4-BE49-F238E27FC236}">
                <a16:creationId xmlns:a16="http://schemas.microsoft.com/office/drawing/2014/main" id="{9F9869AF-B0F6-4E89-B216-4EC18C7334C2}"/>
              </a:ext>
            </a:extLst>
          </p:cNvPr>
          <p:cNvSpPr>
            <a:spLocks noGrp="1"/>
          </p:cNvSpPr>
          <p:nvPr>
            <p:custDataLst>
              <p:tags r:id="rId46"/>
            </p:custDataLst>
          </p:nvPr>
        </p:nvSpPr>
        <p:spPr bwMode="auto">
          <a:xfrm>
            <a:off x="1557338" y="2246313"/>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4" name="Text Placeholder 19">
            <a:extLst>
              <a:ext uri="{FF2B5EF4-FFF2-40B4-BE49-F238E27FC236}">
                <a16:creationId xmlns:a16="http://schemas.microsoft.com/office/drawing/2014/main" id="{9F9869AF-B0F6-4E89-B216-4EC18C7334C2}"/>
              </a:ext>
            </a:extLst>
          </p:cNvPr>
          <p:cNvSpPr>
            <a:spLocks noGrp="1"/>
          </p:cNvSpPr>
          <p:nvPr>
            <p:custDataLst>
              <p:tags r:id="rId47"/>
            </p:custDataLst>
          </p:nvPr>
        </p:nvSpPr>
        <p:spPr bwMode="auto">
          <a:xfrm>
            <a:off x="2130424" y="3595688"/>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9" name="Text Placeholder 19">
            <a:extLst>
              <a:ext uri="{FF2B5EF4-FFF2-40B4-BE49-F238E27FC236}">
                <a16:creationId xmlns:a16="http://schemas.microsoft.com/office/drawing/2014/main" id="{9F9869AF-B0F6-4E89-B216-4EC18C7334C2}"/>
              </a:ext>
            </a:extLst>
          </p:cNvPr>
          <p:cNvSpPr>
            <a:spLocks noGrp="1"/>
          </p:cNvSpPr>
          <p:nvPr>
            <p:custDataLst>
              <p:tags r:id="rId48"/>
            </p:custDataLst>
          </p:nvPr>
        </p:nvSpPr>
        <p:spPr bwMode="auto">
          <a:xfrm>
            <a:off x="2705100" y="2901950"/>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60" name="Text Placeholder 19">
            <a:extLst>
              <a:ext uri="{FF2B5EF4-FFF2-40B4-BE49-F238E27FC236}">
                <a16:creationId xmlns:a16="http://schemas.microsoft.com/office/drawing/2014/main" id="{9F9869AF-B0F6-4E89-B216-4EC18C7334C2}"/>
              </a:ext>
            </a:extLst>
          </p:cNvPr>
          <p:cNvSpPr>
            <a:spLocks noGrp="1"/>
          </p:cNvSpPr>
          <p:nvPr>
            <p:custDataLst>
              <p:tags r:id="rId49"/>
            </p:custDataLst>
          </p:nvPr>
        </p:nvSpPr>
        <p:spPr bwMode="auto">
          <a:xfrm>
            <a:off x="3278188" y="2640013"/>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71" name="Text Placeholder 19">
            <a:extLst>
              <a:ext uri="{FF2B5EF4-FFF2-40B4-BE49-F238E27FC236}">
                <a16:creationId xmlns:a16="http://schemas.microsoft.com/office/drawing/2014/main" id="{9F9869AF-B0F6-4E89-B216-4EC18C7334C2}"/>
              </a:ext>
            </a:extLst>
          </p:cNvPr>
          <p:cNvSpPr>
            <a:spLocks noGrp="1"/>
          </p:cNvSpPr>
          <p:nvPr>
            <p:custDataLst>
              <p:tags r:id="rId50"/>
            </p:custDataLst>
          </p:nvPr>
        </p:nvSpPr>
        <p:spPr bwMode="auto">
          <a:xfrm>
            <a:off x="3851275" y="3178175"/>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82" name="Text Placeholder 19">
            <a:extLst>
              <a:ext uri="{FF2B5EF4-FFF2-40B4-BE49-F238E27FC236}">
                <a16:creationId xmlns:a16="http://schemas.microsoft.com/office/drawing/2014/main" id="{9F9869AF-B0F6-4E89-B216-4EC18C7334C2}"/>
              </a:ext>
            </a:extLst>
          </p:cNvPr>
          <p:cNvSpPr>
            <a:spLocks noGrp="1"/>
          </p:cNvSpPr>
          <p:nvPr>
            <p:custDataLst>
              <p:tags r:id="rId51"/>
            </p:custDataLst>
          </p:nvPr>
        </p:nvSpPr>
        <p:spPr bwMode="auto">
          <a:xfrm>
            <a:off x="4424363" y="3481388"/>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093" name="Text Placeholder 19">
            <a:extLst>
              <a:ext uri="{FF2B5EF4-FFF2-40B4-BE49-F238E27FC236}">
                <a16:creationId xmlns:a16="http://schemas.microsoft.com/office/drawing/2014/main" id="{9F9869AF-B0F6-4E89-B216-4EC18C7334C2}"/>
              </a:ext>
            </a:extLst>
          </p:cNvPr>
          <p:cNvSpPr>
            <a:spLocks noGrp="1"/>
          </p:cNvSpPr>
          <p:nvPr>
            <p:custDataLst>
              <p:tags r:id="rId52"/>
            </p:custDataLst>
          </p:nvPr>
        </p:nvSpPr>
        <p:spPr bwMode="auto">
          <a:xfrm>
            <a:off x="4999038" y="3595688"/>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04" name="Text Placeholder 19">
            <a:extLst>
              <a:ext uri="{FF2B5EF4-FFF2-40B4-BE49-F238E27FC236}">
                <a16:creationId xmlns:a16="http://schemas.microsoft.com/office/drawing/2014/main" id="{9F9869AF-B0F6-4E89-B216-4EC18C7334C2}"/>
              </a:ext>
            </a:extLst>
          </p:cNvPr>
          <p:cNvSpPr>
            <a:spLocks noGrp="1"/>
          </p:cNvSpPr>
          <p:nvPr>
            <p:custDataLst>
              <p:tags r:id="rId53"/>
            </p:custDataLst>
          </p:nvPr>
        </p:nvSpPr>
        <p:spPr bwMode="auto">
          <a:xfrm>
            <a:off x="5572125" y="2835275"/>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15" name="Text Placeholder 19">
            <a:extLst>
              <a:ext uri="{FF2B5EF4-FFF2-40B4-BE49-F238E27FC236}">
                <a16:creationId xmlns:a16="http://schemas.microsoft.com/office/drawing/2014/main" id="{9F9869AF-B0F6-4E89-B216-4EC18C7334C2}"/>
              </a:ext>
            </a:extLst>
          </p:cNvPr>
          <p:cNvSpPr>
            <a:spLocks noGrp="1"/>
          </p:cNvSpPr>
          <p:nvPr>
            <p:custDataLst>
              <p:tags r:id="rId54"/>
            </p:custDataLst>
          </p:nvPr>
        </p:nvSpPr>
        <p:spPr bwMode="auto">
          <a:xfrm>
            <a:off x="6145213" y="4837113"/>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26" name="Text Placeholder 19">
            <a:extLst>
              <a:ext uri="{FF2B5EF4-FFF2-40B4-BE49-F238E27FC236}">
                <a16:creationId xmlns:a16="http://schemas.microsoft.com/office/drawing/2014/main" id="{9F9869AF-B0F6-4E89-B216-4EC18C7334C2}"/>
              </a:ext>
            </a:extLst>
          </p:cNvPr>
          <p:cNvSpPr>
            <a:spLocks noGrp="1"/>
          </p:cNvSpPr>
          <p:nvPr>
            <p:custDataLst>
              <p:tags r:id="rId55"/>
            </p:custDataLst>
          </p:nvPr>
        </p:nvSpPr>
        <p:spPr bwMode="auto">
          <a:xfrm>
            <a:off x="6718300" y="4230688"/>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37" name="Text Placeholder 19">
            <a:extLst>
              <a:ext uri="{FF2B5EF4-FFF2-40B4-BE49-F238E27FC236}">
                <a16:creationId xmlns:a16="http://schemas.microsoft.com/office/drawing/2014/main" id="{9F9869AF-B0F6-4E89-B216-4EC18C7334C2}"/>
              </a:ext>
            </a:extLst>
          </p:cNvPr>
          <p:cNvSpPr>
            <a:spLocks noGrp="1"/>
          </p:cNvSpPr>
          <p:nvPr>
            <p:custDataLst>
              <p:tags r:id="rId56"/>
            </p:custDataLst>
          </p:nvPr>
        </p:nvSpPr>
        <p:spPr bwMode="auto">
          <a:xfrm>
            <a:off x="7291388" y="3375025"/>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48" name="Text Placeholder 19">
            <a:extLst>
              <a:ext uri="{FF2B5EF4-FFF2-40B4-BE49-F238E27FC236}">
                <a16:creationId xmlns:a16="http://schemas.microsoft.com/office/drawing/2014/main" id="{9F9869AF-B0F6-4E89-B216-4EC18C7334C2}"/>
              </a:ext>
            </a:extLst>
          </p:cNvPr>
          <p:cNvSpPr>
            <a:spLocks noGrp="1"/>
          </p:cNvSpPr>
          <p:nvPr>
            <p:custDataLst>
              <p:tags r:id="rId57"/>
            </p:custDataLst>
          </p:nvPr>
        </p:nvSpPr>
        <p:spPr bwMode="auto">
          <a:xfrm>
            <a:off x="7866063" y="3338513"/>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sp>
        <p:nvSpPr>
          <p:cNvPr id="1159" name="Text Placeholder 19">
            <a:extLst>
              <a:ext uri="{FF2B5EF4-FFF2-40B4-BE49-F238E27FC236}">
                <a16:creationId xmlns:a16="http://schemas.microsoft.com/office/drawing/2014/main" id="{9F9869AF-B0F6-4E89-B216-4EC18C7334C2}"/>
              </a:ext>
            </a:extLst>
          </p:cNvPr>
          <p:cNvSpPr>
            <a:spLocks noGrp="1"/>
          </p:cNvSpPr>
          <p:nvPr>
            <p:custDataLst>
              <p:tags r:id="rId58"/>
            </p:custDataLst>
          </p:nvPr>
        </p:nvSpPr>
        <p:spPr bwMode="auto">
          <a:xfrm>
            <a:off x="8439150" y="3390900"/>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sz="1000" b="1">
                <a:effectLst/>
                <a:ea typeface="+mn-ea"/>
                <a:cs typeface="+mn-cs"/>
              </a:rPr>
              <a:t>XX%</a:t>
            </a:r>
            <a:endParaRPr lang="en-GB" sz="1000" b="1">
              <a:ea typeface="+mn-ea"/>
              <a:cs typeface="+mn-cs"/>
              <a:sym typeface="+mn-lt"/>
            </a:endParaRPr>
          </a:p>
        </p:txBody>
      </p:sp>
      <p:grpSp>
        <p:nvGrpSpPr>
          <p:cNvPr id="2" name="Group 1">
            <a:extLst>
              <a:ext uri="{FF2B5EF4-FFF2-40B4-BE49-F238E27FC236}">
                <a16:creationId xmlns:a16="http://schemas.microsoft.com/office/drawing/2014/main" id="{BA1661DB-AA59-540E-9105-9439765CB5A2}"/>
              </a:ext>
            </a:extLst>
          </p:cNvPr>
          <p:cNvGrpSpPr/>
          <p:nvPr/>
        </p:nvGrpSpPr>
        <p:grpSpPr>
          <a:xfrm>
            <a:off x="4654550" y="1533600"/>
            <a:ext cx="2460626" cy="3179688"/>
            <a:chOff x="6014406" y="1508346"/>
            <a:chExt cx="2460626" cy="3179688"/>
          </a:xfrm>
        </p:grpSpPr>
        <p:sp>
          <p:nvSpPr>
            <p:cNvPr id="80" name="TextBox 79">
              <a:extLst>
                <a:ext uri="{FF2B5EF4-FFF2-40B4-BE49-F238E27FC236}">
                  <a16:creationId xmlns:a16="http://schemas.microsoft.com/office/drawing/2014/main" id="{09D63B03-8E88-2F8B-7E66-C24D20CEF801}"/>
                </a:ext>
              </a:extLst>
            </p:cNvPr>
            <p:cNvSpPr txBox="1"/>
            <p:nvPr/>
          </p:nvSpPr>
          <p:spPr>
            <a:xfrm>
              <a:off x="6014406" y="1508346"/>
              <a:ext cx="2460626" cy="226591"/>
            </a:xfrm>
            <a:prstGeom prst="rect">
              <a:avLst/>
            </a:prstGeom>
            <a:solidFill>
              <a:schemeClr val="bg1"/>
            </a:solidFill>
            <a:ln>
              <a:solidFill>
                <a:schemeClr val="tx1"/>
              </a:solidFill>
            </a:ln>
          </p:spPr>
          <p:txBody>
            <a:bodyPr wrap="square" lIns="36000" tIns="36000" rIns="36000" bIns="36000" rtlCol="0">
              <a:spAutoFit/>
            </a:bodyPr>
            <a:lstStyle/>
            <a:p>
              <a:pPr>
                <a:spcBef>
                  <a:spcPts val="600"/>
                </a:spcBef>
              </a:pPr>
              <a:endParaRPr lang="en-GB" sz="1000"/>
            </a:p>
          </p:txBody>
        </p:sp>
        <p:cxnSp>
          <p:nvCxnSpPr>
            <p:cNvPr id="81" name="Straight Connector 80">
              <a:extLst>
                <a:ext uri="{FF2B5EF4-FFF2-40B4-BE49-F238E27FC236}">
                  <a16:creationId xmlns:a16="http://schemas.microsoft.com/office/drawing/2014/main" id="{5D775CB3-EE7C-D61C-07F5-8FE074941732}"/>
                </a:ext>
              </a:extLst>
            </p:cNvPr>
            <p:cNvCxnSpPr>
              <a:cxnSpLocks/>
              <a:stCxn id="80" idx="2"/>
            </p:cNvCxnSpPr>
            <p:nvPr/>
          </p:nvCxnSpPr>
          <p:spPr>
            <a:xfrm>
              <a:off x="7244719" y="1734937"/>
              <a:ext cx="963612" cy="2395885"/>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BC1036E-9BC6-87C6-B1C4-3BC3A71917D8}"/>
                </a:ext>
              </a:extLst>
            </p:cNvPr>
            <p:cNvCxnSpPr>
              <a:cxnSpLocks/>
              <a:stCxn id="80" idx="2"/>
            </p:cNvCxnSpPr>
            <p:nvPr/>
          </p:nvCxnSpPr>
          <p:spPr>
            <a:xfrm>
              <a:off x="7244719" y="1734937"/>
              <a:ext cx="390525" cy="2953097"/>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grpSp>
      <p:sp>
        <p:nvSpPr>
          <p:cNvPr id="96" name="TextBox 95">
            <a:extLst>
              <a:ext uri="{FF2B5EF4-FFF2-40B4-BE49-F238E27FC236}">
                <a16:creationId xmlns:a16="http://schemas.microsoft.com/office/drawing/2014/main" id="{99CF9F34-9051-7B51-1A6F-B3D415715742}"/>
              </a:ext>
            </a:extLst>
          </p:cNvPr>
          <p:cNvSpPr txBox="1"/>
          <p:nvPr/>
        </p:nvSpPr>
        <p:spPr>
          <a:xfrm>
            <a:off x="2108612" y="1533152"/>
            <a:ext cx="2522197" cy="688256"/>
          </a:xfrm>
          <a:prstGeom prst="rect">
            <a:avLst/>
          </a:prstGeom>
          <a:solidFill>
            <a:schemeClr val="bg1"/>
          </a:solidFill>
          <a:ln>
            <a:solidFill>
              <a:schemeClr val="tx1"/>
            </a:solidFill>
          </a:ln>
        </p:spPr>
        <p:txBody>
          <a:bodyPr wrap="square" lIns="36000" tIns="36000" rIns="36000" bIns="36000" rtlCol="0">
            <a:spAutoFit/>
          </a:bodyPr>
          <a:lstStyle/>
          <a:p>
            <a:pPr>
              <a:spcBef>
                <a:spcPts val="600"/>
              </a:spcBef>
            </a:pPr>
            <a:endParaRPr lang="en-GB" sz="1000">
              <a:highlight>
                <a:srgbClr val="FFFF00"/>
              </a:highlight>
            </a:endParaRPr>
          </a:p>
          <a:p>
            <a:pPr>
              <a:spcBef>
                <a:spcPts val="600"/>
              </a:spcBef>
            </a:pPr>
            <a:endParaRPr lang="en-GB" sz="1000">
              <a:highlight>
                <a:srgbClr val="FFFF00"/>
              </a:highlight>
            </a:endParaRPr>
          </a:p>
          <a:p>
            <a:pPr>
              <a:spcBef>
                <a:spcPts val="600"/>
              </a:spcBef>
            </a:pPr>
            <a:endParaRPr lang="en-GB" sz="1000">
              <a:highlight>
                <a:srgbClr val="FFFF00"/>
              </a:highlight>
            </a:endParaRPr>
          </a:p>
        </p:txBody>
      </p:sp>
      <p:cxnSp>
        <p:nvCxnSpPr>
          <p:cNvPr id="99" name="Straight Connector 98">
            <a:extLst>
              <a:ext uri="{FF2B5EF4-FFF2-40B4-BE49-F238E27FC236}">
                <a16:creationId xmlns:a16="http://schemas.microsoft.com/office/drawing/2014/main" id="{BC1866AF-C84E-C9D1-F6E9-6DC18046AECB}"/>
              </a:ext>
            </a:extLst>
          </p:cNvPr>
          <p:cNvCxnSpPr>
            <a:cxnSpLocks/>
          </p:cNvCxnSpPr>
          <p:nvPr/>
        </p:nvCxnSpPr>
        <p:spPr>
          <a:xfrm flipH="1">
            <a:off x="1793875" y="2063750"/>
            <a:ext cx="311150" cy="12700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110" name="Oval 109">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grpSp>
        <p:nvGrpSpPr>
          <p:cNvPr id="1182" name="Group 1181">
            <a:extLst>
              <a:ext uri="{FF2B5EF4-FFF2-40B4-BE49-F238E27FC236}">
                <a16:creationId xmlns:a16="http://schemas.microsoft.com/office/drawing/2014/main" id="{D339A148-6DED-0352-6AEC-3C40CEFFB0C2}"/>
              </a:ext>
            </a:extLst>
          </p:cNvPr>
          <p:cNvGrpSpPr/>
          <p:nvPr/>
        </p:nvGrpSpPr>
        <p:grpSpPr>
          <a:xfrm>
            <a:off x="7138523" y="1533600"/>
            <a:ext cx="2002304" cy="1763094"/>
            <a:chOff x="6924217" y="958423"/>
            <a:chExt cx="2002304" cy="1763094"/>
          </a:xfrm>
        </p:grpSpPr>
        <p:sp>
          <p:nvSpPr>
            <p:cNvPr id="1183" name="TextBox 1182">
              <a:extLst>
                <a:ext uri="{FF2B5EF4-FFF2-40B4-BE49-F238E27FC236}">
                  <a16:creationId xmlns:a16="http://schemas.microsoft.com/office/drawing/2014/main" id="{E2DB952B-1B86-A0E6-9831-90AB72A06191}"/>
                </a:ext>
              </a:extLst>
            </p:cNvPr>
            <p:cNvSpPr txBox="1"/>
            <p:nvPr/>
          </p:nvSpPr>
          <p:spPr>
            <a:xfrm>
              <a:off x="6924217" y="958423"/>
              <a:ext cx="2002304" cy="226591"/>
            </a:xfrm>
            <a:prstGeom prst="rect">
              <a:avLst/>
            </a:prstGeom>
            <a:solidFill>
              <a:schemeClr val="bg1"/>
            </a:solidFill>
            <a:ln>
              <a:solidFill>
                <a:schemeClr val="tx1"/>
              </a:solidFill>
            </a:ln>
          </p:spPr>
          <p:txBody>
            <a:bodyPr wrap="square" lIns="36000" tIns="36000" rIns="36000" bIns="36000" rtlCol="0">
              <a:spAutoFit/>
            </a:bodyPr>
            <a:lstStyle/>
            <a:p>
              <a:pPr>
                <a:spcBef>
                  <a:spcPts val="600"/>
                </a:spcBef>
              </a:pPr>
              <a:endParaRPr lang="en-GB" sz="1000">
                <a:highlight>
                  <a:srgbClr val="FFFF00"/>
                </a:highlight>
              </a:endParaRPr>
            </a:p>
          </p:txBody>
        </p:sp>
        <p:cxnSp>
          <p:nvCxnSpPr>
            <p:cNvPr id="1185" name="Straight Connector 1184">
              <a:extLst>
                <a:ext uri="{FF2B5EF4-FFF2-40B4-BE49-F238E27FC236}">
                  <a16:creationId xmlns:a16="http://schemas.microsoft.com/office/drawing/2014/main" id="{9C336F51-51BD-53A0-C75F-D4A955296A87}"/>
                </a:ext>
              </a:extLst>
            </p:cNvPr>
            <p:cNvCxnSpPr>
              <a:cxnSpLocks/>
              <a:stCxn id="1183" idx="2"/>
            </p:cNvCxnSpPr>
            <p:nvPr/>
          </p:nvCxnSpPr>
          <p:spPr>
            <a:xfrm flipH="1">
              <a:off x="7103704" y="1185014"/>
              <a:ext cx="821665" cy="152228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186" name="Straight Connector 1185">
              <a:extLst>
                <a:ext uri="{FF2B5EF4-FFF2-40B4-BE49-F238E27FC236}">
                  <a16:creationId xmlns:a16="http://schemas.microsoft.com/office/drawing/2014/main" id="{8D498314-A884-1723-FC3B-CE4A0287AE3B}"/>
                </a:ext>
              </a:extLst>
            </p:cNvPr>
            <p:cNvCxnSpPr>
              <a:cxnSpLocks/>
              <a:stCxn id="1183" idx="2"/>
            </p:cNvCxnSpPr>
            <p:nvPr/>
          </p:nvCxnSpPr>
          <p:spPr>
            <a:xfrm flipH="1">
              <a:off x="7769232" y="1185014"/>
              <a:ext cx="156137" cy="1518071"/>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1187" name="Straight Connector 1186">
              <a:extLst>
                <a:ext uri="{FF2B5EF4-FFF2-40B4-BE49-F238E27FC236}">
                  <a16:creationId xmlns:a16="http://schemas.microsoft.com/office/drawing/2014/main" id="{D18DA2BE-43C8-C574-E37C-C135436873EB}"/>
                </a:ext>
              </a:extLst>
            </p:cNvPr>
            <p:cNvCxnSpPr>
              <a:cxnSpLocks/>
              <a:stCxn id="1183" idx="2"/>
            </p:cNvCxnSpPr>
            <p:nvPr/>
          </p:nvCxnSpPr>
          <p:spPr>
            <a:xfrm>
              <a:off x="7925369" y="1185014"/>
              <a:ext cx="487363" cy="1536503"/>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6666ADE2-8512-F44B-0651-C224E642CE23}"/>
              </a:ext>
            </a:extLst>
          </p:cNvPr>
          <p:cNvSpPr/>
          <p:nvPr>
            <p:custDataLst>
              <p:tags r:id="rId59"/>
            </p:custDataLst>
          </p:nvPr>
        </p:nvSpPr>
        <p:spPr bwMode="auto">
          <a:xfrm>
            <a:off x="496887" y="6276975"/>
            <a:ext cx="179388" cy="133350"/>
          </a:xfrm>
          <a:prstGeom prst="rect">
            <a:avLst/>
          </a:prstGeom>
          <a:solidFill>
            <a:schemeClr val="accent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1" name="Rectangle 30">
            <a:extLst>
              <a:ext uri="{FF2B5EF4-FFF2-40B4-BE49-F238E27FC236}">
                <a16:creationId xmlns:a16="http://schemas.microsoft.com/office/drawing/2014/main" id="{67B2B618-85D9-C429-33EE-D8EB171201B1}"/>
              </a:ext>
            </a:extLst>
          </p:cNvPr>
          <p:cNvSpPr/>
          <p:nvPr>
            <p:custDataLst>
              <p:tags r:id="rId60"/>
            </p:custDataLst>
          </p:nvPr>
        </p:nvSpPr>
        <p:spPr bwMode="auto">
          <a:xfrm>
            <a:off x="1185863" y="6276975"/>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2" name="Rectangle 31">
            <a:extLst>
              <a:ext uri="{FF2B5EF4-FFF2-40B4-BE49-F238E27FC236}">
                <a16:creationId xmlns:a16="http://schemas.microsoft.com/office/drawing/2014/main" id="{595FAFF3-3FBC-6309-AAEC-128962E0493A}"/>
              </a:ext>
            </a:extLst>
          </p:cNvPr>
          <p:cNvSpPr/>
          <p:nvPr>
            <p:custDataLst>
              <p:tags r:id="rId61"/>
            </p:custDataLst>
          </p:nvPr>
        </p:nvSpPr>
        <p:spPr bwMode="auto">
          <a:xfrm>
            <a:off x="1874838" y="6276975"/>
            <a:ext cx="179388" cy="133350"/>
          </a:xfrm>
          <a:prstGeom prst="rect">
            <a:avLst/>
          </a:prstGeom>
          <a:solidFill>
            <a:schemeClr val="accent3"/>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cxnSp>
        <p:nvCxnSpPr>
          <p:cNvPr id="33" name="Straight Connector 32">
            <a:extLst>
              <a:ext uri="{FF2B5EF4-FFF2-40B4-BE49-F238E27FC236}">
                <a16:creationId xmlns:a16="http://schemas.microsoft.com/office/drawing/2014/main" id="{52250C3E-7A38-05C9-8DA2-8BBBEBDBB6F1}"/>
              </a:ext>
            </a:extLst>
          </p:cNvPr>
          <p:cNvCxnSpPr/>
          <p:nvPr>
            <p:custDataLst>
              <p:tags r:id="rId62"/>
            </p:custDataLst>
          </p:nvPr>
        </p:nvCxnSpPr>
        <p:spPr bwMode="auto">
          <a:xfrm>
            <a:off x="2509838" y="6343650"/>
            <a:ext cx="222250" cy="0"/>
          </a:xfrm>
          <a:prstGeom prst="line">
            <a:avLst/>
          </a:prstGeom>
          <a:ln w="22225" cap="rnd"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 name="Text Placeholder 19">
            <a:extLst>
              <a:ext uri="{FF2B5EF4-FFF2-40B4-BE49-F238E27FC236}">
                <a16:creationId xmlns:a16="http://schemas.microsoft.com/office/drawing/2014/main" id="{9F9869AF-B0F6-4E89-B216-4EC18C7334C2}"/>
              </a:ext>
            </a:extLst>
          </p:cNvPr>
          <p:cNvSpPr>
            <a:spLocks noGrp="1"/>
          </p:cNvSpPr>
          <p:nvPr>
            <p:custDataLst>
              <p:tags r:id="rId63"/>
            </p:custDataLst>
          </p:nvPr>
        </p:nvSpPr>
        <p:spPr bwMode="auto">
          <a:xfrm>
            <a:off x="727075" y="62722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0548C07-7D42-4E0C-BECD-A2F7906C43D3}" type="datetime'''''2''0''''''''2''''''''5'''''''''''''''''''''''">
              <a:rPr lang="en-GB" altLang="en-US" sz="1000" smtClean="0">
                <a:effectLst/>
                <a:ea typeface="+mn-ea"/>
                <a:cs typeface="+mn-cs"/>
                <a:sym typeface="+mn-lt"/>
              </a:rPr>
              <a:pPr lvl="0">
                <a:spcBef>
                  <a:spcPct val="0"/>
                </a:spcBef>
                <a:spcAft>
                  <a:spcPct val="0"/>
                </a:spcAft>
              </a:pPr>
              <a:t>2025</a:t>
            </a:fld>
            <a:endParaRPr lang="en-GB" sz="1000">
              <a:ea typeface="+mn-ea"/>
              <a:cs typeface="+mn-cs"/>
              <a:sym typeface="+mn-lt"/>
            </a:endParaRPr>
          </a:p>
        </p:txBody>
      </p:sp>
      <p:sp>
        <p:nvSpPr>
          <p:cNvPr id="27" name="Text Placeholder 19">
            <a:extLst>
              <a:ext uri="{FF2B5EF4-FFF2-40B4-BE49-F238E27FC236}">
                <a16:creationId xmlns:a16="http://schemas.microsoft.com/office/drawing/2014/main" id="{9F9869AF-B0F6-4E89-B216-4EC18C7334C2}"/>
              </a:ext>
            </a:extLst>
          </p:cNvPr>
          <p:cNvSpPr>
            <a:spLocks noGrp="1"/>
          </p:cNvSpPr>
          <p:nvPr>
            <p:custDataLst>
              <p:tags r:id="rId64"/>
            </p:custDataLst>
          </p:nvPr>
        </p:nvSpPr>
        <p:spPr bwMode="auto">
          <a:xfrm>
            <a:off x="1416050" y="62722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FB9C441-CB07-4EAB-B1BB-3EB1F5D19F2F}" type="datetime'''''''''''2''''''''''''0''''''''3''''''''''''0'''''''''">
              <a:rPr lang="en-GB" altLang="en-US" sz="1000" smtClean="0">
                <a:effectLst/>
                <a:ea typeface="+mn-ea"/>
                <a:cs typeface="+mn-cs"/>
                <a:sym typeface="+mn-lt"/>
              </a:rPr>
              <a:pPr lvl="0">
                <a:spcBef>
                  <a:spcPct val="0"/>
                </a:spcBef>
                <a:spcAft>
                  <a:spcPct val="0"/>
                </a:spcAft>
              </a:pPr>
              <a:t>2030</a:t>
            </a:fld>
            <a:endParaRPr lang="en-GB" sz="1000">
              <a:ea typeface="+mn-ea"/>
              <a:cs typeface="+mn-cs"/>
              <a:sym typeface="+mn-lt"/>
            </a:endParaRPr>
          </a:p>
        </p:txBody>
      </p:sp>
      <p:sp>
        <p:nvSpPr>
          <p:cNvPr id="25" name="Text Placeholder 19">
            <a:extLst>
              <a:ext uri="{FF2B5EF4-FFF2-40B4-BE49-F238E27FC236}">
                <a16:creationId xmlns:a16="http://schemas.microsoft.com/office/drawing/2014/main" id="{9F9869AF-B0F6-4E89-B216-4EC18C7334C2}"/>
              </a:ext>
            </a:extLst>
          </p:cNvPr>
          <p:cNvSpPr>
            <a:spLocks noGrp="1"/>
          </p:cNvSpPr>
          <p:nvPr>
            <p:custDataLst>
              <p:tags r:id="rId65"/>
            </p:custDataLst>
          </p:nvPr>
        </p:nvSpPr>
        <p:spPr bwMode="auto">
          <a:xfrm>
            <a:off x="2105025" y="62722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65B94590-3BFC-4FD1-A75B-77C5827E9126}" type="datetime'''''''''2''''''''''''''''''''0''''3''5'''''''''''''">
              <a:rPr lang="en-GB" altLang="en-US" sz="1000" smtClean="0">
                <a:effectLst/>
                <a:ea typeface="+mn-ea"/>
                <a:cs typeface="+mn-cs"/>
                <a:sym typeface="+mn-lt"/>
              </a:rPr>
              <a:pPr lvl="0">
                <a:spcBef>
                  <a:spcPct val="0"/>
                </a:spcBef>
                <a:spcAft>
                  <a:spcPct val="0"/>
                </a:spcAft>
              </a:pPr>
              <a:t>2035</a:t>
            </a:fld>
            <a:endParaRPr lang="en-GB" sz="1000">
              <a:ea typeface="+mn-ea"/>
              <a:cs typeface="+mn-cs"/>
              <a:sym typeface="+mn-lt"/>
            </a:endParaRPr>
          </a:p>
        </p:txBody>
      </p:sp>
      <p:sp>
        <p:nvSpPr>
          <p:cNvPr id="28" name="Text Placeholder 19">
            <a:extLst>
              <a:ext uri="{FF2B5EF4-FFF2-40B4-BE49-F238E27FC236}">
                <a16:creationId xmlns:a16="http://schemas.microsoft.com/office/drawing/2014/main" id="{9F9869AF-B0F6-4E89-B216-4EC18C7334C2}"/>
              </a:ext>
            </a:extLst>
          </p:cNvPr>
          <p:cNvSpPr>
            <a:spLocks noGrp="1"/>
          </p:cNvSpPr>
          <p:nvPr>
            <p:custDataLst>
              <p:tags r:id="rId66"/>
            </p:custDataLst>
          </p:nvPr>
        </p:nvSpPr>
        <p:spPr bwMode="auto">
          <a:xfrm>
            <a:off x="2794000" y="6272213"/>
            <a:ext cx="1395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A2CA1B69-088F-4246-9C0F-A52DBDFF85C9}" type="datetime'E''u''r''op''ea''''''''''''''''n av''er''age'' ''''(''20''30)'">
              <a:rPr lang="en-GB" altLang="en-US" sz="1000" smtClean="0">
                <a:effectLst/>
                <a:ea typeface="+mn-ea"/>
                <a:cs typeface="+mn-cs"/>
                <a:sym typeface="+mn-lt"/>
              </a:rPr>
              <a:pPr lvl="0">
                <a:spcBef>
                  <a:spcPct val="0"/>
                </a:spcBef>
                <a:spcAft>
                  <a:spcPct val="0"/>
                </a:spcAft>
              </a:pPr>
              <a:t>European average (2030)</a:t>
            </a:fld>
            <a:endParaRPr lang="en-GB" sz="1000">
              <a:ea typeface="+mn-ea"/>
              <a:cs typeface="+mn-cs"/>
              <a:sym typeface="+mn-lt"/>
            </a:endParaRPr>
          </a:p>
        </p:txBody>
      </p:sp>
      <p:sp>
        <p:nvSpPr>
          <p:cNvPr id="10" name="Text Placeholder 16">
            <a:extLst>
              <a:ext uri="{FF2B5EF4-FFF2-40B4-BE49-F238E27FC236}">
                <a16:creationId xmlns:a16="http://schemas.microsoft.com/office/drawing/2014/main" id="{4D449BD1-27FE-C39B-963D-5B591775FFE7}"/>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3" name="Rectangle 2">
            <a:extLst>
              <a:ext uri="{FF2B5EF4-FFF2-40B4-BE49-F238E27FC236}">
                <a16:creationId xmlns:a16="http://schemas.microsoft.com/office/drawing/2014/main" id="{2D859717-823F-4C4A-F62D-8D0DEBF3509E}"/>
              </a:ext>
            </a:extLst>
          </p:cNvPr>
          <p:cNvSpPr/>
          <p:nvPr/>
        </p:nvSpPr>
        <p:spPr>
          <a:xfrm>
            <a:off x="205563" y="1212112"/>
            <a:ext cx="8935264" cy="474212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1697457170"/>
      </p:ext>
    </p:extLst>
  </p:cSld>
  <p:clrMapOvr>
    <a:masterClrMapping/>
  </p:clrMapOvr>
  <p:extLst>
    <p:ext uri="{6950BFC3-D8DA-4A85-94F7-54DA5524770B}">
      <p188:commentRel xmlns:p188="http://schemas.microsoft.com/office/powerpoint/2018/8/main" r:id="rId69"/>
    </p:ext>
  </p:extLs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7">
            <a:hlinkClick r:id="rId6" action="ppaction://hlinksldjump"/>
            <a:extLst>
              <a:ext uri="{FF2B5EF4-FFF2-40B4-BE49-F238E27FC236}">
                <a16:creationId xmlns:a16="http://schemas.microsoft.com/office/drawing/2014/main" id="{C5B4F7CF-7051-8370-98F7-A7380764AB44}"/>
              </a:ext>
            </a:extLst>
          </p:cNvPr>
          <p:cNvSpPr txBox="1">
            <a:spLocks/>
          </p:cNvSpPr>
          <p:nvPr/>
        </p:nvSpPr>
        <p:spPr>
          <a:xfrm>
            <a:off x="0" y="3339217"/>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9" name="Text Placeholder 7">
            <a:hlinkClick r:id="rId7" action="ppaction://hlinksldjump"/>
            <a:extLst>
              <a:ext uri="{FF2B5EF4-FFF2-40B4-BE49-F238E27FC236}">
                <a16:creationId xmlns:a16="http://schemas.microsoft.com/office/drawing/2014/main" id="{C5B4F7CF-7051-8370-98F7-A7380764AB44}"/>
              </a:ext>
            </a:extLst>
          </p:cNvPr>
          <p:cNvSpPr txBox="1">
            <a:spLocks/>
          </p:cNvSpPr>
          <p:nvPr/>
        </p:nvSpPr>
        <p:spPr>
          <a:xfrm>
            <a:off x="0" y="3631320"/>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0" name="Text Placeholder 7">
            <a:hlinkClick r:id="rId8" action="ppaction://hlinksldjump"/>
            <a:extLst>
              <a:ext uri="{FF2B5EF4-FFF2-40B4-BE49-F238E27FC236}">
                <a16:creationId xmlns:a16="http://schemas.microsoft.com/office/drawing/2014/main" id="{C5B4F7CF-7051-8370-98F7-A7380764AB44}"/>
              </a:ext>
            </a:extLst>
          </p:cNvPr>
          <p:cNvSpPr txBox="1">
            <a:spLocks/>
          </p:cNvSpPr>
          <p:nvPr/>
        </p:nvSpPr>
        <p:spPr>
          <a:xfrm>
            <a:off x="0" y="3923423"/>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1" name="Text Placeholder 7">
            <a:hlinkClick r:id="rId9" action="ppaction://hlinksldjump"/>
            <a:extLst>
              <a:ext uri="{FF2B5EF4-FFF2-40B4-BE49-F238E27FC236}">
                <a16:creationId xmlns:a16="http://schemas.microsoft.com/office/drawing/2014/main" id="{C5B4F7CF-7051-8370-98F7-A7380764AB44}"/>
              </a:ext>
            </a:extLst>
          </p:cNvPr>
          <p:cNvSpPr txBox="1">
            <a:spLocks/>
          </p:cNvSpPr>
          <p:nvPr/>
        </p:nvSpPr>
        <p:spPr>
          <a:xfrm>
            <a:off x="0" y="4215527"/>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3050370"/>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751066"/>
          </a:xfrm>
        </p:spPr>
        <p:txBody>
          <a:bodyPr/>
          <a:lstStyle/>
          <a:p>
            <a:r>
              <a:rPr lang="en-GB" sz="1400" dirty="0">
                <a:hlinkClick r:id="rId7" action="ppaction://hlinksldjump"/>
              </a:rPr>
              <a:t>Executive summary</a:t>
            </a:r>
            <a:endParaRPr lang="en-GB" sz="1400" dirty="0"/>
          </a:p>
          <a:p>
            <a:r>
              <a:rPr lang="en-GB" sz="1400" dirty="0">
                <a:hlinkClick r:id="rId8" action="ppaction://hlinksldjump"/>
              </a:rPr>
              <a:t>Introduction to battery storage </a:t>
            </a:r>
            <a:r>
              <a:rPr lang="en-GB" sz="1400" dirty="0"/>
              <a:t>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GB" sz="1400" dirty="0">
                <a:ea typeface="Calibri" panose="020F0502020204030204" pitchFamily="34" charset="0"/>
                <a:hlinkClick r:id="" action="ppaction://noaction"/>
              </a:rPr>
              <a:t>Revenue streams</a:t>
            </a:r>
            <a:endParaRPr lang="en-GB" sz="1400" b="1" dirty="0">
              <a:effectLst/>
              <a:ea typeface="Calibri" panose="020F0502020204030204" pitchFamily="34" charset="0"/>
            </a:endParaRPr>
          </a:p>
          <a:p>
            <a:pPr lvl="1"/>
            <a:r>
              <a:rPr lang="en-GB" sz="1400" dirty="0">
                <a:ea typeface="Calibri" panose="020F0502020204030204" pitchFamily="34" charset="0"/>
              </a:rPr>
              <a:t>Wholesale markets</a:t>
            </a:r>
          </a:p>
          <a:p>
            <a:pPr lvl="1"/>
            <a:r>
              <a:rPr lang="en-GB" sz="1400" dirty="0">
                <a:ea typeface="Calibri" panose="020F0502020204030204" pitchFamily="34" charset="0"/>
              </a:rPr>
              <a:t>Frequency response services</a:t>
            </a:r>
          </a:p>
          <a:p>
            <a:pPr lvl="1"/>
            <a:r>
              <a:rPr lang="en-GB" sz="1400" dirty="0">
                <a:ea typeface="Calibri" panose="020F0502020204030204" pitchFamily="34" charset="0"/>
              </a:rPr>
              <a:t>Balancing and restoration services</a:t>
            </a:r>
          </a:p>
          <a:p>
            <a:pPr lvl="1"/>
            <a:r>
              <a:rPr lang="en-GB" sz="1400" dirty="0">
                <a:ea typeface="Calibri" panose="020F0502020204030204" pitchFamily="34" charset="0"/>
              </a:rPr>
              <a:t>Capacity market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12" name="Group 11">
            <a:extLst>
              <a:ext uri="{FF2B5EF4-FFF2-40B4-BE49-F238E27FC236}">
                <a16:creationId xmlns:a16="http://schemas.microsoft.com/office/drawing/2014/main" id="{19CA6B10-6DA0-86BC-625F-31FF88A01988}"/>
              </a:ext>
            </a:extLst>
          </p:cNvPr>
          <p:cNvGrpSpPr/>
          <p:nvPr/>
        </p:nvGrpSpPr>
        <p:grpSpPr>
          <a:xfrm>
            <a:off x="-794" y="5661878"/>
            <a:ext cx="12192000" cy="841829"/>
            <a:chOff x="0" y="5631542"/>
            <a:chExt cx="12192000" cy="841829"/>
          </a:xfrm>
        </p:grpSpPr>
        <p:sp>
          <p:nvSpPr>
            <p:cNvPr id="13" name="Rectangle 12">
              <a:extLst>
                <a:ext uri="{FF2B5EF4-FFF2-40B4-BE49-F238E27FC236}">
                  <a16:creationId xmlns:a16="http://schemas.microsoft.com/office/drawing/2014/main" id="{1E29B789-229D-B9CB-7B97-AAD9CE45BF02}"/>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14" name="TextBox 13">
              <a:extLst>
                <a:ext uri="{FF2B5EF4-FFF2-40B4-BE49-F238E27FC236}">
                  <a16:creationId xmlns:a16="http://schemas.microsoft.com/office/drawing/2014/main" id="{3FE9A752-FDDE-7E2A-83D3-AD7D32494155}"/>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40598016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45A813D-6C94-0413-278C-D8DE22930E49}"/>
              </a:ext>
            </a:extLst>
          </p:cNvPr>
          <p:cNvGraphicFramePr>
            <a:graphicFrameLocks noChangeAspect="1"/>
          </p:cNvGraphicFramePr>
          <p:nvPr>
            <p:custDataLst>
              <p:tags r:id="rId1"/>
            </p:custDataLst>
            <p:extLst>
              <p:ext uri="{D42A27DB-BD31-4B8C-83A1-F6EECF244321}">
                <p14:modId xmlns:p14="http://schemas.microsoft.com/office/powerpoint/2010/main" val="1231429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06" imgH="306" progId="TCLayout.ActiveDocument.1">
                  <p:embed/>
                </p:oleObj>
              </mc:Choice>
              <mc:Fallback>
                <p:oleObj name="think-cell Slide" r:id="rId43" imgW="306" imgH="306" progId="TCLayout.ActiveDocument.1">
                  <p:embed/>
                  <p:pic>
                    <p:nvPicPr>
                      <p:cNvPr id="11" name="Object 10" hidden="1">
                        <a:extLst>
                          <a:ext uri="{FF2B5EF4-FFF2-40B4-BE49-F238E27FC236}">
                            <a16:creationId xmlns:a16="http://schemas.microsoft.com/office/drawing/2014/main" id="{145A813D-6C94-0413-278C-D8DE22930E49}"/>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07" name="Title 4">
            <a:extLst>
              <a:ext uri="{FF2B5EF4-FFF2-40B4-BE49-F238E27FC236}">
                <a16:creationId xmlns:a16="http://schemas.microsoft.com/office/drawing/2014/main" id="{FE1F360E-EBE5-D18A-C21A-ED49D80FCAAF}"/>
              </a:ext>
            </a:extLst>
          </p:cNvPr>
          <p:cNvSpPr>
            <a:spLocks noGrp="1"/>
          </p:cNvSpPr>
          <p:nvPr>
            <p:ph type="title"/>
          </p:nvPr>
        </p:nvSpPr>
        <p:spPr>
          <a:xfrm>
            <a:off x="381599" y="411856"/>
            <a:ext cx="8521102" cy="609398"/>
          </a:xfrm>
        </p:spPr>
        <p:txBody>
          <a:bodyPr vert="horz"/>
          <a:lstStyle/>
          <a:p>
            <a:r>
              <a:rPr lang="en-GB">
                <a:solidFill>
                  <a:srgbClr val="808080"/>
                </a:solidFill>
                <a:highlight>
                  <a:srgbClr val="808080"/>
                </a:highlight>
              </a:rPr>
              <a:t>XXXX</a:t>
            </a:r>
            <a:r>
              <a:rPr lang="en-GB">
                <a:solidFill>
                  <a:schemeClr val="tx1"/>
                </a:solidFill>
              </a:rPr>
              <a:t> </a:t>
            </a:r>
            <a:r>
              <a:rPr lang="en-GB"/>
              <a:t>shows highest demand for frequency response services, while </a:t>
            </a:r>
            <a:r>
              <a:rPr lang="en-GB">
                <a:solidFill>
                  <a:srgbClr val="808080"/>
                </a:solidFill>
                <a:highlight>
                  <a:srgbClr val="808080"/>
                </a:highlight>
              </a:rPr>
              <a:t>XXXX</a:t>
            </a:r>
            <a:r>
              <a:rPr lang="en-GB">
                <a:solidFill>
                  <a:schemeClr val="tx1"/>
                </a:solidFill>
              </a:rPr>
              <a:t> </a:t>
            </a:r>
            <a:r>
              <a:rPr lang="en-GB"/>
              <a:t>has the most batteries relative to market size</a:t>
            </a:r>
          </a:p>
        </p:txBody>
      </p:sp>
      <p:graphicFrame>
        <p:nvGraphicFramePr>
          <p:cNvPr id="47" name="Chart 46">
            <a:extLst>
              <a:ext uri="{FF2B5EF4-FFF2-40B4-BE49-F238E27FC236}">
                <a16:creationId xmlns:a16="http://schemas.microsoft.com/office/drawing/2014/main" id="{5A9F44CD-D776-13B8-56E0-2DE9B2B47E17}"/>
              </a:ext>
            </a:extLst>
          </p:cNvPr>
          <p:cNvGraphicFramePr/>
          <p:nvPr>
            <p:custDataLst>
              <p:tags r:id="rId2"/>
            </p:custDataLst>
            <p:extLst>
              <p:ext uri="{D42A27DB-BD31-4B8C-83A1-F6EECF244321}">
                <p14:modId xmlns:p14="http://schemas.microsoft.com/office/powerpoint/2010/main" val="2347199359"/>
              </p:ext>
            </p:extLst>
          </p:nvPr>
        </p:nvGraphicFramePr>
        <p:xfrm>
          <a:off x="301625" y="3303588"/>
          <a:ext cx="8683625" cy="2130425"/>
        </p:xfrm>
        <a:graphic>
          <a:graphicData uri="http://schemas.openxmlformats.org/drawingml/2006/chart">
            <c:chart xmlns:c="http://schemas.openxmlformats.org/drawingml/2006/chart" xmlns:r="http://schemas.openxmlformats.org/officeDocument/2006/relationships" r:id="rId45"/>
          </a:graphicData>
        </a:graphic>
      </p:graphicFrame>
      <p:sp>
        <p:nvSpPr>
          <p:cNvPr id="13" name="Text Placeholder 19">
            <a:extLst>
              <a:ext uri="{FF2B5EF4-FFF2-40B4-BE49-F238E27FC236}">
                <a16:creationId xmlns:a16="http://schemas.microsoft.com/office/drawing/2014/main" id="{9F9869AF-B0F6-4E89-B216-4EC18C7334C2}"/>
              </a:ext>
            </a:extLst>
          </p:cNvPr>
          <p:cNvSpPr>
            <a:spLocks noGrp="1"/>
          </p:cNvSpPr>
          <p:nvPr>
            <p:custDataLst>
              <p:tags r:id="rId3"/>
            </p:custDataLst>
          </p:nvPr>
        </p:nvSpPr>
        <p:spPr bwMode="auto">
          <a:xfrm>
            <a:off x="423863" y="5402264"/>
            <a:ext cx="6953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CC84E404-0E18-48F7-B8C8-A4968E76C174}" type="datetime'''C''''''ou''''''''''''''''''nt''''''''''''''''''''''ry'' X'">
              <a:rPr lang="en-GB" altLang="en-US" smtClean="0">
                <a:effectLst/>
              </a:rPr>
              <a:pPr lvl="0" algn="ctr">
                <a:spcBef>
                  <a:spcPct val="0"/>
                </a:spcBef>
                <a:spcAft>
                  <a:spcPct val="0"/>
                </a:spcAft>
              </a:pPr>
              <a:t>Country X</a:t>
            </a:fld>
            <a:endParaRPr lang="en-GB"/>
          </a:p>
        </p:txBody>
      </p:sp>
      <p:sp>
        <p:nvSpPr>
          <p:cNvPr id="20" name="Text Placeholder 19">
            <a:extLst>
              <a:ext uri="{FF2B5EF4-FFF2-40B4-BE49-F238E27FC236}">
                <a16:creationId xmlns:a16="http://schemas.microsoft.com/office/drawing/2014/main" id="{9F9869AF-B0F6-4E89-B216-4EC18C7334C2}"/>
              </a:ext>
            </a:extLst>
          </p:cNvPr>
          <p:cNvSpPr>
            <a:spLocks noGrp="1"/>
          </p:cNvSpPr>
          <p:nvPr>
            <p:custDataLst>
              <p:tags r:id="rId4"/>
            </p:custDataLst>
          </p:nvPr>
        </p:nvSpPr>
        <p:spPr bwMode="auto">
          <a:xfrm>
            <a:off x="1484313"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DCF35127-621F-4E54-8E67-4B5AAD6E6832}" type="datetime'''…'''''''''''''''''''''''''''''''''''''''''''''''''''''">
              <a:rPr lang="en-GB" altLang="en-US" smtClean="0">
                <a:effectLst/>
              </a:rPr>
              <a:pPr lvl="0" algn="ctr">
                <a:spcBef>
                  <a:spcPct val="0"/>
                </a:spcBef>
                <a:spcAft>
                  <a:spcPct val="0"/>
                </a:spcAft>
              </a:pPr>
              <a:t>…</a:t>
            </a:fld>
            <a:endParaRPr lang="en-GB"/>
          </a:p>
        </p:txBody>
      </p:sp>
      <p:sp>
        <p:nvSpPr>
          <p:cNvPr id="32" name="Text Placeholder 19">
            <a:extLst>
              <a:ext uri="{FF2B5EF4-FFF2-40B4-BE49-F238E27FC236}">
                <a16:creationId xmlns:a16="http://schemas.microsoft.com/office/drawing/2014/main" id="{9F9869AF-B0F6-4E89-B216-4EC18C7334C2}"/>
              </a:ext>
            </a:extLst>
          </p:cNvPr>
          <p:cNvSpPr>
            <a:spLocks noGrp="1"/>
          </p:cNvSpPr>
          <p:nvPr>
            <p:custDataLst>
              <p:tags r:id="rId5"/>
            </p:custDataLst>
          </p:nvPr>
        </p:nvSpPr>
        <p:spPr bwMode="auto">
          <a:xfrm>
            <a:off x="2257425"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FB73EE09-C956-440E-AC3D-4A61D8068742}" type="datetime'''''''''''''''''''''''''''''''''…'''''''''''''">
              <a:rPr lang="en-GB" altLang="en-US" smtClean="0">
                <a:effectLst/>
              </a:rPr>
              <a:pPr lvl="0" algn="ctr">
                <a:spcBef>
                  <a:spcPct val="0"/>
                </a:spcBef>
                <a:spcAft>
                  <a:spcPct val="0"/>
                </a:spcAft>
              </a:pPr>
              <a:t>…</a:t>
            </a:fld>
            <a:endParaRPr lang="en-GB"/>
          </a:p>
        </p:txBody>
      </p:sp>
      <p:sp>
        <p:nvSpPr>
          <p:cNvPr id="33"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auto">
          <a:xfrm>
            <a:off x="3032125"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FF3B0267-826F-4B4F-ADA5-4FD36A54F0E9}" type="datetime'''''''''''''''''''''''''''''''…'''''''''''''''''">
              <a:rPr lang="en-GB" altLang="en-US" smtClean="0">
                <a:effectLst/>
              </a:rPr>
              <a:pPr lvl="0" algn="ctr">
                <a:spcBef>
                  <a:spcPct val="0"/>
                </a:spcBef>
                <a:spcAft>
                  <a:spcPct val="0"/>
                </a:spcAft>
              </a:pPr>
              <a:t>…</a:t>
            </a:fld>
            <a:endParaRPr lang="en-GB"/>
          </a:p>
        </p:txBody>
      </p:sp>
      <p:sp>
        <p:nvSpPr>
          <p:cNvPr id="35"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auto">
          <a:xfrm>
            <a:off x="3806825"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3EBA10A6-89F0-4DAE-9574-3972D8AE0246}" type="datetime'''''''''''''''''''''''''''''''''''…'''''''''''">
              <a:rPr lang="en-GB" altLang="en-US" smtClean="0">
                <a:effectLst/>
              </a:rPr>
              <a:pPr lvl="0" algn="ctr">
                <a:spcBef>
                  <a:spcPct val="0"/>
                </a:spcBef>
                <a:spcAft>
                  <a:spcPct val="0"/>
                </a:spcAft>
              </a:pPr>
              <a:t>…</a:t>
            </a:fld>
            <a:endParaRPr lang="en-GB"/>
          </a:p>
        </p:txBody>
      </p:sp>
      <p:sp>
        <p:nvSpPr>
          <p:cNvPr id="37" name="Text Placeholder 19">
            <a:extLst>
              <a:ext uri="{FF2B5EF4-FFF2-40B4-BE49-F238E27FC236}">
                <a16:creationId xmlns:a16="http://schemas.microsoft.com/office/drawing/2014/main" id="{9F9869AF-B0F6-4E89-B216-4EC18C7334C2}"/>
              </a:ext>
            </a:extLst>
          </p:cNvPr>
          <p:cNvSpPr>
            <a:spLocks noGrp="1"/>
          </p:cNvSpPr>
          <p:nvPr>
            <p:custDataLst>
              <p:tags r:id="rId8"/>
            </p:custDataLst>
          </p:nvPr>
        </p:nvSpPr>
        <p:spPr bwMode="auto">
          <a:xfrm>
            <a:off x="4581525"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F7C1474-9E5C-4C20-86B3-7009A0E10E58}" type="datetime'''''''''''''''…'''''''''''''''''''''''''''''''''''''''''">
              <a:rPr lang="en-GB" altLang="en-US" smtClean="0">
                <a:effectLst/>
              </a:rPr>
              <a:pPr lvl="0" algn="ctr">
                <a:spcBef>
                  <a:spcPct val="0"/>
                </a:spcBef>
                <a:spcAft>
                  <a:spcPct val="0"/>
                </a:spcAft>
              </a:pPr>
              <a:t>…</a:t>
            </a:fld>
            <a:endParaRPr lang="en-GB"/>
          </a:p>
        </p:txBody>
      </p:sp>
      <p:sp>
        <p:nvSpPr>
          <p:cNvPr id="38"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auto">
          <a:xfrm>
            <a:off x="5356225"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D46697F4-936F-4EE1-ADB5-570AE19EFFC5}" type="datetime'''''''''''…'">
              <a:rPr lang="en-GB" altLang="en-US" smtClean="0">
                <a:effectLst/>
              </a:rPr>
              <a:pPr lvl="0" algn="ctr">
                <a:spcBef>
                  <a:spcPct val="0"/>
                </a:spcBef>
                <a:spcAft>
                  <a:spcPct val="0"/>
                </a:spcAft>
              </a:pPr>
              <a:t>…</a:t>
            </a:fld>
            <a:endParaRPr lang="en-GB"/>
          </a:p>
        </p:txBody>
      </p:sp>
      <p:sp>
        <p:nvSpPr>
          <p:cNvPr id="42"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auto">
          <a:xfrm>
            <a:off x="6130925"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9DF65E6-7B9D-4FCD-BADC-814195AB9A86}" type="datetime'''''''''''''''''''''''''''''''''…'''''''">
              <a:rPr lang="en-GB" altLang="en-US" smtClean="0">
                <a:effectLst/>
              </a:rPr>
              <a:pPr lvl="0" algn="ctr">
                <a:spcBef>
                  <a:spcPct val="0"/>
                </a:spcBef>
                <a:spcAft>
                  <a:spcPct val="0"/>
                </a:spcAft>
              </a:pPr>
              <a:t>…</a:t>
            </a:fld>
            <a:endParaRPr lang="en-GB"/>
          </a:p>
        </p:txBody>
      </p:sp>
      <p:sp>
        <p:nvSpPr>
          <p:cNvPr id="43"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auto">
          <a:xfrm>
            <a:off x="6904038"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996C247F-489D-4636-8DB0-9B36DD30769A}" type="datetime'''''''''''''''''''''''''''''''''''…'''''''''''''''''">
              <a:rPr lang="en-GB" altLang="en-US" smtClean="0">
                <a:effectLst/>
              </a:rPr>
              <a:pPr lvl="0" algn="ctr">
                <a:spcBef>
                  <a:spcPct val="0"/>
                </a:spcBef>
                <a:spcAft>
                  <a:spcPct val="0"/>
                </a:spcAft>
              </a:pPr>
              <a:t>…</a:t>
            </a:fld>
            <a:endParaRPr lang="en-GB"/>
          </a:p>
        </p:txBody>
      </p:sp>
      <p:sp>
        <p:nvSpPr>
          <p:cNvPr id="44"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auto">
          <a:xfrm>
            <a:off x="7678738"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032258B0-F33C-45B4-83EA-5C9A4891E952}" type="datetime'''''''''''''''''''''''''''''''…'''''">
              <a:rPr lang="en-GB" altLang="en-US" smtClean="0">
                <a:effectLst/>
              </a:rPr>
              <a:pPr lvl="0" algn="ctr">
                <a:spcBef>
                  <a:spcPct val="0"/>
                </a:spcBef>
                <a:spcAft>
                  <a:spcPct val="0"/>
                </a:spcAft>
              </a:pPr>
              <a:t>…</a:t>
            </a:fld>
            <a:endParaRPr lang="en-GB"/>
          </a:p>
        </p:txBody>
      </p:sp>
      <p:sp>
        <p:nvSpPr>
          <p:cNvPr id="45" name="Text Placeholder 19">
            <a:extLst>
              <a:ext uri="{FF2B5EF4-FFF2-40B4-BE49-F238E27FC236}">
                <a16:creationId xmlns:a16="http://schemas.microsoft.com/office/drawing/2014/main" id="{9F9869AF-B0F6-4E89-B216-4EC18C7334C2}"/>
              </a:ext>
            </a:extLst>
          </p:cNvPr>
          <p:cNvSpPr>
            <a:spLocks noGrp="1"/>
          </p:cNvSpPr>
          <p:nvPr>
            <p:custDataLst>
              <p:tags r:id="rId13"/>
            </p:custDataLst>
          </p:nvPr>
        </p:nvSpPr>
        <p:spPr bwMode="auto">
          <a:xfrm>
            <a:off x="8453438" y="5402264"/>
            <a:ext cx="123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0EF3EA26-1178-4BAD-BC4B-160BACDA35BA}" type="datetime'''''''''''''''''…'''''''''''">
              <a:rPr lang="en-GB" altLang="en-US" smtClean="0">
                <a:effectLst/>
              </a:rPr>
              <a:pPr lvl="0" algn="ctr">
                <a:spcBef>
                  <a:spcPct val="0"/>
                </a:spcBef>
                <a:spcAft>
                  <a:spcPct val="0"/>
                </a:spcAft>
              </a:pPr>
              <a:t>…</a:t>
            </a:fld>
            <a:endParaRPr lang="en-GB"/>
          </a:p>
        </p:txBody>
      </p:sp>
      <p:sp>
        <p:nvSpPr>
          <p:cNvPr id="144" name="Text Placeholder 6">
            <a:extLst>
              <a:ext uri="{FF2B5EF4-FFF2-40B4-BE49-F238E27FC236}">
                <a16:creationId xmlns:a16="http://schemas.microsoft.com/office/drawing/2014/main" id="{648EA72F-43FF-614C-A66E-1DEA8A32D0DD}"/>
              </a:ext>
            </a:extLst>
          </p:cNvPr>
          <p:cNvSpPr txBox="1">
            <a:spLocks/>
          </p:cNvSpPr>
          <p:nvPr/>
        </p:nvSpPr>
        <p:spPr>
          <a:xfrm>
            <a:off x="405413" y="1291070"/>
            <a:ext cx="8916987"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Annual volume procured by frequency response services</a:t>
            </a:r>
            <a:endParaRPr lang="en-GB" baseline="30000"/>
          </a:p>
          <a:p>
            <a:r>
              <a:rPr lang="en-GB" b="0">
                <a:solidFill>
                  <a:schemeClr val="accent5"/>
                </a:solidFill>
                <a:latin typeface="Lato"/>
              </a:rPr>
              <a:t>MW</a:t>
            </a:r>
          </a:p>
        </p:txBody>
      </p:sp>
      <p:sp>
        <p:nvSpPr>
          <p:cNvPr id="147" name="TextBox 146">
            <a:extLst>
              <a:ext uri="{FF2B5EF4-FFF2-40B4-BE49-F238E27FC236}">
                <a16:creationId xmlns:a16="http://schemas.microsoft.com/office/drawing/2014/main" id="{2007211E-3A78-BF14-49AA-72250C6C2EF0}"/>
              </a:ext>
            </a:extLst>
          </p:cNvPr>
          <p:cNvSpPr txBox="1"/>
          <p:nvPr/>
        </p:nvSpPr>
        <p:spPr>
          <a:xfrm>
            <a:off x="381001" y="1704607"/>
            <a:ext cx="2351087" cy="190240"/>
          </a:xfrm>
          <a:prstGeom prst="rect">
            <a:avLst/>
          </a:prstGeom>
          <a:solidFill>
            <a:schemeClr val="bg1"/>
          </a:solidFill>
          <a:ln>
            <a:solidFill>
              <a:schemeClr val="tx1"/>
            </a:solidFill>
          </a:ln>
        </p:spPr>
        <p:txBody>
          <a:bodyPr wrap="square" lIns="72000" tIns="18000" rIns="72000" bIns="18000" rtlCol="0">
            <a:spAutoFit/>
          </a:bodyPr>
          <a:lstStyle/>
          <a:p>
            <a:pPr>
              <a:spcBef>
                <a:spcPts val="600"/>
              </a:spcBef>
            </a:pPr>
            <a:endParaRPr lang="en-GB" sz="1000"/>
          </a:p>
        </p:txBody>
      </p:sp>
      <p:cxnSp>
        <p:nvCxnSpPr>
          <p:cNvPr id="148" name="Straight Connector 147">
            <a:extLst>
              <a:ext uri="{FF2B5EF4-FFF2-40B4-BE49-F238E27FC236}">
                <a16:creationId xmlns:a16="http://schemas.microsoft.com/office/drawing/2014/main" id="{8C712BF4-6029-7C06-3816-587A64748A35}"/>
              </a:ext>
            </a:extLst>
          </p:cNvPr>
          <p:cNvCxnSpPr>
            <a:cxnSpLocks/>
            <a:stCxn id="147" idx="2"/>
          </p:cNvCxnSpPr>
          <p:nvPr/>
        </p:nvCxnSpPr>
        <p:spPr>
          <a:xfrm flipH="1">
            <a:off x="780684" y="1894847"/>
            <a:ext cx="775861" cy="1173791"/>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C293CEF4-7E72-64E3-0829-A6E540256D25}"/>
              </a:ext>
            </a:extLst>
          </p:cNvPr>
          <p:cNvSpPr/>
          <p:nvPr>
            <p:custDataLst>
              <p:tags r:id="rId14"/>
            </p:custDataLst>
          </p:nvPr>
        </p:nvSpPr>
        <p:spPr bwMode="auto">
          <a:xfrm>
            <a:off x="455613" y="6073775"/>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4" name="Rectangle 153">
            <a:extLst>
              <a:ext uri="{FF2B5EF4-FFF2-40B4-BE49-F238E27FC236}">
                <a16:creationId xmlns:a16="http://schemas.microsoft.com/office/drawing/2014/main" id="{699E853D-E330-C3E9-D187-7B67BE3EAADD}"/>
              </a:ext>
            </a:extLst>
          </p:cNvPr>
          <p:cNvSpPr/>
          <p:nvPr>
            <p:custDataLst>
              <p:tags r:id="rId15"/>
            </p:custDataLst>
          </p:nvPr>
        </p:nvSpPr>
        <p:spPr bwMode="auto">
          <a:xfrm>
            <a:off x="455613" y="6276975"/>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6" name="Rectangle 155">
            <a:extLst>
              <a:ext uri="{FF2B5EF4-FFF2-40B4-BE49-F238E27FC236}">
                <a16:creationId xmlns:a16="http://schemas.microsoft.com/office/drawing/2014/main" id="{CBA278DF-4810-351A-2980-D5C4221DC362}"/>
              </a:ext>
            </a:extLst>
          </p:cNvPr>
          <p:cNvSpPr/>
          <p:nvPr>
            <p:custDataLst>
              <p:tags r:id="rId16"/>
            </p:custDataLst>
          </p:nvPr>
        </p:nvSpPr>
        <p:spPr bwMode="auto">
          <a:xfrm>
            <a:off x="1138238" y="6073775"/>
            <a:ext cx="179388" cy="13335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3" name="Rectangle 152">
            <a:extLst>
              <a:ext uri="{FF2B5EF4-FFF2-40B4-BE49-F238E27FC236}">
                <a16:creationId xmlns:a16="http://schemas.microsoft.com/office/drawing/2014/main" id="{93D3E995-596B-9221-219C-36F940AF96A1}"/>
              </a:ext>
            </a:extLst>
          </p:cNvPr>
          <p:cNvSpPr/>
          <p:nvPr>
            <p:custDataLst>
              <p:tags r:id="rId17"/>
            </p:custDataLst>
          </p:nvPr>
        </p:nvSpPr>
        <p:spPr bwMode="auto">
          <a:xfrm>
            <a:off x="1138238" y="6276975"/>
            <a:ext cx="179388" cy="133350"/>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1" name="Rectangle 20">
            <a:extLst>
              <a:ext uri="{FF2B5EF4-FFF2-40B4-BE49-F238E27FC236}">
                <a16:creationId xmlns:a16="http://schemas.microsoft.com/office/drawing/2014/main" id="{EEBBF046-61F6-0D2A-5AA9-AA782B752437}"/>
              </a:ext>
            </a:extLst>
          </p:cNvPr>
          <p:cNvSpPr/>
          <p:nvPr>
            <p:custDataLst>
              <p:tags r:id="rId18"/>
            </p:custDataLst>
          </p:nvPr>
        </p:nvSpPr>
        <p:spPr bwMode="auto">
          <a:xfrm>
            <a:off x="1744663" y="6073775"/>
            <a:ext cx="179388" cy="133350"/>
          </a:xfrm>
          <a:prstGeom prst="rect">
            <a:avLst/>
          </a:prstGeom>
          <a:solidFill>
            <a:srgbClr val="657D1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5" name="Rectangle 24">
            <a:extLst>
              <a:ext uri="{FF2B5EF4-FFF2-40B4-BE49-F238E27FC236}">
                <a16:creationId xmlns:a16="http://schemas.microsoft.com/office/drawing/2014/main" id="{3991532B-03CA-0536-0F48-3116819A0283}"/>
              </a:ext>
            </a:extLst>
          </p:cNvPr>
          <p:cNvSpPr/>
          <p:nvPr>
            <p:custDataLst>
              <p:tags r:id="rId19"/>
            </p:custDataLst>
          </p:nvPr>
        </p:nvSpPr>
        <p:spPr bwMode="auto">
          <a:xfrm>
            <a:off x="1744663" y="6276975"/>
            <a:ext cx="179388" cy="133350"/>
          </a:xfrm>
          <a:prstGeom prst="rect">
            <a:avLst/>
          </a:prstGeom>
          <a:solidFill>
            <a:srgbClr val="CFDE6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57" name="Rectangle 156">
            <a:extLst>
              <a:ext uri="{FF2B5EF4-FFF2-40B4-BE49-F238E27FC236}">
                <a16:creationId xmlns:a16="http://schemas.microsoft.com/office/drawing/2014/main" id="{B53880E3-F04A-A9B4-C150-8D65AA74DCCB}"/>
              </a:ext>
            </a:extLst>
          </p:cNvPr>
          <p:cNvSpPr/>
          <p:nvPr>
            <p:custDataLst>
              <p:tags r:id="rId20"/>
            </p:custDataLst>
          </p:nvPr>
        </p:nvSpPr>
        <p:spPr bwMode="auto">
          <a:xfrm>
            <a:off x="2289175" y="6073775"/>
            <a:ext cx="179388" cy="133350"/>
          </a:xfrm>
          <a:prstGeom prst="rect">
            <a:avLst/>
          </a:prstGeom>
          <a:solidFill>
            <a:srgbClr val="D7DAE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8" name="Rectangle 157">
            <a:extLst>
              <a:ext uri="{FF2B5EF4-FFF2-40B4-BE49-F238E27FC236}">
                <a16:creationId xmlns:a16="http://schemas.microsoft.com/office/drawing/2014/main" id="{D82DD0E1-A00E-ED68-8CC9-E742AB4441AA}"/>
              </a:ext>
            </a:extLst>
          </p:cNvPr>
          <p:cNvSpPr/>
          <p:nvPr>
            <p:custDataLst>
              <p:tags r:id="rId21"/>
            </p:custDataLst>
          </p:nvPr>
        </p:nvSpPr>
        <p:spPr bwMode="auto">
          <a:xfrm>
            <a:off x="2289175" y="6276975"/>
            <a:ext cx="179388" cy="133350"/>
          </a:xfrm>
          <a:prstGeom prst="rect">
            <a:avLst/>
          </a:prstGeom>
          <a:solidFill>
            <a:srgbClr val="4C6C9C"/>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9" name="Rectangle 158">
            <a:extLst>
              <a:ext uri="{FF2B5EF4-FFF2-40B4-BE49-F238E27FC236}">
                <a16:creationId xmlns:a16="http://schemas.microsoft.com/office/drawing/2014/main" id="{AD74FCC5-808B-3945-335C-CE7137B9B63F}"/>
              </a:ext>
            </a:extLst>
          </p:cNvPr>
          <p:cNvSpPr/>
          <p:nvPr>
            <p:custDataLst>
              <p:tags r:id="rId22"/>
            </p:custDataLst>
          </p:nvPr>
        </p:nvSpPr>
        <p:spPr bwMode="auto">
          <a:xfrm>
            <a:off x="4084638" y="6073775"/>
            <a:ext cx="179388" cy="133350"/>
          </a:xfrm>
          <a:prstGeom prst="rect">
            <a:avLst/>
          </a:prstGeom>
          <a:solidFill>
            <a:srgbClr val="6F8DB9"/>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60" name="Rectangle 159">
            <a:extLst>
              <a:ext uri="{FF2B5EF4-FFF2-40B4-BE49-F238E27FC236}">
                <a16:creationId xmlns:a16="http://schemas.microsoft.com/office/drawing/2014/main" id="{1E484DEA-04AA-05CF-BC98-B8B027AB0E64}"/>
              </a:ext>
            </a:extLst>
          </p:cNvPr>
          <p:cNvSpPr/>
          <p:nvPr>
            <p:custDataLst>
              <p:tags r:id="rId23"/>
            </p:custDataLst>
          </p:nvPr>
        </p:nvSpPr>
        <p:spPr bwMode="auto">
          <a:xfrm>
            <a:off x="4084638" y="6276975"/>
            <a:ext cx="179388" cy="133350"/>
          </a:xfrm>
          <a:prstGeom prst="rect">
            <a:avLst/>
          </a:prstGeom>
          <a:solidFill>
            <a:srgbClr val="D7C0F0"/>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61" name="Rectangle 160">
            <a:extLst>
              <a:ext uri="{FF2B5EF4-FFF2-40B4-BE49-F238E27FC236}">
                <a16:creationId xmlns:a16="http://schemas.microsoft.com/office/drawing/2014/main" id="{06F1B4EA-7567-08CC-11C1-1F9CBF2DA4CA}"/>
              </a:ext>
            </a:extLst>
          </p:cNvPr>
          <p:cNvSpPr/>
          <p:nvPr>
            <p:custDataLst>
              <p:tags r:id="rId24"/>
            </p:custDataLst>
          </p:nvPr>
        </p:nvSpPr>
        <p:spPr bwMode="auto">
          <a:xfrm>
            <a:off x="4797425" y="6073775"/>
            <a:ext cx="179388" cy="133350"/>
          </a:xfrm>
          <a:prstGeom prst="rect">
            <a:avLst/>
          </a:prstGeom>
          <a:solidFill>
            <a:srgbClr val="7E27B5"/>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62" name="Rectangle 161">
            <a:extLst>
              <a:ext uri="{FF2B5EF4-FFF2-40B4-BE49-F238E27FC236}">
                <a16:creationId xmlns:a16="http://schemas.microsoft.com/office/drawing/2014/main" id="{81C44594-55DB-FB72-BED2-B013D173856F}"/>
              </a:ext>
            </a:extLst>
          </p:cNvPr>
          <p:cNvSpPr/>
          <p:nvPr>
            <p:custDataLst>
              <p:tags r:id="rId25"/>
            </p:custDataLst>
          </p:nvPr>
        </p:nvSpPr>
        <p:spPr bwMode="auto">
          <a:xfrm>
            <a:off x="4797425" y="6276975"/>
            <a:ext cx="179388" cy="133350"/>
          </a:xfrm>
          <a:prstGeom prst="rect">
            <a:avLst/>
          </a:prstGeom>
          <a:solidFill>
            <a:srgbClr val="CDA8F9"/>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 name="Rectangle 38">
            <a:extLst>
              <a:ext uri="{FF2B5EF4-FFF2-40B4-BE49-F238E27FC236}">
                <a16:creationId xmlns:a16="http://schemas.microsoft.com/office/drawing/2014/main" id="{A8D4E9C3-147C-309E-40DA-1C2EC71CF859}"/>
              </a:ext>
            </a:extLst>
          </p:cNvPr>
          <p:cNvSpPr/>
          <p:nvPr>
            <p:custDataLst>
              <p:tags r:id="rId26"/>
            </p:custDataLst>
          </p:nvPr>
        </p:nvSpPr>
        <p:spPr bwMode="auto">
          <a:xfrm>
            <a:off x="5461000" y="6073775"/>
            <a:ext cx="179388" cy="133350"/>
          </a:xfrm>
          <a:prstGeom prst="rect">
            <a:avLst/>
          </a:prstGeom>
          <a:solidFill>
            <a:srgbClr val="009EF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63" name="Text Placeholder 19">
            <a:extLst>
              <a:ext uri="{FF2B5EF4-FFF2-40B4-BE49-F238E27FC236}">
                <a16:creationId xmlns:a16="http://schemas.microsoft.com/office/drawing/2014/main" id="{1EE94FE8-2042-7F4B-990E-1115B60F9492}"/>
              </a:ext>
            </a:extLst>
          </p:cNvPr>
          <p:cNvSpPr>
            <a:spLocks noGrp="1"/>
          </p:cNvSpPr>
          <p:nvPr>
            <p:custDataLst>
              <p:tags r:id="rId27"/>
            </p:custDataLst>
          </p:nvPr>
        </p:nvSpPr>
        <p:spPr bwMode="auto">
          <a:xfrm>
            <a:off x="685800" y="6069013"/>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459DF6DC-E8B7-4EE4-84B0-1D707C189976}" type="datetime'''a''''''''''F''''''''R''''''''''''''R'''''''">
              <a:rPr lang="en-GB" altLang="en-US" sz="1000" smtClean="0">
                <a:ea typeface="+mn-ea"/>
                <a:cs typeface="+mn-cs"/>
              </a:rPr>
              <a:pPr>
                <a:spcBef>
                  <a:spcPct val="0"/>
                </a:spcBef>
                <a:spcAft>
                  <a:spcPct val="0"/>
                </a:spcAft>
              </a:pPr>
              <a:t>aFRR</a:t>
            </a:fld>
            <a:r>
              <a:rPr lang="en-GB" altLang="en-US" sz="1000" baseline="30000">
                <a:ea typeface="+mn-ea"/>
                <a:cs typeface="+mn-cs"/>
              </a:rPr>
              <a:t>4</a:t>
            </a:r>
            <a:endParaRPr lang="en-GB" sz="1000">
              <a:ea typeface="+mn-ea"/>
              <a:cs typeface="+mn-cs"/>
            </a:endParaRPr>
          </a:p>
        </p:txBody>
      </p:sp>
      <p:sp>
        <p:nvSpPr>
          <p:cNvPr id="165" name="Text Placeholder 19">
            <a:extLst>
              <a:ext uri="{FF2B5EF4-FFF2-40B4-BE49-F238E27FC236}">
                <a16:creationId xmlns:a16="http://schemas.microsoft.com/office/drawing/2014/main" id="{5665AB1C-0379-9054-98EB-C3006F37076E}"/>
              </a:ext>
            </a:extLst>
          </p:cNvPr>
          <p:cNvSpPr>
            <a:spLocks noGrp="1"/>
          </p:cNvSpPr>
          <p:nvPr>
            <p:custDataLst>
              <p:tags r:id="rId28"/>
            </p:custDataLst>
          </p:nvPr>
        </p:nvSpPr>
        <p:spPr bwMode="auto">
          <a:xfrm>
            <a:off x="685800" y="6272213"/>
            <a:ext cx="241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A619329B-271E-44FD-9EC0-C92229399F0E}" type="datetime'''''''''''''F''''''''''''''''''''''C''R'''''''''''''''''''''">
              <a:rPr lang="en-GB" altLang="en-US" sz="1000" smtClean="0">
                <a:ea typeface="+mn-ea"/>
                <a:cs typeface="+mn-cs"/>
              </a:rPr>
              <a:pPr>
                <a:spcBef>
                  <a:spcPct val="0"/>
                </a:spcBef>
                <a:spcAft>
                  <a:spcPct val="0"/>
                </a:spcAft>
              </a:pPr>
              <a:t>FCR</a:t>
            </a:fld>
            <a:endParaRPr lang="en-GB" sz="1000">
              <a:ea typeface="+mn-ea"/>
              <a:cs typeface="+mn-cs"/>
            </a:endParaRPr>
          </a:p>
        </p:txBody>
      </p:sp>
      <p:sp>
        <p:nvSpPr>
          <p:cNvPr id="167" name="Text Placeholder 19">
            <a:extLst>
              <a:ext uri="{FF2B5EF4-FFF2-40B4-BE49-F238E27FC236}">
                <a16:creationId xmlns:a16="http://schemas.microsoft.com/office/drawing/2014/main" id="{6A5B10AB-5F63-7A0C-ABF2-FC9B2862543D}"/>
              </a:ext>
            </a:extLst>
          </p:cNvPr>
          <p:cNvSpPr>
            <a:spLocks noGrp="1"/>
          </p:cNvSpPr>
          <p:nvPr>
            <p:custDataLst>
              <p:tags r:id="rId29"/>
            </p:custDataLst>
          </p:nvPr>
        </p:nvSpPr>
        <p:spPr bwMode="auto">
          <a:xfrm>
            <a:off x="1368425" y="6069013"/>
            <a:ext cx="274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7383FC0A-D19D-4EF5-B47C-66A4FB5F7641}" type="datetime'''FF''''''''''''''''''''''R'''''''''''''''''''">
              <a:rPr lang="en-GB" altLang="en-US" sz="1000" smtClean="0">
                <a:ea typeface="+mn-ea"/>
                <a:cs typeface="+mn-cs"/>
              </a:rPr>
              <a:pPr>
                <a:spcBef>
                  <a:spcPct val="0"/>
                </a:spcBef>
                <a:spcAft>
                  <a:spcPct val="0"/>
                </a:spcAft>
              </a:pPr>
              <a:t>FFR</a:t>
            </a:fld>
            <a:r>
              <a:rPr lang="en-GB" altLang="en-US" sz="1000" baseline="30000">
                <a:ea typeface="+mn-ea"/>
                <a:cs typeface="+mn-cs"/>
              </a:rPr>
              <a:t>5</a:t>
            </a:r>
            <a:endParaRPr lang="en-GB" sz="1000" baseline="30000">
              <a:ea typeface="+mn-ea"/>
              <a:cs typeface="+mn-cs"/>
            </a:endParaRPr>
          </a:p>
        </p:txBody>
      </p:sp>
      <p:sp>
        <p:nvSpPr>
          <p:cNvPr id="166" name="Text Placeholder 19">
            <a:extLst>
              <a:ext uri="{FF2B5EF4-FFF2-40B4-BE49-F238E27FC236}">
                <a16:creationId xmlns:a16="http://schemas.microsoft.com/office/drawing/2014/main" id="{CAB388B1-F938-48A9-85A0-D7289190A496}"/>
              </a:ext>
            </a:extLst>
          </p:cNvPr>
          <p:cNvSpPr>
            <a:spLocks noGrp="1"/>
          </p:cNvSpPr>
          <p:nvPr>
            <p:custDataLst>
              <p:tags r:id="rId30"/>
            </p:custDataLst>
          </p:nvPr>
        </p:nvSpPr>
        <p:spPr bwMode="auto">
          <a:xfrm>
            <a:off x="1368425" y="6272213"/>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2DE1D250-C1AC-404D-AE1B-68036A41B285}" type="datetime'''D''''''''''C'''''''''''''''''''''''">
              <a:rPr lang="en-GB" altLang="en-US" sz="1000" smtClean="0">
                <a:ea typeface="+mn-ea"/>
                <a:cs typeface="+mn-cs"/>
              </a:rPr>
              <a:pPr>
                <a:spcBef>
                  <a:spcPct val="0"/>
                </a:spcBef>
                <a:spcAft>
                  <a:spcPct val="0"/>
                </a:spcAft>
              </a:pPr>
              <a:t>DC</a:t>
            </a:fld>
            <a:endParaRPr lang="en-GB" sz="1000">
              <a:ea typeface="+mn-ea"/>
              <a:cs typeface="+mn-cs"/>
            </a:endParaRPr>
          </a:p>
        </p:txBody>
      </p:sp>
      <p:sp>
        <p:nvSpPr>
          <p:cNvPr id="18" name="Text Placeholder 19">
            <a:extLst>
              <a:ext uri="{FF2B5EF4-FFF2-40B4-BE49-F238E27FC236}">
                <a16:creationId xmlns:a16="http://schemas.microsoft.com/office/drawing/2014/main" id="{059646A5-79D2-1A3C-F1E0-9C35517293CB}"/>
              </a:ext>
            </a:extLst>
          </p:cNvPr>
          <p:cNvSpPr>
            <a:spLocks noGrp="1"/>
          </p:cNvSpPr>
          <p:nvPr>
            <p:custDataLst>
              <p:tags r:id="rId31"/>
            </p:custDataLst>
          </p:nvPr>
        </p:nvSpPr>
        <p:spPr bwMode="auto">
          <a:xfrm>
            <a:off x="1974850" y="6069013"/>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DA12E78B-20C1-4F30-B924-453E5BD3395E}" type="datetime'''''''''D''''''''''''''''''M'''">
              <a:rPr lang="en-GB" altLang="en-US" sz="1000" smtClean="0">
                <a:ea typeface="+mn-ea"/>
                <a:cs typeface="+mn-cs"/>
              </a:rPr>
              <a:pPr>
                <a:spcBef>
                  <a:spcPct val="0"/>
                </a:spcBef>
                <a:spcAft>
                  <a:spcPct val="0"/>
                </a:spcAft>
              </a:pPr>
              <a:t>DM</a:t>
            </a:fld>
            <a:endParaRPr lang="en-GB" sz="1000">
              <a:ea typeface="+mn-ea"/>
              <a:cs typeface="+mn-cs"/>
            </a:endParaRPr>
          </a:p>
        </p:txBody>
      </p:sp>
      <p:sp>
        <p:nvSpPr>
          <p:cNvPr id="22" name="Text Placeholder 19">
            <a:extLst>
              <a:ext uri="{FF2B5EF4-FFF2-40B4-BE49-F238E27FC236}">
                <a16:creationId xmlns:a16="http://schemas.microsoft.com/office/drawing/2014/main" id="{DA69936B-C68C-62CC-DA18-EA226E9D4736}"/>
              </a:ext>
            </a:extLst>
          </p:cNvPr>
          <p:cNvSpPr>
            <a:spLocks noGrp="1"/>
          </p:cNvSpPr>
          <p:nvPr>
            <p:custDataLst>
              <p:tags r:id="rId32"/>
            </p:custDataLst>
          </p:nvPr>
        </p:nvSpPr>
        <p:spPr bwMode="auto">
          <a:xfrm>
            <a:off x="1974850" y="6272213"/>
            <a:ext cx="177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705CB851-F5B6-40F0-977C-0E58973308A0}" type="datetime'''''''''''''''''''''''''''''DR'">
              <a:rPr lang="en-GB" altLang="en-US" sz="1000" smtClean="0">
                <a:ea typeface="+mn-ea"/>
                <a:cs typeface="+mn-cs"/>
              </a:rPr>
              <a:pPr>
                <a:spcBef>
                  <a:spcPct val="0"/>
                </a:spcBef>
                <a:spcAft>
                  <a:spcPct val="0"/>
                </a:spcAft>
              </a:pPr>
              <a:t>DR</a:t>
            </a:fld>
            <a:endParaRPr lang="en-GB" sz="1000">
              <a:ea typeface="+mn-ea"/>
              <a:cs typeface="+mn-cs"/>
            </a:endParaRPr>
          </a:p>
        </p:txBody>
      </p:sp>
      <p:sp>
        <p:nvSpPr>
          <p:cNvPr id="164" name="Text Placeholder 19">
            <a:extLst>
              <a:ext uri="{FF2B5EF4-FFF2-40B4-BE49-F238E27FC236}">
                <a16:creationId xmlns:a16="http://schemas.microsoft.com/office/drawing/2014/main" id="{208BC438-E45D-1C15-1FD5-A254EA748A94}"/>
              </a:ext>
            </a:extLst>
          </p:cNvPr>
          <p:cNvSpPr>
            <a:spLocks noGrp="1"/>
          </p:cNvSpPr>
          <p:nvPr>
            <p:custDataLst>
              <p:tags r:id="rId33"/>
            </p:custDataLst>
          </p:nvPr>
        </p:nvSpPr>
        <p:spPr bwMode="auto">
          <a:xfrm>
            <a:off x="2519363" y="6069013"/>
            <a:ext cx="1463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966BAF65-B20D-4630-A315-F99DEC922F78}" type="datetime'''Fa''''''s''''''''t Fre''q''''''u''enc''''y ''Re''sp''onse'''">
              <a:rPr lang="en-GB" altLang="en-US" sz="1000" smtClean="0">
                <a:ea typeface="+mn-ea"/>
                <a:cs typeface="+mn-cs"/>
              </a:rPr>
              <a:pPr>
                <a:spcBef>
                  <a:spcPct val="0"/>
                </a:spcBef>
                <a:spcAft>
                  <a:spcPct val="0"/>
                </a:spcAft>
              </a:pPr>
              <a:t>Fast Frequency Response</a:t>
            </a:fld>
            <a:r>
              <a:rPr lang="en-GB" altLang="en-US" sz="1000" baseline="30000">
                <a:ea typeface="+mn-ea"/>
                <a:cs typeface="+mn-cs"/>
              </a:rPr>
              <a:t>6</a:t>
            </a:r>
            <a:endParaRPr lang="en-GB" sz="1000">
              <a:ea typeface="+mn-ea"/>
              <a:cs typeface="+mn-cs"/>
            </a:endParaRPr>
          </a:p>
        </p:txBody>
      </p:sp>
      <p:sp>
        <p:nvSpPr>
          <p:cNvPr id="168" name="Text Placeholder 19">
            <a:extLst>
              <a:ext uri="{FF2B5EF4-FFF2-40B4-BE49-F238E27FC236}">
                <a16:creationId xmlns:a16="http://schemas.microsoft.com/office/drawing/2014/main" id="{2763294F-C1FD-9A16-3E42-98B48ACC0B8A}"/>
              </a:ext>
            </a:extLst>
          </p:cNvPr>
          <p:cNvSpPr>
            <a:spLocks noGrp="1"/>
          </p:cNvSpPr>
          <p:nvPr>
            <p:custDataLst>
              <p:tags r:id="rId34"/>
            </p:custDataLst>
          </p:nvPr>
        </p:nvSpPr>
        <p:spPr bwMode="auto">
          <a:xfrm>
            <a:off x="2519363" y="627221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60312515-7C4C-444E-8833-FA623E3A3DE5}" type="datetime'''''''''''''''''F''''''''C''''''''''''''R''''''-''''''D'">
              <a:rPr lang="en-GB" altLang="en-US" sz="1000" smtClean="0">
                <a:ea typeface="+mn-ea"/>
                <a:cs typeface="+mn-cs"/>
              </a:rPr>
              <a:pPr>
                <a:spcBef>
                  <a:spcPct val="0"/>
                </a:spcBef>
                <a:spcAft>
                  <a:spcPct val="0"/>
                </a:spcAft>
              </a:pPr>
              <a:t>FCR-D</a:t>
            </a:fld>
            <a:endParaRPr lang="en-GB" sz="1000">
              <a:ea typeface="+mn-ea"/>
              <a:cs typeface="+mn-cs"/>
            </a:endParaRPr>
          </a:p>
        </p:txBody>
      </p:sp>
      <p:sp>
        <p:nvSpPr>
          <p:cNvPr id="169" name="Text Placeholder 19">
            <a:extLst>
              <a:ext uri="{FF2B5EF4-FFF2-40B4-BE49-F238E27FC236}">
                <a16:creationId xmlns:a16="http://schemas.microsoft.com/office/drawing/2014/main" id="{121D6B6A-853F-B96C-F3CC-485DA4285021}"/>
              </a:ext>
            </a:extLst>
          </p:cNvPr>
          <p:cNvSpPr>
            <a:spLocks noGrp="1"/>
          </p:cNvSpPr>
          <p:nvPr>
            <p:custDataLst>
              <p:tags r:id="rId35"/>
            </p:custDataLst>
          </p:nvPr>
        </p:nvSpPr>
        <p:spPr bwMode="auto">
          <a:xfrm>
            <a:off x="4314825" y="606901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423BB579-BCBB-4B97-BCA0-09DAB73658ED}" type="datetime'''''''''''''F''''''''''''''''''''''C''''''''''''R-''''''''N'''">
              <a:rPr lang="en-GB" altLang="en-US" sz="1000" smtClean="0">
                <a:ea typeface="+mn-ea"/>
                <a:cs typeface="+mn-cs"/>
              </a:rPr>
              <a:pPr>
                <a:spcBef>
                  <a:spcPct val="0"/>
                </a:spcBef>
                <a:spcAft>
                  <a:spcPct val="0"/>
                </a:spcAft>
              </a:pPr>
              <a:t>FCR-N</a:t>
            </a:fld>
            <a:endParaRPr lang="en-GB" sz="1000">
              <a:ea typeface="+mn-ea"/>
              <a:cs typeface="+mn-cs"/>
            </a:endParaRPr>
          </a:p>
        </p:txBody>
      </p:sp>
      <p:sp>
        <p:nvSpPr>
          <p:cNvPr id="170" name="Text Placeholder 19">
            <a:extLst>
              <a:ext uri="{FF2B5EF4-FFF2-40B4-BE49-F238E27FC236}">
                <a16:creationId xmlns:a16="http://schemas.microsoft.com/office/drawing/2014/main" id="{037C241E-C1C3-2104-41E0-195699332087}"/>
              </a:ext>
            </a:extLst>
          </p:cNvPr>
          <p:cNvSpPr>
            <a:spLocks noGrp="1"/>
          </p:cNvSpPr>
          <p:nvPr>
            <p:custDataLst>
              <p:tags r:id="rId36"/>
            </p:custDataLst>
          </p:nvPr>
        </p:nvSpPr>
        <p:spPr bwMode="auto">
          <a:xfrm>
            <a:off x="4314825" y="6272213"/>
            <a:ext cx="2619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EC257772-EAF1-4E0E-887C-6B8ABACB34E8}" type="datetime'''''P''''''O''''''''''''''''''R'''">
              <a:rPr lang="en-GB" altLang="en-US" sz="1000" smtClean="0">
                <a:ea typeface="+mn-ea"/>
                <a:cs typeface="+mn-cs"/>
              </a:rPr>
              <a:pPr>
                <a:spcBef>
                  <a:spcPct val="0"/>
                </a:spcBef>
                <a:spcAft>
                  <a:spcPct val="0"/>
                </a:spcAft>
              </a:pPr>
              <a:t>POR</a:t>
            </a:fld>
            <a:endParaRPr lang="en-GB" sz="1000">
              <a:ea typeface="+mn-ea"/>
              <a:cs typeface="+mn-cs"/>
            </a:endParaRPr>
          </a:p>
        </p:txBody>
      </p:sp>
      <p:sp>
        <p:nvSpPr>
          <p:cNvPr id="171" name="Text Placeholder 19">
            <a:extLst>
              <a:ext uri="{FF2B5EF4-FFF2-40B4-BE49-F238E27FC236}">
                <a16:creationId xmlns:a16="http://schemas.microsoft.com/office/drawing/2014/main" id="{781D9E7D-E9D4-69C9-17BD-18C087312754}"/>
              </a:ext>
            </a:extLst>
          </p:cNvPr>
          <p:cNvSpPr>
            <a:spLocks noGrp="1"/>
          </p:cNvSpPr>
          <p:nvPr>
            <p:custDataLst>
              <p:tags r:id="rId37"/>
            </p:custDataLst>
          </p:nvPr>
        </p:nvSpPr>
        <p:spPr bwMode="auto">
          <a:xfrm>
            <a:off x="5027613" y="6069013"/>
            <a:ext cx="250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B2F44D05-C4F9-477A-ACDE-56DE89C804F3}" type="datetime'''''''''''''''S''''''''''''''''''''O''''''''''R'''''''''''''">
              <a:rPr lang="en-GB" altLang="en-US" sz="1000" smtClean="0">
                <a:ea typeface="+mn-ea"/>
                <a:cs typeface="+mn-cs"/>
              </a:rPr>
              <a:pPr>
                <a:spcBef>
                  <a:spcPct val="0"/>
                </a:spcBef>
                <a:spcAft>
                  <a:spcPct val="0"/>
                </a:spcAft>
              </a:pPr>
              <a:t>SOR</a:t>
            </a:fld>
            <a:endParaRPr lang="en-GB" sz="1000">
              <a:ea typeface="+mn-ea"/>
              <a:cs typeface="+mn-cs"/>
            </a:endParaRPr>
          </a:p>
        </p:txBody>
      </p:sp>
      <p:sp>
        <p:nvSpPr>
          <p:cNvPr id="172" name="Text Placeholder 19">
            <a:extLst>
              <a:ext uri="{FF2B5EF4-FFF2-40B4-BE49-F238E27FC236}">
                <a16:creationId xmlns:a16="http://schemas.microsoft.com/office/drawing/2014/main" id="{AA35F448-252D-82D5-29C0-73E4BD7EC37A}"/>
              </a:ext>
            </a:extLst>
          </p:cNvPr>
          <p:cNvSpPr>
            <a:spLocks noGrp="1"/>
          </p:cNvSpPr>
          <p:nvPr>
            <p:custDataLst>
              <p:tags r:id="rId38"/>
            </p:custDataLst>
          </p:nvPr>
        </p:nvSpPr>
        <p:spPr bwMode="auto">
          <a:xfrm>
            <a:off x="5027613" y="6272213"/>
            <a:ext cx="331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A4BC4782-55E4-4C15-B499-DFD86C54142A}" type="datetime'''''''''T''''''O''''''''''''''''''''''R1'''''''''''''">
              <a:rPr lang="en-GB" altLang="en-US" sz="1000" smtClean="0">
                <a:ea typeface="+mn-ea"/>
                <a:cs typeface="+mn-cs"/>
              </a:rPr>
              <a:pPr>
                <a:spcBef>
                  <a:spcPct val="0"/>
                </a:spcBef>
                <a:spcAft>
                  <a:spcPct val="0"/>
                </a:spcAft>
              </a:pPr>
              <a:t>TOR1</a:t>
            </a:fld>
            <a:endParaRPr lang="en-GB" sz="1000">
              <a:ea typeface="+mn-ea"/>
              <a:cs typeface="+mn-cs"/>
            </a:endParaRPr>
          </a:p>
        </p:txBody>
      </p:sp>
      <p:sp>
        <p:nvSpPr>
          <p:cNvPr id="36" name="Text Placeholder 19">
            <a:extLst>
              <a:ext uri="{FF2B5EF4-FFF2-40B4-BE49-F238E27FC236}">
                <a16:creationId xmlns:a16="http://schemas.microsoft.com/office/drawing/2014/main" id="{A7C2460D-343A-78C7-95D5-544B384B2EA3}"/>
              </a:ext>
            </a:extLst>
          </p:cNvPr>
          <p:cNvSpPr>
            <a:spLocks noGrp="1"/>
          </p:cNvSpPr>
          <p:nvPr>
            <p:custDataLst>
              <p:tags r:id="rId39"/>
            </p:custDataLst>
          </p:nvPr>
        </p:nvSpPr>
        <p:spPr bwMode="auto">
          <a:xfrm>
            <a:off x="5691188" y="6069013"/>
            <a:ext cx="331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6D54E20C-6EA5-4F10-BA42-3D793CFA1E91}" type="datetime'''''''T''O''''R''2'''''''''''''''''''''">
              <a:rPr lang="en-GB" altLang="en-US" sz="1000" smtClean="0">
                <a:ea typeface="+mn-ea"/>
                <a:cs typeface="+mn-cs"/>
              </a:rPr>
              <a:pPr>
                <a:spcBef>
                  <a:spcPct val="0"/>
                </a:spcBef>
                <a:spcAft>
                  <a:spcPct val="0"/>
                </a:spcAft>
              </a:pPr>
              <a:t>TOR2</a:t>
            </a:fld>
            <a:endParaRPr lang="en-GB" sz="1000">
              <a:ea typeface="+mn-ea"/>
              <a:cs typeface="+mn-cs"/>
            </a:endParaRPr>
          </a:p>
        </p:txBody>
      </p:sp>
      <p:sp>
        <p:nvSpPr>
          <p:cNvPr id="229" name="TextBox 228">
            <a:extLst>
              <a:ext uri="{FF2B5EF4-FFF2-40B4-BE49-F238E27FC236}">
                <a16:creationId xmlns:a16="http://schemas.microsoft.com/office/drawing/2014/main" id="{E87AFCE3-F285-30E3-799C-FCDB53D1BA19}"/>
              </a:ext>
            </a:extLst>
          </p:cNvPr>
          <p:cNvSpPr txBox="1"/>
          <p:nvPr/>
        </p:nvSpPr>
        <p:spPr>
          <a:xfrm>
            <a:off x="2857910" y="1706400"/>
            <a:ext cx="1446298" cy="190240"/>
          </a:xfrm>
          <a:prstGeom prst="rect">
            <a:avLst/>
          </a:prstGeom>
          <a:solidFill>
            <a:schemeClr val="bg1"/>
          </a:solidFill>
          <a:ln>
            <a:solidFill>
              <a:schemeClr val="tx1"/>
            </a:solidFill>
          </a:ln>
        </p:spPr>
        <p:txBody>
          <a:bodyPr wrap="square" lIns="72000" tIns="18000" rIns="72000" bIns="18000" rtlCol="0">
            <a:spAutoFit/>
          </a:bodyPr>
          <a:lstStyle/>
          <a:p>
            <a:pPr>
              <a:spcBef>
                <a:spcPts val="600"/>
              </a:spcBef>
            </a:pPr>
            <a:endParaRPr lang="en-GB" sz="1000"/>
          </a:p>
        </p:txBody>
      </p:sp>
      <p:cxnSp>
        <p:nvCxnSpPr>
          <p:cNvPr id="237" name="Straight Connector 236">
            <a:extLst>
              <a:ext uri="{FF2B5EF4-FFF2-40B4-BE49-F238E27FC236}">
                <a16:creationId xmlns:a16="http://schemas.microsoft.com/office/drawing/2014/main" id="{E68C51AA-B511-1E78-9E0C-C1D22A57E385}"/>
              </a:ext>
            </a:extLst>
          </p:cNvPr>
          <p:cNvCxnSpPr>
            <a:cxnSpLocks/>
            <a:stCxn id="229" idx="2"/>
          </p:cNvCxnSpPr>
          <p:nvPr/>
        </p:nvCxnSpPr>
        <p:spPr>
          <a:xfrm flipH="1">
            <a:off x="3104377" y="1896640"/>
            <a:ext cx="476682" cy="1191696"/>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DCC1E154-7593-DD53-34FA-33BFA92C700E}"/>
              </a:ext>
            </a:extLst>
          </p:cNvPr>
          <p:cNvSpPr txBox="1">
            <a:spLocks/>
          </p:cNvSpPr>
          <p:nvPr/>
        </p:nvSpPr>
        <p:spPr>
          <a:xfrm>
            <a:off x="381599" y="79401"/>
            <a:ext cx="373050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Frequency response services</a:t>
            </a:r>
          </a:p>
        </p:txBody>
      </p:sp>
      <p:sp>
        <p:nvSpPr>
          <p:cNvPr id="10" name="Oval 9">
            <a:extLst>
              <a:ext uri="{FF2B5EF4-FFF2-40B4-BE49-F238E27FC236}">
                <a16:creationId xmlns:a16="http://schemas.microsoft.com/office/drawing/2014/main" id="{3CCE1D9F-BABB-6A5E-5446-BCA5D2EFEEFD}"/>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12" name="Oval 11">
            <a:extLst>
              <a:ext uri="{FF2B5EF4-FFF2-40B4-BE49-F238E27FC236}">
                <a16:creationId xmlns:a16="http://schemas.microsoft.com/office/drawing/2014/main" id="{2E2BD1CE-28E5-6527-9D7A-85B0BCFB91A7}"/>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4" name="Flowchart: Terminator 3">
            <a:extLst>
              <a:ext uri="{FF2B5EF4-FFF2-40B4-BE49-F238E27FC236}">
                <a16:creationId xmlns:a16="http://schemas.microsoft.com/office/drawing/2014/main" id="{D71138ED-A4A8-A9C2-58F6-A9D698748345}"/>
              </a:ext>
            </a:extLst>
          </p:cNvPr>
          <p:cNvSpPr/>
          <p:nvPr/>
        </p:nvSpPr>
        <p:spPr>
          <a:xfrm>
            <a:off x="504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6" name="Flowchart: Terminator 5">
            <a:extLst>
              <a:ext uri="{FF2B5EF4-FFF2-40B4-BE49-F238E27FC236}">
                <a16:creationId xmlns:a16="http://schemas.microsoft.com/office/drawing/2014/main" id="{7C7051A1-B3CB-4AEA-AE0E-2168AABCE9B2}"/>
              </a:ext>
            </a:extLst>
          </p:cNvPr>
          <p:cNvSpPr/>
          <p:nvPr/>
        </p:nvSpPr>
        <p:spPr>
          <a:xfrm>
            <a:off x="1296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14" name="Flowchart: Terminator 13">
            <a:extLst>
              <a:ext uri="{FF2B5EF4-FFF2-40B4-BE49-F238E27FC236}">
                <a16:creationId xmlns:a16="http://schemas.microsoft.com/office/drawing/2014/main" id="{27F7A6E3-517F-41CB-BEDE-552347A0BCB1}"/>
              </a:ext>
            </a:extLst>
          </p:cNvPr>
          <p:cNvSpPr/>
          <p:nvPr/>
        </p:nvSpPr>
        <p:spPr>
          <a:xfrm>
            <a:off x="2088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15" name="Flowchart: Terminator 14">
            <a:extLst>
              <a:ext uri="{FF2B5EF4-FFF2-40B4-BE49-F238E27FC236}">
                <a16:creationId xmlns:a16="http://schemas.microsoft.com/office/drawing/2014/main" id="{7EBA2571-F7F3-8501-9E55-BC77786B179C}"/>
              </a:ext>
            </a:extLst>
          </p:cNvPr>
          <p:cNvSpPr/>
          <p:nvPr/>
        </p:nvSpPr>
        <p:spPr>
          <a:xfrm>
            <a:off x="2844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16" name="Flowchart: Terminator 15">
            <a:extLst>
              <a:ext uri="{FF2B5EF4-FFF2-40B4-BE49-F238E27FC236}">
                <a16:creationId xmlns:a16="http://schemas.microsoft.com/office/drawing/2014/main" id="{F31C68C6-82B9-EDCB-08FF-86C2FE6FAAC8}"/>
              </a:ext>
            </a:extLst>
          </p:cNvPr>
          <p:cNvSpPr/>
          <p:nvPr/>
        </p:nvSpPr>
        <p:spPr>
          <a:xfrm>
            <a:off x="3600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19" name="Flowchart: Terminator 18">
            <a:extLst>
              <a:ext uri="{FF2B5EF4-FFF2-40B4-BE49-F238E27FC236}">
                <a16:creationId xmlns:a16="http://schemas.microsoft.com/office/drawing/2014/main" id="{89E751E1-13B3-8E79-7952-7D8E0C77F63E}"/>
              </a:ext>
            </a:extLst>
          </p:cNvPr>
          <p:cNvSpPr/>
          <p:nvPr/>
        </p:nvSpPr>
        <p:spPr>
          <a:xfrm>
            <a:off x="4392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23" name="Flowchart: Terminator 22">
            <a:extLst>
              <a:ext uri="{FF2B5EF4-FFF2-40B4-BE49-F238E27FC236}">
                <a16:creationId xmlns:a16="http://schemas.microsoft.com/office/drawing/2014/main" id="{E3B51F7C-6560-7584-D931-C66910DBABB1}"/>
              </a:ext>
            </a:extLst>
          </p:cNvPr>
          <p:cNvSpPr/>
          <p:nvPr/>
        </p:nvSpPr>
        <p:spPr>
          <a:xfrm>
            <a:off x="5184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24" name="Flowchart: Terminator 23">
            <a:extLst>
              <a:ext uri="{FF2B5EF4-FFF2-40B4-BE49-F238E27FC236}">
                <a16:creationId xmlns:a16="http://schemas.microsoft.com/office/drawing/2014/main" id="{AB4AAED1-9D27-6727-0F4F-C3508BF98A70}"/>
              </a:ext>
            </a:extLst>
          </p:cNvPr>
          <p:cNvSpPr/>
          <p:nvPr/>
        </p:nvSpPr>
        <p:spPr>
          <a:xfrm>
            <a:off x="5940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26" name="Flowchart: Terminator 25">
            <a:extLst>
              <a:ext uri="{FF2B5EF4-FFF2-40B4-BE49-F238E27FC236}">
                <a16:creationId xmlns:a16="http://schemas.microsoft.com/office/drawing/2014/main" id="{A34E6959-508A-4093-EF63-3D8E3A7BD9B3}"/>
              </a:ext>
            </a:extLst>
          </p:cNvPr>
          <p:cNvSpPr/>
          <p:nvPr/>
        </p:nvSpPr>
        <p:spPr>
          <a:xfrm>
            <a:off x="6732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28" name="Flowchart: Terminator 27">
            <a:extLst>
              <a:ext uri="{FF2B5EF4-FFF2-40B4-BE49-F238E27FC236}">
                <a16:creationId xmlns:a16="http://schemas.microsoft.com/office/drawing/2014/main" id="{0E844E4C-A84B-3453-BDB6-5F7534881E90}"/>
              </a:ext>
            </a:extLst>
          </p:cNvPr>
          <p:cNvSpPr/>
          <p:nvPr/>
        </p:nvSpPr>
        <p:spPr>
          <a:xfrm>
            <a:off x="7524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29" name="Flowchart: Terminator 28">
            <a:extLst>
              <a:ext uri="{FF2B5EF4-FFF2-40B4-BE49-F238E27FC236}">
                <a16:creationId xmlns:a16="http://schemas.microsoft.com/office/drawing/2014/main" id="{71C9399C-3CCC-423E-F7A8-C21734B70879}"/>
              </a:ext>
            </a:extLst>
          </p:cNvPr>
          <p:cNvSpPr/>
          <p:nvPr/>
        </p:nvSpPr>
        <p:spPr>
          <a:xfrm>
            <a:off x="8280000" y="5647310"/>
            <a:ext cx="474454"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altLang="zh-CN" sz="1000" b="1">
                <a:solidFill>
                  <a:schemeClr val="tx1"/>
                </a:solidFill>
              </a:rPr>
              <a:t>XX%</a:t>
            </a:r>
            <a:endParaRPr lang="en-GB" sz="1000" b="1">
              <a:solidFill>
                <a:schemeClr val="tx1"/>
              </a:solidFill>
            </a:endParaRPr>
          </a:p>
        </p:txBody>
      </p:sp>
      <p:sp>
        <p:nvSpPr>
          <p:cNvPr id="30" name="TextBox 29">
            <a:extLst>
              <a:ext uri="{FF2B5EF4-FFF2-40B4-BE49-F238E27FC236}">
                <a16:creationId xmlns:a16="http://schemas.microsoft.com/office/drawing/2014/main" id="{1246339B-6FBB-3530-048A-48F60EDECBB4}"/>
              </a:ext>
            </a:extLst>
          </p:cNvPr>
          <p:cNvSpPr txBox="1"/>
          <p:nvPr/>
        </p:nvSpPr>
        <p:spPr>
          <a:xfrm>
            <a:off x="7289385" y="6121974"/>
            <a:ext cx="1694278" cy="307777"/>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Ratio of installed grid battery capacity to market size</a:t>
            </a:r>
          </a:p>
        </p:txBody>
      </p:sp>
      <p:sp>
        <p:nvSpPr>
          <p:cNvPr id="31" name="Flowchart: Terminator 30">
            <a:extLst>
              <a:ext uri="{FF2B5EF4-FFF2-40B4-BE49-F238E27FC236}">
                <a16:creationId xmlns:a16="http://schemas.microsoft.com/office/drawing/2014/main" id="{9DEDAA12-D88D-FF5E-FF19-FC4D17F9F659}"/>
              </a:ext>
            </a:extLst>
          </p:cNvPr>
          <p:cNvSpPr/>
          <p:nvPr/>
        </p:nvSpPr>
        <p:spPr>
          <a:xfrm>
            <a:off x="6756963" y="6193054"/>
            <a:ext cx="440058" cy="187898"/>
          </a:xfrm>
          <a:prstGeom prst="flowChartTerminator">
            <a:avLst/>
          </a:prstGeom>
          <a:solidFill>
            <a:schemeClr val="accent6">
              <a:lumMod val="20000"/>
              <a:lumOff val="80000"/>
            </a:schemeClr>
          </a:solidFill>
          <a:ln w="12700">
            <a:solidFill>
              <a:schemeClr val="accent6">
                <a:lumMod val="20000"/>
                <a:lumOff val="8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pPr>
            <a:r>
              <a:rPr lang="en-US" sz="1000" b="1">
                <a:solidFill>
                  <a:schemeClr val="tx1"/>
                </a:solidFill>
              </a:rPr>
              <a:t>x</a:t>
            </a:r>
            <a:r>
              <a:rPr lang="en-GB" sz="1000" b="1">
                <a:solidFill>
                  <a:schemeClr val="tx1"/>
                </a:solidFill>
              </a:rPr>
              <a:t>%</a:t>
            </a:r>
          </a:p>
        </p:txBody>
      </p:sp>
      <p:sp>
        <p:nvSpPr>
          <p:cNvPr id="40" name="TextBox 39">
            <a:extLst>
              <a:ext uri="{FF2B5EF4-FFF2-40B4-BE49-F238E27FC236}">
                <a16:creationId xmlns:a16="http://schemas.microsoft.com/office/drawing/2014/main" id="{B88410A3-9526-ACF6-BB4F-5153FE23C626}"/>
              </a:ext>
            </a:extLst>
          </p:cNvPr>
          <p:cNvSpPr txBox="1"/>
          <p:nvPr/>
        </p:nvSpPr>
        <p:spPr>
          <a:xfrm>
            <a:off x="5034757" y="1706400"/>
            <a:ext cx="2005012" cy="190240"/>
          </a:xfrm>
          <a:prstGeom prst="rect">
            <a:avLst/>
          </a:prstGeom>
          <a:solidFill>
            <a:schemeClr val="bg1"/>
          </a:solidFill>
          <a:ln>
            <a:solidFill>
              <a:schemeClr val="tx1"/>
            </a:solidFill>
          </a:ln>
        </p:spPr>
        <p:txBody>
          <a:bodyPr wrap="square" lIns="72000" tIns="18000" rIns="72000" bIns="18000" rtlCol="0">
            <a:spAutoFit/>
          </a:bodyPr>
          <a:lstStyle/>
          <a:p>
            <a:pPr>
              <a:spcBef>
                <a:spcPts val="600"/>
              </a:spcBef>
            </a:pPr>
            <a:endParaRPr lang="en-GB" sz="1000"/>
          </a:p>
        </p:txBody>
      </p:sp>
      <p:cxnSp>
        <p:nvCxnSpPr>
          <p:cNvPr id="41" name="Straight Connector 40">
            <a:extLst>
              <a:ext uri="{FF2B5EF4-FFF2-40B4-BE49-F238E27FC236}">
                <a16:creationId xmlns:a16="http://schemas.microsoft.com/office/drawing/2014/main" id="{82A27744-D970-05B0-3441-F9607B90EAB8}"/>
              </a:ext>
            </a:extLst>
          </p:cNvPr>
          <p:cNvCxnSpPr>
            <a:cxnSpLocks/>
            <a:stCxn id="40" idx="2"/>
          </p:cNvCxnSpPr>
          <p:nvPr/>
        </p:nvCxnSpPr>
        <p:spPr>
          <a:xfrm flipH="1">
            <a:off x="5402612" y="1896640"/>
            <a:ext cx="634651" cy="121038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98162D3-0130-83E6-4848-93E3966944B4}"/>
              </a:ext>
            </a:extLst>
          </p:cNvPr>
          <p:cNvCxnSpPr>
            <a:cxnSpLocks/>
            <a:stCxn id="40" idx="2"/>
          </p:cNvCxnSpPr>
          <p:nvPr/>
        </p:nvCxnSpPr>
        <p:spPr>
          <a:xfrm>
            <a:off x="6037263" y="1896640"/>
            <a:ext cx="128985" cy="1210380"/>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F298D4-FCD4-25E9-4A94-7892AB538B73}"/>
              </a:ext>
            </a:extLst>
          </p:cNvPr>
          <p:cNvCxnSpPr>
            <a:cxnSpLocks/>
            <a:stCxn id="40" idx="2"/>
          </p:cNvCxnSpPr>
          <p:nvPr/>
        </p:nvCxnSpPr>
        <p:spPr>
          <a:xfrm>
            <a:off x="6037263" y="1896640"/>
            <a:ext cx="887243" cy="122910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34" name="Text Placeholder 16">
            <a:extLst>
              <a:ext uri="{FF2B5EF4-FFF2-40B4-BE49-F238E27FC236}">
                <a16:creationId xmlns:a16="http://schemas.microsoft.com/office/drawing/2014/main" id="{26841F5C-E78A-3B00-9129-80B2DCB7962B}"/>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2" name="Rectangle 1">
            <a:extLst>
              <a:ext uri="{FF2B5EF4-FFF2-40B4-BE49-F238E27FC236}">
                <a16:creationId xmlns:a16="http://schemas.microsoft.com/office/drawing/2014/main" id="{212F3883-FC1C-16B4-DC71-183C1F3E7AE1}"/>
              </a:ext>
            </a:extLst>
          </p:cNvPr>
          <p:cNvSpPr/>
          <p:nvPr/>
        </p:nvSpPr>
        <p:spPr>
          <a:xfrm>
            <a:off x="381000" y="5981700"/>
            <a:ext cx="5871997" cy="428625"/>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274729000"/>
      </p:ext>
    </p:extLst>
  </p:cSld>
  <p:clrMapOvr>
    <a:masterClrMapping/>
  </p:clrMapOvr>
  <p:extLst>
    <p:ext uri="{6950BFC3-D8DA-4A85-94F7-54DA5524770B}">
      <p188:commentRel xmlns:p188="http://schemas.microsoft.com/office/powerpoint/2018/8/main" r:id="rId42"/>
    </p:ext>
  </p:extLs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45A813D-6C94-0413-278C-D8DE22930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4" imgW="306" imgH="306" progId="TCLayout.ActiveDocument.1">
                  <p:embed/>
                </p:oleObj>
              </mc:Choice>
              <mc:Fallback>
                <p:oleObj name="think-cell Slide" r:id="rId74" imgW="306" imgH="306" progId="TCLayout.ActiveDocument.1">
                  <p:embed/>
                  <p:pic>
                    <p:nvPicPr>
                      <p:cNvPr id="11" name="Object 10" hidden="1">
                        <a:extLst>
                          <a:ext uri="{FF2B5EF4-FFF2-40B4-BE49-F238E27FC236}">
                            <a16:creationId xmlns:a16="http://schemas.microsoft.com/office/drawing/2014/main" id="{145A813D-6C94-0413-278C-D8DE22930E49}"/>
                          </a:ext>
                        </a:extLst>
                      </p:cNvPr>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24C157A5-FCB0-ED7A-AD76-DA676F3E5BE0}"/>
              </a:ext>
            </a:extLst>
          </p:cNvPr>
          <p:cNvSpPr>
            <a:spLocks noGrp="1"/>
          </p:cNvSpPr>
          <p:nvPr>
            <p:ph type="body" sz="quarter" idx="28"/>
          </p:nvPr>
        </p:nvSpPr>
        <p:spPr>
          <a:xfrm>
            <a:off x="9500714" y="1263129"/>
            <a:ext cx="2335686" cy="184666"/>
          </a:xfrm>
        </p:spPr>
        <p:txBody>
          <a:bodyPr/>
          <a:lstStyle/>
          <a:p>
            <a:pPr marL="182880" indent="-182880">
              <a:buFont typeface="Wingdings" panose="05000000000000000000" pitchFamily="2" charset="2"/>
              <a:buChar char="§"/>
            </a:pPr>
            <a:endParaRPr lang="en-GB"/>
          </a:p>
        </p:txBody>
      </p:sp>
      <p:sp>
        <p:nvSpPr>
          <p:cNvPr id="12" name="Text Placeholder 11">
            <a:extLst>
              <a:ext uri="{FF2B5EF4-FFF2-40B4-BE49-F238E27FC236}">
                <a16:creationId xmlns:a16="http://schemas.microsoft.com/office/drawing/2014/main" id="{BE8601DE-63E3-8DE8-9B54-AEDE9C42BA65}"/>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6" name="Title 5">
            <a:extLst>
              <a:ext uri="{FF2B5EF4-FFF2-40B4-BE49-F238E27FC236}">
                <a16:creationId xmlns:a16="http://schemas.microsoft.com/office/drawing/2014/main" id="{80E53B68-DFCA-0EB5-CC7B-060C54DD9F73}"/>
              </a:ext>
            </a:extLst>
          </p:cNvPr>
          <p:cNvSpPr>
            <a:spLocks noGrp="1"/>
          </p:cNvSpPr>
          <p:nvPr>
            <p:ph type="title"/>
          </p:nvPr>
        </p:nvSpPr>
        <p:spPr/>
        <p:txBody>
          <a:bodyPr vert="horz"/>
          <a:lstStyle/>
          <a:p>
            <a:r>
              <a:rPr lang="en-GB"/>
              <a:t>Battery expansion drives down market prices and transforms the landscape of ancillary services</a:t>
            </a:r>
            <a:br>
              <a:rPr lang="en-GB"/>
            </a:br>
            <a:br>
              <a:rPr lang="en-GB"/>
            </a:br>
            <a:endParaRPr lang="en-GB"/>
          </a:p>
        </p:txBody>
      </p:sp>
      <p:cxnSp>
        <p:nvCxnSpPr>
          <p:cNvPr id="1640" name="Straight Connector 1639">
            <a:extLst>
              <a:ext uri="{FF2B5EF4-FFF2-40B4-BE49-F238E27FC236}">
                <a16:creationId xmlns:a16="http://schemas.microsoft.com/office/drawing/2014/main" id="{CEC6FA91-3EBF-15BD-DE29-B2062E6C95A5}"/>
              </a:ext>
            </a:extLst>
          </p:cNvPr>
          <p:cNvCxnSpPr/>
          <p:nvPr>
            <p:custDataLst>
              <p:tags r:id="rId2"/>
            </p:custDataLst>
          </p:nvPr>
        </p:nvCxnSpPr>
        <p:spPr bwMode="gray">
          <a:xfrm>
            <a:off x="381000" y="5126038"/>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2" name="Straight Connector 1641">
            <a:extLst>
              <a:ext uri="{FF2B5EF4-FFF2-40B4-BE49-F238E27FC236}">
                <a16:creationId xmlns:a16="http://schemas.microsoft.com/office/drawing/2014/main" id="{12996DC3-43B4-8579-97F0-2876D2536116}"/>
              </a:ext>
            </a:extLst>
          </p:cNvPr>
          <p:cNvCxnSpPr/>
          <p:nvPr>
            <p:custDataLst>
              <p:tags r:id="rId3"/>
            </p:custDataLst>
          </p:nvPr>
        </p:nvCxnSpPr>
        <p:spPr bwMode="gray">
          <a:xfrm>
            <a:off x="381000" y="4371975"/>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8" name="Straight Connector 1637">
            <a:extLst>
              <a:ext uri="{FF2B5EF4-FFF2-40B4-BE49-F238E27FC236}">
                <a16:creationId xmlns:a16="http://schemas.microsoft.com/office/drawing/2014/main" id="{4B1B29BF-BF46-B946-3C79-DE45060E76E0}"/>
              </a:ext>
            </a:extLst>
          </p:cNvPr>
          <p:cNvCxnSpPr/>
          <p:nvPr>
            <p:custDataLst>
              <p:tags r:id="rId4"/>
            </p:custDataLst>
          </p:nvPr>
        </p:nvCxnSpPr>
        <p:spPr bwMode="gray">
          <a:xfrm>
            <a:off x="381000" y="2108200"/>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4" name="Straight Connector 1643">
            <a:extLst>
              <a:ext uri="{FF2B5EF4-FFF2-40B4-BE49-F238E27FC236}">
                <a16:creationId xmlns:a16="http://schemas.microsoft.com/office/drawing/2014/main" id="{0B694777-AF5A-A9AE-CA74-532A8873A96C}"/>
              </a:ext>
            </a:extLst>
          </p:cNvPr>
          <p:cNvCxnSpPr/>
          <p:nvPr>
            <p:custDataLst>
              <p:tags r:id="rId5"/>
            </p:custDataLst>
          </p:nvPr>
        </p:nvCxnSpPr>
        <p:spPr bwMode="gray">
          <a:xfrm>
            <a:off x="381000" y="3616325"/>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6" name="Straight Connector 1645">
            <a:extLst>
              <a:ext uri="{FF2B5EF4-FFF2-40B4-BE49-F238E27FC236}">
                <a16:creationId xmlns:a16="http://schemas.microsoft.com/office/drawing/2014/main" id="{50B74923-FFB5-C423-E70A-A8723CDF87B5}"/>
              </a:ext>
            </a:extLst>
          </p:cNvPr>
          <p:cNvCxnSpPr/>
          <p:nvPr>
            <p:custDataLst>
              <p:tags r:id="rId6"/>
            </p:custDataLst>
          </p:nvPr>
        </p:nvCxnSpPr>
        <p:spPr bwMode="gray">
          <a:xfrm>
            <a:off x="381000" y="2862263"/>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46" name="Rectangle 1545">
            <a:extLst>
              <a:ext uri="{FF2B5EF4-FFF2-40B4-BE49-F238E27FC236}">
                <a16:creationId xmlns:a16="http://schemas.microsoft.com/office/drawing/2014/main" id="{FEB25FBF-4D6B-E45C-3263-3A7F7EBA6427}"/>
              </a:ext>
            </a:extLst>
          </p:cNvPr>
          <p:cNvSpPr/>
          <p:nvPr>
            <p:custDataLst>
              <p:tags r:id="rId7"/>
            </p:custDataLst>
          </p:nvPr>
        </p:nvSpPr>
        <p:spPr bwMode="auto">
          <a:xfrm>
            <a:off x="3078164" y="2457450"/>
            <a:ext cx="1357313" cy="3422650"/>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45" name="Rectangle 1544">
            <a:extLst>
              <a:ext uri="{FF2B5EF4-FFF2-40B4-BE49-F238E27FC236}">
                <a16:creationId xmlns:a16="http://schemas.microsoft.com/office/drawing/2014/main" id="{EED34D1F-706E-14D2-B529-EC18D3964670}"/>
              </a:ext>
            </a:extLst>
          </p:cNvPr>
          <p:cNvSpPr/>
          <p:nvPr>
            <p:custDataLst>
              <p:tags r:id="rId8"/>
            </p:custDataLst>
          </p:nvPr>
        </p:nvSpPr>
        <p:spPr bwMode="auto">
          <a:xfrm>
            <a:off x="2843213" y="2470150"/>
            <a:ext cx="234950" cy="3409950"/>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43" name="Rectangle 1542">
            <a:extLst>
              <a:ext uri="{FF2B5EF4-FFF2-40B4-BE49-F238E27FC236}">
                <a16:creationId xmlns:a16="http://schemas.microsoft.com/office/drawing/2014/main" id="{7196A93A-5FCC-5E11-7CB4-B500BCBD3379}"/>
              </a:ext>
            </a:extLst>
          </p:cNvPr>
          <p:cNvSpPr/>
          <p:nvPr>
            <p:custDataLst>
              <p:tags r:id="rId9"/>
            </p:custDataLst>
          </p:nvPr>
        </p:nvSpPr>
        <p:spPr bwMode="auto">
          <a:xfrm>
            <a:off x="2792413" y="3184525"/>
            <a:ext cx="50800" cy="2695575"/>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424" name="Rectangle 1423">
            <a:extLst>
              <a:ext uri="{FF2B5EF4-FFF2-40B4-BE49-F238E27FC236}">
                <a16:creationId xmlns:a16="http://schemas.microsoft.com/office/drawing/2014/main" id="{3B2551BF-2427-1F2F-13C1-A2D2F63B38F0}"/>
              </a:ext>
            </a:extLst>
          </p:cNvPr>
          <p:cNvSpPr/>
          <p:nvPr>
            <p:custDataLst>
              <p:tags r:id="rId10"/>
            </p:custDataLst>
          </p:nvPr>
        </p:nvSpPr>
        <p:spPr bwMode="auto">
          <a:xfrm>
            <a:off x="2789238" y="3527425"/>
            <a:ext cx="3175" cy="2352675"/>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149" name="Rectangle 1148">
            <a:extLst>
              <a:ext uri="{FF2B5EF4-FFF2-40B4-BE49-F238E27FC236}">
                <a16:creationId xmlns:a16="http://schemas.microsoft.com/office/drawing/2014/main" id="{549D8055-B0A7-10E2-5139-EFED1E74178A}"/>
              </a:ext>
            </a:extLst>
          </p:cNvPr>
          <p:cNvSpPr/>
          <p:nvPr>
            <p:custDataLst>
              <p:tags r:id="rId11"/>
            </p:custDataLst>
          </p:nvPr>
        </p:nvSpPr>
        <p:spPr bwMode="auto">
          <a:xfrm>
            <a:off x="2787650" y="3527425"/>
            <a:ext cx="1588" cy="2352675"/>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438" name="Rectangle 1437">
            <a:extLst>
              <a:ext uri="{FF2B5EF4-FFF2-40B4-BE49-F238E27FC236}">
                <a16:creationId xmlns:a16="http://schemas.microsoft.com/office/drawing/2014/main" id="{A15811A9-DF21-8338-760B-285D9B1D76C8}"/>
              </a:ext>
            </a:extLst>
          </p:cNvPr>
          <p:cNvSpPr/>
          <p:nvPr>
            <p:custDataLst>
              <p:tags r:id="rId12"/>
            </p:custDataLst>
          </p:nvPr>
        </p:nvSpPr>
        <p:spPr bwMode="auto">
          <a:xfrm>
            <a:off x="2782889" y="3592513"/>
            <a:ext cx="4763" cy="22875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58" name="Rectangle 1557">
            <a:extLst>
              <a:ext uri="{FF2B5EF4-FFF2-40B4-BE49-F238E27FC236}">
                <a16:creationId xmlns:a16="http://schemas.microsoft.com/office/drawing/2014/main" id="{626452D0-D322-B931-811D-25111A046713}"/>
              </a:ext>
            </a:extLst>
          </p:cNvPr>
          <p:cNvSpPr/>
          <p:nvPr>
            <p:custDataLst>
              <p:tags r:id="rId13"/>
            </p:custDataLst>
          </p:nvPr>
        </p:nvSpPr>
        <p:spPr bwMode="auto">
          <a:xfrm>
            <a:off x="2760663" y="3648075"/>
            <a:ext cx="22225" cy="2232025"/>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51" name="Rectangle 1550">
            <a:extLst>
              <a:ext uri="{FF2B5EF4-FFF2-40B4-BE49-F238E27FC236}">
                <a16:creationId xmlns:a16="http://schemas.microsoft.com/office/drawing/2014/main" id="{69A970AF-B5D2-7735-FAAC-DC7B241E7744}"/>
              </a:ext>
            </a:extLst>
          </p:cNvPr>
          <p:cNvSpPr/>
          <p:nvPr>
            <p:custDataLst>
              <p:tags r:id="rId14"/>
            </p:custDataLst>
          </p:nvPr>
        </p:nvSpPr>
        <p:spPr bwMode="auto">
          <a:xfrm>
            <a:off x="2743201" y="3668712"/>
            <a:ext cx="17463" cy="22113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49" name="Rectangle 1548">
            <a:extLst>
              <a:ext uri="{FF2B5EF4-FFF2-40B4-BE49-F238E27FC236}">
                <a16:creationId xmlns:a16="http://schemas.microsoft.com/office/drawing/2014/main" id="{CE43C3AD-E86E-734F-4D43-799CE3212B4A}"/>
              </a:ext>
            </a:extLst>
          </p:cNvPr>
          <p:cNvSpPr/>
          <p:nvPr>
            <p:custDataLst>
              <p:tags r:id="rId15"/>
            </p:custDataLst>
          </p:nvPr>
        </p:nvSpPr>
        <p:spPr bwMode="auto">
          <a:xfrm>
            <a:off x="2741613" y="3668712"/>
            <a:ext cx="1588" cy="22113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09" name="Rectangle 1508">
            <a:extLst>
              <a:ext uri="{FF2B5EF4-FFF2-40B4-BE49-F238E27FC236}">
                <a16:creationId xmlns:a16="http://schemas.microsoft.com/office/drawing/2014/main" id="{303C83D1-2BC1-885A-4EB0-4278241DECCE}"/>
              </a:ext>
            </a:extLst>
          </p:cNvPr>
          <p:cNvSpPr/>
          <p:nvPr>
            <p:custDataLst>
              <p:tags r:id="rId16"/>
            </p:custDataLst>
          </p:nvPr>
        </p:nvSpPr>
        <p:spPr bwMode="auto">
          <a:xfrm>
            <a:off x="2708275" y="3681412"/>
            <a:ext cx="33338" cy="21986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450" name="Rectangle 1449">
            <a:extLst>
              <a:ext uri="{FF2B5EF4-FFF2-40B4-BE49-F238E27FC236}">
                <a16:creationId xmlns:a16="http://schemas.microsoft.com/office/drawing/2014/main" id="{118145D4-E4F8-18E1-4A70-DA2DAD439E86}"/>
              </a:ext>
            </a:extLst>
          </p:cNvPr>
          <p:cNvSpPr/>
          <p:nvPr>
            <p:custDataLst>
              <p:tags r:id="rId17"/>
            </p:custDataLst>
          </p:nvPr>
        </p:nvSpPr>
        <p:spPr bwMode="auto">
          <a:xfrm>
            <a:off x="2671764" y="3687763"/>
            <a:ext cx="36513" cy="219233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455" name="Rectangle 1454">
            <a:extLst>
              <a:ext uri="{FF2B5EF4-FFF2-40B4-BE49-F238E27FC236}">
                <a16:creationId xmlns:a16="http://schemas.microsoft.com/office/drawing/2014/main" id="{283294B0-CFEF-F46F-A44F-316892A3F051}"/>
              </a:ext>
            </a:extLst>
          </p:cNvPr>
          <p:cNvSpPr/>
          <p:nvPr>
            <p:custDataLst>
              <p:tags r:id="rId18"/>
            </p:custDataLst>
          </p:nvPr>
        </p:nvSpPr>
        <p:spPr bwMode="auto">
          <a:xfrm>
            <a:off x="2636838" y="3692525"/>
            <a:ext cx="34925" cy="2187575"/>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50" name="Rectangle 1549">
            <a:extLst>
              <a:ext uri="{FF2B5EF4-FFF2-40B4-BE49-F238E27FC236}">
                <a16:creationId xmlns:a16="http://schemas.microsoft.com/office/drawing/2014/main" id="{75BE8575-00DD-DCDC-C3CC-C72DC20F9802}"/>
              </a:ext>
            </a:extLst>
          </p:cNvPr>
          <p:cNvSpPr/>
          <p:nvPr>
            <p:custDataLst>
              <p:tags r:id="rId19"/>
            </p:custDataLst>
          </p:nvPr>
        </p:nvSpPr>
        <p:spPr bwMode="auto">
          <a:xfrm>
            <a:off x="2619375" y="3706813"/>
            <a:ext cx="17463" cy="21732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440" name="Rectangle 1439">
            <a:extLst>
              <a:ext uri="{FF2B5EF4-FFF2-40B4-BE49-F238E27FC236}">
                <a16:creationId xmlns:a16="http://schemas.microsoft.com/office/drawing/2014/main" id="{C75E3ED5-C3A0-0342-7795-B1A1FBBE4645}"/>
              </a:ext>
            </a:extLst>
          </p:cNvPr>
          <p:cNvSpPr/>
          <p:nvPr>
            <p:custDataLst>
              <p:tags r:id="rId20"/>
            </p:custDataLst>
          </p:nvPr>
        </p:nvSpPr>
        <p:spPr bwMode="auto">
          <a:xfrm>
            <a:off x="2584450" y="3722688"/>
            <a:ext cx="34925" cy="2157413"/>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55" name="Rectangle 1554">
            <a:extLst>
              <a:ext uri="{FF2B5EF4-FFF2-40B4-BE49-F238E27FC236}">
                <a16:creationId xmlns:a16="http://schemas.microsoft.com/office/drawing/2014/main" id="{B53CFAD0-CAE7-610D-4833-DB00B93A2556}"/>
              </a:ext>
            </a:extLst>
          </p:cNvPr>
          <p:cNvSpPr/>
          <p:nvPr>
            <p:custDataLst>
              <p:tags r:id="rId21"/>
            </p:custDataLst>
          </p:nvPr>
        </p:nvSpPr>
        <p:spPr bwMode="auto">
          <a:xfrm>
            <a:off x="2571750" y="3886200"/>
            <a:ext cx="12700" cy="1993900"/>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53" name="Rectangle 1552">
            <a:extLst>
              <a:ext uri="{FF2B5EF4-FFF2-40B4-BE49-F238E27FC236}">
                <a16:creationId xmlns:a16="http://schemas.microsoft.com/office/drawing/2014/main" id="{8D306E81-5670-A24D-1A58-7F5BEFB913C1}"/>
              </a:ext>
            </a:extLst>
          </p:cNvPr>
          <p:cNvSpPr/>
          <p:nvPr>
            <p:custDataLst>
              <p:tags r:id="rId22"/>
            </p:custDataLst>
          </p:nvPr>
        </p:nvSpPr>
        <p:spPr bwMode="auto">
          <a:xfrm>
            <a:off x="2473325" y="3886200"/>
            <a:ext cx="98425" cy="1993900"/>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42" name="Rectangle 1541">
            <a:extLst>
              <a:ext uri="{FF2B5EF4-FFF2-40B4-BE49-F238E27FC236}">
                <a16:creationId xmlns:a16="http://schemas.microsoft.com/office/drawing/2014/main" id="{E5558285-3173-FA8E-FF8E-20C5F28D08B4}"/>
              </a:ext>
            </a:extLst>
          </p:cNvPr>
          <p:cNvSpPr/>
          <p:nvPr>
            <p:custDataLst>
              <p:tags r:id="rId23"/>
            </p:custDataLst>
          </p:nvPr>
        </p:nvSpPr>
        <p:spPr bwMode="auto">
          <a:xfrm>
            <a:off x="2022475" y="4368800"/>
            <a:ext cx="17463" cy="1511300"/>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48" name="Rectangle 1547">
            <a:extLst>
              <a:ext uri="{FF2B5EF4-FFF2-40B4-BE49-F238E27FC236}">
                <a16:creationId xmlns:a16="http://schemas.microsoft.com/office/drawing/2014/main" id="{5641DF92-D536-972D-6629-934AACBE4E32}"/>
              </a:ext>
            </a:extLst>
          </p:cNvPr>
          <p:cNvSpPr/>
          <p:nvPr>
            <p:custDataLst>
              <p:tags r:id="rId24"/>
            </p:custDataLst>
          </p:nvPr>
        </p:nvSpPr>
        <p:spPr bwMode="auto">
          <a:xfrm>
            <a:off x="381000" y="5829300"/>
            <a:ext cx="554038" cy="50800"/>
          </a:xfrm>
          <a:prstGeom prst="rect">
            <a:avLst/>
          </a:prstGeom>
          <a:solidFill>
            <a:srgbClr val="E9E261"/>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57" name="Rectangle 1556">
            <a:extLst>
              <a:ext uri="{FF2B5EF4-FFF2-40B4-BE49-F238E27FC236}">
                <a16:creationId xmlns:a16="http://schemas.microsoft.com/office/drawing/2014/main" id="{DAB158C6-FA08-099F-4FEB-FB3C08677E19}"/>
              </a:ext>
            </a:extLst>
          </p:cNvPr>
          <p:cNvSpPr/>
          <p:nvPr>
            <p:custDataLst>
              <p:tags r:id="rId25"/>
            </p:custDataLst>
          </p:nvPr>
        </p:nvSpPr>
        <p:spPr bwMode="auto">
          <a:xfrm>
            <a:off x="2092325" y="3913188"/>
            <a:ext cx="381000" cy="1966913"/>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08" name="Rectangle 1507">
            <a:extLst>
              <a:ext uri="{FF2B5EF4-FFF2-40B4-BE49-F238E27FC236}">
                <a16:creationId xmlns:a16="http://schemas.microsoft.com/office/drawing/2014/main" id="{CF344595-533B-899E-8887-60AF37162E28}"/>
              </a:ext>
            </a:extLst>
          </p:cNvPr>
          <p:cNvSpPr/>
          <p:nvPr>
            <p:custDataLst>
              <p:tags r:id="rId26"/>
            </p:custDataLst>
          </p:nvPr>
        </p:nvSpPr>
        <p:spPr bwMode="auto">
          <a:xfrm>
            <a:off x="2039938" y="4357688"/>
            <a:ext cx="52388" cy="1522413"/>
          </a:xfrm>
          <a:prstGeom prst="rect">
            <a:avLst/>
          </a:prstGeom>
          <a:solidFill>
            <a:srgbClr val="4C6C9C"/>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56" name="Rectangle 1555">
            <a:extLst>
              <a:ext uri="{FF2B5EF4-FFF2-40B4-BE49-F238E27FC236}">
                <a16:creationId xmlns:a16="http://schemas.microsoft.com/office/drawing/2014/main" id="{D28349C1-32B2-6C53-7950-26F1DDBAB7EE}"/>
              </a:ext>
            </a:extLst>
          </p:cNvPr>
          <p:cNvSpPr/>
          <p:nvPr>
            <p:custDataLst>
              <p:tags r:id="rId27"/>
            </p:custDataLst>
          </p:nvPr>
        </p:nvSpPr>
        <p:spPr bwMode="auto">
          <a:xfrm>
            <a:off x="935038" y="5740399"/>
            <a:ext cx="1087438" cy="139700"/>
          </a:xfrm>
          <a:prstGeom prst="rect">
            <a:avLst/>
          </a:prstGeom>
          <a:solidFill>
            <a:srgbClr val="4E5F6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cxnSp>
        <p:nvCxnSpPr>
          <p:cNvPr id="1141" name="Straight Connector 1140">
            <a:extLst>
              <a:ext uri="{FF2B5EF4-FFF2-40B4-BE49-F238E27FC236}">
                <a16:creationId xmlns:a16="http://schemas.microsoft.com/office/drawing/2014/main" id="{1632303A-E722-777F-0767-B51EA55A3360}"/>
              </a:ext>
            </a:extLst>
          </p:cNvPr>
          <p:cNvCxnSpPr/>
          <p:nvPr>
            <p:custDataLst>
              <p:tags r:id="rId28"/>
            </p:custDataLst>
          </p:nvPr>
        </p:nvCxnSpPr>
        <p:spPr bwMode="auto">
          <a:xfrm>
            <a:off x="376238" y="5880100"/>
            <a:ext cx="40640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38" name="Rectangle 1537">
            <a:extLst>
              <a:ext uri="{FF2B5EF4-FFF2-40B4-BE49-F238E27FC236}">
                <a16:creationId xmlns:a16="http://schemas.microsoft.com/office/drawing/2014/main" id="{767074E6-4FB8-A738-869C-E8959C1F182A}"/>
              </a:ext>
            </a:extLst>
          </p:cNvPr>
          <p:cNvSpPr/>
          <p:nvPr>
            <p:custDataLst>
              <p:tags r:id="rId29"/>
            </p:custDataLst>
          </p:nvPr>
        </p:nvSpPr>
        <p:spPr bwMode="auto">
          <a:xfrm>
            <a:off x="2555875" y="6145213"/>
            <a:ext cx="179388" cy="133350"/>
          </a:xfrm>
          <a:prstGeom prst="rect">
            <a:avLst/>
          </a:prstGeom>
          <a:solidFill>
            <a:srgbClr val="441A0D"/>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41" name="Rectangle 1540">
            <a:extLst>
              <a:ext uri="{FF2B5EF4-FFF2-40B4-BE49-F238E27FC236}">
                <a16:creationId xmlns:a16="http://schemas.microsoft.com/office/drawing/2014/main" id="{904C50AA-6EF3-5EAB-9C02-6CB60760B9DD}"/>
              </a:ext>
            </a:extLst>
          </p:cNvPr>
          <p:cNvSpPr/>
          <p:nvPr>
            <p:custDataLst>
              <p:tags r:id="rId30"/>
            </p:custDataLst>
          </p:nvPr>
        </p:nvSpPr>
        <p:spPr bwMode="auto">
          <a:xfrm>
            <a:off x="422275" y="6145213"/>
            <a:ext cx="179388" cy="133350"/>
          </a:xfrm>
          <a:prstGeom prst="rect">
            <a:avLst/>
          </a:prstGeom>
          <a:solidFill>
            <a:srgbClr val="E9E261"/>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39" name="Rectangle 1538">
            <a:extLst>
              <a:ext uri="{FF2B5EF4-FFF2-40B4-BE49-F238E27FC236}">
                <a16:creationId xmlns:a16="http://schemas.microsoft.com/office/drawing/2014/main" id="{15007F5D-D50E-ECA3-E796-19077D838C7F}"/>
              </a:ext>
            </a:extLst>
          </p:cNvPr>
          <p:cNvSpPr/>
          <p:nvPr>
            <p:custDataLst>
              <p:tags r:id="rId31"/>
            </p:custDataLst>
          </p:nvPr>
        </p:nvSpPr>
        <p:spPr bwMode="auto">
          <a:xfrm>
            <a:off x="1881188" y="6145213"/>
            <a:ext cx="179388" cy="133350"/>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40" name="Rectangle 1539">
            <a:extLst>
              <a:ext uri="{FF2B5EF4-FFF2-40B4-BE49-F238E27FC236}">
                <a16:creationId xmlns:a16="http://schemas.microsoft.com/office/drawing/2014/main" id="{24FF62F3-4CB6-B70F-0257-E7F65C91CD0E}"/>
              </a:ext>
            </a:extLst>
          </p:cNvPr>
          <p:cNvSpPr/>
          <p:nvPr>
            <p:custDataLst>
              <p:tags r:id="rId32"/>
            </p:custDataLst>
          </p:nvPr>
        </p:nvSpPr>
        <p:spPr bwMode="auto">
          <a:xfrm>
            <a:off x="1179513" y="6145213"/>
            <a:ext cx="179388" cy="133350"/>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36" name="Rectangle 1535">
            <a:extLst>
              <a:ext uri="{FF2B5EF4-FFF2-40B4-BE49-F238E27FC236}">
                <a16:creationId xmlns:a16="http://schemas.microsoft.com/office/drawing/2014/main" id="{158C2C11-4B32-98A6-6D3D-A44B7C140BC9}"/>
              </a:ext>
            </a:extLst>
          </p:cNvPr>
          <p:cNvSpPr/>
          <p:nvPr>
            <p:custDataLst>
              <p:tags r:id="rId33"/>
            </p:custDataLst>
          </p:nvPr>
        </p:nvSpPr>
        <p:spPr bwMode="auto">
          <a:xfrm>
            <a:off x="7910513" y="6145213"/>
            <a:ext cx="179388" cy="133350"/>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34" name="Rectangle 1533">
            <a:extLst>
              <a:ext uri="{FF2B5EF4-FFF2-40B4-BE49-F238E27FC236}">
                <a16:creationId xmlns:a16="http://schemas.microsoft.com/office/drawing/2014/main" id="{FF1C4CBB-9A27-FC3A-FE6A-CCA5D4B35B53}"/>
              </a:ext>
            </a:extLst>
          </p:cNvPr>
          <p:cNvSpPr/>
          <p:nvPr>
            <p:custDataLst>
              <p:tags r:id="rId34"/>
            </p:custDataLst>
          </p:nvPr>
        </p:nvSpPr>
        <p:spPr bwMode="auto">
          <a:xfrm>
            <a:off x="3567113" y="6145213"/>
            <a:ext cx="179388" cy="133350"/>
          </a:xfrm>
          <a:prstGeom prst="rect">
            <a:avLst/>
          </a:prstGeom>
          <a:solidFill>
            <a:srgbClr val="4E5F6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32" name="Rectangle 1531">
            <a:extLst>
              <a:ext uri="{FF2B5EF4-FFF2-40B4-BE49-F238E27FC236}">
                <a16:creationId xmlns:a16="http://schemas.microsoft.com/office/drawing/2014/main" id="{6D69F46F-CB17-F906-DDD5-C2A384778B9F}"/>
              </a:ext>
            </a:extLst>
          </p:cNvPr>
          <p:cNvSpPr/>
          <p:nvPr>
            <p:custDataLst>
              <p:tags r:id="rId35"/>
            </p:custDataLst>
          </p:nvPr>
        </p:nvSpPr>
        <p:spPr bwMode="auto">
          <a:xfrm>
            <a:off x="5073650" y="6145213"/>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31" name="Rectangle 1530">
            <a:extLst>
              <a:ext uri="{FF2B5EF4-FFF2-40B4-BE49-F238E27FC236}">
                <a16:creationId xmlns:a16="http://schemas.microsoft.com/office/drawing/2014/main" id="{1C1DBF7A-DF97-5732-962F-906B24D9675B}"/>
              </a:ext>
            </a:extLst>
          </p:cNvPr>
          <p:cNvSpPr/>
          <p:nvPr>
            <p:custDataLst>
              <p:tags r:id="rId36"/>
            </p:custDataLst>
          </p:nvPr>
        </p:nvSpPr>
        <p:spPr bwMode="auto">
          <a:xfrm>
            <a:off x="6481763" y="6145213"/>
            <a:ext cx="179388" cy="133350"/>
          </a:xfrm>
          <a:prstGeom prst="rect">
            <a:avLst/>
          </a:prstGeom>
          <a:solidFill>
            <a:srgbClr val="4C6C9C"/>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138" name="Text Placeholder 19">
            <a:extLst>
              <a:ext uri="{FF2B5EF4-FFF2-40B4-BE49-F238E27FC236}">
                <a16:creationId xmlns:a16="http://schemas.microsoft.com/office/drawing/2014/main" id="{9F9869AF-B0F6-4E89-B216-4EC18C7334C2}"/>
              </a:ext>
            </a:extLst>
          </p:cNvPr>
          <p:cNvSpPr>
            <a:spLocks noGrp="1"/>
          </p:cNvSpPr>
          <p:nvPr>
            <p:custDataLst>
              <p:tags r:id="rId37"/>
            </p:custDataLst>
          </p:nvPr>
        </p:nvSpPr>
        <p:spPr bwMode="auto">
          <a:xfrm>
            <a:off x="2111374" y="6140450"/>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GB" altLang="en-US" sz="1000">
                <a:ea typeface="+mn-ea"/>
                <a:cs typeface="+mn-cs"/>
              </a:rPr>
              <a:t>CCGT</a:t>
            </a:r>
            <a:endParaRPr lang="en-GB" sz="1000">
              <a:ea typeface="+mn-ea"/>
              <a:cs typeface="+mn-cs"/>
            </a:endParaRPr>
          </a:p>
        </p:txBody>
      </p:sp>
      <p:sp>
        <p:nvSpPr>
          <p:cNvPr id="1140" name="Text Placeholder 19">
            <a:extLst>
              <a:ext uri="{FF2B5EF4-FFF2-40B4-BE49-F238E27FC236}">
                <a16:creationId xmlns:a16="http://schemas.microsoft.com/office/drawing/2014/main" id="{9F9869AF-B0F6-4E89-B216-4EC18C7334C2}"/>
              </a:ext>
            </a:extLst>
          </p:cNvPr>
          <p:cNvSpPr>
            <a:spLocks noGrp="1"/>
          </p:cNvSpPr>
          <p:nvPr>
            <p:custDataLst>
              <p:tags r:id="rId38"/>
            </p:custDataLst>
          </p:nvPr>
        </p:nvSpPr>
        <p:spPr bwMode="auto">
          <a:xfrm>
            <a:off x="652462" y="6140450"/>
            <a:ext cx="425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GB" altLang="en-US" sz="1000">
                <a:ea typeface="+mn-ea"/>
                <a:cs typeface="+mn-cs"/>
              </a:rPr>
              <a:t>Battery</a:t>
            </a:r>
            <a:endParaRPr lang="en-GB" sz="1000">
              <a:ea typeface="+mn-ea"/>
              <a:cs typeface="+mn-cs"/>
            </a:endParaRPr>
          </a:p>
        </p:txBody>
      </p:sp>
      <p:sp>
        <p:nvSpPr>
          <p:cNvPr id="1139" name="Text Placeholder 19">
            <a:extLst>
              <a:ext uri="{FF2B5EF4-FFF2-40B4-BE49-F238E27FC236}">
                <a16:creationId xmlns:a16="http://schemas.microsoft.com/office/drawing/2014/main" id="{9F9869AF-B0F6-4E89-B216-4EC18C7334C2}"/>
              </a:ext>
            </a:extLst>
          </p:cNvPr>
          <p:cNvSpPr>
            <a:spLocks noGrp="1"/>
          </p:cNvSpPr>
          <p:nvPr>
            <p:custDataLst>
              <p:tags r:id="rId39"/>
            </p:custDataLst>
          </p:nvPr>
        </p:nvSpPr>
        <p:spPr bwMode="auto">
          <a:xfrm>
            <a:off x="1409700" y="6140450"/>
            <a:ext cx="369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GB" altLang="en-US" sz="1000">
                <a:ea typeface="+mn-ea"/>
                <a:cs typeface="+mn-cs"/>
              </a:rPr>
              <a:t>Biogas</a:t>
            </a:r>
            <a:endParaRPr lang="en-GB" sz="1000">
              <a:ea typeface="+mn-ea"/>
              <a:cs typeface="+mn-cs"/>
            </a:endParaRPr>
          </a:p>
        </p:txBody>
      </p:sp>
      <p:sp>
        <p:nvSpPr>
          <p:cNvPr id="1334" name="Text Placeholder 19">
            <a:extLst>
              <a:ext uri="{FF2B5EF4-FFF2-40B4-BE49-F238E27FC236}">
                <a16:creationId xmlns:a16="http://schemas.microsoft.com/office/drawing/2014/main" id="{D69FF374-0497-77C2-4289-3416AFDB9A66}"/>
              </a:ext>
            </a:extLst>
          </p:cNvPr>
          <p:cNvSpPr>
            <a:spLocks noGrp="1"/>
          </p:cNvSpPr>
          <p:nvPr>
            <p:custDataLst>
              <p:tags r:id="rId40"/>
            </p:custDataLst>
          </p:nvPr>
        </p:nvSpPr>
        <p:spPr bwMode="auto">
          <a:xfrm>
            <a:off x="2786063" y="6140450"/>
            <a:ext cx="679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GB" altLang="en-US" sz="1000">
                <a:ea typeface="+mn-ea"/>
                <a:cs typeface="+mn-cs"/>
              </a:rPr>
              <a:t>Coal/Lignite</a:t>
            </a:r>
            <a:endParaRPr lang="en-GB" sz="1000">
              <a:ea typeface="+mn-ea"/>
              <a:cs typeface="+mn-cs"/>
            </a:endParaRPr>
          </a:p>
        </p:txBody>
      </p:sp>
      <p:sp>
        <p:nvSpPr>
          <p:cNvPr id="1330" name="Text Placeholder 19">
            <a:extLst>
              <a:ext uri="{FF2B5EF4-FFF2-40B4-BE49-F238E27FC236}">
                <a16:creationId xmlns:a16="http://schemas.microsoft.com/office/drawing/2014/main" id="{E03D7FCD-0B53-5FE2-8F21-FE59152928DB}"/>
              </a:ext>
            </a:extLst>
          </p:cNvPr>
          <p:cNvSpPr>
            <a:spLocks noGrp="1"/>
          </p:cNvSpPr>
          <p:nvPr>
            <p:custDataLst>
              <p:tags r:id="rId41"/>
            </p:custDataLst>
          </p:nvPr>
        </p:nvSpPr>
        <p:spPr bwMode="auto">
          <a:xfrm>
            <a:off x="3797300" y="6140450"/>
            <a:ext cx="1174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GB" altLang="en-US" sz="1000">
                <a:ea typeface="+mn-ea"/>
                <a:cs typeface="+mn-cs"/>
              </a:rPr>
              <a:t>Hydro Pump-Storage</a:t>
            </a:r>
            <a:endParaRPr lang="en-GB" sz="1000">
              <a:ea typeface="+mn-ea"/>
              <a:cs typeface="+mn-cs"/>
            </a:endParaRPr>
          </a:p>
        </p:txBody>
      </p:sp>
      <p:sp>
        <p:nvSpPr>
          <p:cNvPr id="1332" name="Text Placeholder 19">
            <a:extLst>
              <a:ext uri="{FF2B5EF4-FFF2-40B4-BE49-F238E27FC236}">
                <a16:creationId xmlns:a16="http://schemas.microsoft.com/office/drawing/2014/main" id="{7ACEF51E-9DE2-1DC1-725C-68102DD4C882}"/>
              </a:ext>
            </a:extLst>
          </p:cNvPr>
          <p:cNvSpPr>
            <a:spLocks noGrp="1"/>
          </p:cNvSpPr>
          <p:nvPr>
            <p:custDataLst>
              <p:tags r:id="rId42"/>
            </p:custDataLst>
          </p:nvPr>
        </p:nvSpPr>
        <p:spPr bwMode="auto">
          <a:xfrm>
            <a:off x="8140699" y="6140450"/>
            <a:ext cx="357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GB" altLang="en-US" sz="1000">
                <a:ea typeface="+mn-ea"/>
                <a:cs typeface="+mn-cs"/>
              </a:rPr>
              <a:t>OCGT</a:t>
            </a:r>
            <a:endParaRPr lang="en-GB" sz="1000">
              <a:ea typeface="+mn-ea"/>
              <a:cs typeface="+mn-cs"/>
            </a:endParaRPr>
          </a:p>
        </p:txBody>
      </p:sp>
      <p:sp>
        <p:nvSpPr>
          <p:cNvPr id="1328" name="Text Placeholder 19">
            <a:extLst>
              <a:ext uri="{FF2B5EF4-FFF2-40B4-BE49-F238E27FC236}">
                <a16:creationId xmlns:a16="http://schemas.microsoft.com/office/drawing/2014/main" id="{3ADBC1F8-FFEB-E8E0-3BDF-4CF88F2E17AD}"/>
              </a:ext>
            </a:extLst>
          </p:cNvPr>
          <p:cNvSpPr>
            <a:spLocks noGrp="1"/>
          </p:cNvSpPr>
          <p:nvPr>
            <p:custDataLst>
              <p:tags r:id="rId43"/>
            </p:custDataLst>
          </p:nvPr>
        </p:nvSpPr>
        <p:spPr bwMode="auto">
          <a:xfrm>
            <a:off x="5303839" y="6140450"/>
            <a:ext cx="1076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GB" altLang="en-US" sz="1000">
                <a:ea typeface="+mn-ea"/>
                <a:cs typeface="+mn-cs"/>
              </a:rPr>
              <a:t>Hydro Run-of River</a:t>
            </a:r>
            <a:endParaRPr lang="en-GB" sz="1000">
              <a:ea typeface="+mn-ea"/>
              <a:cs typeface="+mn-cs"/>
            </a:endParaRPr>
          </a:p>
        </p:txBody>
      </p:sp>
      <p:sp>
        <p:nvSpPr>
          <p:cNvPr id="1327" name="Text Placeholder 19">
            <a:extLst>
              <a:ext uri="{FF2B5EF4-FFF2-40B4-BE49-F238E27FC236}">
                <a16:creationId xmlns:a16="http://schemas.microsoft.com/office/drawing/2014/main" id="{F4EB467A-7979-32DE-F78C-E0E80802DE86}"/>
              </a:ext>
            </a:extLst>
          </p:cNvPr>
          <p:cNvSpPr>
            <a:spLocks noGrp="1"/>
          </p:cNvSpPr>
          <p:nvPr>
            <p:custDataLst>
              <p:tags r:id="rId44"/>
            </p:custDataLst>
          </p:nvPr>
        </p:nvSpPr>
        <p:spPr bwMode="auto">
          <a:xfrm>
            <a:off x="6711950" y="6140450"/>
            <a:ext cx="1096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GB" altLang="en-US" sz="1000">
                <a:ea typeface="+mn-ea"/>
                <a:cs typeface="+mn-cs"/>
              </a:rPr>
              <a:t>Hydro Storage Dam</a:t>
            </a:r>
            <a:endParaRPr lang="en-GB" sz="1000">
              <a:ea typeface="+mn-ea"/>
              <a:cs typeface="+mn-cs"/>
            </a:endParaRPr>
          </a:p>
        </p:txBody>
      </p:sp>
      <p:sp>
        <p:nvSpPr>
          <p:cNvPr id="1593" name="Text Placeholder 6">
            <a:extLst>
              <a:ext uri="{FF2B5EF4-FFF2-40B4-BE49-F238E27FC236}">
                <a16:creationId xmlns:a16="http://schemas.microsoft.com/office/drawing/2014/main" id="{E118113B-CD21-33B1-21EE-282FC9089F11}"/>
              </a:ext>
            </a:extLst>
          </p:cNvPr>
          <p:cNvSpPr txBox="1">
            <a:spLocks/>
          </p:cNvSpPr>
          <p:nvPr/>
        </p:nvSpPr>
        <p:spPr>
          <a:xfrm>
            <a:off x="381600" y="1263129"/>
            <a:ext cx="5757000" cy="369332"/>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latin typeface="Lato"/>
              </a:rPr>
              <a:t>Illustrative frequency response merit order </a:t>
            </a:r>
          </a:p>
          <a:p>
            <a:r>
              <a:rPr lang="en-GB" b="0">
                <a:solidFill>
                  <a:schemeClr val="accent5"/>
                </a:solidFill>
                <a:latin typeface="Lato"/>
              </a:rPr>
              <a:t>€/MW/h</a:t>
            </a:r>
          </a:p>
        </p:txBody>
      </p:sp>
      <p:sp>
        <p:nvSpPr>
          <p:cNvPr id="1651" name="TextBox 1650">
            <a:extLst>
              <a:ext uri="{FF2B5EF4-FFF2-40B4-BE49-F238E27FC236}">
                <a16:creationId xmlns:a16="http://schemas.microsoft.com/office/drawing/2014/main" id="{AE8B159D-0573-8B72-B31B-2B9EBD6FA69B}"/>
              </a:ext>
            </a:extLst>
          </p:cNvPr>
          <p:cNvSpPr txBox="1"/>
          <p:nvPr/>
        </p:nvSpPr>
        <p:spPr>
          <a:xfrm>
            <a:off x="8420054" y="5935626"/>
            <a:ext cx="634299"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Capacity</a:t>
            </a:r>
          </a:p>
        </p:txBody>
      </p:sp>
      <p:sp>
        <p:nvSpPr>
          <p:cNvPr id="1652" name="TextBox 1651">
            <a:extLst>
              <a:ext uri="{FF2B5EF4-FFF2-40B4-BE49-F238E27FC236}">
                <a16:creationId xmlns:a16="http://schemas.microsoft.com/office/drawing/2014/main" id="{D40D6AF8-DC07-21C7-17E5-B2741EB8419B}"/>
              </a:ext>
            </a:extLst>
          </p:cNvPr>
          <p:cNvSpPr txBox="1"/>
          <p:nvPr/>
        </p:nvSpPr>
        <p:spPr>
          <a:xfrm>
            <a:off x="389091" y="1908797"/>
            <a:ext cx="329499"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Cost</a:t>
            </a:r>
          </a:p>
        </p:txBody>
      </p:sp>
      <p:cxnSp>
        <p:nvCxnSpPr>
          <p:cNvPr id="1665" name="Straight Connector 1664">
            <a:extLst>
              <a:ext uri="{FF2B5EF4-FFF2-40B4-BE49-F238E27FC236}">
                <a16:creationId xmlns:a16="http://schemas.microsoft.com/office/drawing/2014/main" id="{6F4A4C2A-4A48-9A88-E519-A76FCE2DB11D}"/>
              </a:ext>
            </a:extLst>
          </p:cNvPr>
          <p:cNvCxnSpPr>
            <a:cxnSpLocks/>
            <a:endCxn id="1545" idx="2"/>
          </p:cNvCxnSpPr>
          <p:nvPr/>
        </p:nvCxnSpPr>
        <p:spPr>
          <a:xfrm>
            <a:off x="2029422" y="2162722"/>
            <a:ext cx="931266" cy="37173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67" name="TextBox 1666">
            <a:extLst>
              <a:ext uri="{FF2B5EF4-FFF2-40B4-BE49-F238E27FC236}">
                <a16:creationId xmlns:a16="http://schemas.microsoft.com/office/drawing/2014/main" id="{7576FBBA-34B7-5CB2-0793-88C7B042FCD6}"/>
              </a:ext>
            </a:extLst>
          </p:cNvPr>
          <p:cNvSpPr txBox="1"/>
          <p:nvPr/>
        </p:nvSpPr>
        <p:spPr>
          <a:xfrm>
            <a:off x="2190327" y="2280600"/>
            <a:ext cx="589068"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Demand</a:t>
            </a:r>
          </a:p>
        </p:txBody>
      </p:sp>
      <p:cxnSp>
        <p:nvCxnSpPr>
          <p:cNvPr id="66" name="Straight Connector 65">
            <a:extLst>
              <a:ext uri="{FF2B5EF4-FFF2-40B4-BE49-F238E27FC236}">
                <a16:creationId xmlns:a16="http://schemas.microsoft.com/office/drawing/2014/main" id="{E86A943A-74F1-E199-43A8-2F3901054E67}"/>
              </a:ext>
            </a:extLst>
          </p:cNvPr>
          <p:cNvCxnSpPr/>
          <p:nvPr>
            <p:custDataLst>
              <p:tags r:id="rId45"/>
            </p:custDataLst>
          </p:nvPr>
        </p:nvCxnSpPr>
        <p:spPr bwMode="gray">
          <a:xfrm>
            <a:off x="4927600" y="5126038"/>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9060F500-23B6-3120-ED54-9DD72EF60484}"/>
              </a:ext>
            </a:extLst>
          </p:cNvPr>
          <p:cNvCxnSpPr/>
          <p:nvPr>
            <p:custDataLst>
              <p:tags r:id="rId46"/>
            </p:custDataLst>
          </p:nvPr>
        </p:nvCxnSpPr>
        <p:spPr bwMode="gray">
          <a:xfrm>
            <a:off x="4927600" y="4371975"/>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EE0B67A4-26EA-CA3C-7512-F7084AAF96D1}"/>
              </a:ext>
            </a:extLst>
          </p:cNvPr>
          <p:cNvCxnSpPr/>
          <p:nvPr>
            <p:custDataLst>
              <p:tags r:id="rId47"/>
            </p:custDataLst>
          </p:nvPr>
        </p:nvCxnSpPr>
        <p:spPr bwMode="gray">
          <a:xfrm>
            <a:off x="4927600" y="2108200"/>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3FCAB0B9-7122-8DCF-B47E-BA8419164DD4}"/>
              </a:ext>
            </a:extLst>
          </p:cNvPr>
          <p:cNvCxnSpPr/>
          <p:nvPr>
            <p:custDataLst>
              <p:tags r:id="rId48"/>
            </p:custDataLst>
          </p:nvPr>
        </p:nvCxnSpPr>
        <p:spPr bwMode="gray">
          <a:xfrm>
            <a:off x="4927600" y="3616325"/>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6E2D52CA-20E2-37E3-3C6E-111E604AA36F}"/>
              </a:ext>
            </a:extLst>
          </p:cNvPr>
          <p:cNvCxnSpPr/>
          <p:nvPr>
            <p:custDataLst>
              <p:tags r:id="rId49"/>
            </p:custDataLst>
          </p:nvPr>
        </p:nvCxnSpPr>
        <p:spPr bwMode="gray">
          <a:xfrm>
            <a:off x="4927600" y="2862263"/>
            <a:ext cx="4054475"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1" name="Rectangle 70">
            <a:extLst>
              <a:ext uri="{FF2B5EF4-FFF2-40B4-BE49-F238E27FC236}">
                <a16:creationId xmlns:a16="http://schemas.microsoft.com/office/drawing/2014/main" id="{9E5563ED-8DE5-C664-08FC-A463A63C2F46}"/>
              </a:ext>
            </a:extLst>
          </p:cNvPr>
          <p:cNvSpPr/>
          <p:nvPr>
            <p:custDataLst>
              <p:tags r:id="rId50"/>
            </p:custDataLst>
          </p:nvPr>
        </p:nvSpPr>
        <p:spPr bwMode="auto">
          <a:xfrm>
            <a:off x="7805738" y="2457450"/>
            <a:ext cx="1176338" cy="3422650"/>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2" name="Rectangle 71">
            <a:extLst>
              <a:ext uri="{FF2B5EF4-FFF2-40B4-BE49-F238E27FC236}">
                <a16:creationId xmlns:a16="http://schemas.microsoft.com/office/drawing/2014/main" id="{8349DD86-2DBA-F720-7F5B-7A261242B131}"/>
              </a:ext>
            </a:extLst>
          </p:cNvPr>
          <p:cNvSpPr/>
          <p:nvPr>
            <p:custDataLst>
              <p:tags r:id="rId51"/>
            </p:custDataLst>
          </p:nvPr>
        </p:nvSpPr>
        <p:spPr bwMode="auto">
          <a:xfrm>
            <a:off x="7602538" y="2470150"/>
            <a:ext cx="203200" cy="3409950"/>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3" name="Rectangle 72">
            <a:extLst>
              <a:ext uri="{FF2B5EF4-FFF2-40B4-BE49-F238E27FC236}">
                <a16:creationId xmlns:a16="http://schemas.microsoft.com/office/drawing/2014/main" id="{60CA74A1-F936-4B04-C2FE-5259EFF22882}"/>
              </a:ext>
            </a:extLst>
          </p:cNvPr>
          <p:cNvSpPr/>
          <p:nvPr>
            <p:custDataLst>
              <p:tags r:id="rId52"/>
            </p:custDataLst>
          </p:nvPr>
        </p:nvSpPr>
        <p:spPr bwMode="auto">
          <a:xfrm>
            <a:off x="7558088" y="3184525"/>
            <a:ext cx="44450" cy="2695575"/>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4" name="Rectangle 73">
            <a:extLst>
              <a:ext uri="{FF2B5EF4-FFF2-40B4-BE49-F238E27FC236}">
                <a16:creationId xmlns:a16="http://schemas.microsoft.com/office/drawing/2014/main" id="{7537FB4E-02E6-B0E3-013B-90316950F1B1}"/>
              </a:ext>
            </a:extLst>
          </p:cNvPr>
          <p:cNvSpPr/>
          <p:nvPr>
            <p:custDataLst>
              <p:tags r:id="rId53"/>
            </p:custDataLst>
          </p:nvPr>
        </p:nvSpPr>
        <p:spPr bwMode="auto">
          <a:xfrm>
            <a:off x="7554913" y="3527425"/>
            <a:ext cx="3175" cy="2352675"/>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5" name="Rectangle 74">
            <a:extLst>
              <a:ext uri="{FF2B5EF4-FFF2-40B4-BE49-F238E27FC236}">
                <a16:creationId xmlns:a16="http://schemas.microsoft.com/office/drawing/2014/main" id="{8F80B4C6-071A-02DA-6D73-C6CDD013AC4C}"/>
              </a:ext>
            </a:extLst>
          </p:cNvPr>
          <p:cNvSpPr/>
          <p:nvPr>
            <p:custDataLst>
              <p:tags r:id="rId54"/>
            </p:custDataLst>
          </p:nvPr>
        </p:nvSpPr>
        <p:spPr bwMode="auto">
          <a:xfrm>
            <a:off x="7553325" y="3527425"/>
            <a:ext cx="1588" cy="2352675"/>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6" name="Rectangle 75">
            <a:extLst>
              <a:ext uri="{FF2B5EF4-FFF2-40B4-BE49-F238E27FC236}">
                <a16:creationId xmlns:a16="http://schemas.microsoft.com/office/drawing/2014/main" id="{7CEE581F-DD0E-5B4C-A990-BF813EDB5933}"/>
              </a:ext>
            </a:extLst>
          </p:cNvPr>
          <p:cNvSpPr/>
          <p:nvPr>
            <p:custDataLst>
              <p:tags r:id="rId55"/>
            </p:custDataLst>
          </p:nvPr>
        </p:nvSpPr>
        <p:spPr bwMode="auto">
          <a:xfrm>
            <a:off x="7550150" y="3592513"/>
            <a:ext cx="3175" cy="22875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7" name="Rectangle 76">
            <a:extLst>
              <a:ext uri="{FF2B5EF4-FFF2-40B4-BE49-F238E27FC236}">
                <a16:creationId xmlns:a16="http://schemas.microsoft.com/office/drawing/2014/main" id="{875AC770-02E7-B8C0-83D4-B249D5A450A2}"/>
              </a:ext>
            </a:extLst>
          </p:cNvPr>
          <p:cNvSpPr/>
          <p:nvPr>
            <p:custDataLst>
              <p:tags r:id="rId56"/>
            </p:custDataLst>
          </p:nvPr>
        </p:nvSpPr>
        <p:spPr bwMode="auto">
          <a:xfrm>
            <a:off x="7531100" y="3648075"/>
            <a:ext cx="19050" cy="2232025"/>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8" name="Rectangle 77">
            <a:extLst>
              <a:ext uri="{FF2B5EF4-FFF2-40B4-BE49-F238E27FC236}">
                <a16:creationId xmlns:a16="http://schemas.microsoft.com/office/drawing/2014/main" id="{515C2E50-ED94-D3E1-9062-D07AD3A5E674}"/>
              </a:ext>
            </a:extLst>
          </p:cNvPr>
          <p:cNvSpPr/>
          <p:nvPr>
            <p:custDataLst>
              <p:tags r:id="rId57"/>
            </p:custDataLst>
          </p:nvPr>
        </p:nvSpPr>
        <p:spPr bwMode="auto">
          <a:xfrm>
            <a:off x="7515225" y="3668712"/>
            <a:ext cx="15875" cy="22113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9" name="Rectangle 78">
            <a:extLst>
              <a:ext uri="{FF2B5EF4-FFF2-40B4-BE49-F238E27FC236}">
                <a16:creationId xmlns:a16="http://schemas.microsoft.com/office/drawing/2014/main" id="{8FFBB3F2-0B14-397B-60B1-6232BD5714B4}"/>
              </a:ext>
            </a:extLst>
          </p:cNvPr>
          <p:cNvSpPr/>
          <p:nvPr>
            <p:custDataLst>
              <p:tags r:id="rId58"/>
            </p:custDataLst>
          </p:nvPr>
        </p:nvSpPr>
        <p:spPr bwMode="auto">
          <a:xfrm>
            <a:off x="7513638" y="3668712"/>
            <a:ext cx="1588" cy="22113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0" name="Rectangle 79">
            <a:extLst>
              <a:ext uri="{FF2B5EF4-FFF2-40B4-BE49-F238E27FC236}">
                <a16:creationId xmlns:a16="http://schemas.microsoft.com/office/drawing/2014/main" id="{E5D35A15-1D29-5AEC-5E1D-0B02691343AA}"/>
              </a:ext>
            </a:extLst>
          </p:cNvPr>
          <p:cNvSpPr/>
          <p:nvPr>
            <p:custDataLst>
              <p:tags r:id="rId59"/>
            </p:custDataLst>
          </p:nvPr>
        </p:nvSpPr>
        <p:spPr bwMode="auto">
          <a:xfrm>
            <a:off x="7485064" y="3681412"/>
            <a:ext cx="28575" cy="21986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1" name="Rectangle 80">
            <a:extLst>
              <a:ext uri="{FF2B5EF4-FFF2-40B4-BE49-F238E27FC236}">
                <a16:creationId xmlns:a16="http://schemas.microsoft.com/office/drawing/2014/main" id="{0A49D51D-AA7C-F919-0BE8-768CCDC9FD8C}"/>
              </a:ext>
            </a:extLst>
          </p:cNvPr>
          <p:cNvSpPr/>
          <p:nvPr>
            <p:custDataLst>
              <p:tags r:id="rId60"/>
            </p:custDataLst>
          </p:nvPr>
        </p:nvSpPr>
        <p:spPr bwMode="auto">
          <a:xfrm>
            <a:off x="7453313" y="3687763"/>
            <a:ext cx="31750" cy="219233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2" name="Rectangle 81">
            <a:extLst>
              <a:ext uri="{FF2B5EF4-FFF2-40B4-BE49-F238E27FC236}">
                <a16:creationId xmlns:a16="http://schemas.microsoft.com/office/drawing/2014/main" id="{8A3A246A-2DE1-7F54-9FA7-81B04C1F6026}"/>
              </a:ext>
            </a:extLst>
          </p:cNvPr>
          <p:cNvSpPr/>
          <p:nvPr>
            <p:custDataLst>
              <p:tags r:id="rId61"/>
            </p:custDataLst>
          </p:nvPr>
        </p:nvSpPr>
        <p:spPr bwMode="auto">
          <a:xfrm>
            <a:off x="7423150" y="3692525"/>
            <a:ext cx="30163" cy="2187575"/>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3" name="Rectangle 82">
            <a:extLst>
              <a:ext uri="{FF2B5EF4-FFF2-40B4-BE49-F238E27FC236}">
                <a16:creationId xmlns:a16="http://schemas.microsoft.com/office/drawing/2014/main" id="{B6FC3CB8-33B5-55D3-8574-F06922D38D50}"/>
              </a:ext>
            </a:extLst>
          </p:cNvPr>
          <p:cNvSpPr/>
          <p:nvPr>
            <p:custDataLst>
              <p:tags r:id="rId62"/>
            </p:custDataLst>
          </p:nvPr>
        </p:nvSpPr>
        <p:spPr bwMode="auto">
          <a:xfrm>
            <a:off x="7408863" y="3706813"/>
            <a:ext cx="14288" cy="2173288"/>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4" name="Rectangle 83">
            <a:extLst>
              <a:ext uri="{FF2B5EF4-FFF2-40B4-BE49-F238E27FC236}">
                <a16:creationId xmlns:a16="http://schemas.microsoft.com/office/drawing/2014/main" id="{D7F9D331-AFC7-3AEC-9AB4-F803C478C635}"/>
              </a:ext>
            </a:extLst>
          </p:cNvPr>
          <p:cNvSpPr/>
          <p:nvPr>
            <p:custDataLst>
              <p:tags r:id="rId63"/>
            </p:custDataLst>
          </p:nvPr>
        </p:nvSpPr>
        <p:spPr bwMode="auto">
          <a:xfrm>
            <a:off x="7378700" y="3722688"/>
            <a:ext cx="30163" cy="2157413"/>
          </a:xfrm>
          <a:prstGeom prst="rect">
            <a:avLst/>
          </a:prstGeom>
          <a:solidFill>
            <a:srgbClr val="5A5A5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5" name="Rectangle 84">
            <a:extLst>
              <a:ext uri="{FF2B5EF4-FFF2-40B4-BE49-F238E27FC236}">
                <a16:creationId xmlns:a16="http://schemas.microsoft.com/office/drawing/2014/main" id="{C3975407-22F1-4436-D8DA-2708AFDAF4A2}"/>
              </a:ext>
            </a:extLst>
          </p:cNvPr>
          <p:cNvSpPr/>
          <p:nvPr>
            <p:custDataLst>
              <p:tags r:id="rId64"/>
            </p:custDataLst>
          </p:nvPr>
        </p:nvSpPr>
        <p:spPr bwMode="auto">
          <a:xfrm>
            <a:off x="7367589" y="3886200"/>
            <a:ext cx="11113" cy="1993900"/>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6" name="Rectangle 85">
            <a:extLst>
              <a:ext uri="{FF2B5EF4-FFF2-40B4-BE49-F238E27FC236}">
                <a16:creationId xmlns:a16="http://schemas.microsoft.com/office/drawing/2014/main" id="{74C0F4A2-6BF6-2F9D-66A9-E5F6722A11FE}"/>
              </a:ext>
            </a:extLst>
          </p:cNvPr>
          <p:cNvSpPr/>
          <p:nvPr>
            <p:custDataLst>
              <p:tags r:id="rId65"/>
            </p:custDataLst>
          </p:nvPr>
        </p:nvSpPr>
        <p:spPr bwMode="auto">
          <a:xfrm>
            <a:off x="7281863" y="3886200"/>
            <a:ext cx="85725" cy="1993900"/>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7" name="Rectangle 86">
            <a:extLst>
              <a:ext uri="{FF2B5EF4-FFF2-40B4-BE49-F238E27FC236}">
                <a16:creationId xmlns:a16="http://schemas.microsoft.com/office/drawing/2014/main" id="{8E51CE16-BC70-AB6E-BEE9-1BDB3F058D0D}"/>
              </a:ext>
            </a:extLst>
          </p:cNvPr>
          <p:cNvSpPr/>
          <p:nvPr>
            <p:custDataLst>
              <p:tags r:id="rId66"/>
            </p:custDataLst>
          </p:nvPr>
        </p:nvSpPr>
        <p:spPr bwMode="auto">
          <a:xfrm>
            <a:off x="6891338" y="4368800"/>
            <a:ext cx="14288" cy="1511300"/>
          </a:xfrm>
          <a:prstGeom prst="rect">
            <a:avLst/>
          </a:prstGeom>
          <a:solidFill>
            <a:srgbClr val="657D1A"/>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8" name="Rectangle 87">
            <a:extLst>
              <a:ext uri="{FF2B5EF4-FFF2-40B4-BE49-F238E27FC236}">
                <a16:creationId xmlns:a16="http://schemas.microsoft.com/office/drawing/2014/main" id="{6C5A8610-B910-7784-3B81-B41CC41CC651}"/>
              </a:ext>
            </a:extLst>
          </p:cNvPr>
          <p:cNvSpPr/>
          <p:nvPr>
            <p:custDataLst>
              <p:tags r:id="rId67"/>
            </p:custDataLst>
          </p:nvPr>
        </p:nvSpPr>
        <p:spPr bwMode="auto">
          <a:xfrm>
            <a:off x="4927600" y="5829300"/>
            <a:ext cx="1020763" cy="50800"/>
          </a:xfrm>
          <a:prstGeom prst="rect">
            <a:avLst/>
          </a:prstGeom>
          <a:solidFill>
            <a:srgbClr val="E9E261"/>
          </a:solidFill>
          <a:ln w="317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9" name="Rectangle 88">
            <a:extLst>
              <a:ext uri="{FF2B5EF4-FFF2-40B4-BE49-F238E27FC236}">
                <a16:creationId xmlns:a16="http://schemas.microsoft.com/office/drawing/2014/main" id="{9C2C8586-4D1C-3582-3081-CA5864A6CF05}"/>
              </a:ext>
            </a:extLst>
          </p:cNvPr>
          <p:cNvSpPr/>
          <p:nvPr>
            <p:custDataLst>
              <p:tags r:id="rId68"/>
            </p:custDataLst>
          </p:nvPr>
        </p:nvSpPr>
        <p:spPr bwMode="auto">
          <a:xfrm>
            <a:off x="6951663" y="3913188"/>
            <a:ext cx="330200" cy="1966913"/>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90" name="Rectangle 89">
            <a:extLst>
              <a:ext uri="{FF2B5EF4-FFF2-40B4-BE49-F238E27FC236}">
                <a16:creationId xmlns:a16="http://schemas.microsoft.com/office/drawing/2014/main" id="{70DF2C8D-9C51-617F-9A88-6C0B0411F255}"/>
              </a:ext>
            </a:extLst>
          </p:cNvPr>
          <p:cNvSpPr/>
          <p:nvPr>
            <p:custDataLst>
              <p:tags r:id="rId69"/>
            </p:custDataLst>
          </p:nvPr>
        </p:nvSpPr>
        <p:spPr bwMode="auto">
          <a:xfrm>
            <a:off x="6905625" y="4357688"/>
            <a:ext cx="46038" cy="1522413"/>
          </a:xfrm>
          <a:prstGeom prst="rect">
            <a:avLst/>
          </a:prstGeom>
          <a:solidFill>
            <a:srgbClr val="4C6C9C"/>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91" name="Rectangle 90">
            <a:extLst>
              <a:ext uri="{FF2B5EF4-FFF2-40B4-BE49-F238E27FC236}">
                <a16:creationId xmlns:a16="http://schemas.microsoft.com/office/drawing/2014/main" id="{9DA0E116-83F6-E934-7A3C-840DB9D9BF64}"/>
              </a:ext>
            </a:extLst>
          </p:cNvPr>
          <p:cNvSpPr/>
          <p:nvPr>
            <p:custDataLst>
              <p:tags r:id="rId70"/>
            </p:custDataLst>
          </p:nvPr>
        </p:nvSpPr>
        <p:spPr bwMode="auto">
          <a:xfrm>
            <a:off x="5948364" y="5740399"/>
            <a:ext cx="942975" cy="139700"/>
          </a:xfrm>
          <a:prstGeom prst="rect">
            <a:avLst/>
          </a:prstGeom>
          <a:solidFill>
            <a:srgbClr val="4E5F6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cxnSp>
        <p:nvCxnSpPr>
          <p:cNvPr id="92" name="Straight Connector 91">
            <a:extLst>
              <a:ext uri="{FF2B5EF4-FFF2-40B4-BE49-F238E27FC236}">
                <a16:creationId xmlns:a16="http://schemas.microsoft.com/office/drawing/2014/main" id="{4A105BBF-A3F5-878F-A769-DC2AE7ABBE94}"/>
              </a:ext>
            </a:extLst>
          </p:cNvPr>
          <p:cNvCxnSpPr/>
          <p:nvPr>
            <p:custDataLst>
              <p:tags r:id="rId71"/>
            </p:custDataLst>
          </p:nvPr>
        </p:nvCxnSpPr>
        <p:spPr bwMode="auto">
          <a:xfrm>
            <a:off x="4922838" y="5880100"/>
            <a:ext cx="40640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36790AB0-E402-9DBF-93AF-D605209D0804}"/>
              </a:ext>
            </a:extLst>
          </p:cNvPr>
          <p:cNvCxnSpPr>
            <a:cxnSpLocks/>
          </p:cNvCxnSpPr>
          <p:nvPr/>
        </p:nvCxnSpPr>
        <p:spPr>
          <a:xfrm>
            <a:off x="4975226" y="5746787"/>
            <a:ext cx="191611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D43E2685-C184-7AFE-23A6-57085E32EF53}"/>
              </a:ext>
            </a:extLst>
          </p:cNvPr>
          <p:cNvCxnSpPr>
            <a:cxnSpLocks/>
          </p:cNvCxnSpPr>
          <p:nvPr/>
        </p:nvCxnSpPr>
        <p:spPr>
          <a:xfrm>
            <a:off x="5988416" y="2162722"/>
            <a:ext cx="933080" cy="37173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2796E863-C592-62F6-15DA-2688646416A4}"/>
              </a:ext>
            </a:extLst>
          </p:cNvPr>
          <p:cNvSpPr txBox="1"/>
          <p:nvPr/>
        </p:nvSpPr>
        <p:spPr>
          <a:xfrm>
            <a:off x="6056552" y="2164569"/>
            <a:ext cx="589068"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Demand</a:t>
            </a:r>
          </a:p>
        </p:txBody>
      </p:sp>
      <p:sp>
        <p:nvSpPr>
          <p:cNvPr id="123" name="TextBox 122">
            <a:extLst>
              <a:ext uri="{FF2B5EF4-FFF2-40B4-BE49-F238E27FC236}">
                <a16:creationId xmlns:a16="http://schemas.microsoft.com/office/drawing/2014/main" id="{458EE5EC-14A4-9D26-ABEE-210A4E7B67E5}"/>
              </a:ext>
            </a:extLst>
          </p:cNvPr>
          <p:cNvSpPr txBox="1"/>
          <p:nvPr/>
        </p:nvSpPr>
        <p:spPr>
          <a:xfrm>
            <a:off x="4931988" y="1908797"/>
            <a:ext cx="329499"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Cost</a:t>
            </a:r>
          </a:p>
        </p:txBody>
      </p:sp>
      <p:sp>
        <p:nvSpPr>
          <p:cNvPr id="124" name="TextBox 123">
            <a:extLst>
              <a:ext uri="{FF2B5EF4-FFF2-40B4-BE49-F238E27FC236}">
                <a16:creationId xmlns:a16="http://schemas.microsoft.com/office/drawing/2014/main" id="{68508968-9356-2017-19FE-D26823F9AD26}"/>
              </a:ext>
            </a:extLst>
          </p:cNvPr>
          <p:cNvSpPr txBox="1"/>
          <p:nvPr/>
        </p:nvSpPr>
        <p:spPr>
          <a:xfrm>
            <a:off x="5213438" y="5533190"/>
            <a:ext cx="624384"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Price</a:t>
            </a:r>
          </a:p>
        </p:txBody>
      </p:sp>
      <p:grpSp>
        <p:nvGrpSpPr>
          <p:cNvPr id="21" name="Group 20">
            <a:extLst>
              <a:ext uri="{FF2B5EF4-FFF2-40B4-BE49-F238E27FC236}">
                <a16:creationId xmlns:a16="http://schemas.microsoft.com/office/drawing/2014/main" id="{F94216D0-8D45-CFC0-A099-8DEA09B3A14D}"/>
              </a:ext>
            </a:extLst>
          </p:cNvPr>
          <p:cNvGrpSpPr/>
          <p:nvPr/>
        </p:nvGrpSpPr>
        <p:grpSpPr>
          <a:xfrm>
            <a:off x="363435" y="3697469"/>
            <a:ext cx="2082903" cy="266776"/>
            <a:chOff x="363435" y="3697469"/>
            <a:chExt cx="2082903" cy="266776"/>
          </a:xfrm>
        </p:grpSpPr>
        <p:cxnSp>
          <p:nvCxnSpPr>
            <p:cNvPr id="1668" name="Straight Connector 1667">
              <a:extLst>
                <a:ext uri="{FF2B5EF4-FFF2-40B4-BE49-F238E27FC236}">
                  <a16:creationId xmlns:a16="http://schemas.microsoft.com/office/drawing/2014/main" id="{B5489AA4-1F35-9692-7C06-6EBBFACFB022}"/>
                </a:ext>
              </a:extLst>
            </p:cNvPr>
            <p:cNvCxnSpPr>
              <a:cxnSpLocks/>
            </p:cNvCxnSpPr>
            <p:nvPr/>
          </p:nvCxnSpPr>
          <p:spPr>
            <a:xfrm>
              <a:off x="371464" y="3913370"/>
              <a:ext cx="207487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0" name="Isosceles Triangle 19">
              <a:extLst>
                <a:ext uri="{FF2B5EF4-FFF2-40B4-BE49-F238E27FC236}">
                  <a16:creationId xmlns:a16="http://schemas.microsoft.com/office/drawing/2014/main" id="{F00024BD-38DA-AE65-8781-0F26BB42EF88}"/>
                </a:ext>
              </a:extLst>
            </p:cNvPr>
            <p:cNvSpPr/>
            <p:nvPr/>
          </p:nvSpPr>
          <p:spPr>
            <a:xfrm rot="16200000">
              <a:off x="395205" y="3834202"/>
              <a:ext cx="98273" cy="161814"/>
            </a:xfrm>
            <a:prstGeom prst="triangle">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26" name="TextBox 125">
              <a:extLst>
                <a:ext uri="{FF2B5EF4-FFF2-40B4-BE49-F238E27FC236}">
                  <a16:creationId xmlns:a16="http://schemas.microsoft.com/office/drawing/2014/main" id="{97484C2A-8149-D247-0C88-5B5D3AAF4235}"/>
                </a:ext>
              </a:extLst>
            </p:cNvPr>
            <p:cNvSpPr txBox="1"/>
            <p:nvPr/>
          </p:nvSpPr>
          <p:spPr>
            <a:xfrm>
              <a:off x="593960" y="3697469"/>
              <a:ext cx="624384"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Price</a:t>
              </a:r>
            </a:p>
          </p:txBody>
        </p:sp>
      </p:grpSp>
      <p:sp>
        <p:nvSpPr>
          <p:cNvPr id="127" name="Isosceles Triangle 126">
            <a:extLst>
              <a:ext uri="{FF2B5EF4-FFF2-40B4-BE49-F238E27FC236}">
                <a16:creationId xmlns:a16="http://schemas.microsoft.com/office/drawing/2014/main" id="{75C00397-0796-DF10-308E-D23A911DDC21}"/>
              </a:ext>
            </a:extLst>
          </p:cNvPr>
          <p:cNvSpPr/>
          <p:nvPr/>
        </p:nvSpPr>
        <p:spPr>
          <a:xfrm rot="16200000">
            <a:off x="4990229" y="5661251"/>
            <a:ext cx="98273" cy="161814"/>
          </a:xfrm>
          <a:prstGeom prst="triangle">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28" name="TextBox 127">
            <a:extLst>
              <a:ext uri="{FF2B5EF4-FFF2-40B4-BE49-F238E27FC236}">
                <a16:creationId xmlns:a16="http://schemas.microsoft.com/office/drawing/2014/main" id="{A7927BA0-7453-D8AF-F835-38BCD339AF81}"/>
              </a:ext>
            </a:extLst>
          </p:cNvPr>
          <p:cNvSpPr txBox="1"/>
          <p:nvPr/>
        </p:nvSpPr>
        <p:spPr>
          <a:xfrm>
            <a:off x="3944698" y="5935626"/>
            <a:ext cx="634299"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Capacity</a:t>
            </a:r>
          </a:p>
        </p:txBody>
      </p:sp>
      <p:sp>
        <p:nvSpPr>
          <p:cNvPr id="132" name="TextBox 131">
            <a:extLst>
              <a:ext uri="{FF2B5EF4-FFF2-40B4-BE49-F238E27FC236}">
                <a16:creationId xmlns:a16="http://schemas.microsoft.com/office/drawing/2014/main" id="{883BB262-3127-EA20-268A-D485CD6B7BEA}"/>
              </a:ext>
            </a:extLst>
          </p:cNvPr>
          <p:cNvSpPr txBox="1"/>
          <p:nvPr/>
        </p:nvSpPr>
        <p:spPr>
          <a:xfrm>
            <a:off x="4862923" y="4685915"/>
            <a:ext cx="1937138" cy="607071"/>
          </a:xfrm>
          <a:prstGeom prst="rect">
            <a:avLst/>
          </a:prstGeom>
          <a:solidFill>
            <a:schemeClr val="bg1"/>
          </a:solidFill>
          <a:ln>
            <a:solidFill>
              <a:schemeClr val="tx1"/>
            </a:solidFill>
          </a:ln>
        </p:spPr>
        <p:txBody>
          <a:bodyPr wrap="square" lIns="72000" tIns="72000" rIns="72000" bIns="72000" rtlCol="0">
            <a:spAutoFit/>
          </a:bodyPr>
          <a:lstStyle/>
          <a:p>
            <a:pPr>
              <a:spcBef>
                <a:spcPts val="600"/>
              </a:spcBef>
            </a:pPr>
            <a:r>
              <a:rPr lang="en-GB" sz="1000"/>
              <a:t>Increasing battery capacity will push higher price plants out of merit, leading to lower prices</a:t>
            </a:r>
          </a:p>
        </p:txBody>
      </p:sp>
      <p:cxnSp>
        <p:nvCxnSpPr>
          <p:cNvPr id="133" name="Straight Connector 132">
            <a:extLst>
              <a:ext uri="{FF2B5EF4-FFF2-40B4-BE49-F238E27FC236}">
                <a16:creationId xmlns:a16="http://schemas.microsoft.com/office/drawing/2014/main" id="{2F235969-2F86-16D0-4E0E-8110AD05E8FC}"/>
              </a:ext>
            </a:extLst>
          </p:cNvPr>
          <p:cNvCxnSpPr>
            <a:cxnSpLocks/>
            <a:stCxn id="132" idx="2"/>
          </p:cNvCxnSpPr>
          <p:nvPr/>
        </p:nvCxnSpPr>
        <p:spPr>
          <a:xfrm flipH="1">
            <a:off x="5638687" y="5292986"/>
            <a:ext cx="192805" cy="320489"/>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111" name="Text Placeholder 6">
            <a:extLst>
              <a:ext uri="{FF2B5EF4-FFF2-40B4-BE49-F238E27FC236}">
                <a16:creationId xmlns:a16="http://schemas.microsoft.com/office/drawing/2014/main" id="{98CCFA4C-AD0E-AF42-7B89-75EDAA2359AA}"/>
              </a:ext>
            </a:extLst>
          </p:cNvPr>
          <p:cNvSpPr txBox="1">
            <a:spLocks/>
          </p:cNvSpPr>
          <p:nvPr/>
        </p:nvSpPr>
        <p:spPr>
          <a:xfrm>
            <a:off x="1408901" y="1834901"/>
            <a:ext cx="2736076"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1950"/>
            <a:r>
              <a:rPr lang="en-GB">
                <a:latin typeface="Lato"/>
              </a:rPr>
              <a:t>Low battery capacity</a:t>
            </a:r>
            <a:endParaRPr lang="en-GB" b="0">
              <a:solidFill>
                <a:schemeClr val="accent5"/>
              </a:solidFill>
              <a:latin typeface="Lato"/>
            </a:endParaRPr>
          </a:p>
        </p:txBody>
      </p:sp>
      <p:sp>
        <p:nvSpPr>
          <p:cNvPr id="112" name="Text Placeholder 6">
            <a:extLst>
              <a:ext uri="{FF2B5EF4-FFF2-40B4-BE49-F238E27FC236}">
                <a16:creationId xmlns:a16="http://schemas.microsoft.com/office/drawing/2014/main" id="{130A03C3-A0E2-1163-CFFD-E1307CFDE7A8}"/>
              </a:ext>
            </a:extLst>
          </p:cNvPr>
          <p:cNvSpPr txBox="1">
            <a:spLocks/>
          </p:cNvSpPr>
          <p:nvPr/>
        </p:nvSpPr>
        <p:spPr>
          <a:xfrm>
            <a:off x="5956687" y="1834901"/>
            <a:ext cx="2736076"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1950"/>
            <a:r>
              <a:rPr lang="en-GB">
                <a:latin typeface="Lato"/>
              </a:rPr>
              <a:t>High battery capacity</a:t>
            </a:r>
            <a:endParaRPr lang="en-GB" b="0">
              <a:solidFill>
                <a:schemeClr val="accent5"/>
              </a:solidFill>
              <a:latin typeface="Lato"/>
            </a:endParaRPr>
          </a:p>
        </p:txBody>
      </p:sp>
      <p:sp>
        <p:nvSpPr>
          <p:cNvPr id="8" name="Text Placeholder 7">
            <a:extLst>
              <a:ext uri="{FF2B5EF4-FFF2-40B4-BE49-F238E27FC236}">
                <a16:creationId xmlns:a16="http://schemas.microsoft.com/office/drawing/2014/main" id="{579528BB-4110-99BE-3F5E-E21914B4DFF9}"/>
              </a:ext>
            </a:extLst>
          </p:cNvPr>
          <p:cNvSpPr>
            <a:spLocks noGrp="1"/>
          </p:cNvSpPr>
          <p:nvPr>
            <p:ph type="body" sz="quarter" idx="32"/>
          </p:nvPr>
        </p:nvSpPr>
        <p:spPr>
          <a:xfrm>
            <a:off x="381600" y="6474841"/>
            <a:ext cx="8601074" cy="110800"/>
          </a:xfrm>
        </p:spPr>
        <p:txBody>
          <a:bodyPr/>
          <a:lstStyle/>
          <a:p>
            <a:r>
              <a:rPr lang="en-GB"/>
              <a:t>1) Both up and down regulation services are procured from the same bidder for each bidding period</a:t>
            </a:r>
          </a:p>
        </p:txBody>
      </p:sp>
      <p:sp>
        <p:nvSpPr>
          <p:cNvPr id="3" name="Text Placeholder 2">
            <a:extLst>
              <a:ext uri="{FF2B5EF4-FFF2-40B4-BE49-F238E27FC236}">
                <a16:creationId xmlns:a16="http://schemas.microsoft.com/office/drawing/2014/main" id="{A662550E-31A4-392E-E1F3-E864A8248864}"/>
              </a:ext>
            </a:extLst>
          </p:cNvPr>
          <p:cNvSpPr txBox="1">
            <a:spLocks/>
          </p:cNvSpPr>
          <p:nvPr/>
        </p:nvSpPr>
        <p:spPr>
          <a:xfrm>
            <a:off x="381599" y="79401"/>
            <a:ext cx="373050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Frequency response services</a:t>
            </a:r>
          </a:p>
        </p:txBody>
      </p:sp>
      <p:sp>
        <p:nvSpPr>
          <p:cNvPr id="98" name="Oval 97">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99" name="Oval 98">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4" name="Rectangle 3">
            <a:extLst>
              <a:ext uri="{FF2B5EF4-FFF2-40B4-BE49-F238E27FC236}">
                <a16:creationId xmlns:a16="http://schemas.microsoft.com/office/drawing/2014/main" id="{89B3A2C9-D963-E3F1-0D16-9258E63C73AA}"/>
              </a:ext>
            </a:extLst>
          </p:cNvPr>
          <p:cNvSpPr/>
          <p:nvPr/>
        </p:nvSpPr>
        <p:spPr>
          <a:xfrm>
            <a:off x="352541" y="2070503"/>
            <a:ext cx="8658586" cy="403401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2" name="Group 1">
            <a:extLst>
              <a:ext uri="{FF2B5EF4-FFF2-40B4-BE49-F238E27FC236}">
                <a16:creationId xmlns:a16="http://schemas.microsoft.com/office/drawing/2014/main" id="{A6E9FD69-C7C2-98CF-B860-B1367C547464}"/>
              </a:ext>
            </a:extLst>
          </p:cNvPr>
          <p:cNvGrpSpPr/>
          <p:nvPr/>
        </p:nvGrpSpPr>
        <p:grpSpPr>
          <a:xfrm>
            <a:off x="4772297" y="2928257"/>
            <a:ext cx="2647407" cy="1001486"/>
            <a:chOff x="8251369" y="2255520"/>
            <a:chExt cx="2647407" cy="1001486"/>
          </a:xfrm>
        </p:grpSpPr>
        <p:sp>
          <p:nvSpPr>
            <p:cNvPr id="5" name="Rectangle: Rounded Corners 4">
              <a:extLst>
                <a:ext uri="{FF2B5EF4-FFF2-40B4-BE49-F238E27FC236}">
                  <a16:creationId xmlns:a16="http://schemas.microsoft.com/office/drawing/2014/main" id="{26E0A210-CC78-8349-CD57-25F55EF15F8D}"/>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7" name="TextBox 6">
              <a:extLst>
                <a:ext uri="{FF2B5EF4-FFF2-40B4-BE49-F238E27FC236}">
                  <a16:creationId xmlns:a16="http://schemas.microsoft.com/office/drawing/2014/main" id="{5A5568DB-FE6B-429D-5120-E6D8C77772B3}"/>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314153631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22"/>
          </p:nvPr>
        </p:nvSpPr>
        <p:spPr>
          <a:xfrm>
            <a:off x="381001" y="6715169"/>
            <a:ext cx="1452321" cy="110800"/>
          </a:xfrm>
        </p:spPr>
        <p:txBody>
          <a:bodyPr/>
          <a:lstStyle/>
          <a:p>
            <a:r>
              <a:rPr lang="en-US"/>
              <a:t>Source: Aurora Energy Research</a:t>
            </a:r>
          </a:p>
        </p:txBody>
      </p:sp>
      <p:sp>
        <p:nvSpPr>
          <p:cNvPr id="5" name="Title 4"/>
          <p:cNvSpPr>
            <a:spLocks noGrp="1"/>
          </p:cNvSpPr>
          <p:nvPr>
            <p:ph type="title"/>
          </p:nvPr>
        </p:nvSpPr>
        <p:spPr/>
        <p:txBody>
          <a:bodyPr vert="horz"/>
          <a:lstStyle/>
          <a:p>
            <a:r>
              <a:rPr lang="en-US"/>
              <a:t>Aurora modelling methodology– Using Germany as an example (1/2)</a:t>
            </a:r>
          </a:p>
        </p:txBody>
      </p:sp>
      <p:sp>
        <p:nvSpPr>
          <p:cNvPr id="16" name="Text Placeholder 15"/>
          <p:cNvSpPr>
            <a:spLocks noGrp="1"/>
          </p:cNvSpPr>
          <p:nvPr>
            <p:ph type="body" sz="quarter" idx="32"/>
          </p:nvPr>
        </p:nvSpPr>
        <p:spPr/>
        <p:txBody>
          <a:bodyPr/>
          <a:lstStyle/>
          <a:p>
            <a:endParaRPr lang="en-US"/>
          </a:p>
        </p:txBody>
      </p:sp>
      <p:sp>
        <p:nvSpPr>
          <p:cNvPr id="2" name="Text Placeholder 12">
            <a:extLst>
              <a:ext uri="{FF2B5EF4-FFF2-40B4-BE49-F238E27FC236}">
                <a16:creationId xmlns:a16="http://schemas.microsoft.com/office/drawing/2014/main" id="{F2F43DB9-6F38-FCED-F7FC-7FBD8E087126}"/>
              </a:ext>
            </a:extLst>
          </p:cNvPr>
          <p:cNvSpPr txBox="1">
            <a:spLocks/>
          </p:cNvSpPr>
          <p:nvPr/>
        </p:nvSpPr>
        <p:spPr>
          <a:xfrm>
            <a:off x="381000" y="1656000"/>
            <a:ext cx="3517128" cy="365760"/>
          </a:xfrm>
          <a:prstGeom prst="rect">
            <a:avLst/>
          </a:prstGeom>
          <a:solidFill>
            <a:schemeClr val="accent5"/>
          </a:solidFill>
          <a:ln w="19050">
            <a:solidFill>
              <a:schemeClr val="accent5"/>
            </a:solidFill>
          </a:ln>
        </p:spPr>
        <p:txBody>
          <a:bodyPr vert="horz" wrap="square" lIns="0" tIns="0" rIns="0" bIns="0" rtlCol="0" anchor="ctr">
            <a:no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a:solidFill>
                  <a:schemeClr val="bg1"/>
                </a:solidFill>
              </a:rPr>
              <a:t>AER-ES</a:t>
            </a:r>
          </a:p>
        </p:txBody>
      </p:sp>
      <p:sp>
        <p:nvSpPr>
          <p:cNvPr id="3" name="Text Placeholder 13">
            <a:extLst>
              <a:ext uri="{FF2B5EF4-FFF2-40B4-BE49-F238E27FC236}">
                <a16:creationId xmlns:a16="http://schemas.microsoft.com/office/drawing/2014/main" id="{95E72BEB-8FD1-B4B2-4524-FBD11777CD16}"/>
              </a:ext>
            </a:extLst>
          </p:cNvPr>
          <p:cNvSpPr txBox="1">
            <a:spLocks/>
          </p:cNvSpPr>
          <p:nvPr/>
        </p:nvSpPr>
        <p:spPr>
          <a:xfrm>
            <a:off x="4338000" y="1656000"/>
            <a:ext cx="3517200" cy="367200"/>
          </a:xfrm>
          <a:prstGeom prst="rect">
            <a:avLst/>
          </a:prstGeom>
          <a:solidFill>
            <a:schemeClr val="accent2"/>
          </a:solidFill>
          <a:ln w="19050">
            <a:solidFill>
              <a:schemeClr val="accent2"/>
            </a:solidFill>
          </a:ln>
        </p:spPr>
        <p:txBody>
          <a:bodyPr vert="horz" lIns="0" tIns="0" rIns="0" bIns="0" rtlCol="0" anchor="ctr">
            <a:no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a:t>Asset-level FCR bids</a:t>
            </a:r>
          </a:p>
        </p:txBody>
      </p:sp>
      <p:sp>
        <p:nvSpPr>
          <p:cNvPr id="7" name="Text Placeholder 13">
            <a:extLst>
              <a:ext uri="{FF2B5EF4-FFF2-40B4-BE49-F238E27FC236}">
                <a16:creationId xmlns:a16="http://schemas.microsoft.com/office/drawing/2014/main" id="{EE9EF064-BA98-867F-3348-BE32C841CE1C}"/>
              </a:ext>
            </a:extLst>
          </p:cNvPr>
          <p:cNvSpPr txBox="1">
            <a:spLocks/>
          </p:cNvSpPr>
          <p:nvPr/>
        </p:nvSpPr>
        <p:spPr>
          <a:xfrm>
            <a:off x="8293268" y="1656000"/>
            <a:ext cx="3517132" cy="365760"/>
          </a:xfrm>
          <a:prstGeom prst="rect">
            <a:avLst/>
          </a:prstGeom>
          <a:solidFill>
            <a:schemeClr val="accent2"/>
          </a:solidFill>
          <a:ln w="19050">
            <a:solidFill>
              <a:schemeClr val="accent2"/>
            </a:solidFill>
          </a:ln>
        </p:spPr>
        <p:txBody>
          <a:bodyPr vert="horz" lIns="0" tIns="0" rIns="0" bIns="0" rtlCol="0" anchor="ctr">
            <a:no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a:t>Merit order clearing</a:t>
            </a:r>
          </a:p>
        </p:txBody>
      </p:sp>
      <p:grpSp>
        <p:nvGrpSpPr>
          <p:cNvPr id="66" name="Group 65">
            <a:extLst>
              <a:ext uri="{FF2B5EF4-FFF2-40B4-BE49-F238E27FC236}">
                <a16:creationId xmlns:a16="http://schemas.microsoft.com/office/drawing/2014/main" id="{6B124FBF-838C-55A9-D261-955A181D7A18}"/>
              </a:ext>
            </a:extLst>
          </p:cNvPr>
          <p:cNvGrpSpPr/>
          <p:nvPr/>
        </p:nvGrpSpPr>
        <p:grpSpPr>
          <a:xfrm>
            <a:off x="892253" y="2160000"/>
            <a:ext cx="10540522" cy="4048966"/>
            <a:chOff x="892253" y="2239002"/>
            <a:chExt cx="10540522" cy="4048966"/>
          </a:xfrm>
        </p:grpSpPr>
        <p:grpSp>
          <p:nvGrpSpPr>
            <p:cNvPr id="60" name="Group 59"/>
            <p:cNvGrpSpPr/>
            <p:nvPr/>
          </p:nvGrpSpPr>
          <p:grpSpPr>
            <a:xfrm>
              <a:off x="892253" y="3071244"/>
              <a:ext cx="2494622" cy="720000"/>
              <a:chOff x="525444" y="2594560"/>
              <a:chExt cx="2494622" cy="720000"/>
            </a:xfrm>
          </p:grpSpPr>
          <p:sp>
            <p:nvSpPr>
              <p:cNvPr id="28" name="Flowchart: Alternate Process 27">
                <a:extLst>
                  <a:ext uri="{FF2B5EF4-FFF2-40B4-BE49-F238E27FC236}">
                    <a16:creationId xmlns:a16="http://schemas.microsoft.com/office/drawing/2014/main" id="{9469A7BC-933C-432E-922B-EC2CD144DC72}"/>
                  </a:ext>
                </a:extLst>
              </p:cNvPr>
              <p:cNvSpPr/>
              <p:nvPr/>
            </p:nvSpPr>
            <p:spPr>
              <a:xfrm>
                <a:off x="1066451" y="2738560"/>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Capacity and generation mix</a:t>
                </a:r>
              </a:p>
            </p:txBody>
          </p:sp>
          <p:grpSp>
            <p:nvGrpSpPr>
              <p:cNvPr id="29" name="Group 28">
                <a:extLst>
                  <a:ext uri="{FF2B5EF4-FFF2-40B4-BE49-F238E27FC236}">
                    <a16:creationId xmlns:a16="http://schemas.microsoft.com/office/drawing/2014/main" id="{DCD76F64-6478-47B9-9FA1-32DF050EE028}"/>
                  </a:ext>
                </a:extLst>
              </p:cNvPr>
              <p:cNvGrpSpPr/>
              <p:nvPr/>
            </p:nvGrpSpPr>
            <p:grpSpPr>
              <a:xfrm>
                <a:off x="525444" y="2594560"/>
                <a:ext cx="720000" cy="720000"/>
                <a:chOff x="9193194" y="2618506"/>
                <a:chExt cx="720000" cy="720000"/>
              </a:xfrm>
            </p:grpSpPr>
            <p:sp>
              <p:nvSpPr>
                <p:cNvPr id="30" name="Oval 29">
                  <a:extLst>
                    <a:ext uri="{FF2B5EF4-FFF2-40B4-BE49-F238E27FC236}">
                      <a16:creationId xmlns:a16="http://schemas.microsoft.com/office/drawing/2014/main" id="{89AFB527-E19F-4FF2-B79C-EFEDA6087D3A}"/>
                    </a:ext>
                  </a:extLst>
                </p:cNvPr>
                <p:cNvSpPr/>
                <p:nvPr/>
              </p:nvSpPr>
              <p:spPr>
                <a:xfrm>
                  <a:off x="9193194" y="2618506"/>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31" name="Graphic 96">
                  <a:extLst>
                    <a:ext uri="{FF2B5EF4-FFF2-40B4-BE49-F238E27FC236}">
                      <a16:creationId xmlns:a16="http://schemas.microsoft.com/office/drawing/2014/main" id="{B146917A-38EE-4E1E-BE05-17ACE14F92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9194" y="2744506"/>
                  <a:ext cx="468000" cy="468000"/>
                </a:xfrm>
                <a:prstGeom prst="rect">
                  <a:avLst/>
                </a:prstGeom>
              </p:spPr>
            </p:pic>
          </p:grpSp>
        </p:grpSp>
        <p:grpSp>
          <p:nvGrpSpPr>
            <p:cNvPr id="61" name="Group 60"/>
            <p:cNvGrpSpPr/>
            <p:nvPr/>
          </p:nvGrpSpPr>
          <p:grpSpPr>
            <a:xfrm>
              <a:off x="895853" y="3903486"/>
              <a:ext cx="2487422" cy="720000"/>
              <a:chOff x="532644" y="3398143"/>
              <a:chExt cx="2487422" cy="720000"/>
            </a:xfrm>
          </p:grpSpPr>
          <p:sp>
            <p:nvSpPr>
              <p:cNvPr id="24" name="Flowchart: Alternate Process 23">
                <a:extLst>
                  <a:ext uri="{FF2B5EF4-FFF2-40B4-BE49-F238E27FC236}">
                    <a16:creationId xmlns:a16="http://schemas.microsoft.com/office/drawing/2014/main" id="{A98ECAC1-FF1A-4BB0-85FF-D231908A42E2}"/>
                  </a:ext>
                </a:extLst>
              </p:cNvPr>
              <p:cNvSpPr/>
              <p:nvPr/>
            </p:nvSpPr>
            <p:spPr>
              <a:xfrm>
                <a:off x="1066451" y="3534943"/>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Wholesale prices</a:t>
                </a:r>
                <a:endParaRPr lang="en-US" sz="1200">
                  <a:solidFill>
                    <a:schemeClr val="tx1"/>
                  </a:solidFill>
                </a:endParaRPr>
              </a:p>
            </p:txBody>
          </p:sp>
          <p:grpSp>
            <p:nvGrpSpPr>
              <p:cNvPr id="57" name="Group 56"/>
              <p:cNvGrpSpPr/>
              <p:nvPr/>
            </p:nvGrpSpPr>
            <p:grpSpPr>
              <a:xfrm>
                <a:off x="532644" y="3398143"/>
                <a:ext cx="720000" cy="720000"/>
                <a:chOff x="532644" y="3398143"/>
                <a:chExt cx="720000" cy="720000"/>
              </a:xfrm>
            </p:grpSpPr>
            <p:sp>
              <p:nvSpPr>
                <p:cNvPr id="25" name="Oval 24">
                  <a:extLst>
                    <a:ext uri="{FF2B5EF4-FFF2-40B4-BE49-F238E27FC236}">
                      <a16:creationId xmlns:a16="http://schemas.microsoft.com/office/drawing/2014/main" id="{692B6418-51D1-484D-A819-92CF3D02501A}"/>
                    </a:ext>
                  </a:extLst>
                </p:cNvPr>
                <p:cNvSpPr/>
                <p:nvPr/>
              </p:nvSpPr>
              <p:spPr>
                <a:xfrm>
                  <a:off x="532644" y="3398143"/>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32" name="Graphic 92" descr="Upward trend with solid fill">
                  <a:extLst>
                    <a:ext uri="{FF2B5EF4-FFF2-40B4-BE49-F238E27FC236}">
                      <a16:creationId xmlns:a16="http://schemas.microsoft.com/office/drawing/2014/main" id="{2CA923D2-335A-4015-945B-EA62030EC3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5444" y="3480943"/>
                  <a:ext cx="554400" cy="554400"/>
                </a:xfrm>
                <a:prstGeom prst="rect">
                  <a:avLst/>
                </a:prstGeom>
              </p:spPr>
            </p:pic>
          </p:grpSp>
        </p:grpSp>
        <p:grpSp>
          <p:nvGrpSpPr>
            <p:cNvPr id="62" name="Group 61"/>
            <p:cNvGrpSpPr/>
            <p:nvPr/>
          </p:nvGrpSpPr>
          <p:grpSpPr>
            <a:xfrm>
              <a:off x="902270" y="4735728"/>
              <a:ext cx="2474589" cy="720000"/>
              <a:chOff x="545477" y="4187326"/>
              <a:chExt cx="2474589" cy="720000"/>
            </a:xfrm>
          </p:grpSpPr>
          <p:sp>
            <p:nvSpPr>
              <p:cNvPr id="26" name="Flowchart: Alternate Process 25">
                <a:extLst>
                  <a:ext uri="{FF2B5EF4-FFF2-40B4-BE49-F238E27FC236}">
                    <a16:creationId xmlns:a16="http://schemas.microsoft.com/office/drawing/2014/main" id="{8DEC75B2-D657-485A-8FB0-B23A76DD947F}"/>
                  </a:ext>
                </a:extLst>
              </p:cNvPr>
              <p:cNvSpPr/>
              <p:nvPr/>
            </p:nvSpPr>
            <p:spPr>
              <a:xfrm>
                <a:off x="1066451" y="4331326"/>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Capacity market forecasts</a:t>
                </a:r>
              </a:p>
            </p:txBody>
          </p:sp>
          <p:grpSp>
            <p:nvGrpSpPr>
              <p:cNvPr id="56" name="Group 55"/>
              <p:cNvGrpSpPr/>
              <p:nvPr/>
            </p:nvGrpSpPr>
            <p:grpSpPr>
              <a:xfrm>
                <a:off x="545477" y="4187326"/>
                <a:ext cx="720000" cy="720000"/>
                <a:chOff x="545477" y="4187326"/>
                <a:chExt cx="720000" cy="720000"/>
              </a:xfrm>
            </p:grpSpPr>
            <p:sp>
              <p:nvSpPr>
                <p:cNvPr id="27" name="Oval 26">
                  <a:extLst>
                    <a:ext uri="{FF2B5EF4-FFF2-40B4-BE49-F238E27FC236}">
                      <a16:creationId xmlns:a16="http://schemas.microsoft.com/office/drawing/2014/main" id="{65EAAB87-D391-477F-904D-26C5375B404D}"/>
                    </a:ext>
                  </a:extLst>
                </p:cNvPr>
                <p:cNvSpPr/>
                <p:nvPr/>
              </p:nvSpPr>
              <p:spPr>
                <a:xfrm>
                  <a:off x="545477" y="4187326"/>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33" name="Graphic 98">
                  <a:extLst>
                    <a:ext uri="{FF2B5EF4-FFF2-40B4-BE49-F238E27FC236}">
                      <a16:creationId xmlns:a16="http://schemas.microsoft.com/office/drawing/2014/main" id="{193754DD-9A92-495B-93B4-65F06D577BB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2834" y="4324683"/>
                  <a:ext cx="445286" cy="445286"/>
                </a:xfrm>
                <a:prstGeom prst="rect">
                  <a:avLst/>
                </a:prstGeom>
              </p:spPr>
            </p:pic>
          </p:grpSp>
        </p:grpSp>
        <p:grpSp>
          <p:nvGrpSpPr>
            <p:cNvPr id="59" name="Group 58"/>
            <p:cNvGrpSpPr/>
            <p:nvPr/>
          </p:nvGrpSpPr>
          <p:grpSpPr>
            <a:xfrm>
              <a:off x="892253" y="2239002"/>
              <a:ext cx="2494622" cy="720000"/>
              <a:chOff x="525444" y="1798177"/>
              <a:chExt cx="2494622" cy="720000"/>
            </a:xfrm>
          </p:grpSpPr>
          <p:sp>
            <p:nvSpPr>
              <p:cNvPr id="20" name="Flowchart: Alternate Process 19">
                <a:extLst>
                  <a:ext uri="{FF2B5EF4-FFF2-40B4-BE49-F238E27FC236}">
                    <a16:creationId xmlns:a16="http://schemas.microsoft.com/office/drawing/2014/main" id="{598FE8FD-599C-4DEB-A911-1AB9AA84ECDD}"/>
                  </a:ext>
                </a:extLst>
              </p:cNvPr>
              <p:cNvSpPr/>
              <p:nvPr/>
            </p:nvSpPr>
            <p:spPr>
              <a:xfrm>
                <a:off x="1066451" y="1942177"/>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Long-term system overview</a:t>
                </a:r>
              </a:p>
            </p:txBody>
          </p:sp>
          <p:grpSp>
            <p:nvGrpSpPr>
              <p:cNvPr id="54" name="Group 53"/>
              <p:cNvGrpSpPr/>
              <p:nvPr/>
            </p:nvGrpSpPr>
            <p:grpSpPr>
              <a:xfrm>
                <a:off x="525444" y="1798177"/>
                <a:ext cx="720000" cy="720000"/>
                <a:chOff x="525444" y="1798177"/>
                <a:chExt cx="720000" cy="720000"/>
              </a:xfrm>
            </p:grpSpPr>
            <p:sp>
              <p:nvSpPr>
                <p:cNvPr id="21" name="Oval 20">
                  <a:extLst>
                    <a:ext uri="{FF2B5EF4-FFF2-40B4-BE49-F238E27FC236}">
                      <a16:creationId xmlns:a16="http://schemas.microsoft.com/office/drawing/2014/main" id="{3C22065E-FD5A-45E3-B22A-4D7956CB956F}"/>
                    </a:ext>
                  </a:extLst>
                </p:cNvPr>
                <p:cNvSpPr/>
                <p:nvPr/>
              </p:nvSpPr>
              <p:spPr>
                <a:xfrm>
                  <a:off x="525444" y="1798177"/>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34" name="Graphic 133" descr="Network with solid fill">
                  <a:extLst>
                    <a:ext uri="{FF2B5EF4-FFF2-40B4-BE49-F238E27FC236}">
                      <a16:creationId xmlns:a16="http://schemas.microsoft.com/office/drawing/2014/main" id="{85939B5E-BF50-4D45-B4A8-E31E2BF826E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8244" y="1880977"/>
                  <a:ext cx="554400" cy="554400"/>
                </a:xfrm>
                <a:prstGeom prst="rect">
                  <a:avLst/>
                </a:prstGeom>
              </p:spPr>
            </p:pic>
          </p:grpSp>
        </p:grpSp>
        <p:grpSp>
          <p:nvGrpSpPr>
            <p:cNvPr id="58" name="Group 57"/>
            <p:cNvGrpSpPr/>
            <p:nvPr/>
          </p:nvGrpSpPr>
          <p:grpSpPr>
            <a:xfrm>
              <a:off x="892253" y="5567968"/>
              <a:ext cx="2494622" cy="720000"/>
              <a:chOff x="525444" y="4983710"/>
              <a:chExt cx="2494622" cy="720000"/>
            </a:xfrm>
          </p:grpSpPr>
          <p:sp>
            <p:nvSpPr>
              <p:cNvPr id="22" name="Flowchart: Alternate Process 21">
                <a:extLst>
                  <a:ext uri="{FF2B5EF4-FFF2-40B4-BE49-F238E27FC236}">
                    <a16:creationId xmlns:a16="http://schemas.microsoft.com/office/drawing/2014/main" id="{FD3BDC08-D834-4E2C-8396-9B86E162B9A2}"/>
                  </a:ext>
                </a:extLst>
              </p:cNvPr>
              <p:cNvSpPr/>
              <p:nvPr/>
            </p:nvSpPr>
            <p:spPr>
              <a:xfrm>
                <a:off x="1066451" y="5127710"/>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Granular asset performance</a:t>
                </a:r>
              </a:p>
            </p:txBody>
          </p:sp>
          <p:grpSp>
            <p:nvGrpSpPr>
              <p:cNvPr id="55" name="Group 54"/>
              <p:cNvGrpSpPr/>
              <p:nvPr/>
            </p:nvGrpSpPr>
            <p:grpSpPr>
              <a:xfrm>
                <a:off x="525444" y="4983710"/>
                <a:ext cx="720000" cy="720000"/>
                <a:chOff x="525444" y="4983710"/>
                <a:chExt cx="720000" cy="720000"/>
              </a:xfrm>
            </p:grpSpPr>
            <p:sp>
              <p:nvSpPr>
                <p:cNvPr id="23" name="Oval 22">
                  <a:extLst>
                    <a:ext uri="{FF2B5EF4-FFF2-40B4-BE49-F238E27FC236}">
                      <a16:creationId xmlns:a16="http://schemas.microsoft.com/office/drawing/2014/main" id="{6AAB316A-1B7C-4250-B087-3AFD9092F926}"/>
                    </a:ext>
                  </a:extLst>
                </p:cNvPr>
                <p:cNvSpPr/>
                <p:nvPr/>
              </p:nvSpPr>
              <p:spPr>
                <a:xfrm>
                  <a:off x="525444" y="4983710"/>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37" name="Graphic 125" descr="Power Plant with solid fill">
                  <a:extLst>
                    <a:ext uri="{FF2B5EF4-FFF2-40B4-BE49-F238E27FC236}">
                      <a16:creationId xmlns:a16="http://schemas.microsoft.com/office/drawing/2014/main" id="{496618DD-469B-1F2A-F23E-8EC3AA9D3D3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08521" y="5066787"/>
                  <a:ext cx="553846" cy="553846"/>
                </a:xfrm>
                <a:prstGeom prst="rect">
                  <a:avLst/>
                </a:prstGeom>
              </p:spPr>
            </p:pic>
          </p:grpSp>
        </p:grpSp>
        <p:sp>
          <p:nvSpPr>
            <p:cNvPr id="38" name="Flowchart: Alternate Process 37">
              <a:extLst>
                <a:ext uri="{FF2B5EF4-FFF2-40B4-BE49-F238E27FC236}">
                  <a16:creationId xmlns:a16="http://schemas.microsoft.com/office/drawing/2014/main" id="{1AAA576A-5B7F-4E5D-A685-4C4E0F8FFBCA}"/>
                </a:ext>
              </a:extLst>
            </p:cNvPr>
            <p:cNvSpPr/>
            <p:nvPr/>
          </p:nvSpPr>
          <p:spPr>
            <a:xfrm>
              <a:off x="4579820" y="3198166"/>
              <a:ext cx="1508760" cy="210516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a:spcBef>
                  <a:spcPts val="1200"/>
                </a:spcBef>
                <a:buFont typeface="Wingdings" panose="05000000000000000000" pitchFamily="2" charset="2"/>
                <a:buChar char="§"/>
              </a:pPr>
              <a:r>
                <a:rPr lang="en-US" sz="1200">
                  <a:solidFill>
                    <a:schemeClr val="tx1"/>
                  </a:solidFill>
                </a:rPr>
                <a:t>Cost of maintaining a dispatch level that allows for a (symmetric) FCR bid</a:t>
              </a:r>
            </a:p>
            <a:p>
              <a:pPr marL="171450" indent="-171450">
                <a:spcBef>
                  <a:spcPts val="1200"/>
                </a:spcBef>
                <a:buFont typeface="Wingdings" panose="05000000000000000000" pitchFamily="2" charset="2"/>
                <a:buChar char="§"/>
              </a:pPr>
              <a:r>
                <a:rPr lang="en-US" sz="1200">
                  <a:solidFill>
                    <a:schemeClr val="tx1"/>
                  </a:solidFill>
                </a:rPr>
                <a:t>Opportunity costs in the Day Ahead market</a:t>
              </a:r>
            </a:p>
          </p:txBody>
        </p:sp>
        <p:sp>
          <p:nvSpPr>
            <p:cNvPr id="40" name="Flowchart: Alternate Process 39">
              <a:extLst>
                <a:ext uri="{FF2B5EF4-FFF2-40B4-BE49-F238E27FC236}">
                  <a16:creationId xmlns:a16="http://schemas.microsoft.com/office/drawing/2014/main" id="{96853E02-394B-4155-ADB0-9AC888627873}"/>
                </a:ext>
              </a:extLst>
            </p:cNvPr>
            <p:cNvSpPr/>
            <p:nvPr/>
          </p:nvSpPr>
          <p:spPr>
            <a:xfrm>
              <a:off x="6222031" y="3905929"/>
              <a:ext cx="1399032" cy="689635"/>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200"/>
                </a:spcBef>
              </a:pPr>
              <a:r>
                <a:rPr lang="en-US" sz="1200">
                  <a:solidFill>
                    <a:schemeClr val="tx1"/>
                  </a:solidFill>
                </a:rPr>
                <a:t>Four-hour, symmetric capacity bid placed</a:t>
              </a:r>
            </a:p>
          </p:txBody>
        </p:sp>
        <p:sp>
          <p:nvSpPr>
            <p:cNvPr id="51" name="Arrow: Right 68">
              <a:extLst>
                <a:ext uri="{FF2B5EF4-FFF2-40B4-BE49-F238E27FC236}">
                  <a16:creationId xmlns:a16="http://schemas.microsoft.com/office/drawing/2014/main" id="{C6902371-B96F-2D9D-992B-97F0F9729ADC}"/>
                </a:ext>
              </a:extLst>
            </p:cNvPr>
            <p:cNvSpPr/>
            <p:nvPr/>
          </p:nvSpPr>
          <p:spPr>
            <a:xfrm rot="5400000">
              <a:off x="9967321" y="3471499"/>
              <a:ext cx="312929" cy="128650"/>
            </a:xfrm>
            <a:prstGeom prst="rightArrow">
              <a:avLst/>
            </a:prstGeom>
            <a:solidFill>
              <a:schemeClr val="tx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US" sz="1200" b="1">
                <a:solidFill>
                  <a:schemeClr val="bg1"/>
                </a:solidFill>
              </a:endParaRPr>
            </a:p>
          </p:txBody>
        </p:sp>
        <p:sp>
          <p:nvSpPr>
            <p:cNvPr id="52" name="Arrow: Right 69">
              <a:extLst>
                <a:ext uri="{FF2B5EF4-FFF2-40B4-BE49-F238E27FC236}">
                  <a16:creationId xmlns:a16="http://schemas.microsoft.com/office/drawing/2014/main" id="{E34E4C95-E1DD-7B5A-69EC-05007055CFA4}"/>
                </a:ext>
              </a:extLst>
            </p:cNvPr>
            <p:cNvSpPr/>
            <p:nvPr/>
          </p:nvSpPr>
          <p:spPr>
            <a:xfrm rot="5400000">
              <a:off x="9967321" y="4303742"/>
              <a:ext cx="312929" cy="128650"/>
            </a:xfrm>
            <a:prstGeom prst="rightArrow">
              <a:avLst/>
            </a:prstGeom>
            <a:solidFill>
              <a:schemeClr val="tx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US" sz="1200" b="1">
                <a:solidFill>
                  <a:schemeClr val="bg1"/>
                </a:solidFill>
              </a:endParaRPr>
            </a:p>
          </p:txBody>
        </p:sp>
        <p:sp>
          <p:nvSpPr>
            <p:cNvPr id="53" name="Arrow: Right 70">
              <a:extLst>
                <a:ext uri="{FF2B5EF4-FFF2-40B4-BE49-F238E27FC236}">
                  <a16:creationId xmlns:a16="http://schemas.microsoft.com/office/drawing/2014/main" id="{0ABD01D9-C9C9-251D-425D-93EC0A2851AC}"/>
                </a:ext>
              </a:extLst>
            </p:cNvPr>
            <p:cNvSpPr/>
            <p:nvPr/>
          </p:nvSpPr>
          <p:spPr>
            <a:xfrm rot="5400000">
              <a:off x="9967321" y="5135985"/>
              <a:ext cx="312929" cy="128650"/>
            </a:xfrm>
            <a:prstGeom prst="rightArrow">
              <a:avLst/>
            </a:prstGeom>
            <a:solidFill>
              <a:schemeClr val="tx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US" sz="1200" b="1">
                <a:solidFill>
                  <a:schemeClr val="bg1"/>
                </a:solidFill>
              </a:endParaRPr>
            </a:p>
          </p:txBody>
        </p:sp>
        <p:sp>
          <p:nvSpPr>
            <p:cNvPr id="69" name="Isosceles Triangle 68">
              <a:extLst>
                <a:ext uri="{FF2B5EF4-FFF2-40B4-BE49-F238E27FC236}">
                  <a16:creationId xmlns:a16="http://schemas.microsoft.com/office/drawing/2014/main" id="{957C4452-AA2A-C546-E69A-4C3965E84115}"/>
                </a:ext>
              </a:extLst>
            </p:cNvPr>
            <p:cNvSpPr/>
            <p:nvPr/>
          </p:nvSpPr>
          <p:spPr>
            <a:xfrm rot="5400000">
              <a:off x="3570198" y="4290442"/>
              <a:ext cx="1098962" cy="187204"/>
            </a:xfrm>
            <a:prstGeom prst="triangle">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a:solidFill>
                  <a:schemeClr val="tx1"/>
                </a:solidFill>
              </a:endParaRPr>
            </a:p>
          </p:txBody>
        </p:sp>
        <p:sp>
          <p:nvSpPr>
            <p:cNvPr id="70" name="Isosceles Triangle 69">
              <a:extLst>
                <a:ext uri="{FF2B5EF4-FFF2-40B4-BE49-F238E27FC236}">
                  <a16:creationId xmlns:a16="http://schemas.microsoft.com/office/drawing/2014/main" id="{957C4452-AA2A-C546-E69A-4C3965E84115}"/>
                </a:ext>
              </a:extLst>
            </p:cNvPr>
            <p:cNvSpPr/>
            <p:nvPr/>
          </p:nvSpPr>
          <p:spPr>
            <a:xfrm rot="5400000">
              <a:off x="7532984" y="4290441"/>
              <a:ext cx="1098962" cy="187204"/>
            </a:xfrm>
            <a:prstGeom prst="triangle">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a:solidFill>
                  <a:schemeClr val="tx1"/>
                </a:solidFill>
              </a:endParaRPr>
            </a:p>
          </p:txBody>
        </p:sp>
        <p:grpSp>
          <p:nvGrpSpPr>
            <p:cNvPr id="73" name="Group 72"/>
            <p:cNvGrpSpPr/>
            <p:nvPr/>
          </p:nvGrpSpPr>
          <p:grpSpPr>
            <a:xfrm>
              <a:off x="8679294" y="4424188"/>
              <a:ext cx="2753481" cy="720000"/>
              <a:chOff x="8691994" y="3507488"/>
              <a:chExt cx="2753481" cy="720000"/>
            </a:xfrm>
          </p:grpSpPr>
          <p:sp>
            <p:nvSpPr>
              <p:cNvPr id="45" name="Flowchart: Alternate Process 44">
                <a:extLst>
                  <a:ext uri="{FF2B5EF4-FFF2-40B4-BE49-F238E27FC236}">
                    <a16:creationId xmlns:a16="http://schemas.microsoft.com/office/drawing/2014/main" id="{B12AEA6F-75E0-3B8D-6619-7129F10DC40F}"/>
                  </a:ext>
                </a:extLst>
              </p:cNvPr>
              <p:cNvSpPr/>
              <p:nvPr/>
            </p:nvSpPr>
            <p:spPr>
              <a:xfrm>
                <a:off x="9225801" y="3644288"/>
                <a:ext cx="2219674"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Clearing of local merit orders</a:t>
                </a:r>
                <a:endParaRPr lang="en-US" sz="1200">
                  <a:solidFill>
                    <a:schemeClr val="tx1"/>
                  </a:solidFill>
                </a:endParaRPr>
              </a:p>
            </p:txBody>
          </p:sp>
          <p:grpSp>
            <p:nvGrpSpPr>
              <p:cNvPr id="72" name="Group 71"/>
              <p:cNvGrpSpPr/>
              <p:nvPr/>
            </p:nvGrpSpPr>
            <p:grpSpPr>
              <a:xfrm>
                <a:off x="8691994" y="3507488"/>
                <a:ext cx="720000" cy="720000"/>
                <a:chOff x="8691994" y="3507488"/>
                <a:chExt cx="720000" cy="720000"/>
              </a:xfrm>
            </p:grpSpPr>
            <p:sp>
              <p:nvSpPr>
                <p:cNvPr id="46" name="Oval 45">
                  <a:extLst>
                    <a:ext uri="{FF2B5EF4-FFF2-40B4-BE49-F238E27FC236}">
                      <a16:creationId xmlns:a16="http://schemas.microsoft.com/office/drawing/2014/main" id="{D39A9721-7CCE-5ABD-CE57-27D06E523CA0}"/>
                    </a:ext>
                  </a:extLst>
                </p:cNvPr>
                <p:cNvSpPr/>
                <p:nvPr/>
              </p:nvSpPr>
              <p:spPr>
                <a:xfrm>
                  <a:off x="8691994" y="3507488"/>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71" name="Picture 70">
                  <a:extLst>
                    <a:ext uri="{FF2B5EF4-FFF2-40B4-BE49-F238E27FC236}">
                      <a16:creationId xmlns:a16="http://schemas.microsoft.com/office/drawing/2014/main" id="{D4918BC5-785E-F982-031E-E75DDCA9A199}"/>
                    </a:ext>
                  </a:extLst>
                </p:cNvPr>
                <p:cNvPicPr>
                  <a:picLocks noChangeAspect="1"/>
                </p:cNvPicPr>
                <p:nvPr/>
              </p:nvPicPr>
              <p:blipFill rotWithShape="1">
                <a:blip r:embed="rId16"/>
                <a:srcRect l="55180" t="22555" r="10190" b="46663"/>
                <a:stretch/>
              </p:blipFill>
              <p:spPr>
                <a:xfrm>
                  <a:off x="8785292" y="3640527"/>
                  <a:ext cx="533404" cy="453922"/>
                </a:xfrm>
                <a:prstGeom prst="rect">
                  <a:avLst/>
                </a:prstGeom>
              </p:spPr>
            </p:pic>
          </p:grpSp>
        </p:grpSp>
        <p:grpSp>
          <p:nvGrpSpPr>
            <p:cNvPr id="79" name="Group 78"/>
            <p:cNvGrpSpPr/>
            <p:nvPr/>
          </p:nvGrpSpPr>
          <p:grpSpPr>
            <a:xfrm>
              <a:off x="8692127" y="5256428"/>
              <a:ext cx="2740648" cy="720000"/>
              <a:chOff x="8704827" y="4339728"/>
              <a:chExt cx="2740648" cy="720000"/>
            </a:xfrm>
          </p:grpSpPr>
          <p:sp>
            <p:nvSpPr>
              <p:cNvPr id="47" name="Flowchart: Alternate Process 46">
                <a:extLst>
                  <a:ext uri="{FF2B5EF4-FFF2-40B4-BE49-F238E27FC236}">
                    <a16:creationId xmlns:a16="http://schemas.microsoft.com/office/drawing/2014/main" id="{F19C0384-28AC-3B19-CD5C-881C3DE4C497}"/>
                  </a:ext>
                </a:extLst>
              </p:cNvPr>
              <p:cNvSpPr/>
              <p:nvPr/>
            </p:nvSpPr>
            <p:spPr>
              <a:xfrm>
                <a:off x="9225801" y="4483728"/>
                <a:ext cx="2219674"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Pay-as-clear price awarded to asset owners</a:t>
                </a:r>
                <a:endParaRPr lang="en-US" sz="1200">
                  <a:solidFill>
                    <a:schemeClr val="tx1"/>
                  </a:solidFill>
                </a:endParaRPr>
              </a:p>
            </p:txBody>
          </p:sp>
          <p:grpSp>
            <p:nvGrpSpPr>
              <p:cNvPr id="78" name="Group 77"/>
              <p:cNvGrpSpPr/>
              <p:nvPr/>
            </p:nvGrpSpPr>
            <p:grpSpPr>
              <a:xfrm>
                <a:off x="8704827" y="4339728"/>
                <a:ext cx="720000" cy="720000"/>
                <a:chOff x="8704827" y="4339728"/>
                <a:chExt cx="720000" cy="720000"/>
              </a:xfrm>
            </p:grpSpPr>
            <p:sp>
              <p:nvSpPr>
                <p:cNvPr id="48" name="Oval 47">
                  <a:extLst>
                    <a:ext uri="{FF2B5EF4-FFF2-40B4-BE49-F238E27FC236}">
                      <a16:creationId xmlns:a16="http://schemas.microsoft.com/office/drawing/2014/main" id="{C8879E27-E8AC-0343-77C3-29A9877A7AD2}"/>
                    </a:ext>
                  </a:extLst>
                </p:cNvPr>
                <p:cNvSpPr/>
                <p:nvPr/>
              </p:nvSpPr>
              <p:spPr>
                <a:xfrm>
                  <a:off x="8704827" y="4339728"/>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74" name="Picture 73"/>
                <p:cNvPicPr>
                  <a:picLocks noChangeAspect="1"/>
                </p:cNvPicPr>
                <p:nvPr/>
              </p:nvPicPr>
              <p:blipFill rotWithShape="1">
                <a:blip r:embed="rId17">
                  <a:duotone>
                    <a:schemeClr val="accent5">
                      <a:shade val="45000"/>
                      <a:satMod val="135000"/>
                    </a:schemeClr>
                    <a:prstClr val="white"/>
                  </a:duotone>
                </a:blip>
                <a:srcRect l="10035" r="10507" b="20274"/>
                <a:stretch/>
              </p:blipFill>
              <p:spPr>
                <a:xfrm>
                  <a:off x="8797237" y="4431235"/>
                  <a:ext cx="535180" cy="536986"/>
                </a:xfrm>
                <a:prstGeom prst="rect">
                  <a:avLst/>
                </a:prstGeom>
              </p:spPr>
            </p:pic>
          </p:grpSp>
        </p:grpSp>
        <p:grpSp>
          <p:nvGrpSpPr>
            <p:cNvPr id="77" name="Group 76"/>
            <p:cNvGrpSpPr/>
            <p:nvPr/>
          </p:nvGrpSpPr>
          <p:grpSpPr>
            <a:xfrm>
              <a:off x="8672094" y="3591945"/>
              <a:ext cx="2760681" cy="720000"/>
              <a:chOff x="8684794" y="2675245"/>
              <a:chExt cx="2760681" cy="720000"/>
            </a:xfrm>
          </p:grpSpPr>
          <p:sp>
            <p:nvSpPr>
              <p:cNvPr id="49" name="Flowchart: Alternate Process 48">
                <a:extLst>
                  <a:ext uri="{FF2B5EF4-FFF2-40B4-BE49-F238E27FC236}">
                    <a16:creationId xmlns:a16="http://schemas.microsoft.com/office/drawing/2014/main" id="{F316DA36-1C5B-C26A-2208-F129679C8B19}"/>
                  </a:ext>
                </a:extLst>
              </p:cNvPr>
              <p:cNvSpPr/>
              <p:nvPr/>
            </p:nvSpPr>
            <p:spPr>
              <a:xfrm>
                <a:off x="9225801" y="2819245"/>
                <a:ext cx="2219674"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Calculation of core shares and export limits</a:t>
                </a:r>
              </a:p>
            </p:txBody>
          </p:sp>
          <p:grpSp>
            <p:nvGrpSpPr>
              <p:cNvPr id="76" name="Group 75"/>
              <p:cNvGrpSpPr/>
              <p:nvPr/>
            </p:nvGrpSpPr>
            <p:grpSpPr>
              <a:xfrm>
                <a:off x="8684794" y="2675245"/>
                <a:ext cx="720000" cy="720000"/>
                <a:chOff x="8684794" y="2675245"/>
                <a:chExt cx="720000" cy="720000"/>
              </a:xfrm>
            </p:grpSpPr>
            <p:sp>
              <p:nvSpPr>
                <p:cNvPr id="50" name="Oval 49">
                  <a:extLst>
                    <a:ext uri="{FF2B5EF4-FFF2-40B4-BE49-F238E27FC236}">
                      <a16:creationId xmlns:a16="http://schemas.microsoft.com/office/drawing/2014/main" id="{0D593F98-38E1-9C09-D008-79389A4BEE54}"/>
                    </a:ext>
                  </a:extLst>
                </p:cNvPr>
                <p:cNvSpPr/>
                <p:nvPr/>
              </p:nvSpPr>
              <p:spPr>
                <a:xfrm>
                  <a:off x="8684794" y="2675245"/>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75" name="Picture 74"/>
                <p:cNvPicPr>
                  <a:picLocks noChangeAspect="1"/>
                </p:cNvPicPr>
                <p:nvPr/>
              </p:nvPicPr>
              <p:blipFill rotWithShape="1">
                <a:blip r:embed="rId18">
                  <a:duotone>
                    <a:schemeClr val="accent5">
                      <a:shade val="45000"/>
                      <a:satMod val="135000"/>
                    </a:schemeClr>
                    <a:prstClr val="white"/>
                  </a:duotone>
                </a:blip>
                <a:srcRect l="12863" t="4227" r="13476" b="24233"/>
                <a:stretch/>
              </p:blipFill>
              <p:spPr>
                <a:xfrm>
                  <a:off x="8744910" y="2743995"/>
                  <a:ext cx="599768" cy="582500"/>
                </a:xfrm>
                <a:prstGeom prst="rect">
                  <a:avLst/>
                </a:prstGeom>
              </p:spPr>
            </p:pic>
          </p:grpSp>
        </p:grpSp>
        <p:grpSp>
          <p:nvGrpSpPr>
            <p:cNvPr id="83" name="Group 82"/>
            <p:cNvGrpSpPr/>
            <p:nvPr/>
          </p:nvGrpSpPr>
          <p:grpSpPr>
            <a:xfrm>
              <a:off x="8672094" y="2759702"/>
              <a:ext cx="2760681" cy="720000"/>
              <a:chOff x="8684794" y="1843002"/>
              <a:chExt cx="2760681" cy="720000"/>
            </a:xfrm>
          </p:grpSpPr>
          <p:sp>
            <p:nvSpPr>
              <p:cNvPr id="43" name="Flowchart: Alternate Process 42">
                <a:extLst>
                  <a:ext uri="{FF2B5EF4-FFF2-40B4-BE49-F238E27FC236}">
                    <a16:creationId xmlns:a16="http://schemas.microsoft.com/office/drawing/2014/main" id="{3B57EDAD-60FF-F375-B620-63E45185C731}"/>
                  </a:ext>
                </a:extLst>
              </p:cNvPr>
              <p:cNvSpPr/>
              <p:nvPr/>
            </p:nvSpPr>
            <p:spPr>
              <a:xfrm>
                <a:off x="9225801" y="1987002"/>
                <a:ext cx="2219674"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Assembling of nationally placed bids</a:t>
                </a:r>
              </a:p>
            </p:txBody>
          </p:sp>
          <p:grpSp>
            <p:nvGrpSpPr>
              <p:cNvPr id="82" name="Group 81"/>
              <p:cNvGrpSpPr/>
              <p:nvPr/>
            </p:nvGrpSpPr>
            <p:grpSpPr>
              <a:xfrm>
                <a:off x="8684794" y="1843002"/>
                <a:ext cx="720000" cy="720000"/>
                <a:chOff x="8684794" y="1843002"/>
                <a:chExt cx="720000" cy="720000"/>
              </a:xfrm>
            </p:grpSpPr>
            <p:sp>
              <p:nvSpPr>
                <p:cNvPr id="44" name="Oval 43">
                  <a:extLst>
                    <a:ext uri="{FF2B5EF4-FFF2-40B4-BE49-F238E27FC236}">
                      <a16:creationId xmlns:a16="http://schemas.microsoft.com/office/drawing/2014/main" id="{04A3997D-BB81-F16B-0420-DFA0F9EAE969}"/>
                    </a:ext>
                  </a:extLst>
                </p:cNvPr>
                <p:cNvSpPr/>
                <p:nvPr/>
              </p:nvSpPr>
              <p:spPr>
                <a:xfrm>
                  <a:off x="8684794" y="1843002"/>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81" name="Picture 80"/>
                <p:cNvPicPr>
                  <a:picLocks noChangeAspect="1"/>
                </p:cNvPicPr>
                <p:nvPr/>
              </p:nvPicPr>
              <p:blipFill rotWithShape="1">
                <a:blip r:embed="rId19">
                  <a:duotone>
                    <a:schemeClr val="accent5">
                      <a:shade val="45000"/>
                      <a:satMod val="135000"/>
                    </a:schemeClr>
                    <a:prstClr val="white"/>
                  </a:duotone>
                </a:blip>
                <a:srcRect l="12581" t="3944" r="12769" b="24374"/>
                <a:stretch/>
              </p:blipFill>
              <p:spPr>
                <a:xfrm>
                  <a:off x="8743728" y="1942191"/>
                  <a:ext cx="602132" cy="578184"/>
                </a:xfrm>
                <a:prstGeom prst="rect">
                  <a:avLst/>
                </a:prstGeom>
              </p:spPr>
            </p:pic>
          </p:grpSp>
        </p:grpSp>
        <p:sp>
          <p:nvSpPr>
            <p:cNvPr id="35" name="Rectangle 34">
              <a:extLst>
                <a:ext uri="{FF2B5EF4-FFF2-40B4-BE49-F238E27FC236}">
                  <a16:creationId xmlns:a16="http://schemas.microsoft.com/office/drawing/2014/main" id="{5C5A83BD-306B-8D22-0BB1-EACDC8E395DD}"/>
                </a:ext>
              </a:extLst>
            </p:cNvPr>
            <p:cNvSpPr/>
            <p:nvPr/>
          </p:nvSpPr>
          <p:spPr>
            <a:xfrm>
              <a:off x="6426861" y="2319414"/>
              <a:ext cx="1150111" cy="184666"/>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200"/>
                </a:spcBef>
              </a:pPr>
              <a:r>
                <a:rPr lang="en-US" sz="1200" b="1">
                  <a:solidFill>
                    <a:schemeClr val="tx1"/>
                  </a:solidFill>
                </a:rPr>
                <a:t>FCR bid</a:t>
              </a:r>
              <a:endParaRPr lang="en-US" sz="1200">
                <a:solidFill>
                  <a:schemeClr val="tx1"/>
                </a:solidFill>
              </a:endParaRPr>
            </a:p>
          </p:txBody>
        </p:sp>
        <p:sp>
          <p:nvSpPr>
            <p:cNvPr id="36" name="Rectangle 35">
              <a:extLst>
                <a:ext uri="{FF2B5EF4-FFF2-40B4-BE49-F238E27FC236}">
                  <a16:creationId xmlns:a16="http://schemas.microsoft.com/office/drawing/2014/main" id="{8C07F792-C2F9-BE4B-C753-EC3CA082BCD1}"/>
                </a:ext>
              </a:extLst>
            </p:cNvPr>
            <p:cNvSpPr/>
            <p:nvPr/>
          </p:nvSpPr>
          <p:spPr>
            <a:xfrm>
              <a:off x="4622620" y="2319414"/>
              <a:ext cx="1280160" cy="184666"/>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pPr>
              <a:r>
                <a:rPr lang="en-US" sz="1200" b="1">
                  <a:solidFill>
                    <a:schemeClr val="tx1"/>
                  </a:solidFill>
                </a:rPr>
                <a:t>Reservation costs</a:t>
              </a:r>
              <a:endParaRPr lang="en-US" sz="1200">
                <a:solidFill>
                  <a:schemeClr val="tx1"/>
                </a:solidFill>
              </a:endParaRPr>
            </a:p>
          </p:txBody>
        </p:sp>
        <p:sp>
          <p:nvSpPr>
            <p:cNvPr id="63" name="Arrow: Right 128">
              <a:extLst>
                <a:ext uri="{FF2B5EF4-FFF2-40B4-BE49-F238E27FC236}">
                  <a16:creationId xmlns:a16="http://schemas.microsoft.com/office/drawing/2014/main" id="{A5AF2A06-0D19-AC44-E4B7-162DE0BEC50E}"/>
                </a:ext>
              </a:extLst>
            </p:cNvPr>
            <p:cNvSpPr/>
            <p:nvPr/>
          </p:nvSpPr>
          <p:spPr>
            <a:xfrm>
              <a:off x="6084556" y="2347422"/>
              <a:ext cx="312929" cy="128650"/>
            </a:xfrm>
            <a:prstGeom prst="rightArrow">
              <a:avLst/>
            </a:prstGeom>
            <a:solidFill>
              <a:schemeClr val="tx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US" sz="1200" b="1">
                <a:solidFill>
                  <a:schemeClr val="bg1"/>
                </a:solidFill>
              </a:endParaRPr>
            </a:p>
          </p:txBody>
        </p:sp>
      </p:grpSp>
      <p:sp>
        <p:nvSpPr>
          <p:cNvPr id="14" name="Text Placeholder 2">
            <a:extLst>
              <a:ext uri="{FF2B5EF4-FFF2-40B4-BE49-F238E27FC236}">
                <a16:creationId xmlns:a16="http://schemas.microsoft.com/office/drawing/2014/main" id="{DBC3097F-E336-914B-DDB6-775C200C93E8}"/>
              </a:ext>
            </a:extLst>
          </p:cNvPr>
          <p:cNvSpPr txBox="1">
            <a:spLocks/>
          </p:cNvSpPr>
          <p:nvPr/>
        </p:nvSpPr>
        <p:spPr>
          <a:xfrm>
            <a:off x="381599" y="79401"/>
            <a:ext cx="373050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Frequency response services</a:t>
            </a:r>
          </a:p>
        </p:txBody>
      </p:sp>
      <p:sp>
        <p:nvSpPr>
          <p:cNvPr id="15" name="Oval 14">
            <a:extLst>
              <a:ext uri="{FF2B5EF4-FFF2-40B4-BE49-F238E27FC236}">
                <a16:creationId xmlns:a16="http://schemas.microsoft.com/office/drawing/2014/main" id="{0A3529E0-2192-FD24-DFD2-69E544415D27}"/>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17" name="Oval 16">
            <a:extLst>
              <a:ext uri="{FF2B5EF4-FFF2-40B4-BE49-F238E27FC236}">
                <a16:creationId xmlns:a16="http://schemas.microsoft.com/office/drawing/2014/main" id="{A26C92FD-AB76-568E-5824-57444C6F5F9F}"/>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67" name="Text Placeholder 2">
            <a:extLst>
              <a:ext uri="{FF2B5EF4-FFF2-40B4-BE49-F238E27FC236}">
                <a16:creationId xmlns:a16="http://schemas.microsoft.com/office/drawing/2014/main" id="{4E6E164F-F364-DA5D-2CE1-9197A72C92D5}"/>
              </a:ext>
            </a:extLst>
          </p:cNvPr>
          <p:cNvSpPr txBox="1">
            <a:spLocks/>
          </p:cNvSpPr>
          <p:nvPr/>
        </p:nvSpPr>
        <p:spPr>
          <a:xfrm>
            <a:off x="381599" y="1263129"/>
            <a:ext cx="11428800"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FCR bids are made based on reservation and opportunity costs in the Day Ahead market</a:t>
            </a:r>
            <a:endParaRPr lang="en-US"/>
          </a:p>
        </p:txBody>
      </p:sp>
    </p:spTree>
    <p:extLst>
      <p:ext uri="{BB962C8B-B14F-4D97-AF65-F5344CB8AC3E}">
        <p14:creationId xmlns:p14="http://schemas.microsoft.com/office/powerpoint/2010/main" val="172496996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12"/>
          <p:cNvSpPr>
            <a:spLocks noGrp="1"/>
          </p:cNvSpPr>
          <p:nvPr>
            <p:ph type="body" sz="quarter" idx="29"/>
          </p:nvPr>
        </p:nvSpPr>
        <p:spPr>
          <a:xfrm>
            <a:off x="381000" y="1656000"/>
            <a:ext cx="3517128" cy="365760"/>
          </a:xfrm>
          <a:solidFill>
            <a:schemeClr val="accent5"/>
          </a:solidFill>
          <a:ln w="19050">
            <a:solidFill>
              <a:schemeClr val="accent5"/>
            </a:solidFill>
          </a:ln>
        </p:spPr>
        <p:txBody>
          <a:bodyPr anchor="ctr">
            <a:noAutofit/>
          </a:bodyPr>
          <a:lstStyle/>
          <a:p>
            <a:pPr algn="ctr"/>
            <a:r>
              <a:rPr lang="en-US">
                <a:solidFill>
                  <a:schemeClr val="bg1"/>
                </a:solidFill>
              </a:rPr>
              <a:t>AER-ES</a:t>
            </a:r>
          </a:p>
        </p:txBody>
      </p:sp>
      <p:sp>
        <p:nvSpPr>
          <p:cNvPr id="4" name="Text Placeholder 3"/>
          <p:cNvSpPr>
            <a:spLocks noGrp="1"/>
          </p:cNvSpPr>
          <p:nvPr>
            <p:ph type="body" sz="quarter" idx="22"/>
          </p:nvPr>
        </p:nvSpPr>
        <p:spPr>
          <a:xfrm>
            <a:off x="381001" y="6715169"/>
            <a:ext cx="1452321" cy="110800"/>
          </a:xfrm>
        </p:spPr>
        <p:txBody>
          <a:bodyPr/>
          <a:lstStyle/>
          <a:p>
            <a:r>
              <a:rPr lang="en-US"/>
              <a:t>Source: Aurora Energy Research</a:t>
            </a:r>
          </a:p>
        </p:txBody>
      </p:sp>
      <p:sp>
        <p:nvSpPr>
          <p:cNvPr id="5" name="Title 4"/>
          <p:cNvSpPr>
            <a:spLocks noGrp="1"/>
          </p:cNvSpPr>
          <p:nvPr>
            <p:ph type="title"/>
          </p:nvPr>
        </p:nvSpPr>
        <p:spPr/>
        <p:txBody>
          <a:bodyPr vert="horz"/>
          <a:lstStyle/>
          <a:p>
            <a:r>
              <a:rPr lang="en-GB"/>
              <a:t>Aurora modelling methodology– Using Germany as an example (2/2)</a:t>
            </a:r>
            <a:endParaRPr lang="en-US"/>
          </a:p>
        </p:txBody>
      </p:sp>
      <p:sp>
        <p:nvSpPr>
          <p:cNvPr id="14" name="Text Placeholder 13"/>
          <p:cNvSpPr>
            <a:spLocks noGrp="1"/>
          </p:cNvSpPr>
          <p:nvPr>
            <p:ph type="body" sz="quarter" idx="30"/>
          </p:nvPr>
        </p:nvSpPr>
        <p:spPr>
          <a:xfrm>
            <a:off x="4337132" y="1656000"/>
            <a:ext cx="3517132" cy="365760"/>
          </a:xfrm>
          <a:solidFill>
            <a:schemeClr val="accent2"/>
          </a:solidFill>
          <a:ln w="19050">
            <a:solidFill>
              <a:schemeClr val="accent2"/>
            </a:solidFill>
          </a:ln>
        </p:spPr>
        <p:txBody>
          <a:bodyPr anchor="ctr">
            <a:noAutofit/>
          </a:bodyPr>
          <a:lstStyle/>
          <a:p>
            <a:pPr algn="ctr"/>
            <a:r>
              <a:rPr lang="en-US"/>
              <a:t>aFRR capacity bids</a:t>
            </a:r>
          </a:p>
        </p:txBody>
      </p:sp>
      <p:sp>
        <p:nvSpPr>
          <p:cNvPr id="16" name="Text Placeholder 15"/>
          <p:cNvSpPr>
            <a:spLocks noGrp="1"/>
          </p:cNvSpPr>
          <p:nvPr>
            <p:ph type="body" sz="quarter" idx="32"/>
          </p:nvPr>
        </p:nvSpPr>
        <p:spPr>
          <a:xfrm>
            <a:off x="381600" y="6474841"/>
            <a:ext cx="11428800" cy="110800"/>
          </a:xfrm>
        </p:spPr>
        <p:txBody>
          <a:bodyPr/>
          <a:lstStyle/>
          <a:p>
            <a:r>
              <a:rPr lang="en-US"/>
              <a:t>1) </a:t>
            </a:r>
            <a:r>
              <a:rPr lang="en-GB"/>
              <a:t>This analysis incorporates Net Transfer Capacity (NTC) flows in the calculation of PICASSO bids.</a:t>
            </a:r>
            <a:endParaRPr lang="en-US"/>
          </a:p>
        </p:txBody>
      </p:sp>
      <p:sp>
        <p:nvSpPr>
          <p:cNvPr id="87" name="Text Placeholder 13">
            <a:extLst>
              <a:ext uri="{FF2B5EF4-FFF2-40B4-BE49-F238E27FC236}">
                <a16:creationId xmlns:a16="http://schemas.microsoft.com/office/drawing/2014/main" id="{B191CCDD-1F95-B883-EF4B-78DA2A904A30}"/>
              </a:ext>
            </a:extLst>
          </p:cNvPr>
          <p:cNvSpPr txBox="1">
            <a:spLocks/>
          </p:cNvSpPr>
          <p:nvPr/>
        </p:nvSpPr>
        <p:spPr>
          <a:xfrm>
            <a:off x="8293268" y="1656000"/>
            <a:ext cx="3517132" cy="365760"/>
          </a:xfrm>
          <a:prstGeom prst="rect">
            <a:avLst/>
          </a:prstGeom>
          <a:solidFill>
            <a:schemeClr val="accent2"/>
          </a:solidFill>
          <a:ln w="19050">
            <a:solidFill>
              <a:schemeClr val="accent2"/>
            </a:solidFill>
          </a:ln>
        </p:spPr>
        <p:txBody>
          <a:bodyPr vert="horz" lIns="0" tIns="0" rIns="0" bIns="0" rtlCol="0" anchor="ctr">
            <a:no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a:t>aFRR energy bids</a:t>
            </a:r>
            <a:r>
              <a:rPr lang="en-US" baseline="30000"/>
              <a:t>1</a:t>
            </a:r>
          </a:p>
        </p:txBody>
      </p:sp>
      <p:grpSp>
        <p:nvGrpSpPr>
          <p:cNvPr id="120" name="Group 119">
            <a:extLst>
              <a:ext uri="{FF2B5EF4-FFF2-40B4-BE49-F238E27FC236}">
                <a16:creationId xmlns:a16="http://schemas.microsoft.com/office/drawing/2014/main" id="{59BEB1D2-6B23-C2C1-ED04-9DD2E0E65A15}"/>
              </a:ext>
            </a:extLst>
          </p:cNvPr>
          <p:cNvGrpSpPr/>
          <p:nvPr/>
        </p:nvGrpSpPr>
        <p:grpSpPr>
          <a:xfrm>
            <a:off x="892253" y="2160000"/>
            <a:ext cx="10843332" cy="4206808"/>
            <a:chOff x="892253" y="1843002"/>
            <a:chExt cx="10843332" cy="4206808"/>
          </a:xfrm>
        </p:grpSpPr>
        <p:sp>
          <p:nvSpPr>
            <p:cNvPr id="28" name="Flowchart: Alternate Process 27">
              <a:extLst>
                <a:ext uri="{FF2B5EF4-FFF2-40B4-BE49-F238E27FC236}">
                  <a16:creationId xmlns:a16="http://schemas.microsoft.com/office/drawing/2014/main" id="{9469A7BC-933C-432E-922B-EC2CD144DC72}"/>
                </a:ext>
              </a:extLst>
            </p:cNvPr>
            <p:cNvSpPr/>
            <p:nvPr/>
          </p:nvSpPr>
          <p:spPr>
            <a:xfrm>
              <a:off x="1433260" y="2819244"/>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Capacity and generation mix</a:t>
              </a:r>
            </a:p>
          </p:txBody>
        </p:sp>
        <p:sp>
          <p:nvSpPr>
            <p:cNvPr id="30" name="Oval 29">
              <a:extLst>
                <a:ext uri="{FF2B5EF4-FFF2-40B4-BE49-F238E27FC236}">
                  <a16:creationId xmlns:a16="http://schemas.microsoft.com/office/drawing/2014/main" id="{89AFB527-E19F-4FF2-B79C-EFEDA6087D3A}"/>
                </a:ext>
              </a:extLst>
            </p:cNvPr>
            <p:cNvSpPr/>
            <p:nvPr/>
          </p:nvSpPr>
          <p:spPr>
            <a:xfrm>
              <a:off x="892253" y="2675244"/>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sp>
          <p:nvSpPr>
            <p:cNvPr id="49" name="Freeform: Shape 48">
              <a:extLst>
                <a:ext uri="{FF2B5EF4-FFF2-40B4-BE49-F238E27FC236}">
                  <a16:creationId xmlns:a16="http://schemas.microsoft.com/office/drawing/2014/main" id="{B60C9F21-787C-4320-EEC0-1209DA3D52D3}"/>
                </a:ext>
              </a:extLst>
            </p:cNvPr>
            <p:cNvSpPr/>
            <p:nvPr/>
          </p:nvSpPr>
          <p:spPr>
            <a:xfrm>
              <a:off x="1018253" y="3065590"/>
              <a:ext cx="207552" cy="203653"/>
            </a:xfrm>
            <a:custGeom>
              <a:avLst/>
              <a:gdLst>
                <a:gd name="connsiteX0" fmla="*/ 207553 w 207552"/>
                <a:gd name="connsiteY0" fmla="*/ 48113 h 203653"/>
                <a:gd name="connsiteX1" fmla="*/ 207553 w 207552"/>
                <a:gd name="connsiteY1" fmla="*/ 0 h 203653"/>
                <a:gd name="connsiteX2" fmla="*/ 13711 w 207552"/>
                <a:gd name="connsiteY2" fmla="*/ 0 h 203653"/>
                <a:gd name="connsiteX3" fmla="*/ 0 w 207552"/>
                <a:gd name="connsiteY3" fmla="*/ 13711 h 203653"/>
                <a:gd name="connsiteX4" fmla="*/ 0 w 207552"/>
                <a:gd name="connsiteY4" fmla="*/ 189942 h 203653"/>
                <a:gd name="connsiteX5" fmla="*/ 13711 w 207552"/>
                <a:gd name="connsiteY5" fmla="*/ 203653 h 203653"/>
                <a:gd name="connsiteX6" fmla="*/ 151168 w 207552"/>
                <a:gd name="connsiteY6" fmla="*/ 203653 h 203653"/>
                <a:gd name="connsiteX7" fmla="*/ 160857 w 207552"/>
                <a:gd name="connsiteY7" fmla="*/ 160858 h 203653"/>
                <a:gd name="connsiteX8" fmla="*/ 207553 w 207552"/>
                <a:gd name="connsiteY8" fmla="*/ 48113 h 203653"/>
                <a:gd name="connsiteX9" fmla="*/ 58744 w 207552"/>
                <a:gd name="connsiteY9" fmla="*/ 87140 h 203653"/>
                <a:gd name="connsiteX10" fmla="*/ 45033 w 207552"/>
                <a:gd name="connsiteY10" fmla="*/ 100851 h 203653"/>
                <a:gd name="connsiteX11" fmla="*/ 31322 w 207552"/>
                <a:gd name="connsiteY11" fmla="*/ 87140 h 203653"/>
                <a:gd name="connsiteX12" fmla="*/ 31322 w 207552"/>
                <a:gd name="connsiteY12" fmla="*/ 72455 h 203653"/>
                <a:gd name="connsiteX13" fmla="*/ 45033 w 207552"/>
                <a:gd name="connsiteY13" fmla="*/ 58744 h 203653"/>
                <a:gd name="connsiteX14" fmla="*/ 58744 w 207552"/>
                <a:gd name="connsiteY14" fmla="*/ 72455 h 203653"/>
                <a:gd name="connsiteX15" fmla="*/ 117487 w 207552"/>
                <a:gd name="connsiteY15" fmla="*/ 87140 h 203653"/>
                <a:gd name="connsiteX16" fmla="*/ 103776 w 207552"/>
                <a:gd name="connsiteY16" fmla="*/ 100851 h 203653"/>
                <a:gd name="connsiteX17" fmla="*/ 90065 w 207552"/>
                <a:gd name="connsiteY17" fmla="*/ 87140 h 203653"/>
                <a:gd name="connsiteX18" fmla="*/ 90065 w 207552"/>
                <a:gd name="connsiteY18" fmla="*/ 72455 h 203653"/>
                <a:gd name="connsiteX19" fmla="*/ 103776 w 207552"/>
                <a:gd name="connsiteY19" fmla="*/ 58744 h 203653"/>
                <a:gd name="connsiteX20" fmla="*/ 117487 w 207552"/>
                <a:gd name="connsiteY20" fmla="*/ 72455 h 203653"/>
                <a:gd name="connsiteX21" fmla="*/ 148809 w 207552"/>
                <a:gd name="connsiteY21" fmla="*/ 87140 h 203653"/>
                <a:gd name="connsiteX22" fmla="*/ 148809 w 207552"/>
                <a:gd name="connsiteY22" fmla="*/ 72455 h 203653"/>
                <a:gd name="connsiteX23" fmla="*/ 162520 w 207552"/>
                <a:gd name="connsiteY23" fmla="*/ 58744 h 203653"/>
                <a:gd name="connsiteX24" fmla="*/ 176231 w 207552"/>
                <a:gd name="connsiteY24" fmla="*/ 72455 h 203653"/>
                <a:gd name="connsiteX25" fmla="*/ 176231 w 207552"/>
                <a:gd name="connsiteY25" fmla="*/ 87140 h 203653"/>
                <a:gd name="connsiteX26" fmla="*/ 162520 w 207552"/>
                <a:gd name="connsiteY26" fmla="*/ 100851 h 203653"/>
                <a:gd name="connsiteX27" fmla="*/ 148809 w 207552"/>
                <a:gd name="connsiteY27" fmla="*/ 87140 h 20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7552" h="203653">
                  <a:moveTo>
                    <a:pt x="207553" y="48113"/>
                  </a:moveTo>
                  <a:lnTo>
                    <a:pt x="207553" y="0"/>
                  </a:lnTo>
                  <a:lnTo>
                    <a:pt x="13711" y="0"/>
                  </a:lnTo>
                  <a:cubicBezTo>
                    <a:pt x="6139" y="0"/>
                    <a:pt x="0" y="6139"/>
                    <a:pt x="0" y="13711"/>
                  </a:cubicBezTo>
                  <a:lnTo>
                    <a:pt x="0" y="189942"/>
                  </a:lnTo>
                  <a:cubicBezTo>
                    <a:pt x="0" y="197514"/>
                    <a:pt x="6139" y="203653"/>
                    <a:pt x="13711" y="203653"/>
                  </a:cubicBezTo>
                  <a:lnTo>
                    <a:pt x="151168" y="203653"/>
                  </a:lnTo>
                  <a:cubicBezTo>
                    <a:pt x="145879" y="188733"/>
                    <a:pt x="149566" y="172148"/>
                    <a:pt x="160857" y="160858"/>
                  </a:cubicBezTo>
                  <a:cubicBezTo>
                    <a:pt x="190969" y="130744"/>
                    <a:pt x="207553" y="90703"/>
                    <a:pt x="207553" y="48113"/>
                  </a:cubicBezTo>
                  <a:close/>
                  <a:moveTo>
                    <a:pt x="58744" y="87140"/>
                  </a:moveTo>
                  <a:cubicBezTo>
                    <a:pt x="58744" y="94712"/>
                    <a:pt x="52605" y="100851"/>
                    <a:pt x="45033" y="100851"/>
                  </a:cubicBezTo>
                  <a:cubicBezTo>
                    <a:pt x="37461" y="100851"/>
                    <a:pt x="31322" y="94712"/>
                    <a:pt x="31322" y="87140"/>
                  </a:cubicBezTo>
                  <a:lnTo>
                    <a:pt x="31322" y="72455"/>
                  </a:lnTo>
                  <a:cubicBezTo>
                    <a:pt x="31322" y="64883"/>
                    <a:pt x="37461" y="58744"/>
                    <a:pt x="45033" y="58744"/>
                  </a:cubicBezTo>
                  <a:cubicBezTo>
                    <a:pt x="52605" y="58744"/>
                    <a:pt x="58744" y="64883"/>
                    <a:pt x="58744" y="72455"/>
                  </a:cubicBezTo>
                  <a:close/>
                  <a:moveTo>
                    <a:pt x="117487" y="87140"/>
                  </a:moveTo>
                  <a:cubicBezTo>
                    <a:pt x="117487" y="94712"/>
                    <a:pt x="111348" y="100851"/>
                    <a:pt x="103776" y="100851"/>
                  </a:cubicBezTo>
                  <a:cubicBezTo>
                    <a:pt x="96204" y="100851"/>
                    <a:pt x="90065" y="94712"/>
                    <a:pt x="90065" y="87140"/>
                  </a:cubicBezTo>
                  <a:lnTo>
                    <a:pt x="90065" y="72455"/>
                  </a:lnTo>
                  <a:cubicBezTo>
                    <a:pt x="90065" y="64883"/>
                    <a:pt x="96204" y="58744"/>
                    <a:pt x="103776" y="58744"/>
                  </a:cubicBezTo>
                  <a:cubicBezTo>
                    <a:pt x="111348" y="58744"/>
                    <a:pt x="117487" y="64883"/>
                    <a:pt x="117487" y="72455"/>
                  </a:cubicBezTo>
                  <a:close/>
                  <a:moveTo>
                    <a:pt x="148809" y="87140"/>
                  </a:moveTo>
                  <a:lnTo>
                    <a:pt x="148809" y="72455"/>
                  </a:lnTo>
                  <a:cubicBezTo>
                    <a:pt x="148809" y="64883"/>
                    <a:pt x="154948" y="58744"/>
                    <a:pt x="162520" y="58744"/>
                  </a:cubicBezTo>
                  <a:cubicBezTo>
                    <a:pt x="170092" y="58744"/>
                    <a:pt x="176231" y="64883"/>
                    <a:pt x="176231" y="72455"/>
                  </a:cubicBezTo>
                  <a:lnTo>
                    <a:pt x="176231" y="87140"/>
                  </a:lnTo>
                  <a:cubicBezTo>
                    <a:pt x="176231" y="94712"/>
                    <a:pt x="170092" y="100851"/>
                    <a:pt x="162520" y="100851"/>
                  </a:cubicBezTo>
                  <a:cubicBezTo>
                    <a:pt x="154948" y="100851"/>
                    <a:pt x="148809" y="94712"/>
                    <a:pt x="148809" y="87140"/>
                  </a:cubicBezTo>
                  <a:close/>
                </a:path>
              </a:pathLst>
            </a:custGeom>
            <a:solidFill>
              <a:srgbClr val="3C3C3B"/>
            </a:solidFill>
            <a:ln w="91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20E47A4-3481-AEBE-6BB6-CCFA8E9DB7B0}"/>
                </a:ext>
              </a:extLst>
            </p:cNvPr>
            <p:cNvSpPr/>
            <p:nvPr/>
          </p:nvSpPr>
          <p:spPr>
            <a:xfrm>
              <a:off x="1163280" y="2864851"/>
              <a:ext cx="190798" cy="81302"/>
            </a:xfrm>
            <a:custGeom>
              <a:avLst/>
              <a:gdLst>
                <a:gd name="connsiteX0" fmla="*/ 103658 w 190798"/>
                <a:gd name="connsiteY0" fmla="*/ 49980 h 81302"/>
                <a:gd name="connsiteX1" fmla="*/ 0 w 190798"/>
                <a:gd name="connsiteY1" fmla="*/ 49980 h 81302"/>
                <a:gd name="connsiteX2" fmla="*/ 59601 w 190798"/>
                <a:gd name="connsiteY2" fmla="*/ 81302 h 81302"/>
                <a:gd name="connsiteX3" fmla="*/ 177088 w 190798"/>
                <a:gd name="connsiteY3" fmla="*/ 81302 h 81302"/>
                <a:gd name="connsiteX4" fmla="*/ 190799 w 190798"/>
                <a:gd name="connsiteY4" fmla="*/ 67591 h 81302"/>
                <a:gd name="connsiteX5" fmla="*/ 144394 w 190798"/>
                <a:gd name="connsiteY5" fmla="*/ 0 h 81302"/>
                <a:gd name="connsiteX6" fmla="*/ 144791 w 190798"/>
                <a:gd name="connsiteY6" fmla="*/ 8847 h 81302"/>
                <a:gd name="connsiteX7" fmla="*/ 103658 w 190798"/>
                <a:gd name="connsiteY7" fmla="*/ 49980 h 8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798" h="81302">
                  <a:moveTo>
                    <a:pt x="103658" y="49980"/>
                  </a:moveTo>
                  <a:lnTo>
                    <a:pt x="0" y="49980"/>
                  </a:lnTo>
                  <a:cubicBezTo>
                    <a:pt x="13088" y="68886"/>
                    <a:pt x="34917" y="81302"/>
                    <a:pt x="59601" y="81302"/>
                  </a:cubicBezTo>
                  <a:lnTo>
                    <a:pt x="177088" y="81302"/>
                  </a:lnTo>
                  <a:cubicBezTo>
                    <a:pt x="184660" y="81302"/>
                    <a:pt x="190799" y="75163"/>
                    <a:pt x="190799" y="67591"/>
                  </a:cubicBezTo>
                  <a:cubicBezTo>
                    <a:pt x="190799" y="36821"/>
                    <a:pt x="171509" y="10487"/>
                    <a:pt x="144394" y="0"/>
                  </a:cubicBezTo>
                  <a:cubicBezTo>
                    <a:pt x="144651" y="2916"/>
                    <a:pt x="144791" y="5866"/>
                    <a:pt x="144791" y="8847"/>
                  </a:cubicBezTo>
                  <a:cubicBezTo>
                    <a:pt x="144791" y="31528"/>
                    <a:pt x="126339" y="49980"/>
                    <a:pt x="103658" y="49980"/>
                  </a:cubicBezTo>
                  <a:close/>
                </a:path>
              </a:pathLst>
            </a:custGeom>
            <a:solidFill>
              <a:srgbClr val="3C3C3B"/>
            </a:solidFill>
            <a:ln w="912"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C5C1F5C7-0E23-C293-DF4F-8F80512A5351}"/>
                </a:ext>
              </a:extLst>
            </p:cNvPr>
            <p:cNvSpPr/>
            <p:nvPr/>
          </p:nvSpPr>
          <p:spPr>
            <a:xfrm>
              <a:off x="1018253" y="2801244"/>
              <a:ext cx="262397" cy="86165"/>
            </a:xfrm>
            <a:custGeom>
              <a:avLst/>
              <a:gdLst>
                <a:gd name="connsiteX0" fmla="*/ 43083 w 262397"/>
                <a:gd name="connsiteY0" fmla="*/ 86166 h 86165"/>
                <a:gd name="connsiteX1" fmla="*/ 248686 w 262397"/>
                <a:gd name="connsiteY1" fmla="*/ 86166 h 86165"/>
                <a:gd name="connsiteX2" fmla="*/ 262397 w 262397"/>
                <a:gd name="connsiteY2" fmla="*/ 72455 h 86165"/>
                <a:gd name="connsiteX3" fmla="*/ 189942 w 262397"/>
                <a:gd name="connsiteY3" fmla="*/ 0 h 86165"/>
                <a:gd name="connsiteX4" fmla="*/ 43083 w 262397"/>
                <a:gd name="connsiteY4" fmla="*/ 0 h 86165"/>
                <a:gd name="connsiteX5" fmla="*/ 0 w 262397"/>
                <a:gd name="connsiteY5" fmla="*/ 43083 h 86165"/>
                <a:gd name="connsiteX6" fmla="*/ 43083 w 262397"/>
                <a:gd name="connsiteY6" fmla="*/ 86166 h 86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397" h="86165">
                  <a:moveTo>
                    <a:pt x="43083" y="86166"/>
                  </a:moveTo>
                  <a:lnTo>
                    <a:pt x="248686" y="86166"/>
                  </a:lnTo>
                  <a:cubicBezTo>
                    <a:pt x="256258" y="86166"/>
                    <a:pt x="262397" y="80027"/>
                    <a:pt x="262397" y="72455"/>
                  </a:cubicBezTo>
                  <a:cubicBezTo>
                    <a:pt x="262397" y="32368"/>
                    <a:pt x="229974" y="0"/>
                    <a:pt x="189942" y="0"/>
                  </a:cubicBezTo>
                  <a:lnTo>
                    <a:pt x="43083" y="0"/>
                  </a:lnTo>
                  <a:cubicBezTo>
                    <a:pt x="19327" y="0"/>
                    <a:pt x="0" y="19327"/>
                    <a:pt x="0" y="43083"/>
                  </a:cubicBezTo>
                  <a:cubicBezTo>
                    <a:pt x="0" y="66838"/>
                    <a:pt x="19327" y="86166"/>
                    <a:pt x="43083" y="86166"/>
                  </a:cubicBezTo>
                  <a:close/>
                </a:path>
              </a:pathLst>
            </a:custGeom>
            <a:solidFill>
              <a:srgbClr val="3C3C3B"/>
            </a:solidFill>
            <a:ln w="912"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77BD5A15-B9D8-0EA3-0FBD-18A7679A8F71}"/>
                </a:ext>
              </a:extLst>
            </p:cNvPr>
            <p:cNvSpPr/>
            <p:nvPr/>
          </p:nvSpPr>
          <p:spPr>
            <a:xfrm>
              <a:off x="1139640" y="2977475"/>
              <a:ext cx="86165" cy="60693"/>
            </a:xfrm>
            <a:custGeom>
              <a:avLst/>
              <a:gdLst>
                <a:gd name="connsiteX0" fmla="*/ 72454 w 86165"/>
                <a:gd name="connsiteY0" fmla="*/ 0 h 60693"/>
                <a:gd name="connsiteX1" fmla="*/ 13711 w 86165"/>
                <a:gd name="connsiteY1" fmla="*/ 0 h 60693"/>
                <a:gd name="connsiteX2" fmla="*/ 0 w 86165"/>
                <a:gd name="connsiteY2" fmla="*/ 13711 h 60693"/>
                <a:gd name="connsiteX3" fmla="*/ 0 w 86165"/>
                <a:gd name="connsiteY3" fmla="*/ 60694 h 60693"/>
                <a:gd name="connsiteX4" fmla="*/ 86166 w 86165"/>
                <a:gd name="connsiteY4" fmla="*/ 60694 h 60693"/>
                <a:gd name="connsiteX5" fmla="*/ 86166 w 86165"/>
                <a:gd name="connsiteY5" fmla="*/ 13711 h 60693"/>
                <a:gd name="connsiteX6" fmla="*/ 72454 w 86165"/>
                <a:gd name="connsiteY6" fmla="*/ 0 h 6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65" h="60693">
                  <a:moveTo>
                    <a:pt x="72454" y="0"/>
                  </a:moveTo>
                  <a:lnTo>
                    <a:pt x="13711" y="0"/>
                  </a:lnTo>
                  <a:cubicBezTo>
                    <a:pt x="6139" y="0"/>
                    <a:pt x="0" y="6139"/>
                    <a:pt x="0" y="13711"/>
                  </a:cubicBezTo>
                  <a:lnTo>
                    <a:pt x="0" y="60694"/>
                  </a:lnTo>
                  <a:lnTo>
                    <a:pt x="86166" y="60694"/>
                  </a:lnTo>
                  <a:lnTo>
                    <a:pt x="86166" y="13711"/>
                  </a:lnTo>
                  <a:cubicBezTo>
                    <a:pt x="86165" y="6139"/>
                    <a:pt x="80027" y="0"/>
                    <a:pt x="72454" y="0"/>
                  </a:cubicBezTo>
                  <a:close/>
                </a:path>
              </a:pathLst>
            </a:custGeom>
            <a:solidFill>
              <a:srgbClr val="3C3C3B"/>
            </a:solidFill>
            <a:ln w="912"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1BFCF873-12C8-D8E7-BD4D-E30D8F9DA6EB}"/>
                </a:ext>
              </a:extLst>
            </p:cNvPr>
            <p:cNvSpPr/>
            <p:nvPr/>
          </p:nvSpPr>
          <p:spPr>
            <a:xfrm>
              <a:off x="1018253" y="2977475"/>
              <a:ext cx="86165" cy="63052"/>
            </a:xfrm>
            <a:custGeom>
              <a:avLst/>
              <a:gdLst>
                <a:gd name="connsiteX0" fmla="*/ 86166 w 86165"/>
                <a:gd name="connsiteY0" fmla="*/ 60694 h 63052"/>
                <a:gd name="connsiteX1" fmla="*/ 86166 w 86165"/>
                <a:gd name="connsiteY1" fmla="*/ 13711 h 63052"/>
                <a:gd name="connsiteX2" fmla="*/ 72455 w 86165"/>
                <a:gd name="connsiteY2" fmla="*/ 0 h 63052"/>
                <a:gd name="connsiteX3" fmla="*/ 13711 w 86165"/>
                <a:gd name="connsiteY3" fmla="*/ 0 h 63052"/>
                <a:gd name="connsiteX4" fmla="*/ 0 w 86165"/>
                <a:gd name="connsiteY4" fmla="*/ 13711 h 63052"/>
                <a:gd name="connsiteX5" fmla="*/ 0 w 86165"/>
                <a:gd name="connsiteY5" fmla="*/ 63053 h 63052"/>
                <a:gd name="connsiteX6" fmla="*/ 13711 w 86165"/>
                <a:gd name="connsiteY6" fmla="*/ 60695 h 63052"/>
                <a:gd name="connsiteX7" fmla="*/ 86166 w 86165"/>
                <a:gd name="connsiteY7" fmla="*/ 60695 h 6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65" h="63052">
                  <a:moveTo>
                    <a:pt x="86166" y="60694"/>
                  </a:moveTo>
                  <a:lnTo>
                    <a:pt x="86166" y="13711"/>
                  </a:lnTo>
                  <a:cubicBezTo>
                    <a:pt x="86166" y="6139"/>
                    <a:pt x="80027" y="0"/>
                    <a:pt x="72455" y="0"/>
                  </a:cubicBezTo>
                  <a:lnTo>
                    <a:pt x="13711" y="0"/>
                  </a:lnTo>
                  <a:cubicBezTo>
                    <a:pt x="6139" y="0"/>
                    <a:pt x="0" y="6139"/>
                    <a:pt x="0" y="13711"/>
                  </a:cubicBezTo>
                  <a:lnTo>
                    <a:pt x="0" y="63053"/>
                  </a:lnTo>
                  <a:cubicBezTo>
                    <a:pt x="4292" y="61531"/>
                    <a:pt x="8905" y="60695"/>
                    <a:pt x="13711" y="60695"/>
                  </a:cubicBezTo>
                  <a:lnTo>
                    <a:pt x="86166" y="60695"/>
                  </a:lnTo>
                  <a:close/>
                </a:path>
              </a:pathLst>
            </a:custGeom>
            <a:solidFill>
              <a:srgbClr val="3C3C3B"/>
            </a:solidFill>
            <a:ln w="912"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0F4C6C3-CA2F-32D7-ACD9-A993B66EF845}"/>
                </a:ext>
              </a:extLst>
            </p:cNvPr>
            <p:cNvSpPr/>
            <p:nvPr/>
          </p:nvSpPr>
          <p:spPr>
            <a:xfrm>
              <a:off x="1194483" y="2977475"/>
              <a:ext cx="291769" cy="291769"/>
            </a:xfrm>
            <a:custGeom>
              <a:avLst/>
              <a:gdLst>
                <a:gd name="connsiteX0" fmla="*/ 287753 w 291769"/>
                <a:gd name="connsiteY0" fmla="*/ 268363 h 291769"/>
                <a:gd name="connsiteX1" fmla="*/ 233025 w 291769"/>
                <a:gd name="connsiteY1" fmla="*/ 136228 h 291769"/>
                <a:gd name="connsiteX2" fmla="*/ 233025 w 291769"/>
                <a:gd name="connsiteY2" fmla="*/ 13711 h 291769"/>
                <a:gd name="connsiteX3" fmla="*/ 219315 w 291769"/>
                <a:gd name="connsiteY3" fmla="*/ 0 h 291769"/>
                <a:gd name="connsiteX4" fmla="*/ 72456 w 291769"/>
                <a:gd name="connsiteY4" fmla="*/ 0 h 291769"/>
                <a:gd name="connsiteX5" fmla="*/ 58745 w 291769"/>
                <a:gd name="connsiteY5" fmla="*/ 13711 h 291769"/>
                <a:gd name="connsiteX6" fmla="*/ 58745 w 291769"/>
                <a:gd name="connsiteY6" fmla="*/ 136228 h 291769"/>
                <a:gd name="connsiteX7" fmla="*/ 4016 w 291769"/>
                <a:gd name="connsiteY7" fmla="*/ 268363 h 291769"/>
                <a:gd name="connsiteX8" fmla="*/ 1044 w 291769"/>
                <a:gd name="connsiteY8" fmla="*/ 283305 h 291769"/>
                <a:gd name="connsiteX9" fmla="*/ 13711 w 291769"/>
                <a:gd name="connsiteY9" fmla="*/ 291770 h 291769"/>
                <a:gd name="connsiteX10" fmla="*/ 278059 w 291769"/>
                <a:gd name="connsiteY10" fmla="*/ 291770 h 291769"/>
                <a:gd name="connsiteX11" fmla="*/ 290726 w 291769"/>
                <a:gd name="connsiteY11" fmla="*/ 283305 h 291769"/>
                <a:gd name="connsiteX12" fmla="*/ 287753 w 291769"/>
                <a:gd name="connsiteY12" fmla="*/ 268363 h 291769"/>
                <a:gd name="connsiteX13" fmla="*/ 172834 w 291769"/>
                <a:gd name="connsiteY13" fmla="*/ 137331 h 291769"/>
                <a:gd name="connsiteX14" fmla="*/ 158148 w 291769"/>
                <a:gd name="connsiteY14" fmla="*/ 166702 h 291769"/>
                <a:gd name="connsiteX15" fmla="*/ 139753 w 291769"/>
                <a:gd name="connsiteY15" fmla="*/ 172834 h 291769"/>
                <a:gd name="connsiteX16" fmla="*/ 133621 w 291769"/>
                <a:gd name="connsiteY16" fmla="*/ 154438 h 291769"/>
                <a:gd name="connsiteX17" fmla="*/ 142176 w 291769"/>
                <a:gd name="connsiteY17" fmla="*/ 137330 h 291769"/>
                <a:gd name="connsiteX18" fmla="*/ 125067 w 291769"/>
                <a:gd name="connsiteY18" fmla="*/ 128776 h 291769"/>
                <a:gd name="connsiteX19" fmla="*/ 118936 w 291769"/>
                <a:gd name="connsiteY19" fmla="*/ 110380 h 291769"/>
                <a:gd name="connsiteX20" fmla="*/ 133621 w 291769"/>
                <a:gd name="connsiteY20" fmla="*/ 81009 h 291769"/>
                <a:gd name="connsiteX21" fmla="*/ 152017 w 291769"/>
                <a:gd name="connsiteY21" fmla="*/ 74877 h 291769"/>
                <a:gd name="connsiteX22" fmla="*/ 158148 w 291769"/>
                <a:gd name="connsiteY22" fmla="*/ 93273 h 291769"/>
                <a:gd name="connsiteX23" fmla="*/ 149594 w 291769"/>
                <a:gd name="connsiteY23" fmla="*/ 110381 h 291769"/>
                <a:gd name="connsiteX24" fmla="*/ 166703 w 291769"/>
                <a:gd name="connsiteY24" fmla="*/ 118935 h 291769"/>
                <a:gd name="connsiteX25" fmla="*/ 172834 w 291769"/>
                <a:gd name="connsiteY25" fmla="*/ 137331 h 29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1769" h="291769">
                  <a:moveTo>
                    <a:pt x="287753" y="268363"/>
                  </a:moveTo>
                  <a:cubicBezTo>
                    <a:pt x="255584" y="236194"/>
                    <a:pt x="233025" y="189717"/>
                    <a:pt x="233025" y="136228"/>
                  </a:cubicBezTo>
                  <a:lnTo>
                    <a:pt x="233025" y="13711"/>
                  </a:lnTo>
                  <a:cubicBezTo>
                    <a:pt x="233025" y="6139"/>
                    <a:pt x="226887" y="0"/>
                    <a:pt x="219315" y="0"/>
                  </a:cubicBezTo>
                  <a:lnTo>
                    <a:pt x="72456" y="0"/>
                  </a:lnTo>
                  <a:cubicBezTo>
                    <a:pt x="64884" y="0"/>
                    <a:pt x="58745" y="6139"/>
                    <a:pt x="58745" y="13711"/>
                  </a:cubicBezTo>
                  <a:lnTo>
                    <a:pt x="58745" y="136228"/>
                  </a:lnTo>
                  <a:cubicBezTo>
                    <a:pt x="58745" y="189715"/>
                    <a:pt x="36188" y="236191"/>
                    <a:pt x="4016" y="268363"/>
                  </a:cubicBezTo>
                  <a:cubicBezTo>
                    <a:pt x="95" y="272285"/>
                    <a:pt x="-1078" y="278182"/>
                    <a:pt x="1044" y="283305"/>
                  </a:cubicBezTo>
                  <a:cubicBezTo>
                    <a:pt x="3166" y="288429"/>
                    <a:pt x="8166" y="291770"/>
                    <a:pt x="13711" y="291770"/>
                  </a:cubicBezTo>
                  <a:lnTo>
                    <a:pt x="278059" y="291770"/>
                  </a:lnTo>
                  <a:cubicBezTo>
                    <a:pt x="283604" y="291770"/>
                    <a:pt x="288604" y="288429"/>
                    <a:pt x="290726" y="283305"/>
                  </a:cubicBezTo>
                  <a:cubicBezTo>
                    <a:pt x="292847" y="278181"/>
                    <a:pt x="291674" y="272285"/>
                    <a:pt x="287753" y="268363"/>
                  </a:cubicBezTo>
                  <a:close/>
                  <a:moveTo>
                    <a:pt x="172834" y="137331"/>
                  </a:moveTo>
                  <a:lnTo>
                    <a:pt x="158148" y="166702"/>
                  </a:lnTo>
                  <a:cubicBezTo>
                    <a:pt x="154756" y="173486"/>
                    <a:pt x="146516" y="176215"/>
                    <a:pt x="139753" y="172834"/>
                  </a:cubicBezTo>
                  <a:cubicBezTo>
                    <a:pt x="132980" y="169447"/>
                    <a:pt x="130235" y="161211"/>
                    <a:pt x="133621" y="154438"/>
                  </a:cubicBezTo>
                  <a:lnTo>
                    <a:pt x="142176" y="137330"/>
                  </a:lnTo>
                  <a:lnTo>
                    <a:pt x="125067" y="128776"/>
                  </a:lnTo>
                  <a:cubicBezTo>
                    <a:pt x="118295" y="125389"/>
                    <a:pt x="115549" y="117154"/>
                    <a:pt x="118936" y="110380"/>
                  </a:cubicBezTo>
                  <a:lnTo>
                    <a:pt x="133621" y="81009"/>
                  </a:lnTo>
                  <a:cubicBezTo>
                    <a:pt x="137007" y="74236"/>
                    <a:pt x="145243" y="71491"/>
                    <a:pt x="152017" y="74877"/>
                  </a:cubicBezTo>
                  <a:cubicBezTo>
                    <a:pt x="158790" y="78264"/>
                    <a:pt x="161535" y="86500"/>
                    <a:pt x="158148" y="93273"/>
                  </a:cubicBezTo>
                  <a:lnTo>
                    <a:pt x="149594" y="110381"/>
                  </a:lnTo>
                  <a:lnTo>
                    <a:pt x="166703" y="118935"/>
                  </a:lnTo>
                  <a:cubicBezTo>
                    <a:pt x="173476" y="122322"/>
                    <a:pt x="176221" y="130557"/>
                    <a:pt x="172834" y="137331"/>
                  </a:cubicBezTo>
                  <a:close/>
                </a:path>
              </a:pathLst>
            </a:custGeom>
            <a:solidFill>
              <a:srgbClr val="3C3C3B"/>
            </a:solidFill>
            <a:ln w="912" cap="flat">
              <a:noFill/>
              <a:prstDash val="solid"/>
              <a:miter/>
            </a:ln>
          </p:spPr>
          <p:txBody>
            <a:bodyPr rtlCol="0" anchor="ctr"/>
            <a:lstStyle/>
            <a:p>
              <a:endParaRPr lang="en-US"/>
            </a:p>
          </p:txBody>
        </p:sp>
        <p:sp>
          <p:nvSpPr>
            <p:cNvPr id="24" name="Flowchart: Alternate Process 23">
              <a:extLst>
                <a:ext uri="{FF2B5EF4-FFF2-40B4-BE49-F238E27FC236}">
                  <a16:creationId xmlns:a16="http://schemas.microsoft.com/office/drawing/2014/main" id="{A98ECAC1-FF1A-4BB0-85FF-D231908A42E2}"/>
                </a:ext>
              </a:extLst>
            </p:cNvPr>
            <p:cNvSpPr/>
            <p:nvPr/>
          </p:nvSpPr>
          <p:spPr>
            <a:xfrm>
              <a:off x="1429660" y="3644286"/>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Wholesale prices</a:t>
              </a:r>
              <a:endParaRPr lang="en-US" sz="1200">
                <a:solidFill>
                  <a:schemeClr val="tx1"/>
                </a:solidFill>
              </a:endParaRPr>
            </a:p>
          </p:txBody>
        </p:sp>
        <p:sp>
          <p:nvSpPr>
            <p:cNvPr id="25" name="Oval 24">
              <a:extLst>
                <a:ext uri="{FF2B5EF4-FFF2-40B4-BE49-F238E27FC236}">
                  <a16:creationId xmlns:a16="http://schemas.microsoft.com/office/drawing/2014/main" id="{692B6418-51D1-484D-A819-92CF3D02501A}"/>
                </a:ext>
              </a:extLst>
            </p:cNvPr>
            <p:cNvSpPr/>
            <p:nvPr/>
          </p:nvSpPr>
          <p:spPr>
            <a:xfrm>
              <a:off x="895853" y="3507486"/>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sp>
          <p:nvSpPr>
            <p:cNvPr id="65" name="Freeform: Shape 64">
              <a:extLst>
                <a:ext uri="{FF2B5EF4-FFF2-40B4-BE49-F238E27FC236}">
                  <a16:creationId xmlns:a16="http://schemas.microsoft.com/office/drawing/2014/main" id="{DD1CF0A1-5A00-9CAC-7E8C-82227BAE77A6}"/>
                </a:ext>
              </a:extLst>
            </p:cNvPr>
            <p:cNvSpPr/>
            <p:nvPr/>
          </p:nvSpPr>
          <p:spPr>
            <a:xfrm>
              <a:off x="1059503" y="3671136"/>
              <a:ext cx="392700" cy="392700"/>
            </a:xfrm>
            <a:custGeom>
              <a:avLst/>
              <a:gdLst>
                <a:gd name="connsiteX0" fmla="*/ 34650 w 392700"/>
                <a:gd name="connsiteY0" fmla="*/ 0 h 392700"/>
                <a:gd name="connsiteX1" fmla="*/ 0 w 392700"/>
                <a:gd name="connsiteY1" fmla="*/ 0 h 392700"/>
                <a:gd name="connsiteX2" fmla="*/ 0 w 392700"/>
                <a:gd name="connsiteY2" fmla="*/ 392700 h 392700"/>
                <a:gd name="connsiteX3" fmla="*/ 392700 w 392700"/>
                <a:gd name="connsiteY3" fmla="*/ 392700 h 392700"/>
                <a:gd name="connsiteX4" fmla="*/ 392700 w 392700"/>
                <a:gd name="connsiteY4" fmla="*/ 358050 h 392700"/>
                <a:gd name="connsiteX5" fmla="*/ 34650 w 392700"/>
                <a:gd name="connsiteY5" fmla="*/ 358050 h 39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700" h="392700">
                  <a:moveTo>
                    <a:pt x="34650" y="0"/>
                  </a:moveTo>
                  <a:lnTo>
                    <a:pt x="0" y="0"/>
                  </a:lnTo>
                  <a:lnTo>
                    <a:pt x="0" y="392700"/>
                  </a:lnTo>
                  <a:lnTo>
                    <a:pt x="392700" y="392700"/>
                  </a:lnTo>
                  <a:lnTo>
                    <a:pt x="392700" y="358050"/>
                  </a:lnTo>
                  <a:lnTo>
                    <a:pt x="34650" y="358050"/>
                  </a:lnTo>
                  <a:close/>
                </a:path>
              </a:pathLst>
            </a:custGeom>
            <a:solidFill>
              <a:srgbClr val="3C3C3B"/>
            </a:solidFill>
            <a:ln w="575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70233A7D-FEB0-7F82-E3CB-526CB335C4A5}"/>
                </a:ext>
              </a:extLst>
            </p:cNvPr>
            <p:cNvSpPr/>
            <p:nvPr/>
          </p:nvSpPr>
          <p:spPr>
            <a:xfrm>
              <a:off x="1116675" y="3769311"/>
              <a:ext cx="335527" cy="196927"/>
            </a:xfrm>
            <a:custGeom>
              <a:avLst/>
              <a:gdLst>
                <a:gd name="connsiteX0" fmla="*/ 243128 w 335527"/>
                <a:gd name="connsiteY0" fmla="*/ 0 h 196927"/>
                <a:gd name="connsiteX1" fmla="*/ 277200 w 335527"/>
                <a:gd name="connsiteY1" fmla="*/ 34073 h 196927"/>
                <a:gd name="connsiteX2" fmla="*/ 231578 w 335527"/>
                <a:gd name="connsiteY2" fmla="*/ 79695 h 196927"/>
                <a:gd name="connsiteX3" fmla="*/ 196928 w 335527"/>
                <a:gd name="connsiteY3" fmla="*/ 45045 h 196927"/>
                <a:gd name="connsiteX4" fmla="*/ 139178 w 335527"/>
                <a:gd name="connsiteY4" fmla="*/ 102795 h 196927"/>
                <a:gd name="connsiteX5" fmla="*/ 104528 w 335527"/>
                <a:gd name="connsiteY5" fmla="*/ 68145 h 196927"/>
                <a:gd name="connsiteX6" fmla="*/ 0 w 335527"/>
                <a:gd name="connsiteY6" fmla="*/ 172673 h 196927"/>
                <a:gd name="connsiteX7" fmla="*/ 24255 w 335527"/>
                <a:gd name="connsiteY7" fmla="*/ 196927 h 196927"/>
                <a:gd name="connsiteX8" fmla="*/ 104528 w 335527"/>
                <a:gd name="connsiteY8" fmla="*/ 116655 h 196927"/>
                <a:gd name="connsiteX9" fmla="*/ 139178 w 335527"/>
                <a:gd name="connsiteY9" fmla="*/ 151305 h 196927"/>
                <a:gd name="connsiteX10" fmla="*/ 196928 w 335527"/>
                <a:gd name="connsiteY10" fmla="*/ 93555 h 196927"/>
                <a:gd name="connsiteX11" fmla="*/ 231578 w 335527"/>
                <a:gd name="connsiteY11" fmla="*/ 128205 h 196927"/>
                <a:gd name="connsiteX12" fmla="*/ 301455 w 335527"/>
                <a:gd name="connsiteY12" fmla="*/ 58327 h 196927"/>
                <a:gd name="connsiteX13" fmla="*/ 335528 w 335527"/>
                <a:gd name="connsiteY13" fmla="*/ 92400 h 196927"/>
                <a:gd name="connsiteX14" fmla="*/ 335528 w 335527"/>
                <a:gd name="connsiteY14" fmla="*/ 0 h 1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527" h="196927">
                  <a:moveTo>
                    <a:pt x="243128" y="0"/>
                  </a:moveTo>
                  <a:lnTo>
                    <a:pt x="277200" y="34073"/>
                  </a:lnTo>
                  <a:lnTo>
                    <a:pt x="231578" y="79695"/>
                  </a:lnTo>
                  <a:lnTo>
                    <a:pt x="196928" y="45045"/>
                  </a:lnTo>
                  <a:lnTo>
                    <a:pt x="139178" y="102795"/>
                  </a:lnTo>
                  <a:lnTo>
                    <a:pt x="104528" y="68145"/>
                  </a:lnTo>
                  <a:lnTo>
                    <a:pt x="0" y="172673"/>
                  </a:lnTo>
                  <a:lnTo>
                    <a:pt x="24255" y="196927"/>
                  </a:lnTo>
                  <a:lnTo>
                    <a:pt x="104528" y="116655"/>
                  </a:lnTo>
                  <a:lnTo>
                    <a:pt x="139178" y="151305"/>
                  </a:lnTo>
                  <a:lnTo>
                    <a:pt x="196928" y="93555"/>
                  </a:lnTo>
                  <a:lnTo>
                    <a:pt x="231578" y="128205"/>
                  </a:lnTo>
                  <a:lnTo>
                    <a:pt x="301455" y="58327"/>
                  </a:lnTo>
                  <a:lnTo>
                    <a:pt x="335528" y="92400"/>
                  </a:lnTo>
                  <a:lnTo>
                    <a:pt x="335528" y="0"/>
                  </a:lnTo>
                  <a:close/>
                </a:path>
              </a:pathLst>
            </a:custGeom>
            <a:solidFill>
              <a:srgbClr val="3C3C3B"/>
            </a:solidFill>
            <a:ln w="5755" cap="flat">
              <a:noFill/>
              <a:prstDash val="solid"/>
              <a:miter/>
            </a:ln>
          </p:spPr>
          <p:txBody>
            <a:bodyPr rtlCol="0" anchor="ctr"/>
            <a:lstStyle/>
            <a:p>
              <a:endParaRPr lang="en-US"/>
            </a:p>
          </p:txBody>
        </p:sp>
        <p:sp>
          <p:nvSpPr>
            <p:cNvPr id="26" name="Flowchart: Alternate Process 25">
              <a:extLst>
                <a:ext uri="{FF2B5EF4-FFF2-40B4-BE49-F238E27FC236}">
                  <a16:creationId xmlns:a16="http://schemas.microsoft.com/office/drawing/2014/main" id="{8DEC75B2-D657-485A-8FB0-B23A76DD947F}"/>
                </a:ext>
              </a:extLst>
            </p:cNvPr>
            <p:cNvSpPr/>
            <p:nvPr/>
          </p:nvSpPr>
          <p:spPr>
            <a:xfrm>
              <a:off x="1423244" y="4483728"/>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Capacity market forecasts</a:t>
              </a:r>
            </a:p>
          </p:txBody>
        </p:sp>
        <p:sp>
          <p:nvSpPr>
            <p:cNvPr id="27" name="Oval 26">
              <a:extLst>
                <a:ext uri="{FF2B5EF4-FFF2-40B4-BE49-F238E27FC236}">
                  <a16:creationId xmlns:a16="http://schemas.microsoft.com/office/drawing/2014/main" id="{65EAAB87-D391-477F-904D-26C5375B404D}"/>
                </a:ext>
              </a:extLst>
            </p:cNvPr>
            <p:cNvSpPr/>
            <p:nvPr/>
          </p:nvSpPr>
          <p:spPr>
            <a:xfrm>
              <a:off x="902270" y="4339728"/>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sp>
          <p:nvSpPr>
            <p:cNvPr id="68" name="Freeform: Shape 67">
              <a:extLst>
                <a:ext uri="{FF2B5EF4-FFF2-40B4-BE49-F238E27FC236}">
                  <a16:creationId xmlns:a16="http://schemas.microsoft.com/office/drawing/2014/main" id="{1FBBEDA7-46AF-717A-BB80-1D27EAF32347}"/>
                </a:ext>
              </a:extLst>
            </p:cNvPr>
            <p:cNvSpPr/>
            <p:nvPr/>
          </p:nvSpPr>
          <p:spPr>
            <a:xfrm>
              <a:off x="1345761" y="4539703"/>
              <a:ext cx="55660" cy="97406"/>
            </a:xfrm>
            <a:custGeom>
              <a:avLst/>
              <a:gdLst>
                <a:gd name="connsiteX0" fmla="*/ 34788 w 55660"/>
                <a:gd name="connsiteY0" fmla="*/ 97406 h 97406"/>
                <a:gd name="connsiteX1" fmla="*/ 34788 w 55660"/>
                <a:gd name="connsiteY1" fmla="*/ 83491 h 97406"/>
                <a:gd name="connsiteX2" fmla="*/ 55661 w 55660"/>
                <a:gd name="connsiteY2" fmla="*/ 62618 h 97406"/>
                <a:gd name="connsiteX3" fmla="*/ 34788 w 55660"/>
                <a:gd name="connsiteY3" fmla="*/ 41746 h 97406"/>
                <a:gd name="connsiteX4" fmla="*/ 20873 w 55660"/>
                <a:gd name="connsiteY4" fmla="*/ 41746 h 97406"/>
                <a:gd name="connsiteX5" fmla="*/ 13915 w 55660"/>
                <a:gd name="connsiteY5" fmla="*/ 34788 h 97406"/>
                <a:gd name="connsiteX6" fmla="*/ 20873 w 55660"/>
                <a:gd name="connsiteY6" fmla="*/ 27830 h 97406"/>
                <a:gd name="connsiteX7" fmla="*/ 41746 w 55660"/>
                <a:gd name="connsiteY7" fmla="*/ 27830 h 97406"/>
                <a:gd name="connsiteX8" fmla="*/ 41746 w 55660"/>
                <a:gd name="connsiteY8" fmla="*/ 34788 h 97406"/>
                <a:gd name="connsiteX9" fmla="*/ 55661 w 55660"/>
                <a:gd name="connsiteY9" fmla="*/ 34788 h 97406"/>
                <a:gd name="connsiteX10" fmla="*/ 55661 w 55660"/>
                <a:gd name="connsiteY10" fmla="*/ 13915 h 97406"/>
                <a:gd name="connsiteX11" fmla="*/ 34788 w 55660"/>
                <a:gd name="connsiteY11" fmla="*/ 13915 h 97406"/>
                <a:gd name="connsiteX12" fmla="*/ 34788 w 55660"/>
                <a:gd name="connsiteY12" fmla="*/ 0 h 97406"/>
                <a:gd name="connsiteX13" fmla="*/ 20873 w 55660"/>
                <a:gd name="connsiteY13" fmla="*/ 0 h 97406"/>
                <a:gd name="connsiteX14" fmla="*/ 20873 w 55660"/>
                <a:gd name="connsiteY14" fmla="*/ 13915 h 97406"/>
                <a:gd name="connsiteX15" fmla="*/ 0 w 55660"/>
                <a:gd name="connsiteY15" fmla="*/ 34788 h 97406"/>
                <a:gd name="connsiteX16" fmla="*/ 20873 w 55660"/>
                <a:gd name="connsiteY16" fmla="*/ 55661 h 97406"/>
                <a:gd name="connsiteX17" fmla="*/ 34788 w 55660"/>
                <a:gd name="connsiteY17" fmla="*/ 55661 h 97406"/>
                <a:gd name="connsiteX18" fmla="*/ 41746 w 55660"/>
                <a:gd name="connsiteY18" fmla="*/ 62618 h 97406"/>
                <a:gd name="connsiteX19" fmla="*/ 34788 w 55660"/>
                <a:gd name="connsiteY19" fmla="*/ 69576 h 97406"/>
                <a:gd name="connsiteX20" fmla="*/ 13915 w 55660"/>
                <a:gd name="connsiteY20" fmla="*/ 69576 h 97406"/>
                <a:gd name="connsiteX21" fmla="*/ 13915 w 55660"/>
                <a:gd name="connsiteY21" fmla="*/ 62618 h 97406"/>
                <a:gd name="connsiteX22" fmla="*/ 0 w 55660"/>
                <a:gd name="connsiteY22" fmla="*/ 62618 h 97406"/>
                <a:gd name="connsiteX23" fmla="*/ 0 w 55660"/>
                <a:gd name="connsiteY23" fmla="*/ 83491 h 97406"/>
                <a:gd name="connsiteX24" fmla="*/ 20873 w 55660"/>
                <a:gd name="connsiteY24" fmla="*/ 83491 h 97406"/>
                <a:gd name="connsiteX25" fmla="*/ 20873 w 55660"/>
                <a:gd name="connsiteY25" fmla="*/ 97406 h 9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660" h="97406">
                  <a:moveTo>
                    <a:pt x="34788" y="97406"/>
                  </a:moveTo>
                  <a:lnTo>
                    <a:pt x="34788" y="83491"/>
                  </a:lnTo>
                  <a:cubicBezTo>
                    <a:pt x="46296" y="83491"/>
                    <a:pt x="55661" y="74126"/>
                    <a:pt x="55661" y="62618"/>
                  </a:cubicBezTo>
                  <a:cubicBezTo>
                    <a:pt x="55661" y="51110"/>
                    <a:pt x="46296" y="41746"/>
                    <a:pt x="34788" y="41746"/>
                  </a:cubicBezTo>
                  <a:lnTo>
                    <a:pt x="20873" y="41746"/>
                  </a:lnTo>
                  <a:cubicBezTo>
                    <a:pt x="17032" y="41746"/>
                    <a:pt x="13915" y="38629"/>
                    <a:pt x="13915" y="34788"/>
                  </a:cubicBezTo>
                  <a:cubicBezTo>
                    <a:pt x="13915" y="30947"/>
                    <a:pt x="17032" y="27830"/>
                    <a:pt x="20873" y="27830"/>
                  </a:cubicBezTo>
                  <a:lnTo>
                    <a:pt x="41746" y="27830"/>
                  </a:lnTo>
                  <a:lnTo>
                    <a:pt x="41746" y="34788"/>
                  </a:lnTo>
                  <a:lnTo>
                    <a:pt x="55661" y="34788"/>
                  </a:lnTo>
                  <a:lnTo>
                    <a:pt x="55661" y="13915"/>
                  </a:lnTo>
                  <a:lnTo>
                    <a:pt x="34788" y="13915"/>
                  </a:lnTo>
                  <a:lnTo>
                    <a:pt x="34788" y="0"/>
                  </a:lnTo>
                  <a:lnTo>
                    <a:pt x="20873" y="0"/>
                  </a:lnTo>
                  <a:lnTo>
                    <a:pt x="20873" y="13915"/>
                  </a:lnTo>
                  <a:cubicBezTo>
                    <a:pt x="9365" y="13915"/>
                    <a:pt x="0" y="23280"/>
                    <a:pt x="0" y="34788"/>
                  </a:cubicBezTo>
                  <a:cubicBezTo>
                    <a:pt x="0" y="46296"/>
                    <a:pt x="9365" y="55661"/>
                    <a:pt x="20873" y="55661"/>
                  </a:cubicBezTo>
                  <a:lnTo>
                    <a:pt x="34788" y="55661"/>
                  </a:lnTo>
                  <a:cubicBezTo>
                    <a:pt x="38629" y="55661"/>
                    <a:pt x="41746" y="58778"/>
                    <a:pt x="41746" y="62618"/>
                  </a:cubicBezTo>
                  <a:cubicBezTo>
                    <a:pt x="41746" y="66459"/>
                    <a:pt x="38629" y="69576"/>
                    <a:pt x="34788" y="69576"/>
                  </a:cubicBezTo>
                  <a:lnTo>
                    <a:pt x="13915" y="69576"/>
                  </a:lnTo>
                  <a:lnTo>
                    <a:pt x="13915" y="62618"/>
                  </a:lnTo>
                  <a:lnTo>
                    <a:pt x="0" y="62618"/>
                  </a:lnTo>
                  <a:lnTo>
                    <a:pt x="0" y="83491"/>
                  </a:lnTo>
                  <a:lnTo>
                    <a:pt x="20873" y="83491"/>
                  </a:lnTo>
                  <a:lnTo>
                    <a:pt x="20873" y="97406"/>
                  </a:lnTo>
                  <a:close/>
                </a:path>
              </a:pathLst>
            </a:custGeom>
            <a:solidFill>
              <a:srgbClr val="3C3C3B"/>
            </a:solidFill>
            <a:ln w="4868" cap="flat">
              <a:solidFill>
                <a:srgbClr val="3C3C3B"/>
              </a:solid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3577F58-332F-7F32-93E8-F7C10BF6741C}"/>
                </a:ext>
              </a:extLst>
            </p:cNvPr>
            <p:cNvSpPr/>
            <p:nvPr/>
          </p:nvSpPr>
          <p:spPr>
            <a:xfrm>
              <a:off x="1297057" y="4511872"/>
              <a:ext cx="153067" cy="153067"/>
            </a:xfrm>
            <a:custGeom>
              <a:avLst/>
              <a:gdLst>
                <a:gd name="connsiteX0" fmla="*/ 153067 w 153067"/>
                <a:gd name="connsiteY0" fmla="*/ 76534 h 153067"/>
                <a:gd name="connsiteX1" fmla="*/ 76534 w 153067"/>
                <a:gd name="connsiteY1" fmla="*/ 0 h 153067"/>
                <a:gd name="connsiteX2" fmla="*/ 0 w 153067"/>
                <a:gd name="connsiteY2" fmla="*/ 76534 h 153067"/>
                <a:gd name="connsiteX3" fmla="*/ 76534 w 153067"/>
                <a:gd name="connsiteY3" fmla="*/ 153067 h 153067"/>
                <a:gd name="connsiteX4" fmla="*/ 153067 w 153067"/>
                <a:gd name="connsiteY4" fmla="*/ 76534 h 153067"/>
                <a:gd name="connsiteX5" fmla="*/ 13915 w 153067"/>
                <a:gd name="connsiteY5" fmla="*/ 76534 h 153067"/>
                <a:gd name="connsiteX6" fmla="*/ 76534 w 153067"/>
                <a:gd name="connsiteY6" fmla="*/ 13915 h 153067"/>
                <a:gd name="connsiteX7" fmla="*/ 139152 w 153067"/>
                <a:gd name="connsiteY7" fmla="*/ 76534 h 153067"/>
                <a:gd name="connsiteX8" fmla="*/ 76534 w 153067"/>
                <a:gd name="connsiteY8" fmla="*/ 139152 h 153067"/>
                <a:gd name="connsiteX9" fmla="*/ 13915 w 153067"/>
                <a:gd name="connsiteY9" fmla="*/ 76534 h 15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67" h="153067">
                  <a:moveTo>
                    <a:pt x="153067" y="76534"/>
                  </a:moveTo>
                  <a:cubicBezTo>
                    <a:pt x="153067" y="34336"/>
                    <a:pt x="118731" y="0"/>
                    <a:pt x="76534" y="0"/>
                  </a:cubicBezTo>
                  <a:cubicBezTo>
                    <a:pt x="34336" y="0"/>
                    <a:pt x="0" y="34336"/>
                    <a:pt x="0" y="76534"/>
                  </a:cubicBezTo>
                  <a:cubicBezTo>
                    <a:pt x="0" y="118731"/>
                    <a:pt x="34336" y="153067"/>
                    <a:pt x="76534" y="153067"/>
                  </a:cubicBezTo>
                  <a:cubicBezTo>
                    <a:pt x="118731" y="153067"/>
                    <a:pt x="153067" y="118731"/>
                    <a:pt x="153067" y="76534"/>
                  </a:cubicBezTo>
                  <a:close/>
                  <a:moveTo>
                    <a:pt x="13915" y="76534"/>
                  </a:moveTo>
                  <a:cubicBezTo>
                    <a:pt x="13915" y="42003"/>
                    <a:pt x="42003" y="13915"/>
                    <a:pt x="76534" y="13915"/>
                  </a:cubicBezTo>
                  <a:cubicBezTo>
                    <a:pt x="111064" y="13915"/>
                    <a:pt x="139152" y="42003"/>
                    <a:pt x="139152" y="76534"/>
                  </a:cubicBezTo>
                  <a:cubicBezTo>
                    <a:pt x="139152" y="111064"/>
                    <a:pt x="111064" y="139152"/>
                    <a:pt x="76534" y="139152"/>
                  </a:cubicBezTo>
                  <a:cubicBezTo>
                    <a:pt x="42003" y="139152"/>
                    <a:pt x="13915" y="111064"/>
                    <a:pt x="13915" y="76534"/>
                  </a:cubicBezTo>
                  <a:close/>
                </a:path>
              </a:pathLst>
            </a:custGeom>
            <a:solidFill>
              <a:srgbClr val="3C3C3B"/>
            </a:solidFill>
            <a:ln w="4868" cap="flat">
              <a:solidFill>
                <a:srgbClr val="3C3C3B"/>
              </a:solid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2CB78C40-84A0-1B79-4799-583AF4A960D7}"/>
                </a:ext>
              </a:extLst>
            </p:cNvPr>
            <p:cNvSpPr/>
            <p:nvPr/>
          </p:nvSpPr>
          <p:spPr>
            <a:xfrm>
              <a:off x="1046584" y="4484042"/>
              <a:ext cx="431370" cy="431370"/>
            </a:xfrm>
            <a:custGeom>
              <a:avLst/>
              <a:gdLst>
                <a:gd name="connsiteX0" fmla="*/ 431371 w 431370"/>
                <a:gd name="connsiteY0" fmla="*/ 104364 h 431370"/>
                <a:gd name="connsiteX1" fmla="*/ 327007 w 431370"/>
                <a:gd name="connsiteY1" fmla="*/ 0 h 431370"/>
                <a:gd name="connsiteX2" fmla="*/ 222643 w 431370"/>
                <a:gd name="connsiteY2" fmla="*/ 104364 h 431370"/>
                <a:gd name="connsiteX3" fmla="*/ 289478 w 431370"/>
                <a:gd name="connsiteY3" fmla="*/ 201631 h 431370"/>
                <a:gd name="connsiteX4" fmla="*/ 275423 w 431370"/>
                <a:gd name="connsiteY4" fmla="*/ 215685 h 431370"/>
                <a:gd name="connsiteX5" fmla="*/ 219484 w 431370"/>
                <a:gd name="connsiteY5" fmla="*/ 215685 h 431370"/>
                <a:gd name="connsiteX6" fmla="*/ 170781 w 431370"/>
                <a:gd name="connsiteY6" fmla="*/ 271346 h 431370"/>
                <a:gd name="connsiteX7" fmla="*/ 87408 w 431370"/>
                <a:gd name="connsiteY7" fmla="*/ 271346 h 431370"/>
                <a:gd name="connsiteX8" fmla="*/ 1851 w 431370"/>
                <a:gd name="connsiteY8" fmla="*/ 364028 h 431370"/>
                <a:gd name="connsiteX9" fmla="*/ 12071 w 431370"/>
                <a:gd name="connsiteY9" fmla="*/ 373470 h 431370"/>
                <a:gd name="connsiteX10" fmla="*/ 93496 w 431370"/>
                <a:gd name="connsiteY10" fmla="*/ 285261 h 431370"/>
                <a:gd name="connsiteX11" fmla="*/ 177106 w 431370"/>
                <a:gd name="connsiteY11" fmla="*/ 285261 h 431370"/>
                <a:gd name="connsiteX12" fmla="*/ 225809 w 431370"/>
                <a:gd name="connsiteY12" fmla="*/ 229601 h 431370"/>
                <a:gd name="connsiteX13" fmla="*/ 281191 w 431370"/>
                <a:gd name="connsiteY13" fmla="*/ 229601 h 431370"/>
                <a:gd name="connsiteX14" fmla="*/ 304562 w 431370"/>
                <a:gd name="connsiteY14" fmla="*/ 206230 h 431370"/>
                <a:gd name="connsiteX15" fmla="*/ 324273 w 431370"/>
                <a:gd name="connsiteY15" fmla="*/ 208589 h 431370"/>
                <a:gd name="connsiteX16" fmla="*/ 289338 w 431370"/>
                <a:gd name="connsiteY16" fmla="*/ 243516 h 431370"/>
                <a:gd name="connsiteX17" fmla="*/ 226122 w 431370"/>
                <a:gd name="connsiteY17" fmla="*/ 243516 h 431370"/>
                <a:gd name="connsiteX18" fmla="*/ 184376 w 431370"/>
                <a:gd name="connsiteY18" fmla="*/ 299177 h 431370"/>
                <a:gd name="connsiteX19" fmla="*/ 101205 w 431370"/>
                <a:gd name="connsiteY19" fmla="*/ 299177 h 431370"/>
                <a:gd name="connsiteX20" fmla="*/ 0 w 431370"/>
                <a:gd name="connsiteY20" fmla="*/ 414840 h 431370"/>
                <a:gd name="connsiteX21" fmla="*/ 0 w 431370"/>
                <a:gd name="connsiteY21" fmla="*/ 431371 h 431370"/>
                <a:gd name="connsiteX22" fmla="*/ 403540 w 431370"/>
                <a:gd name="connsiteY22" fmla="*/ 431371 h 431370"/>
                <a:gd name="connsiteX23" fmla="*/ 403540 w 431370"/>
                <a:gd name="connsiteY23" fmla="*/ 175081 h 431370"/>
                <a:gd name="connsiteX24" fmla="*/ 431371 w 431370"/>
                <a:gd name="connsiteY24" fmla="*/ 104364 h 431370"/>
                <a:gd name="connsiteX25" fmla="*/ 236558 w 431370"/>
                <a:gd name="connsiteY25" fmla="*/ 104364 h 431370"/>
                <a:gd name="connsiteX26" fmla="*/ 327007 w 431370"/>
                <a:gd name="connsiteY26" fmla="*/ 13915 h 431370"/>
                <a:gd name="connsiteX27" fmla="*/ 417456 w 431370"/>
                <a:gd name="connsiteY27" fmla="*/ 104364 h 431370"/>
                <a:gd name="connsiteX28" fmla="*/ 327007 w 431370"/>
                <a:gd name="connsiteY28" fmla="*/ 194813 h 431370"/>
                <a:gd name="connsiteX29" fmla="*/ 236558 w 431370"/>
                <a:gd name="connsiteY29" fmla="*/ 104364 h 431370"/>
                <a:gd name="connsiteX30" fmla="*/ 347880 w 431370"/>
                <a:gd name="connsiteY30" fmla="*/ 206627 h 431370"/>
                <a:gd name="connsiteX31" fmla="*/ 347880 w 431370"/>
                <a:gd name="connsiteY31" fmla="*/ 417456 h 431370"/>
                <a:gd name="connsiteX32" fmla="*/ 320049 w 431370"/>
                <a:gd name="connsiteY32" fmla="*/ 417456 h 431370"/>
                <a:gd name="connsiteX33" fmla="*/ 320049 w 431370"/>
                <a:gd name="connsiteY33" fmla="*/ 232481 h 431370"/>
                <a:gd name="connsiteX34" fmla="*/ 345549 w 431370"/>
                <a:gd name="connsiteY34" fmla="*/ 206981 h 431370"/>
                <a:gd name="connsiteX35" fmla="*/ 347880 w 431370"/>
                <a:gd name="connsiteY35" fmla="*/ 206627 h 431370"/>
                <a:gd name="connsiteX36" fmla="*/ 295099 w 431370"/>
                <a:gd name="connsiteY36" fmla="*/ 257431 h 431370"/>
                <a:gd name="connsiteX37" fmla="*/ 306134 w 431370"/>
                <a:gd name="connsiteY37" fmla="*/ 246396 h 431370"/>
                <a:gd name="connsiteX38" fmla="*/ 306134 w 431370"/>
                <a:gd name="connsiteY38" fmla="*/ 417456 h 431370"/>
                <a:gd name="connsiteX39" fmla="*/ 278304 w 431370"/>
                <a:gd name="connsiteY39" fmla="*/ 417456 h 431370"/>
                <a:gd name="connsiteX40" fmla="*/ 278304 w 431370"/>
                <a:gd name="connsiteY40" fmla="*/ 257431 h 431370"/>
                <a:gd name="connsiteX41" fmla="*/ 97406 w 431370"/>
                <a:gd name="connsiteY41" fmla="*/ 417456 h 431370"/>
                <a:gd name="connsiteX42" fmla="*/ 69576 w 431370"/>
                <a:gd name="connsiteY42" fmla="*/ 417456 h 431370"/>
                <a:gd name="connsiteX43" fmla="*/ 69576 w 431370"/>
                <a:gd name="connsiteY43" fmla="*/ 356458 h 431370"/>
                <a:gd name="connsiteX44" fmla="*/ 97406 w 431370"/>
                <a:gd name="connsiteY44" fmla="*/ 324655 h 431370"/>
                <a:gd name="connsiteX45" fmla="*/ 111322 w 431370"/>
                <a:gd name="connsiteY45" fmla="*/ 313092 h 431370"/>
                <a:gd name="connsiteX46" fmla="*/ 139152 w 431370"/>
                <a:gd name="connsiteY46" fmla="*/ 313092 h 431370"/>
                <a:gd name="connsiteX47" fmla="*/ 139152 w 431370"/>
                <a:gd name="connsiteY47" fmla="*/ 417456 h 431370"/>
                <a:gd name="connsiteX48" fmla="*/ 111322 w 431370"/>
                <a:gd name="connsiteY48" fmla="*/ 417456 h 431370"/>
                <a:gd name="connsiteX49" fmla="*/ 153067 w 431370"/>
                <a:gd name="connsiteY49" fmla="*/ 313092 h 431370"/>
                <a:gd name="connsiteX50" fmla="*/ 180897 w 431370"/>
                <a:gd name="connsiteY50" fmla="*/ 313092 h 431370"/>
                <a:gd name="connsiteX51" fmla="*/ 180897 w 431370"/>
                <a:gd name="connsiteY51" fmla="*/ 417456 h 431370"/>
                <a:gd name="connsiteX52" fmla="*/ 153067 w 431370"/>
                <a:gd name="connsiteY52" fmla="*/ 417456 h 431370"/>
                <a:gd name="connsiteX53" fmla="*/ 194813 w 431370"/>
                <a:gd name="connsiteY53" fmla="*/ 308451 h 431370"/>
                <a:gd name="connsiteX54" fmla="*/ 222643 w 431370"/>
                <a:gd name="connsiteY54" fmla="*/ 271346 h 431370"/>
                <a:gd name="connsiteX55" fmla="*/ 222643 w 431370"/>
                <a:gd name="connsiteY55" fmla="*/ 417456 h 431370"/>
                <a:gd name="connsiteX56" fmla="*/ 194813 w 431370"/>
                <a:gd name="connsiteY56" fmla="*/ 417456 h 431370"/>
                <a:gd name="connsiteX57" fmla="*/ 236558 w 431370"/>
                <a:gd name="connsiteY57" fmla="*/ 257431 h 431370"/>
                <a:gd name="connsiteX58" fmla="*/ 264389 w 431370"/>
                <a:gd name="connsiteY58" fmla="*/ 257431 h 431370"/>
                <a:gd name="connsiteX59" fmla="*/ 264389 w 431370"/>
                <a:gd name="connsiteY59" fmla="*/ 417456 h 431370"/>
                <a:gd name="connsiteX60" fmla="*/ 236558 w 431370"/>
                <a:gd name="connsiteY60" fmla="*/ 417456 h 431370"/>
                <a:gd name="connsiteX61" fmla="*/ 55661 w 431370"/>
                <a:gd name="connsiteY61" fmla="*/ 372363 h 431370"/>
                <a:gd name="connsiteX62" fmla="*/ 55661 w 431370"/>
                <a:gd name="connsiteY62" fmla="*/ 417456 h 431370"/>
                <a:gd name="connsiteX63" fmla="*/ 16204 w 431370"/>
                <a:gd name="connsiteY63" fmla="*/ 417456 h 431370"/>
                <a:gd name="connsiteX64" fmla="*/ 361795 w 431370"/>
                <a:gd name="connsiteY64" fmla="*/ 417456 h 431370"/>
                <a:gd name="connsiteX65" fmla="*/ 361795 w 431370"/>
                <a:gd name="connsiteY65" fmla="*/ 202640 h 431370"/>
                <a:gd name="connsiteX66" fmla="*/ 389625 w 431370"/>
                <a:gd name="connsiteY66" fmla="*/ 187660 h 431370"/>
                <a:gd name="connsiteX67" fmla="*/ 389625 w 431370"/>
                <a:gd name="connsiteY67" fmla="*/ 417456 h 43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31370" h="431370">
                  <a:moveTo>
                    <a:pt x="431371" y="104364"/>
                  </a:moveTo>
                  <a:cubicBezTo>
                    <a:pt x="431371" y="46818"/>
                    <a:pt x="384553" y="0"/>
                    <a:pt x="327007" y="0"/>
                  </a:cubicBezTo>
                  <a:cubicBezTo>
                    <a:pt x="269461" y="0"/>
                    <a:pt x="222643" y="46818"/>
                    <a:pt x="222643" y="104364"/>
                  </a:cubicBezTo>
                  <a:cubicBezTo>
                    <a:pt x="222643" y="148670"/>
                    <a:pt x="250439" y="186519"/>
                    <a:pt x="289478" y="201631"/>
                  </a:cubicBezTo>
                  <a:lnTo>
                    <a:pt x="275423" y="215685"/>
                  </a:lnTo>
                  <a:lnTo>
                    <a:pt x="219484" y="215685"/>
                  </a:lnTo>
                  <a:lnTo>
                    <a:pt x="170781" y="271346"/>
                  </a:lnTo>
                  <a:lnTo>
                    <a:pt x="87408" y="271346"/>
                  </a:lnTo>
                  <a:lnTo>
                    <a:pt x="1851" y="364028"/>
                  </a:lnTo>
                  <a:lnTo>
                    <a:pt x="12071" y="373470"/>
                  </a:lnTo>
                  <a:lnTo>
                    <a:pt x="93496" y="285261"/>
                  </a:lnTo>
                  <a:lnTo>
                    <a:pt x="177106" y="285261"/>
                  </a:lnTo>
                  <a:lnTo>
                    <a:pt x="225809" y="229601"/>
                  </a:lnTo>
                  <a:lnTo>
                    <a:pt x="281191" y="229601"/>
                  </a:lnTo>
                  <a:lnTo>
                    <a:pt x="304562" y="206230"/>
                  </a:lnTo>
                  <a:cubicBezTo>
                    <a:pt x="310935" y="207635"/>
                    <a:pt x="317524" y="208415"/>
                    <a:pt x="324273" y="208589"/>
                  </a:cubicBezTo>
                  <a:lnTo>
                    <a:pt x="289338" y="243516"/>
                  </a:lnTo>
                  <a:lnTo>
                    <a:pt x="226122" y="243516"/>
                  </a:lnTo>
                  <a:lnTo>
                    <a:pt x="184376" y="299177"/>
                  </a:lnTo>
                  <a:lnTo>
                    <a:pt x="101205" y="299177"/>
                  </a:lnTo>
                  <a:lnTo>
                    <a:pt x="0" y="414840"/>
                  </a:lnTo>
                  <a:lnTo>
                    <a:pt x="0" y="431371"/>
                  </a:lnTo>
                  <a:lnTo>
                    <a:pt x="403540" y="431371"/>
                  </a:lnTo>
                  <a:lnTo>
                    <a:pt x="403540" y="175081"/>
                  </a:lnTo>
                  <a:cubicBezTo>
                    <a:pt x="420754" y="156462"/>
                    <a:pt x="431371" y="131659"/>
                    <a:pt x="431371" y="104364"/>
                  </a:cubicBezTo>
                  <a:close/>
                  <a:moveTo>
                    <a:pt x="236558" y="104364"/>
                  </a:moveTo>
                  <a:cubicBezTo>
                    <a:pt x="236558" y="54492"/>
                    <a:pt x="277135" y="13915"/>
                    <a:pt x="327007" y="13915"/>
                  </a:cubicBezTo>
                  <a:cubicBezTo>
                    <a:pt x="376879" y="13915"/>
                    <a:pt x="417456" y="54492"/>
                    <a:pt x="417456" y="104364"/>
                  </a:cubicBezTo>
                  <a:cubicBezTo>
                    <a:pt x="417456" y="154236"/>
                    <a:pt x="376879" y="194813"/>
                    <a:pt x="327007" y="194813"/>
                  </a:cubicBezTo>
                  <a:cubicBezTo>
                    <a:pt x="277135" y="194813"/>
                    <a:pt x="236558" y="154236"/>
                    <a:pt x="236558" y="104364"/>
                  </a:cubicBezTo>
                  <a:close/>
                  <a:moveTo>
                    <a:pt x="347880" y="206627"/>
                  </a:moveTo>
                  <a:lnTo>
                    <a:pt x="347880" y="417456"/>
                  </a:lnTo>
                  <a:lnTo>
                    <a:pt x="320049" y="417456"/>
                  </a:lnTo>
                  <a:lnTo>
                    <a:pt x="320049" y="232481"/>
                  </a:lnTo>
                  <a:lnTo>
                    <a:pt x="345549" y="206981"/>
                  </a:lnTo>
                  <a:cubicBezTo>
                    <a:pt x="346321" y="206842"/>
                    <a:pt x="347114" y="206780"/>
                    <a:pt x="347880" y="206627"/>
                  </a:cubicBezTo>
                  <a:close/>
                  <a:moveTo>
                    <a:pt x="295099" y="257431"/>
                  </a:moveTo>
                  <a:lnTo>
                    <a:pt x="306134" y="246396"/>
                  </a:lnTo>
                  <a:lnTo>
                    <a:pt x="306134" y="417456"/>
                  </a:lnTo>
                  <a:lnTo>
                    <a:pt x="278304" y="417456"/>
                  </a:lnTo>
                  <a:lnTo>
                    <a:pt x="278304" y="257431"/>
                  </a:lnTo>
                  <a:close/>
                  <a:moveTo>
                    <a:pt x="97406" y="417456"/>
                  </a:moveTo>
                  <a:lnTo>
                    <a:pt x="69576" y="417456"/>
                  </a:lnTo>
                  <a:lnTo>
                    <a:pt x="69576" y="356458"/>
                  </a:lnTo>
                  <a:lnTo>
                    <a:pt x="97406" y="324655"/>
                  </a:lnTo>
                  <a:close/>
                  <a:moveTo>
                    <a:pt x="111322" y="313092"/>
                  </a:moveTo>
                  <a:lnTo>
                    <a:pt x="139152" y="313092"/>
                  </a:lnTo>
                  <a:lnTo>
                    <a:pt x="139152" y="417456"/>
                  </a:lnTo>
                  <a:lnTo>
                    <a:pt x="111322" y="417456"/>
                  </a:lnTo>
                  <a:close/>
                  <a:moveTo>
                    <a:pt x="153067" y="313092"/>
                  </a:moveTo>
                  <a:lnTo>
                    <a:pt x="180897" y="313092"/>
                  </a:lnTo>
                  <a:lnTo>
                    <a:pt x="180897" y="417456"/>
                  </a:lnTo>
                  <a:lnTo>
                    <a:pt x="153067" y="417456"/>
                  </a:lnTo>
                  <a:close/>
                  <a:moveTo>
                    <a:pt x="194813" y="308451"/>
                  </a:moveTo>
                  <a:lnTo>
                    <a:pt x="222643" y="271346"/>
                  </a:lnTo>
                  <a:lnTo>
                    <a:pt x="222643" y="417456"/>
                  </a:lnTo>
                  <a:lnTo>
                    <a:pt x="194813" y="417456"/>
                  </a:lnTo>
                  <a:close/>
                  <a:moveTo>
                    <a:pt x="236558" y="257431"/>
                  </a:moveTo>
                  <a:lnTo>
                    <a:pt x="264389" y="257431"/>
                  </a:lnTo>
                  <a:lnTo>
                    <a:pt x="264389" y="417456"/>
                  </a:lnTo>
                  <a:lnTo>
                    <a:pt x="236558" y="417456"/>
                  </a:lnTo>
                  <a:close/>
                  <a:moveTo>
                    <a:pt x="55661" y="372363"/>
                  </a:moveTo>
                  <a:lnTo>
                    <a:pt x="55661" y="417456"/>
                  </a:lnTo>
                  <a:lnTo>
                    <a:pt x="16204" y="417456"/>
                  </a:lnTo>
                  <a:close/>
                  <a:moveTo>
                    <a:pt x="361795" y="417456"/>
                  </a:moveTo>
                  <a:lnTo>
                    <a:pt x="361795" y="202640"/>
                  </a:lnTo>
                  <a:cubicBezTo>
                    <a:pt x="371876" y="199057"/>
                    <a:pt x="381234" y="193985"/>
                    <a:pt x="389625" y="187660"/>
                  </a:cubicBezTo>
                  <a:lnTo>
                    <a:pt x="389625" y="417456"/>
                  </a:lnTo>
                  <a:close/>
                </a:path>
              </a:pathLst>
            </a:custGeom>
            <a:solidFill>
              <a:srgbClr val="3C3C3B"/>
            </a:solidFill>
            <a:ln w="4868" cap="flat">
              <a:solidFill>
                <a:srgbClr val="3C3C3B"/>
              </a:solid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57D61219-2147-8615-B8C8-4EAF74A5AB3C}"/>
                </a:ext>
              </a:extLst>
            </p:cNvPr>
            <p:cNvSpPr/>
            <p:nvPr/>
          </p:nvSpPr>
          <p:spPr>
            <a:xfrm>
              <a:off x="1074414" y="4602321"/>
              <a:ext cx="41745" cy="139151"/>
            </a:xfrm>
            <a:custGeom>
              <a:avLst/>
              <a:gdLst>
                <a:gd name="connsiteX0" fmla="*/ 13915 w 41745"/>
                <a:gd name="connsiteY0" fmla="*/ 139152 h 139151"/>
                <a:gd name="connsiteX1" fmla="*/ 27830 w 41745"/>
                <a:gd name="connsiteY1" fmla="*/ 139152 h 139151"/>
                <a:gd name="connsiteX2" fmla="*/ 27830 w 41745"/>
                <a:gd name="connsiteY2" fmla="*/ 111322 h 139151"/>
                <a:gd name="connsiteX3" fmla="*/ 41746 w 41745"/>
                <a:gd name="connsiteY3" fmla="*/ 111322 h 139151"/>
                <a:gd name="connsiteX4" fmla="*/ 41746 w 41745"/>
                <a:gd name="connsiteY4" fmla="*/ 27830 h 139151"/>
                <a:gd name="connsiteX5" fmla="*/ 27830 w 41745"/>
                <a:gd name="connsiteY5" fmla="*/ 27830 h 139151"/>
                <a:gd name="connsiteX6" fmla="*/ 27830 w 41745"/>
                <a:gd name="connsiteY6" fmla="*/ 0 h 139151"/>
                <a:gd name="connsiteX7" fmla="*/ 13915 w 41745"/>
                <a:gd name="connsiteY7" fmla="*/ 0 h 139151"/>
                <a:gd name="connsiteX8" fmla="*/ 13915 w 41745"/>
                <a:gd name="connsiteY8" fmla="*/ 27830 h 139151"/>
                <a:gd name="connsiteX9" fmla="*/ 0 w 41745"/>
                <a:gd name="connsiteY9" fmla="*/ 27830 h 139151"/>
                <a:gd name="connsiteX10" fmla="*/ 0 w 41745"/>
                <a:gd name="connsiteY10" fmla="*/ 111322 h 139151"/>
                <a:gd name="connsiteX11" fmla="*/ 13915 w 41745"/>
                <a:gd name="connsiteY11" fmla="*/ 111322 h 139151"/>
                <a:gd name="connsiteX12" fmla="*/ 13915 w 41745"/>
                <a:gd name="connsiteY12" fmla="*/ 41746 h 139151"/>
                <a:gd name="connsiteX13" fmla="*/ 27830 w 41745"/>
                <a:gd name="connsiteY13" fmla="*/ 41746 h 139151"/>
                <a:gd name="connsiteX14" fmla="*/ 27830 w 41745"/>
                <a:gd name="connsiteY14" fmla="*/ 97406 h 139151"/>
                <a:gd name="connsiteX15" fmla="*/ 13915 w 41745"/>
                <a:gd name="connsiteY15" fmla="*/ 97406 h 13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745" h="139151">
                  <a:moveTo>
                    <a:pt x="13915" y="139152"/>
                  </a:moveTo>
                  <a:lnTo>
                    <a:pt x="27830" y="139152"/>
                  </a:lnTo>
                  <a:lnTo>
                    <a:pt x="27830" y="111322"/>
                  </a:lnTo>
                  <a:lnTo>
                    <a:pt x="41746" y="111322"/>
                  </a:lnTo>
                  <a:lnTo>
                    <a:pt x="41746" y="27830"/>
                  </a:lnTo>
                  <a:lnTo>
                    <a:pt x="27830" y="27830"/>
                  </a:lnTo>
                  <a:lnTo>
                    <a:pt x="27830" y="0"/>
                  </a:lnTo>
                  <a:lnTo>
                    <a:pt x="13915" y="0"/>
                  </a:lnTo>
                  <a:lnTo>
                    <a:pt x="13915" y="27830"/>
                  </a:lnTo>
                  <a:lnTo>
                    <a:pt x="0" y="27830"/>
                  </a:lnTo>
                  <a:lnTo>
                    <a:pt x="0" y="111322"/>
                  </a:lnTo>
                  <a:lnTo>
                    <a:pt x="13915" y="111322"/>
                  </a:lnTo>
                  <a:close/>
                  <a:moveTo>
                    <a:pt x="13915" y="41746"/>
                  </a:moveTo>
                  <a:lnTo>
                    <a:pt x="27830" y="41746"/>
                  </a:lnTo>
                  <a:lnTo>
                    <a:pt x="27830" y="97406"/>
                  </a:lnTo>
                  <a:lnTo>
                    <a:pt x="13915" y="97406"/>
                  </a:lnTo>
                  <a:close/>
                </a:path>
              </a:pathLst>
            </a:custGeom>
            <a:solidFill>
              <a:srgbClr val="3C3C3B"/>
            </a:solidFill>
            <a:ln w="4868" cap="flat">
              <a:solidFill>
                <a:srgbClr val="3C3C3B"/>
              </a:solid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CB7C6C5-7BB6-5550-5897-CD4639AB6A09}"/>
                </a:ext>
              </a:extLst>
            </p:cNvPr>
            <p:cNvSpPr/>
            <p:nvPr/>
          </p:nvSpPr>
          <p:spPr>
            <a:xfrm>
              <a:off x="1130075" y="4581448"/>
              <a:ext cx="41745" cy="125236"/>
            </a:xfrm>
            <a:custGeom>
              <a:avLst/>
              <a:gdLst>
                <a:gd name="connsiteX0" fmla="*/ 13915 w 41745"/>
                <a:gd name="connsiteY0" fmla="*/ 125237 h 125236"/>
                <a:gd name="connsiteX1" fmla="*/ 27830 w 41745"/>
                <a:gd name="connsiteY1" fmla="*/ 125237 h 125236"/>
                <a:gd name="connsiteX2" fmla="*/ 27830 w 41745"/>
                <a:gd name="connsiteY2" fmla="*/ 97406 h 125236"/>
                <a:gd name="connsiteX3" fmla="*/ 41746 w 41745"/>
                <a:gd name="connsiteY3" fmla="*/ 97406 h 125236"/>
                <a:gd name="connsiteX4" fmla="*/ 41746 w 41745"/>
                <a:gd name="connsiteY4" fmla="*/ 27830 h 125236"/>
                <a:gd name="connsiteX5" fmla="*/ 27830 w 41745"/>
                <a:gd name="connsiteY5" fmla="*/ 27830 h 125236"/>
                <a:gd name="connsiteX6" fmla="*/ 27830 w 41745"/>
                <a:gd name="connsiteY6" fmla="*/ 0 h 125236"/>
                <a:gd name="connsiteX7" fmla="*/ 13915 w 41745"/>
                <a:gd name="connsiteY7" fmla="*/ 0 h 125236"/>
                <a:gd name="connsiteX8" fmla="*/ 13915 w 41745"/>
                <a:gd name="connsiteY8" fmla="*/ 27830 h 125236"/>
                <a:gd name="connsiteX9" fmla="*/ 0 w 41745"/>
                <a:gd name="connsiteY9" fmla="*/ 27830 h 125236"/>
                <a:gd name="connsiteX10" fmla="*/ 0 w 41745"/>
                <a:gd name="connsiteY10" fmla="*/ 97406 h 125236"/>
                <a:gd name="connsiteX11" fmla="*/ 13915 w 41745"/>
                <a:gd name="connsiteY11" fmla="*/ 97406 h 125236"/>
                <a:gd name="connsiteX12" fmla="*/ 13915 w 41745"/>
                <a:gd name="connsiteY12" fmla="*/ 41746 h 125236"/>
                <a:gd name="connsiteX13" fmla="*/ 27830 w 41745"/>
                <a:gd name="connsiteY13" fmla="*/ 41746 h 125236"/>
                <a:gd name="connsiteX14" fmla="*/ 27830 w 41745"/>
                <a:gd name="connsiteY14" fmla="*/ 83491 h 125236"/>
                <a:gd name="connsiteX15" fmla="*/ 13915 w 41745"/>
                <a:gd name="connsiteY15" fmla="*/ 83491 h 12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745" h="125236">
                  <a:moveTo>
                    <a:pt x="13915" y="125237"/>
                  </a:moveTo>
                  <a:lnTo>
                    <a:pt x="27830" y="125237"/>
                  </a:lnTo>
                  <a:lnTo>
                    <a:pt x="27830" y="97406"/>
                  </a:lnTo>
                  <a:lnTo>
                    <a:pt x="41746" y="97406"/>
                  </a:lnTo>
                  <a:lnTo>
                    <a:pt x="41746" y="27830"/>
                  </a:lnTo>
                  <a:lnTo>
                    <a:pt x="27830" y="27830"/>
                  </a:lnTo>
                  <a:lnTo>
                    <a:pt x="27830" y="0"/>
                  </a:lnTo>
                  <a:lnTo>
                    <a:pt x="13915" y="0"/>
                  </a:lnTo>
                  <a:lnTo>
                    <a:pt x="13915" y="27830"/>
                  </a:lnTo>
                  <a:lnTo>
                    <a:pt x="0" y="27830"/>
                  </a:lnTo>
                  <a:lnTo>
                    <a:pt x="0" y="97406"/>
                  </a:lnTo>
                  <a:lnTo>
                    <a:pt x="13915" y="97406"/>
                  </a:lnTo>
                  <a:close/>
                  <a:moveTo>
                    <a:pt x="13915" y="41746"/>
                  </a:moveTo>
                  <a:lnTo>
                    <a:pt x="27830" y="41746"/>
                  </a:lnTo>
                  <a:lnTo>
                    <a:pt x="27830" y="83491"/>
                  </a:lnTo>
                  <a:lnTo>
                    <a:pt x="13915" y="83491"/>
                  </a:lnTo>
                  <a:close/>
                </a:path>
              </a:pathLst>
            </a:custGeom>
            <a:solidFill>
              <a:srgbClr val="3C3C3B"/>
            </a:solidFill>
            <a:ln w="4868" cap="flat">
              <a:solidFill>
                <a:srgbClr val="3C3C3B"/>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884C75B7-8CB4-4AC7-A3D2-3B7402427D5E}"/>
                </a:ext>
              </a:extLst>
            </p:cNvPr>
            <p:cNvSpPr/>
            <p:nvPr/>
          </p:nvSpPr>
          <p:spPr>
            <a:xfrm>
              <a:off x="1185736" y="4546660"/>
              <a:ext cx="41745" cy="111321"/>
            </a:xfrm>
            <a:custGeom>
              <a:avLst/>
              <a:gdLst>
                <a:gd name="connsiteX0" fmla="*/ 13915 w 41745"/>
                <a:gd name="connsiteY0" fmla="*/ 111322 h 111321"/>
                <a:gd name="connsiteX1" fmla="*/ 27830 w 41745"/>
                <a:gd name="connsiteY1" fmla="*/ 111322 h 111321"/>
                <a:gd name="connsiteX2" fmla="*/ 27830 w 41745"/>
                <a:gd name="connsiteY2" fmla="*/ 83491 h 111321"/>
                <a:gd name="connsiteX3" fmla="*/ 41746 w 41745"/>
                <a:gd name="connsiteY3" fmla="*/ 83491 h 111321"/>
                <a:gd name="connsiteX4" fmla="*/ 41746 w 41745"/>
                <a:gd name="connsiteY4" fmla="*/ 27830 h 111321"/>
                <a:gd name="connsiteX5" fmla="*/ 27830 w 41745"/>
                <a:gd name="connsiteY5" fmla="*/ 27830 h 111321"/>
                <a:gd name="connsiteX6" fmla="*/ 27830 w 41745"/>
                <a:gd name="connsiteY6" fmla="*/ 0 h 111321"/>
                <a:gd name="connsiteX7" fmla="*/ 13915 w 41745"/>
                <a:gd name="connsiteY7" fmla="*/ 0 h 111321"/>
                <a:gd name="connsiteX8" fmla="*/ 13915 w 41745"/>
                <a:gd name="connsiteY8" fmla="*/ 27830 h 111321"/>
                <a:gd name="connsiteX9" fmla="*/ 0 w 41745"/>
                <a:gd name="connsiteY9" fmla="*/ 27830 h 111321"/>
                <a:gd name="connsiteX10" fmla="*/ 0 w 41745"/>
                <a:gd name="connsiteY10" fmla="*/ 83491 h 111321"/>
                <a:gd name="connsiteX11" fmla="*/ 13915 w 41745"/>
                <a:gd name="connsiteY11" fmla="*/ 83491 h 111321"/>
                <a:gd name="connsiteX12" fmla="*/ 13915 w 41745"/>
                <a:gd name="connsiteY12" fmla="*/ 41746 h 111321"/>
                <a:gd name="connsiteX13" fmla="*/ 27830 w 41745"/>
                <a:gd name="connsiteY13" fmla="*/ 41746 h 111321"/>
                <a:gd name="connsiteX14" fmla="*/ 27830 w 41745"/>
                <a:gd name="connsiteY14" fmla="*/ 69576 h 111321"/>
                <a:gd name="connsiteX15" fmla="*/ 13915 w 41745"/>
                <a:gd name="connsiteY15" fmla="*/ 69576 h 111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745" h="111321">
                  <a:moveTo>
                    <a:pt x="13915" y="111322"/>
                  </a:moveTo>
                  <a:lnTo>
                    <a:pt x="27830" y="111322"/>
                  </a:lnTo>
                  <a:lnTo>
                    <a:pt x="27830" y="83491"/>
                  </a:lnTo>
                  <a:lnTo>
                    <a:pt x="41746" y="83491"/>
                  </a:lnTo>
                  <a:lnTo>
                    <a:pt x="41746" y="27830"/>
                  </a:lnTo>
                  <a:lnTo>
                    <a:pt x="27830" y="27830"/>
                  </a:lnTo>
                  <a:lnTo>
                    <a:pt x="27830" y="0"/>
                  </a:lnTo>
                  <a:lnTo>
                    <a:pt x="13915" y="0"/>
                  </a:lnTo>
                  <a:lnTo>
                    <a:pt x="13915" y="27830"/>
                  </a:lnTo>
                  <a:lnTo>
                    <a:pt x="0" y="27830"/>
                  </a:lnTo>
                  <a:lnTo>
                    <a:pt x="0" y="83491"/>
                  </a:lnTo>
                  <a:lnTo>
                    <a:pt x="13915" y="83491"/>
                  </a:lnTo>
                  <a:close/>
                  <a:moveTo>
                    <a:pt x="13915" y="41746"/>
                  </a:moveTo>
                  <a:lnTo>
                    <a:pt x="27830" y="41746"/>
                  </a:lnTo>
                  <a:lnTo>
                    <a:pt x="27830" y="69576"/>
                  </a:lnTo>
                  <a:lnTo>
                    <a:pt x="13915" y="69576"/>
                  </a:lnTo>
                  <a:close/>
                </a:path>
              </a:pathLst>
            </a:custGeom>
            <a:solidFill>
              <a:srgbClr val="3C3C3B"/>
            </a:solidFill>
            <a:ln w="4868" cap="flat">
              <a:solidFill>
                <a:srgbClr val="3C3C3B"/>
              </a:solidFill>
              <a:prstDash val="solid"/>
              <a:miter/>
            </a:ln>
          </p:spPr>
          <p:txBody>
            <a:bodyPr rtlCol="0" anchor="ctr"/>
            <a:lstStyle/>
            <a:p>
              <a:endParaRPr lang="en-US"/>
            </a:p>
          </p:txBody>
        </p:sp>
        <p:sp>
          <p:nvSpPr>
            <p:cNvPr id="20" name="Flowchart: Alternate Process 19">
              <a:extLst>
                <a:ext uri="{FF2B5EF4-FFF2-40B4-BE49-F238E27FC236}">
                  <a16:creationId xmlns:a16="http://schemas.microsoft.com/office/drawing/2014/main" id="{598FE8FD-599C-4DEB-A911-1AB9AA84ECDD}"/>
                </a:ext>
              </a:extLst>
            </p:cNvPr>
            <p:cNvSpPr/>
            <p:nvPr/>
          </p:nvSpPr>
          <p:spPr>
            <a:xfrm>
              <a:off x="1433260" y="1987002"/>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Long-term system</a:t>
              </a:r>
              <a:r>
                <a:rPr lang="en-US" sz="1200">
                  <a:solidFill>
                    <a:schemeClr val="tx1"/>
                  </a:solidFill>
                </a:rPr>
                <a:t> </a:t>
              </a:r>
              <a:r>
                <a:rPr lang="en-US" sz="1200" b="1">
                  <a:solidFill>
                    <a:schemeClr val="tx1"/>
                  </a:solidFill>
                </a:rPr>
                <a:t>overview</a:t>
              </a:r>
            </a:p>
          </p:txBody>
        </p:sp>
        <p:sp>
          <p:nvSpPr>
            <p:cNvPr id="21" name="Oval 20">
              <a:extLst>
                <a:ext uri="{FF2B5EF4-FFF2-40B4-BE49-F238E27FC236}">
                  <a16:creationId xmlns:a16="http://schemas.microsoft.com/office/drawing/2014/main" id="{3C22065E-FD5A-45E3-B22A-4D7956CB956F}"/>
                </a:ext>
              </a:extLst>
            </p:cNvPr>
            <p:cNvSpPr/>
            <p:nvPr/>
          </p:nvSpPr>
          <p:spPr>
            <a:xfrm>
              <a:off x="892253" y="1843002"/>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sp>
          <p:nvSpPr>
            <p:cNvPr id="75" name="Graphic 133" descr="Network with solid fill">
              <a:extLst>
                <a:ext uri="{FF2B5EF4-FFF2-40B4-BE49-F238E27FC236}">
                  <a16:creationId xmlns:a16="http://schemas.microsoft.com/office/drawing/2014/main" id="{85939B5E-BF50-4D45-B4A8-E31E2BF826E5}"/>
                </a:ext>
              </a:extLst>
            </p:cNvPr>
            <p:cNvSpPr/>
            <p:nvPr/>
          </p:nvSpPr>
          <p:spPr>
            <a:xfrm>
              <a:off x="1034986" y="1999144"/>
              <a:ext cx="434454" cy="407859"/>
            </a:xfrm>
            <a:custGeom>
              <a:avLst/>
              <a:gdLst>
                <a:gd name="connsiteX0" fmla="*/ 430942 w 434454"/>
                <a:gd name="connsiteY0" fmla="*/ 142643 h 407859"/>
                <a:gd name="connsiteX1" fmla="*/ 370304 w 434454"/>
                <a:gd name="connsiteY1" fmla="*/ 117810 h 407859"/>
                <a:gd name="connsiteX2" fmla="*/ 342007 w 434454"/>
                <a:gd name="connsiteY2" fmla="*/ 166898 h 407859"/>
                <a:gd name="connsiteX3" fmla="*/ 267509 w 434454"/>
                <a:gd name="connsiteY3" fmla="*/ 198083 h 407859"/>
                <a:gd name="connsiteX4" fmla="*/ 228817 w 434454"/>
                <a:gd name="connsiteY4" fmla="*/ 170940 h 407859"/>
                <a:gd name="connsiteX5" fmla="*/ 228817 w 434454"/>
                <a:gd name="connsiteY5" fmla="*/ 90668 h 407859"/>
                <a:gd name="connsiteX6" fmla="*/ 263467 w 434454"/>
                <a:gd name="connsiteY6" fmla="*/ 46200 h 407859"/>
                <a:gd name="connsiteX7" fmla="*/ 217267 w 434454"/>
                <a:gd name="connsiteY7" fmla="*/ 0 h 407859"/>
                <a:gd name="connsiteX8" fmla="*/ 217267 w 434454"/>
                <a:gd name="connsiteY8" fmla="*/ 0 h 407859"/>
                <a:gd name="connsiteX9" fmla="*/ 171067 w 434454"/>
                <a:gd name="connsiteY9" fmla="*/ 46200 h 407859"/>
                <a:gd name="connsiteX10" fmla="*/ 205717 w 434454"/>
                <a:gd name="connsiteY10" fmla="*/ 90668 h 407859"/>
                <a:gd name="connsiteX11" fmla="*/ 205717 w 434454"/>
                <a:gd name="connsiteY11" fmla="*/ 170363 h 407859"/>
                <a:gd name="connsiteX12" fmla="*/ 167024 w 434454"/>
                <a:gd name="connsiteY12" fmla="*/ 197505 h 407859"/>
                <a:gd name="connsiteX13" fmla="*/ 92527 w 434454"/>
                <a:gd name="connsiteY13" fmla="*/ 166320 h 407859"/>
                <a:gd name="connsiteX14" fmla="*/ 64229 w 434454"/>
                <a:gd name="connsiteY14" fmla="*/ 117233 h 407859"/>
                <a:gd name="connsiteX15" fmla="*/ 3592 w 434454"/>
                <a:gd name="connsiteY15" fmla="*/ 142065 h 407859"/>
                <a:gd name="connsiteX16" fmla="*/ 28424 w 434454"/>
                <a:gd name="connsiteY16" fmla="*/ 202703 h 407859"/>
                <a:gd name="connsiteX17" fmla="*/ 82709 w 434454"/>
                <a:gd name="connsiteY17" fmla="*/ 187688 h 407859"/>
                <a:gd name="connsiteX18" fmla="*/ 158939 w 434454"/>
                <a:gd name="connsiteY18" fmla="*/ 218873 h 407859"/>
                <a:gd name="connsiteX19" fmla="*/ 158362 w 434454"/>
                <a:gd name="connsiteY19" fmla="*/ 226380 h 407859"/>
                <a:gd name="connsiteX20" fmla="*/ 169912 w 434454"/>
                <a:gd name="connsiteY20" fmla="*/ 261030 h 407859"/>
                <a:gd name="connsiteX21" fmla="*/ 109852 w 434454"/>
                <a:gd name="connsiteY21" fmla="*/ 321668 h 407859"/>
                <a:gd name="connsiteX22" fmla="*/ 53834 w 434454"/>
                <a:gd name="connsiteY22" fmla="*/ 328598 h 407859"/>
                <a:gd name="connsiteX23" fmla="*/ 53834 w 434454"/>
                <a:gd name="connsiteY23" fmla="*/ 393855 h 407859"/>
                <a:gd name="connsiteX24" fmla="*/ 119092 w 434454"/>
                <a:gd name="connsiteY24" fmla="*/ 393855 h 407859"/>
                <a:gd name="connsiteX25" fmla="*/ 126022 w 434454"/>
                <a:gd name="connsiteY25" fmla="*/ 337837 h 407859"/>
                <a:gd name="connsiteX26" fmla="*/ 187237 w 434454"/>
                <a:gd name="connsiteY26" fmla="*/ 276623 h 407859"/>
                <a:gd name="connsiteX27" fmla="*/ 216112 w 434454"/>
                <a:gd name="connsiteY27" fmla="*/ 284708 h 407859"/>
                <a:gd name="connsiteX28" fmla="*/ 217267 w 434454"/>
                <a:gd name="connsiteY28" fmla="*/ 284708 h 407859"/>
                <a:gd name="connsiteX29" fmla="*/ 218422 w 434454"/>
                <a:gd name="connsiteY29" fmla="*/ 284708 h 407859"/>
                <a:gd name="connsiteX30" fmla="*/ 247297 w 434454"/>
                <a:gd name="connsiteY30" fmla="*/ 276623 h 407859"/>
                <a:gd name="connsiteX31" fmla="*/ 308512 w 434454"/>
                <a:gd name="connsiteY31" fmla="*/ 337837 h 407859"/>
                <a:gd name="connsiteX32" fmla="*/ 315442 w 434454"/>
                <a:gd name="connsiteY32" fmla="*/ 394433 h 407859"/>
                <a:gd name="connsiteX33" fmla="*/ 380699 w 434454"/>
                <a:gd name="connsiteY33" fmla="*/ 394433 h 407859"/>
                <a:gd name="connsiteX34" fmla="*/ 380699 w 434454"/>
                <a:gd name="connsiteY34" fmla="*/ 329175 h 407859"/>
                <a:gd name="connsiteX35" fmla="*/ 324682 w 434454"/>
                <a:gd name="connsiteY35" fmla="*/ 322245 h 407859"/>
                <a:gd name="connsiteX36" fmla="*/ 264622 w 434454"/>
                <a:gd name="connsiteY36" fmla="*/ 261608 h 407859"/>
                <a:gd name="connsiteX37" fmla="*/ 276172 w 434454"/>
                <a:gd name="connsiteY37" fmla="*/ 226958 h 407859"/>
                <a:gd name="connsiteX38" fmla="*/ 275594 w 434454"/>
                <a:gd name="connsiteY38" fmla="*/ 219450 h 407859"/>
                <a:gd name="connsiteX39" fmla="*/ 351824 w 434454"/>
                <a:gd name="connsiteY39" fmla="*/ 188265 h 407859"/>
                <a:gd name="connsiteX40" fmla="*/ 406109 w 434454"/>
                <a:gd name="connsiteY40" fmla="*/ 203280 h 407859"/>
                <a:gd name="connsiteX41" fmla="*/ 430942 w 434454"/>
                <a:gd name="connsiteY41" fmla="*/ 142643 h 40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454" h="407859">
                  <a:moveTo>
                    <a:pt x="430942" y="142643"/>
                  </a:moveTo>
                  <a:cubicBezTo>
                    <a:pt x="421124" y="118965"/>
                    <a:pt x="393982" y="107993"/>
                    <a:pt x="370304" y="117810"/>
                  </a:cubicBezTo>
                  <a:cubicBezTo>
                    <a:pt x="350669" y="125895"/>
                    <a:pt x="339119" y="146685"/>
                    <a:pt x="342007" y="166898"/>
                  </a:cubicBezTo>
                  <a:lnTo>
                    <a:pt x="267509" y="198083"/>
                  </a:lnTo>
                  <a:cubicBezTo>
                    <a:pt x="259424" y="184223"/>
                    <a:pt x="244987" y="173828"/>
                    <a:pt x="228817" y="170940"/>
                  </a:cubicBezTo>
                  <a:lnTo>
                    <a:pt x="228817" y="90668"/>
                  </a:lnTo>
                  <a:cubicBezTo>
                    <a:pt x="248452" y="85470"/>
                    <a:pt x="263467" y="67568"/>
                    <a:pt x="263467" y="46200"/>
                  </a:cubicBezTo>
                  <a:cubicBezTo>
                    <a:pt x="263467" y="20790"/>
                    <a:pt x="242677" y="0"/>
                    <a:pt x="217267" y="0"/>
                  </a:cubicBezTo>
                  <a:lnTo>
                    <a:pt x="217267" y="0"/>
                  </a:lnTo>
                  <a:cubicBezTo>
                    <a:pt x="191857" y="0"/>
                    <a:pt x="171067" y="20790"/>
                    <a:pt x="171067" y="46200"/>
                  </a:cubicBezTo>
                  <a:cubicBezTo>
                    <a:pt x="171067" y="67568"/>
                    <a:pt x="186082" y="85470"/>
                    <a:pt x="205717" y="90668"/>
                  </a:cubicBezTo>
                  <a:lnTo>
                    <a:pt x="205717" y="170363"/>
                  </a:lnTo>
                  <a:cubicBezTo>
                    <a:pt x="188969" y="173250"/>
                    <a:pt x="175109" y="183645"/>
                    <a:pt x="167024" y="197505"/>
                  </a:cubicBezTo>
                  <a:lnTo>
                    <a:pt x="92527" y="166320"/>
                  </a:lnTo>
                  <a:cubicBezTo>
                    <a:pt x="95414" y="146108"/>
                    <a:pt x="84442" y="125318"/>
                    <a:pt x="64229" y="117233"/>
                  </a:cubicBezTo>
                  <a:cubicBezTo>
                    <a:pt x="40552" y="107415"/>
                    <a:pt x="13409" y="118388"/>
                    <a:pt x="3592" y="142065"/>
                  </a:cubicBezTo>
                  <a:cubicBezTo>
                    <a:pt x="-6226" y="165743"/>
                    <a:pt x="4747" y="192885"/>
                    <a:pt x="28424" y="202703"/>
                  </a:cubicBezTo>
                  <a:cubicBezTo>
                    <a:pt x="48059" y="210788"/>
                    <a:pt x="70582" y="204435"/>
                    <a:pt x="82709" y="187688"/>
                  </a:cubicBezTo>
                  <a:lnTo>
                    <a:pt x="158939" y="218873"/>
                  </a:lnTo>
                  <a:cubicBezTo>
                    <a:pt x="158362" y="221183"/>
                    <a:pt x="158362" y="224070"/>
                    <a:pt x="158362" y="226380"/>
                  </a:cubicBezTo>
                  <a:cubicBezTo>
                    <a:pt x="158362" y="239085"/>
                    <a:pt x="162404" y="251213"/>
                    <a:pt x="169912" y="261030"/>
                  </a:cubicBezTo>
                  <a:lnTo>
                    <a:pt x="109852" y="321668"/>
                  </a:lnTo>
                  <a:cubicBezTo>
                    <a:pt x="91949" y="311273"/>
                    <a:pt x="68849" y="313583"/>
                    <a:pt x="53834" y="328598"/>
                  </a:cubicBezTo>
                  <a:cubicBezTo>
                    <a:pt x="35932" y="346500"/>
                    <a:pt x="35932" y="375953"/>
                    <a:pt x="53834" y="393855"/>
                  </a:cubicBezTo>
                  <a:cubicBezTo>
                    <a:pt x="71737" y="411758"/>
                    <a:pt x="101189" y="411758"/>
                    <a:pt x="119092" y="393855"/>
                  </a:cubicBezTo>
                  <a:cubicBezTo>
                    <a:pt x="134107" y="378840"/>
                    <a:pt x="136417" y="355740"/>
                    <a:pt x="126022" y="337837"/>
                  </a:cubicBezTo>
                  <a:lnTo>
                    <a:pt x="187237" y="276623"/>
                  </a:lnTo>
                  <a:cubicBezTo>
                    <a:pt x="195899" y="281820"/>
                    <a:pt x="205717" y="284708"/>
                    <a:pt x="216112" y="284708"/>
                  </a:cubicBezTo>
                  <a:cubicBezTo>
                    <a:pt x="216689" y="284708"/>
                    <a:pt x="216689" y="284708"/>
                    <a:pt x="217267" y="284708"/>
                  </a:cubicBezTo>
                  <a:cubicBezTo>
                    <a:pt x="217844" y="284708"/>
                    <a:pt x="217844" y="284708"/>
                    <a:pt x="218422" y="284708"/>
                  </a:cubicBezTo>
                  <a:cubicBezTo>
                    <a:pt x="228817" y="284708"/>
                    <a:pt x="238634" y="281820"/>
                    <a:pt x="247297" y="276623"/>
                  </a:cubicBezTo>
                  <a:lnTo>
                    <a:pt x="308512" y="337837"/>
                  </a:lnTo>
                  <a:cubicBezTo>
                    <a:pt x="298117" y="355740"/>
                    <a:pt x="300427" y="378840"/>
                    <a:pt x="315442" y="394433"/>
                  </a:cubicBezTo>
                  <a:cubicBezTo>
                    <a:pt x="333344" y="412335"/>
                    <a:pt x="362797" y="412335"/>
                    <a:pt x="380699" y="394433"/>
                  </a:cubicBezTo>
                  <a:cubicBezTo>
                    <a:pt x="398602" y="376530"/>
                    <a:pt x="398602" y="347078"/>
                    <a:pt x="380699" y="329175"/>
                  </a:cubicBezTo>
                  <a:cubicBezTo>
                    <a:pt x="365684" y="314160"/>
                    <a:pt x="342584" y="311850"/>
                    <a:pt x="324682" y="322245"/>
                  </a:cubicBezTo>
                  <a:lnTo>
                    <a:pt x="264622" y="261608"/>
                  </a:lnTo>
                  <a:cubicBezTo>
                    <a:pt x="272129" y="251790"/>
                    <a:pt x="276172" y="240240"/>
                    <a:pt x="276172" y="226958"/>
                  </a:cubicBezTo>
                  <a:cubicBezTo>
                    <a:pt x="276172" y="224648"/>
                    <a:pt x="276172" y="221760"/>
                    <a:pt x="275594" y="219450"/>
                  </a:cubicBezTo>
                  <a:lnTo>
                    <a:pt x="351824" y="188265"/>
                  </a:lnTo>
                  <a:cubicBezTo>
                    <a:pt x="363952" y="204435"/>
                    <a:pt x="386474" y="211365"/>
                    <a:pt x="406109" y="203280"/>
                  </a:cubicBezTo>
                  <a:cubicBezTo>
                    <a:pt x="429209" y="192885"/>
                    <a:pt x="440759" y="166320"/>
                    <a:pt x="430942" y="142643"/>
                  </a:cubicBezTo>
                  <a:close/>
                </a:path>
              </a:pathLst>
            </a:custGeom>
            <a:solidFill>
              <a:srgbClr val="3C3C3B"/>
            </a:solidFill>
            <a:ln w="5755" cap="flat">
              <a:noFill/>
              <a:prstDash val="solid"/>
              <a:miter/>
            </a:ln>
          </p:spPr>
          <p:txBody>
            <a:bodyPr rtlCol="0" anchor="ctr"/>
            <a:lstStyle/>
            <a:p>
              <a:endParaRPr lang="en-US"/>
            </a:p>
          </p:txBody>
        </p:sp>
        <p:sp>
          <p:nvSpPr>
            <p:cNvPr id="22" name="Flowchart: Alternate Process 21">
              <a:extLst>
                <a:ext uri="{FF2B5EF4-FFF2-40B4-BE49-F238E27FC236}">
                  <a16:creationId xmlns:a16="http://schemas.microsoft.com/office/drawing/2014/main" id="{FD3BDC08-D834-4E2C-8396-9B86E162B9A2}"/>
                </a:ext>
              </a:extLst>
            </p:cNvPr>
            <p:cNvSpPr/>
            <p:nvPr/>
          </p:nvSpPr>
          <p:spPr>
            <a:xfrm>
              <a:off x="1433260" y="5315968"/>
              <a:ext cx="1953615"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Granular asset performance</a:t>
              </a:r>
            </a:p>
          </p:txBody>
        </p:sp>
        <p:sp>
          <p:nvSpPr>
            <p:cNvPr id="23" name="Oval 22">
              <a:extLst>
                <a:ext uri="{FF2B5EF4-FFF2-40B4-BE49-F238E27FC236}">
                  <a16:creationId xmlns:a16="http://schemas.microsoft.com/office/drawing/2014/main" id="{6AAB316A-1B7C-4250-B087-3AFD9092F926}"/>
                </a:ext>
              </a:extLst>
            </p:cNvPr>
            <p:cNvSpPr/>
            <p:nvPr/>
          </p:nvSpPr>
          <p:spPr>
            <a:xfrm>
              <a:off x="892253" y="5171968"/>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sp>
          <p:nvSpPr>
            <p:cNvPr id="77" name="Freeform: Shape 76">
              <a:extLst>
                <a:ext uri="{FF2B5EF4-FFF2-40B4-BE49-F238E27FC236}">
                  <a16:creationId xmlns:a16="http://schemas.microsoft.com/office/drawing/2014/main" id="{49F0E7F1-2C0E-28B8-9EE2-2C6E1160D4AA}"/>
                </a:ext>
              </a:extLst>
            </p:cNvPr>
            <p:cNvSpPr/>
            <p:nvPr/>
          </p:nvSpPr>
          <p:spPr>
            <a:xfrm>
              <a:off x="986868" y="5456968"/>
              <a:ext cx="530769" cy="323076"/>
            </a:xfrm>
            <a:custGeom>
              <a:avLst/>
              <a:gdLst>
                <a:gd name="connsiteX0" fmla="*/ 491134 w 530769"/>
                <a:gd name="connsiteY0" fmla="*/ 300000 h 323076"/>
                <a:gd name="connsiteX1" fmla="*/ 450063 w 530769"/>
                <a:gd name="connsiteY1" fmla="*/ 57404 h 323076"/>
                <a:gd name="connsiteX2" fmla="*/ 442720 w 530769"/>
                <a:gd name="connsiteY2" fmla="*/ 47613 h 323076"/>
                <a:gd name="connsiteX3" fmla="*/ 441450 w 530769"/>
                <a:gd name="connsiteY3" fmla="*/ 47527 h 323076"/>
                <a:gd name="connsiteX4" fmla="*/ 371683 w 530769"/>
                <a:gd name="connsiteY4" fmla="*/ 47527 h 323076"/>
                <a:gd name="connsiteX5" fmla="*/ 426848 w 530769"/>
                <a:gd name="connsiteY5" fmla="*/ 300000 h 323076"/>
                <a:gd name="connsiteX6" fmla="*/ 407885 w 530769"/>
                <a:gd name="connsiteY6" fmla="*/ 300000 h 323076"/>
                <a:gd name="connsiteX7" fmla="*/ 358223 w 530769"/>
                <a:gd name="connsiteY7" fmla="*/ 10137 h 323076"/>
                <a:gd name="connsiteX8" fmla="*/ 351180 w 530769"/>
                <a:gd name="connsiteY8" fmla="*/ 128 h 323076"/>
                <a:gd name="connsiteX9" fmla="*/ 349713 w 530769"/>
                <a:gd name="connsiteY9" fmla="*/ 0 h 323076"/>
                <a:gd name="connsiteX10" fmla="*/ 176192 w 530769"/>
                <a:gd name="connsiteY10" fmla="*/ 0 h 323076"/>
                <a:gd name="connsiteX11" fmla="*/ 167560 w 530769"/>
                <a:gd name="connsiteY11" fmla="*/ 8676 h 323076"/>
                <a:gd name="connsiteX12" fmla="*/ 167688 w 530769"/>
                <a:gd name="connsiteY12" fmla="*/ 10137 h 323076"/>
                <a:gd name="connsiteX13" fmla="*/ 118027 w 530769"/>
                <a:gd name="connsiteY13" fmla="*/ 300000 h 323076"/>
                <a:gd name="connsiteX14" fmla="*/ 99058 w 530769"/>
                <a:gd name="connsiteY14" fmla="*/ 300000 h 323076"/>
                <a:gd name="connsiteX15" fmla="*/ 154217 w 530769"/>
                <a:gd name="connsiteY15" fmla="*/ 47527 h 323076"/>
                <a:gd name="connsiteX16" fmla="*/ 83596 w 530769"/>
                <a:gd name="connsiteY16" fmla="*/ 47527 h 323076"/>
                <a:gd name="connsiteX17" fmla="*/ 74913 w 530769"/>
                <a:gd name="connsiteY17" fmla="*/ 56151 h 323076"/>
                <a:gd name="connsiteX18" fmla="*/ 75000 w 530769"/>
                <a:gd name="connsiteY18" fmla="*/ 57404 h 323076"/>
                <a:gd name="connsiteX19" fmla="*/ 33912 w 530769"/>
                <a:gd name="connsiteY19" fmla="*/ 300000 h 323076"/>
                <a:gd name="connsiteX20" fmla="*/ 0 w 530769"/>
                <a:gd name="connsiteY20" fmla="*/ 300000 h 323076"/>
                <a:gd name="connsiteX21" fmla="*/ 0 w 530769"/>
                <a:gd name="connsiteY21" fmla="*/ 323077 h 323076"/>
                <a:gd name="connsiteX22" fmla="*/ 530769 w 530769"/>
                <a:gd name="connsiteY22" fmla="*/ 323077 h 323076"/>
                <a:gd name="connsiteX23" fmla="*/ 530769 w 530769"/>
                <a:gd name="connsiteY23" fmla="*/ 300000 h 32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0769" h="323076">
                  <a:moveTo>
                    <a:pt x="491134" y="300000"/>
                  </a:moveTo>
                  <a:cubicBezTo>
                    <a:pt x="471917" y="255635"/>
                    <a:pt x="435034" y="154177"/>
                    <a:pt x="450063" y="57404"/>
                  </a:cubicBezTo>
                  <a:cubicBezTo>
                    <a:pt x="450739" y="52672"/>
                    <a:pt x="447451" y="48289"/>
                    <a:pt x="442720" y="47613"/>
                  </a:cubicBezTo>
                  <a:cubicBezTo>
                    <a:pt x="442299" y="47553"/>
                    <a:pt x="441874" y="47525"/>
                    <a:pt x="441450" y="47527"/>
                  </a:cubicBezTo>
                  <a:lnTo>
                    <a:pt x="371683" y="47527"/>
                  </a:lnTo>
                  <a:cubicBezTo>
                    <a:pt x="366035" y="155302"/>
                    <a:pt x="409760" y="262604"/>
                    <a:pt x="426848" y="300000"/>
                  </a:cubicBezTo>
                  <a:lnTo>
                    <a:pt x="407885" y="300000"/>
                  </a:lnTo>
                  <a:cubicBezTo>
                    <a:pt x="385858" y="250090"/>
                    <a:pt x="339525" y="127033"/>
                    <a:pt x="358223" y="10137"/>
                  </a:cubicBezTo>
                  <a:cubicBezTo>
                    <a:pt x="359042" y="5428"/>
                    <a:pt x="355889" y="947"/>
                    <a:pt x="351180" y="128"/>
                  </a:cubicBezTo>
                  <a:cubicBezTo>
                    <a:pt x="350695" y="44"/>
                    <a:pt x="350205" y="1"/>
                    <a:pt x="349713" y="0"/>
                  </a:cubicBezTo>
                  <a:lnTo>
                    <a:pt x="176192" y="0"/>
                  </a:lnTo>
                  <a:cubicBezTo>
                    <a:pt x="171413" y="12"/>
                    <a:pt x="167548" y="3897"/>
                    <a:pt x="167560" y="8676"/>
                  </a:cubicBezTo>
                  <a:cubicBezTo>
                    <a:pt x="167562" y="9166"/>
                    <a:pt x="167605" y="9654"/>
                    <a:pt x="167688" y="10137"/>
                  </a:cubicBezTo>
                  <a:cubicBezTo>
                    <a:pt x="186386" y="127033"/>
                    <a:pt x="140054" y="250090"/>
                    <a:pt x="118027" y="300000"/>
                  </a:cubicBezTo>
                  <a:lnTo>
                    <a:pt x="99058" y="300000"/>
                  </a:lnTo>
                  <a:cubicBezTo>
                    <a:pt x="116158" y="262598"/>
                    <a:pt x="159865" y="155290"/>
                    <a:pt x="154217" y="47527"/>
                  </a:cubicBezTo>
                  <a:lnTo>
                    <a:pt x="83596" y="47527"/>
                  </a:lnTo>
                  <a:cubicBezTo>
                    <a:pt x="78817" y="47511"/>
                    <a:pt x="74929" y="51372"/>
                    <a:pt x="74913" y="56151"/>
                  </a:cubicBezTo>
                  <a:cubicBezTo>
                    <a:pt x="74912" y="56571"/>
                    <a:pt x="74941" y="56989"/>
                    <a:pt x="75000" y="57404"/>
                  </a:cubicBezTo>
                  <a:cubicBezTo>
                    <a:pt x="90000" y="154177"/>
                    <a:pt x="53129" y="255635"/>
                    <a:pt x="33912" y="300000"/>
                  </a:cubicBezTo>
                  <a:lnTo>
                    <a:pt x="0" y="300000"/>
                  </a:lnTo>
                  <a:lnTo>
                    <a:pt x="0" y="323077"/>
                  </a:lnTo>
                  <a:lnTo>
                    <a:pt x="530769" y="323077"/>
                  </a:lnTo>
                  <a:lnTo>
                    <a:pt x="530769" y="300000"/>
                  </a:lnTo>
                  <a:close/>
                </a:path>
              </a:pathLst>
            </a:custGeom>
            <a:solidFill>
              <a:srgbClr val="3C3C3B"/>
            </a:solidFill>
            <a:ln w="5755" cap="flat">
              <a:solidFill>
                <a:srgbClr val="3C3C3B"/>
              </a:solid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21300610-EDDB-2AD9-85FA-C191EBB399B7}"/>
                </a:ext>
              </a:extLst>
            </p:cNvPr>
            <p:cNvSpPr/>
            <p:nvPr/>
          </p:nvSpPr>
          <p:spPr>
            <a:xfrm>
              <a:off x="1217666" y="5283778"/>
              <a:ext cx="253677" cy="150821"/>
            </a:xfrm>
            <a:custGeom>
              <a:avLst/>
              <a:gdLst>
                <a:gd name="connsiteX0" fmla="*/ 51381 w 253677"/>
                <a:gd name="connsiteY0" fmla="*/ 137420 h 150821"/>
                <a:gd name="connsiteX1" fmla="*/ 71896 w 253677"/>
                <a:gd name="connsiteY1" fmla="*/ 132435 h 150821"/>
                <a:gd name="connsiteX2" fmla="*/ 76142 w 253677"/>
                <a:gd name="connsiteY2" fmla="*/ 135026 h 150821"/>
                <a:gd name="connsiteX3" fmla="*/ 144509 w 253677"/>
                <a:gd name="connsiteY3" fmla="*/ 118388 h 150821"/>
                <a:gd name="connsiteX4" fmla="*/ 144513 w 253677"/>
                <a:gd name="connsiteY4" fmla="*/ 118381 h 150821"/>
                <a:gd name="connsiteX5" fmla="*/ 165029 w 253677"/>
                <a:gd name="connsiteY5" fmla="*/ 113397 h 150821"/>
                <a:gd name="connsiteX6" fmla="*/ 245798 w 253677"/>
                <a:gd name="connsiteY6" fmla="*/ 95581 h 150821"/>
                <a:gd name="connsiteX7" fmla="*/ 224550 w 253677"/>
                <a:gd name="connsiteY7" fmla="*/ 15689 h 150821"/>
                <a:gd name="connsiteX8" fmla="*/ 162444 w 253677"/>
                <a:gd name="connsiteY8" fmla="*/ 15014 h 150821"/>
                <a:gd name="connsiteX9" fmla="*/ 153012 w 253677"/>
                <a:gd name="connsiteY9" fmla="*/ 7560 h 150821"/>
                <a:gd name="connsiteX10" fmla="*/ 86590 w 253677"/>
                <a:gd name="connsiteY10" fmla="*/ 22197 h 150821"/>
                <a:gd name="connsiteX11" fmla="*/ 80492 w 253677"/>
                <a:gd name="connsiteY11" fmla="*/ 52670 h 150821"/>
                <a:gd name="connsiteX12" fmla="*/ 40685 w 253677"/>
                <a:gd name="connsiteY12" fmla="*/ 78464 h 150821"/>
                <a:gd name="connsiteX13" fmla="*/ 30115 w 253677"/>
                <a:gd name="connsiteY13" fmla="*/ 95818 h 150821"/>
                <a:gd name="connsiteX14" fmla="*/ 27629 w 253677"/>
                <a:gd name="connsiteY14" fmla="*/ 95564 h 150821"/>
                <a:gd name="connsiteX15" fmla="*/ 0 w 253677"/>
                <a:gd name="connsiteY15" fmla="*/ 123193 h 150821"/>
                <a:gd name="connsiteX16" fmla="*/ 27629 w 253677"/>
                <a:gd name="connsiteY16" fmla="*/ 150822 h 150821"/>
                <a:gd name="connsiteX17" fmla="*/ 44417 w 253677"/>
                <a:gd name="connsiteY17" fmla="*/ 145001 h 150821"/>
                <a:gd name="connsiteX18" fmla="*/ 50498 w 253677"/>
                <a:gd name="connsiteY18" fmla="*/ 138787 h 150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3677" h="150821">
                  <a:moveTo>
                    <a:pt x="51381" y="137420"/>
                  </a:moveTo>
                  <a:cubicBezTo>
                    <a:pt x="55670" y="130379"/>
                    <a:pt x="64854" y="128148"/>
                    <a:pt x="71896" y="132435"/>
                  </a:cubicBezTo>
                  <a:lnTo>
                    <a:pt x="76142" y="135026"/>
                  </a:lnTo>
                  <a:cubicBezTo>
                    <a:pt x="99616" y="149310"/>
                    <a:pt x="130225" y="141862"/>
                    <a:pt x="144509" y="118388"/>
                  </a:cubicBezTo>
                  <a:cubicBezTo>
                    <a:pt x="144511" y="118385"/>
                    <a:pt x="144512" y="118384"/>
                    <a:pt x="144513" y="118381"/>
                  </a:cubicBezTo>
                  <a:cubicBezTo>
                    <a:pt x="148803" y="111341"/>
                    <a:pt x="157987" y="109109"/>
                    <a:pt x="165029" y="113397"/>
                  </a:cubicBezTo>
                  <a:cubicBezTo>
                    <a:pt x="192254" y="130773"/>
                    <a:pt x="228409" y="122798"/>
                    <a:pt x="245798" y="95581"/>
                  </a:cubicBezTo>
                  <a:cubicBezTo>
                    <a:pt x="261966" y="67649"/>
                    <a:pt x="252459" y="31899"/>
                    <a:pt x="224550" y="15689"/>
                  </a:cubicBezTo>
                  <a:cubicBezTo>
                    <a:pt x="205588" y="3922"/>
                    <a:pt x="181658" y="3661"/>
                    <a:pt x="162444" y="15014"/>
                  </a:cubicBezTo>
                  <a:cubicBezTo>
                    <a:pt x="159603" y="12168"/>
                    <a:pt x="156437" y="9666"/>
                    <a:pt x="153012" y="7560"/>
                  </a:cubicBezTo>
                  <a:cubicBezTo>
                    <a:pt x="130625" y="-6723"/>
                    <a:pt x="100900" y="-173"/>
                    <a:pt x="86590" y="22197"/>
                  </a:cubicBezTo>
                  <a:cubicBezTo>
                    <a:pt x="81055" y="31328"/>
                    <a:pt x="78897" y="42112"/>
                    <a:pt x="80492" y="52670"/>
                  </a:cubicBezTo>
                  <a:cubicBezTo>
                    <a:pt x="63987" y="54755"/>
                    <a:pt x="49332" y="64251"/>
                    <a:pt x="40685" y="78464"/>
                  </a:cubicBezTo>
                  <a:lnTo>
                    <a:pt x="30115" y="95818"/>
                  </a:lnTo>
                  <a:cubicBezTo>
                    <a:pt x="29285" y="95743"/>
                    <a:pt x="28483" y="95564"/>
                    <a:pt x="27629" y="95564"/>
                  </a:cubicBezTo>
                  <a:cubicBezTo>
                    <a:pt x="12370" y="95564"/>
                    <a:pt x="0" y="107934"/>
                    <a:pt x="0" y="123193"/>
                  </a:cubicBezTo>
                  <a:cubicBezTo>
                    <a:pt x="0" y="138452"/>
                    <a:pt x="12370" y="150822"/>
                    <a:pt x="27629" y="150822"/>
                  </a:cubicBezTo>
                  <a:cubicBezTo>
                    <a:pt x="33717" y="150803"/>
                    <a:pt x="39625" y="148755"/>
                    <a:pt x="44417" y="145001"/>
                  </a:cubicBezTo>
                  <a:cubicBezTo>
                    <a:pt x="46879" y="143405"/>
                    <a:pt x="48956" y="141283"/>
                    <a:pt x="50498" y="138787"/>
                  </a:cubicBezTo>
                  <a:close/>
                </a:path>
              </a:pathLst>
            </a:custGeom>
            <a:solidFill>
              <a:srgbClr val="3C3C3B"/>
            </a:solidFill>
            <a:ln w="5755" cap="flat">
              <a:solidFill>
                <a:srgbClr val="3C3C3B"/>
              </a:solidFill>
              <a:prstDash val="solid"/>
              <a:miter/>
            </a:ln>
          </p:spPr>
          <p:txBody>
            <a:bodyPr rtlCol="0" anchor="ctr"/>
            <a:lstStyle/>
            <a:p>
              <a:endParaRPr lang="en-US"/>
            </a:p>
          </p:txBody>
        </p:sp>
        <p:sp>
          <p:nvSpPr>
            <p:cNvPr id="38" name="Flowchart: Alternate Process 37">
              <a:extLst>
                <a:ext uri="{FF2B5EF4-FFF2-40B4-BE49-F238E27FC236}">
                  <a16:creationId xmlns:a16="http://schemas.microsoft.com/office/drawing/2014/main" id="{1AAA576A-5B7F-4E5D-A685-4C4E0F8FFBCA}"/>
                </a:ext>
              </a:extLst>
            </p:cNvPr>
            <p:cNvSpPr/>
            <p:nvPr/>
          </p:nvSpPr>
          <p:spPr>
            <a:xfrm>
              <a:off x="4427418" y="2204528"/>
              <a:ext cx="1746504" cy="22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a:spcBef>
                  <a:spcPts val="1200"/>
                </a:spcBef>
                <a:buFont typeface="Wingdings" panose="05000000000000000000" pitchFamily="2" charset="2"/>
                <a:buChar char="§"/>
              </a:pPr>
              <a:r>
                <a:rPr lang="en-US" sz="1200">
                  <a:solidFill>
                    <a:schemeClr val="tx1"/>
                  </a:solidFill>
                </a:rPr>
                <a:t>Upwards and downwards capacity bids carry different reservation costs</a:t>
              </a:r>
            </a:p>
            <a:p>
              <a:pPr marL="171450" indent="-171450">
                <a:spcBef>
                  <a:spcPts val="1200"/>
                </a:spcBef>
                <a:buFont typeface="Wingdings" panose="05000000000000000000" pitchFamily="2" charset="2"/>
                <a:buChar char="§"/>
              </a:pPr>
              <a:r>
                <a:rPr lang="en-US" sz="1200">
                  <a:solidFill>
                    <a:schemeClr val="tx1"/>
                  </a:solidFill>
                </a:rPr>
                <a:t>An upwards bid requires capacity ‘on hold’</a:t>
              </a:r>
            </a:p>
            <a:p>
              <a:pPr marL="171450" indent="-171450">
                <a:spcBef>
                  <a:spcPts val="1200"/>
                </a:spcBef>
                <a:buFont typeface="Wingdings" panose="05000000000000000000" pitchFamily="2" charset="2"/>
                <a:buChar char="§"/>
              </a:pPr>
              <a:r>
                <a:rPr lang="en-US" sz="1200">
                  <a:solidFill>
                    <a:schemeClr val="tx1"/>
                  </a:solidFill>
                </a:rPr>
                <a:t>For a downwards bid, an asset owner must be producing</a:t>
              </a:r>
            </a:p>
          </p:txBody>
        </p:sp>
        <p:sp>
          <p:nvSpPr>
            <p:cNvPr id="40" name="Flowchart: Alternate Process 39">
              <a:extLst>
                <a:ext uri="{FF2B5EF4-FFF2-40B4-BE49-F238E27FC236}">
                  <a16:creationId xmlns:a16="http://schemas.microsoft.com/office/drawing/2014/main" id="{96853E02-394B-4155-ADB0-9AC888627873}"/>
                </a:ext>
              </a:extLst>
            </p:cNvPr>
            <p:cNvSpPr/>
            <p:nvPr/>
          </p:nvSpPr>
          <p:spPr>
            <a:xfrm>
              <a:off x="6354850" y="2995971"/>
              <a:ext cx="1399032" cy="689635"/>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200"/>
                </a:spcBef>
              </a:pPr>
              <a:r>
                <a:rPr lang="en-US" sz="1200">
                  <a:solidFill>
                    <a:schemeClr val="tx1"/>
                  </a:solidFill>
                </a:rPr>
                <a:t>Capacity bids placed</a:t>
              </a:r>
            </a:p>
          </p:txBody>
        </p:sp>
        <p:sp>
          <p:nvSpPr>
            <p:cNvPr id="39" name="Rectangle 38">
              <a:extLst>
                <a:ext uri="{FF2B5EF4-FFF2-40B4-BE49-F238E27FC236}">
                  <a16:creationId xmlns:a16="http://schemas.microsoft.com/office/drawing/2014/main" id="{57051567-0E90-452B-A997-1FE5D76FC085}"/>
                </a:ext>
              </a:extLst>
            </p:cNvPr>
            <p:cNvSpPr/>
            <p:nvPr/>
          </p:nvSpPr>
          <p:spPr>
            <a:xfrm>
              <a:off x="6426861" y="1923414"/>
              <a:ext cx="1150111" cy="184666"/>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200"/>
                </a:spcBef>
              </a:pPr>
              <a:r>
                <a:rPr lang="en-US" sz="1200" b="1">
                  <a:solidFill>
                    <a:schemeClr val="tx1"/>
                  </a:solidFill>
                </a:rPr>
                <a:t>Capacity bids</a:t>
              </a:r>
              <a:endParaRPr lang="en-US" sz="1200">
                <a:solidFill>
                  <a:schemeClr val="tx1"/>
                </a:solidFill>
              </a:endParaRPr>
            </a:p>
          </p:txBody>
        </p:sp>
        <p:sp>
          <p:nvSpPr>
            <p:cNvPr id="41" name="Rectangle 40">
              <a:extLst>
                <a:ext uri="{FF2B5EF4-FFF2-40B4-BE49-F238E27FC236}">
                  <a16:creationId xmlns:a16="http://schemas.microsoft.com/office/drawing/2014/main" id="{8CC84A25-D2ED-4CA8-97F9-49FE2C22698F}"/>
                </a:ext>
              </a:extLst>
            </p:cNvPr>
            <p:cNvSpPr/>
            <p:nvPr/>
          </p:nvSpPr>
          <p:spPr>
            <a:xfrm>
              <a:off x="4622620" y="1923414"/>
              <a:ext cx="1280160" cy="184666"/>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pPr>
              <a:r>
                <a:rPr lang="en-US" sz="1200" b="1">
                  <a:solidFill>
                    <a:schemeClr val="tx1"/>
                  </a:solidFill>
                </a:rPr>
                <a:t>Reservation costs</a:t>
              </a:r>
              <a:endParaRPr lang="en-US" sz="1200">
                <a:solidFill>
                  <a:schemeClr val="tx1"/>
                </a:solidFill>
              </a:endParaRPr>
            </a:p>
          </p:txBody>
        </p:sp>
        <p:sp>
          <p:nvSpPr>
            <p:cNvPr id="42" name="Arrow: Right 128">
              <a:extLst>
                <a:ext uri="{FF2B5EF4-FFF2-40B4-BE49-F238E27FC236}">
                  <a16:creationId xmlns:a16="http://schemas.microsoft.com/office/drawing/2014/main" id="{43A577EB-3C4B-F20E-776C-9AD0CB88B891}"/>
                </a:ext>
              </a:extLst>
            </p:cNvPr>
            <p:cNvSpPr/>
            <p:nvPr/>
          </p:nvSpPr>
          <p:spPr>
            <a:xfrm>
              <a:off x="6008356" y="1951422"/>
              <a:ext cx="312929" cy="128650"/>
            </a:xfrm>
            <a:prstGeom prst="rightArrow">
              <a:avLst/>
            </a:prstGeom>
            <a:solidFill>
              <a:schemeClr val="tx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US" sz="1200" b="1">
                <a:solidFill>
                  <a:schemeClr val="bg1"/>
                </a:solidFill>
              </a:endParaRPr>
            </a:p>
          </p:txBody>
        </p:sp>
        <p:sp>
          <p:nvSpPr>
            <p:cNvPr id="69" name="Isosceles Triangle 68">
              <a:extLst>
                <a:ext uri="{FF2B5EF4-FFF2-40B4-BE49-F238E27FC236}">
                  <a16:creationId xmlns:a16="http://schemas.microsoft.com/office/drawing/2014/main" id="{957C4452-AA2A-C546-E69A-4C3965E84115}"/>
                </a:ext>
              </a:extLst>
            </p:cNvPr>
            <p:cNvSpPr/>
            <p:nvPr/>
          </p:nvSpPr>
          <p:spPr>
            <a:xfrm rot="5400000">
              <a:off x="3570198" y="3893426"/>
              <a:ext cx="1098962" cy="187204"/>
            </a:xfrm>
            <a:prstGeom prst="triangle">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a:solidFill>
                  <a:schemeClr val="tx1"/>
                </a:solidFill>
              </a:endParaRPr>
            </a:p>
          </p:txBody>
        </p:sp>
        <p:sp>
          <p:nvSpPr>
            <p:cNvPr id="89" name="Flowchart: Alternate Process 88">
              <a:extLst>
                <a:ext uri="{FF2B5EF4-FFF2-40B4-BE49-F238E27FC236}">
                  <a16:creationId xmlns:a16="http://schemas.microsoft.com/office/drawing/2014/main" id="{211DB690-9FC2-6336-B45C-03220F0B0F7D}"/>
                </a:ext>
              </a:extLst>
            </p:cNvPr>
            <p:cNvSpPr/>
            <p:nvPr/>
          </p:nvSpPr>
          <p:spPr>
            <a:xfrm>
              <a:off x="8393683" y="2204528"/>
              <a:ext cx="1746504" cy="22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a:spcBef>
                  <a:spcPts val="1200"/>
                </a:spcBef>
                <a:buFont typeface="Wingdings" panose="05000000000000000000" pitchFamily="2" charset="2"/>
                <a:buChar char="§"/>
              </a:pPr>
              <a:r>
                <a:rPr lang="en-US" sz="1200">
                  <a:solidFill>
                    <a:schemeClr val="tx1"/>
                  </a:solidFill>
                </a:rPr>
                <a:t>Asset owners base their energy bids based on their Day Ahead positions</a:t>
              </a:r>
            </a:p>
            <a:p>
              <a:pPr marL="171450" indent="-171450">
                <a:spcBef>
                  <a:spcPts val="1200"/>
                </a:spcBef>
                <a:buFont typeface="Wingdings" panose="05000000000000000000" pitchFamily="2" charset="2"/>
                <a:buChar char="§"/>
              </a:pPr>
              <a:r>
                <a:rPr lang="en-US" sz="1200">
                  <a:solidFill>
                    <a:schemeClr val="tx1"/>
                  </a:solidFill>
                </a:rPr>
                <a:t>These decisions are made independently of the aFRR capacity auction, which clears earlier</a:t>
              </a:r>
            </a:p>
          </p:txBody>
        </p:sp>
        <p:sp>
          <p:nvSpPr>
            <p:cNvPr id="90" name="Flowchart: Alternate Process 89">
              <a:extLst>
                <a:ext uri="{FF2B5EF4-FFF2-40B4-BE49-F238E27FC236}">
                  <a16:creationId xmlns:a16="http://schemas.microsoft.com/office/drawing/2014/main" id="{1A8F7792-BEC3-B72D-E117-60D31344FFC7}"/>
                </a:ext>
              </a:extLst>
            </p:cNvPr>
            <p:cNvSpPr/>
            <p:nvPr/>
          </p:nvSpPr>
          <p:spPr>
            <a:xfrm>
              <a:off x="10310835" y="2995104"/>
              <a:ext cx="1399032" cy="689635"/>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200"/>
                </a:spcBef>
              </a:pPr>
              <a:r>
                <a:rPr lang="en-US" sz="1200">
                  <a:solidFill>
                    <a:schemeClr val="tx1"/>
                  </a:solidFill>
                </a:rPr>
                <a:t>Energy bids placed</a:t>
              </a:r>
            </a:p>
          </p:txBody>
        </p:sp>
        <p:sp>
          <p:nvSpPr>
            <p:cNvPr id="88" name="Rectangle 87">
              <a:extLst>
                <a:ext uri="{FF2B5EF4-FFF2-40B4-BE49-F238E27FC236}">
                  <a16:creationId xmlns:a16="http://schemas.microsoft.com/office/drawing/2014/main" id="{D33C5491-F881-70C8-0699-D76C3F012C89}"/>
                </a:ext>
              </a:extLst>
            </p:cNvPr>
            <p:cNvSpPr/>
            <p:nvPr/>
          </p:nvSpPr>
          <p:spPr>
            <a:xfrm>
              <a:off x="10378899" y="1923414"/>
              <a:ext cx="1150111" cy="184666"/>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200"/>
                </a:spcBef>
              </a:pPr>
              <a:r>
                <a:rPr lang="en-US" sz="1200" b="1">
                  <a:solidFill>
                    <a:schemeClr val="tx1"/>
                  </a:solidFill>
                </a:rPr>
                <a:t>Energy bids</a:t>
              </a:r>
              <a:endParaRPr lang="en-US" sz="1200">
                <a:solidFill>
                  <a:schemeClr val="tx1"/>
                </a:solidFill>
              </a:endParaRPr>
            </a:p>
          </p:txBody>
        </p:sp>
        <p:sp>
          <p:nvSpPr>
            <p:cNvPr id="91" name="Rectangle 90">
              <a:extLst>
                <a:ext uri="{FF2B5EF4-FFF2-40B4-BE49-F238E27FC236}">
                  <a16:creationId xmlns:a16="http://schemas.microsoft.com/office/drawing/2014/main" id="{9A739161-2DE4-FE99-9027-CAB0E7C7845E}"/>
                </a:ext>
              </a:extLst>
            </p:cNvPr>
            <p:cNvSpPr/>
            <p:nvPr/>
          </p:nvSpPr>
          <p:spPr>
            <a:xfrm>
              <a:off x="8574658" y="1923414"/>
              <a:ext cx="1280160" cy="184666"/>
            </a:xfrm>
            <a:prstGeom prst="rect">
              <a:avLst/>
            </a:prstGeom>
            <a:no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pPr>
              <a:r>
                <a:rPr lang="en-US" sz="1200" b="1">
                  <a:solidFill>
                    <a:schemeClr val="tx1"/>
                  </a:solidFill>
                </a:rPr>
                <a:t>Opportunity costs</a:t>
              </a:r>
              <a:endParaRPr lang="en-US" sz="1200">
                <a:solidFill>
                  <a:schemeClr val="tx1"/>
                </a:solidFill>
              </a:endParaRPr>
            </a:p>
          </p:txBody>
        </p:sp>
        <p:sp>
          <p:nvSpPr>
            <p:cNvPr id="92" name="Arrow: Right 128">
              <a:extLst>
                <a:ext uri="{FF2B5EF4-FFF2-40B4-BE49-F238E27FC236}">
                  <a16:creationId xmlns:a16="http://schemas.microsoft.com/office/drawing/2014/main" id="{DCD4D447-684B-8852-FD0E-53D07CE87C56}"/>
                </a:ext>
              </a:extLst>
            </p:cNvPr>
            <p:cNvSpPr/>
            <p:nvPr/>
          </p:nvSpPr>
          <p:spPr>
            <a:xfrm>
              <a:off x="10023894" y="1951422"/>
              <a:ext cx="312929" cy="128650"/>
            </a:xfrm>
            <a:prstGeom prst="rightArrow">
              <a:avLst/>
            </a:prstGeom>
            <a:solidFill>
              <a:schemeClr val="tx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US" sz="1200" b="1">
                <a:solidFill>
                  <a:schemeClr val="bg1"/>
                </a:solidFill>
              </a:endParaRPr>
            </a:p>
          </p:txBody>
        </p:sp>
        <p:sp>
          <p:nvSpPr>
            <p:cNvPr id="93" name="Isosceles Triangle 92">
              <a:extLst>
                <a:ext uri="{FF2B5EF4-FFF2-40B4-BE49-F238E27FC236}">
                  <a16:creationId xmlns:a16="http://schemas.microsoft.com/office/drawing/2014/main" id="{DB1F64FC-41FA-2C18-B97F-1E2BD0D8B42D}"/>
                </a:ext>
              </a:extLst>
            </p:cNvPr>
            <p:cNvSpPr/>
            <p:nvPr/>
          </p:nvSpPr>
          <p:spPr>
            <a:xfrm rot="10800000">
              <a:off x="6504886" y="3690816"/>
              <a:ext cx="1098962" cy="187204"/>
            </a:xfrm>
            <a:prstGeom prst="triangle">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a:solidFill>
                  <a:schemeClr val="tx1"/>
                </a:solidFill>
              </a:endParaRPr>
            </a:p>
          </p:txBody>
        </p:sp>
        <p:sp>
          <p:nvSpPr>
            <p:cNvPr id="96" name="Arrow: Right 70">
              <a:extLst>
                <a:ext uri="{FF2B5EF4-FFF2-40B4-BE49-F238E27FC236}">
                  <a16:creationId xmlns:a16="http://schemas.microsoft.com/office/drawing/2014/main" id="{E7931EC3-CC00-9B6D-70E6-10EDA39C64D0}"/>
                </a:ext>
              </a:extLst>
            </p:cNvPr>
            <p:cNvSpPr/>
            <p:nvPr/>
          </p:nvSpPr>
          <p:spPr>
            <a:xfrm rot="5400000">
              <a:off x="6505942" y="5227272"/>
              <a:ext cx="312929" cy="128650"/>
            </a:xfrm>
            <a:prstGeom prst="rightArrow">
              <a:avLst/>
            </a:prstGeom>
            <a:solidFill>
              <a:schemeClr val="tx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US" sz="1200" b="1">
                <a:solidFill>
                  <a:schemeClr val="bg1"/>
                </a:solidFill>
              </a:endParaRPr>
            </a:p>
          </p:txBody>
        </p:sp>
        <p:sp>
          <p:nvSpPr>
            <p:cNvPr id="98" name="Flowchart: Alternate Process 97">
              <a:extLst>
                <a:ext uri="{FF2B5EF4-FFF2-40B4-BE49-F238E27FC236}">
                  <a16:creationId xmlns:a16="http://schemas.microsoft.com/office/drawing/2014/main" id="{09049CA0-BE76-1541-2E11-2CA3C6BBB4BE}"/>
                </a:ext>
              </a:extLst>
            </p:cNvPr>
            <p:cNvSpPr/>
            <p:nvPr/>
          </p:nvSpPr>
          <p:spPr>
            <a:xfrm>
              <a:off x="5552569" y="4677086"/>
              <a:ext cx="2219674"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Clearing of local merit orders</a:t>
              </a:r>
              <a:endParaRPr lang="en-US" sz="1200">
                <a:solidFill>
                  <a:schemeClr val="tx1"/>
                </a:solidFill>
              </a:endParaRPr>
            </a:p>
          </p:txBody>
        </p:sp>
        <p:sp>
          <p:nvSpPr>
            <p:cNvPr id="100" name="Oval 99">
              <a:extLst>
                <a:ext uri="{FF2B5EF4-FFF2-40B4-BE49-F238E27FC236}">
                  <a16:creationId xmlns:a16="http://schemas.microsoft.com/office/drawing/2014/main" id="{BBBE324E-C480-0B7C-67CF-710EE2F3680F}"/>
                </a:ext>
              </a:extLst>
            </p:cNvPr>
            <p:cNvSpPr/>
            <p:nvPr/>
          </p:nvSpPr>
          <p:spPr>
            <a:xfrm>
              <a:off x="5018762" y="4540286"/>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101" name="Picture 100">
              <a:extLst>
                <a:ext uri="{FF2B5EF4-FFF2-40B4-BE49-F238E27FC236}">
                  <a16:creationId xmlns:a16="http://schemas.microsoft.com/office/drawing/2014/main" id="{488A1801-61B5-54DE-20D5-BA09A1A24E10}"/>
                </a:ext>
              </a:extLst>
            </p:cNvPr>
            <p:cNvPicPr>
              <a:picLocks noChangeAspect="1"/>
            </p:cNvPicPr>
            <p:nvPr/>
          </p:nvPicPr>
          <p:blipFill rotWithShape="1">
            <a:blip r:embed="rId6"/>
            <a:srcRect l="55180" t="22555" r="10190" b="46663"/>
            <a:stretch/>
          </p:blipFill>
          <p:spPr>
            <a:xfrm>
              <a:off x="5112060" y="4673325"/>
              <a:ext cx="533404" cy="453922"/>
            </a:xfrm>
            <a:prstGeom prst="rect">
              <a:avLst/>
            </a:prstGeom>
          </p:spPr>
        </p:pic>
        <p:sp>
          <p:nvSpPr>
            <p:cNvPr id="103" name="Flowchart: Alternate Process 102">
              <a:extLst>
                <a:ext uri="{FF2B5EF4-FFF2-40B4-BE49-F238E27FC236}">
                  <a16:creationId xmlns:a16="http://schemas.microsoft.com/office/drawing/2014/main" id="{160440BA-330C-25DD-EBD7-5F48553F8B74}"/>
                </a:ext>
              </a:extLst>
            </p:cNvPr>
            <p:cNvSpPr/>
            <p:nvPr/>
          </p:nvSpPr>
          <p:spPr>
            <a:xfrm>
              <a:off x="5545482" y="5473810"/>
              <a:ext cx="2219674"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Pay-as-bid price awarded to asset owners</a:t>
              </a:r>
              <a:endParaRPr lang="en-US" sz="1200">
                <a:solidFill>
                  <a:schemeClr val="tx1"/>
                </a:solidFill>
              </a:endParaRPr>
            </a:p>
          </p:txBody>
        </p:sp>
        <p:sp>
          <p:nvSpPr>
            <p:cNvPr id="105" name="Oval 104">
              <a:extLst>
                <a:ext uri="{FF2B5EF4-FFF2-40B4-BE49-F238E27FC236}">
                  <a16:creationId xmlns:a16="http://schemas.microsoft.com/office/drawing/2014/main" id="{BCAAAA23-F836-A4A2-1550-EC975FAFEB61}"/>
                </a:ext>
              </a:extLst>
            </p:cNvPr>
            <p:cNvSpPr/>
            <p:nvPr/>
          </p:nvSpPr>
          <p:spPr>
            <a:xfrm>
              <a:off x="5024508" y="5329810"/>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106" name="Picture 105">
              <a:extLst>
                <a:ext uri="{FF2B5EF4-FFF2-40B4-BE49-F238E27FC236}">
                  <a16:creationId xmlns:a16="http://schemas.microsoft.com/office/drawing/2014/main" id="{9DC20950-1257-6DDB-D3D8-149809803A7A}"/>
                </a:ext>
              </a:extLst>
            </p:cNvPr>
            <p:cNvPicPr>
              <a:picLocks noChangeAspect="1"/>
            </p:cNvPicPr>
            <p:nvPr/>
          </p:nvPicPr>
          <p:blipFill rotWithShape="1">
            <a:blip r:embed="rId7">
              <a:duotone>
                <a:schemeClr val="accent5">
                  <a:shade val="45000"/>
                  <a:satMod val="135000"/>
                </a:schemeClr>
                <a:prstClr val="white"/>
              </a:duotone>
            </a:blip>
            <a:srcRect l="10035" r="10507" b="20274"/>
            <a:stretch/>
          </p:blipFill>
          <p:spPr>
            <a:xfrm>
              <a:off x="5116918" y="5421317"/>
              <a:ext cx="535180" cy="536986"/>
            </a:xfrm>
            <a:prstGeom prst="rect">
              <a:avLst/>
            </a:prstGeom>
          </p:spPr>
        </p:pic>
        <p:sp>
          <p:nvSpPr>
            <p:cNvPr id="117" name="Isosceles Triangle 116">
              <a:extLst>
                <a:ext uri="{FF2B5EF4-FFF2-40B4-BE49-F238E27FC236}">
                  <a16:creationId xmlns:a16="http://schemas.microsoft.com/office/drawing/2014/main" id="{932CFE5D-0374-0721-3159-1B70CA244CEB}"/>
                </a:ext>
              </a:extLst>
            </p:cNvPr>
            <p:cNvSpPr/>
            <p:nvPr/>
          </p:nvSpPr>
          <p:spPr>
            <a:xfrm rot="10800000">
              <a:off x="10460870" y="3690816"/>
              <a:ext cx="1098962" cy="187204"/>
            </a:xfrm>
            <a:prstGeom prst="triangle">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US" sz="1200">
                <a:solidFill>
                  <a:schemeClr val="tx1"/>
                </a:solidFill>
              </a:endParaRPr>
            </a:p>
          </p:txBody>
        </p:sp>
        <p:sp>
          <p:nvSpPr>
            <p:cNvPr id="81" name="Arrow: Right 70">
              <a:extLst>
                <a:ext uri="{FF2B5EF4-FFF2-40B4-BE49-F238E27FC236}">
                  <a16:creationId xmlns:a16="http://schemas.microsoft.com/office/drawing/2014/main" id="{E7931EC3-CC00-9B6D-70E6-10EDA39C64D0}"/>
                </a:ext>
              </a:extLst>
            </p:cNvPr>
            <p:cNvSpPr/>
            <p:nvPr/>
          </p:nvSpPr>
          <p:spPr>
            <a:xfrm rot="5400000">
              <a:off x="10469284" y="5227272"/>
              <a:ext cx="312929" cy="128650"/>
            </a:xfrm>
            <a:prstGeom prst="rightArrow">
              <a:avLst/>
            </a:prstGeom>
            <a:solidFill>
              <a:schemeClr val="tx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US" sz="1200" b="1">
                <a:solidFill>
                  <a:schemeClr val="bg1"/>
                </a:solidFill>
              </a:endParaRPr>
            </a:p>
          </p:txBody>
        </p:sp>
        <p:sp>
          <p:nvSpPr>
            <p:cNvPr id="83" name="Flowchart: Alternate Process 82">
              <a:extLst>
                <a:ext uri="{FF2B5EF4-FFF2-40B4-BE49-F238E27FC236}">
                  <a16:creationId xmlns:a16="http://schemas.microsoft.com/office/drawing/2014/main" id="{09049CA0-BE76-1541-2E11-2CA3C6BBB4BE}"/>
                </a:ext>
              </a:extLst>
            </p:cNvPr>
            <p:cNvSpPr/>
            <p:nvPr/>
          </p:nvSpPr>
          <p:spPr>
            <a:xfrm>
              <a:off x="9515911" y="4677086"/>
              <a:ext cx="2219674"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Clearing of local merit orders</a:t>
              </a:r>
              <a:endParaRPr lang="en-US" sz="1200">
                <a:solidFill>
                  <a:schemeClr val="tx1"/>
                </a:solidFill>
              </a:endParaRPr>
            </a:p>
          </p:txBody>
        </p:sp>
        <p:sp>
          <p:nvSpPr>
            <p:cNvPr id="94" name="Oval 93">
              <a:extLst>
                <a:ext uri="{FF2B5EF4-FFF2-40B4-BE49-F238E27FC236}">
                  <a16:creationId xmlns:a16="http://schemas.microsoft.com/office/drawing/2014/main" id="{BBBE324E-C480-0B7C-67CF-710EE2F3680F}"/>
                </a:ext>
              </a:extLst>
            </p:cNvPr>
            <p:cNvSpPr/>
            <p:nvPr/>
          </p:nvSpPr>
          <p:spPr>
            <a:xfrm>
              <a:off x="8982104" y="4540286"/>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95" name="Picture 94">
              <a:extLst>
                <a:ext uri="{FF2B5EF4-FFF2-40B4-BE49-F238E27FC236}">
                  <a16:creationId xmlns:a16="http://schemas.microsoft.com/office/drawing/2014/main" id="{488A1801-61B5-54DE-20D5-BA09A1A24E10}"/>
                </a:ext>
              </a:extLst>
            </p:cNvPr>
            <p:cNvPicPr>
              <a:picLocks noChangeAspect="1"/>
            </p:cNvPicPr>
            <p:nvPr/>
          </p:nvPicPr>
          <p:blipFill rotWithShape="1">
            <a:blip r:embed="rId6"/>
            <a:srcRect l="55180" t="22555" r="10190" b="46663"/>
            <a:stretch/>
          </p:blipFill>
          <p:spPr>
            <a:xfrm>
              <a:off x="9075402" y="4673325"/>
              <a:ext cx="533404" cy="453922"/>
            </a:xfrm>
            <a:prstGeom prst="rect">
              <a:avLst/>
            </a:prstGeom>
          </p:spPr>
        </p:pic>
        <p:sp>
          <p:nvSpPr>
            <p:cNvPr id="108" name="Flowchart: Alternate Process 107">
              <a:extLst>
                <a:ext uri="{FF2B5EF4-FFF2-40B4-BE49-F238E27FC236}">
                  <a16:creationId xmlns:a16="http://schemas.microsoft.com/office/drawing/2014/main" id="{160440BA-330C-25DD-EBD7-5F48553F8B74}"/>
                </a:ext>
              </a:extLst>
            </p:cNvPr>
            <p:cNvSpPr/>
            <p:nvPr/>
          </p:nvSpPr>
          <p:spPr>
            <a:xfrm>
              <a:off x="9508824" y="5473810"/>
              <a:ext cx="2219674" cy="432000"/>
            </a:xfrm>
            <a:prstGeom prst="flowChartAlternateProcess">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216000" tIns="72000" rIns="72000" bIns="72000" numCol="1" spcCol="0" rtlCol="0" fromWordArt="0" anchor="ctr" anchorCtr="0" forceAA="0" compatLnSpc="1">
              <a:prstTxWarp prst="textNoShape">
                <a:avLst/>
              </a:prstTxWarp>
              <a:noAutofit/>
            </a:bodyPr>
            <a:lstStyle/>
            <a:p>
              <a:pPr>
                <a:spcBef>
                  <a:spcPts val="1200"/>
                </a:spcBef>
              </a:pPr>
              <a:r>
                <a:rPr lang="en-US" sz="1200" b="1">
                  <a:solidFill>
                    <a:schemeClr val="tx1"/>
                  </a:solidFill>
                </a:rPr>
                <a:t>Pay-as-clear price awarded to asset owners</a:t>
              </a:r>
              <a:endParaRPr lang="en-US" sz="1200">
                <a:solidFill>
                  <a:schemeClr val="tx1"/>
                </a:solidFill>
              </a:endParaRPr>
            </a:p>
          </p:txBody>
        </p:sp>
        <p:sp>
          <p:nvSpPr>
            <p:cNvPr id="110" name="Oval 109">
              <a:extLst>
                <a:ext uri="{FF2B5EF4-FFF2-40B4-BE49-F238E27FC236}">
                  <a16:creationId xmlns:a16="http://schemas.microsoft.com/office/drawing/2014/main" id="{BCAAAA23-F836-A4A2-1550-EC975FAFEB61}"/>
                </a:ext>
              </a:extLst>
            </p:cNvPr>
            <p:cNvSpPr/>
            <p:nvPr/>
          </p:nvSpPr>
          <p:spPr>
            <a:xfrm>
              <a:off x="8987850" y="5329810"/>
              <a:ext cx="720000" cy="720000"/>
            </a:xfrm>
            <a:prstGeom prst="ellipse">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US" sz="1200" b="1">
                <a:solidFill>
                  <a:schemeClr val="tx1"/>
                </a:solidFill>
              </a:endParaRPr>
            </a:p>
          </p:txBody>
        </p:sp>
        <p:pic>
          <p:nvPicPr>
            <p:cNvPr id="111" name="Picture 110">
              <a:extLst>
                <a:ext uri="{FF2B5EF4-FFF2-40B4-BE49-F238E27FC236}">
                  <a16:creationId xmlns:a16="http://schemas.microsoft.com/office/drawing/2014/main" id="{9DC20950-1257-6DDB-D3D8-149809803A7A}"/>
                </a:ext>
              </a:extLst>
            </p:cNvPr>
            <p:cNvPicPr>
              <a:picLocks noChangeAspect="1"/>
            </p:cNvPicPr>
            <p:nvPr/>
          </p:nvPicPr>
          <p:blipFill rotWithShape="1">
            <a:blip r:embed="rId7">
              <a:duotone>
                <a:schemeClr val="accent5">
                  <a:shade val="45000"/>
                  <a:satMod val="135000"/>
                </a:schemeClr>
                <a:prstClr val="white"/>
              </a:duotone>
            </a:blip>
            <a:srcRect l="10035" r="10507" b="20274"/>
            <a:stretch/>
          </p:blipFill>
          <p:spPr>
            <a:xfrm>
              <a:off x="9080260" y="5421317"/>
              <a:ext cx="535180" cy="536986"/>
            </a:xfrm>
            <a:prstGeom prst="rect">
              <a:avLst/>
            </a:prstGeom>
          </p:spPr>
        </p:pic>
      </p:grpSp>
      <p:sp>
        <p:nvSpPr>
          <p:cNvPr id="18" name="Text Placeholder 2">
            <a:extLst>
              <a:ext uri="{FF2B5EF4-FFF2-40B4-BE49-F238E27FC236}">
                <a16:creationId xmlns:a16="http://schemas.microsoft.com/office/drawing/2014/main" id="{C5BE923C-6CDA-9E44-9F0B-7EE69DB26492}"/>
              </a:ext>
            </a:extLst>
          </p:cNvPr>
          <p:cNvSpPr txBox="1">
            <a:spLocks/>
          </p:cNvSpPr>
          <p:nvPr/>
        </p:nvSpPr>
        <p:spPr>
          <a:xfrm>
            <a:off x="381599" y="79401"/>
            <a:ext cx="373050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Frequency response services</a:t>
            </a:r>
          </a:p>
        </p:txBody>
      </p:sp>
      <p:sp>
        <p:nvSpPr>
          <p:cNvPr id="19" name="Oval 18">
            <a:extLst>
              <a:ext uri="{FF2B5EF4-FFF2-40B4-BE49-F238E27FC236}">
                <a16:creationId xmlns:a16="http://schemas.microsoft.com/office/drawing/2014/main" id="{C2BEEFC4-71F8-B7E5-8DD0-D7871B780E33}"/>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35" name="Oval 34">
            <a:extLst>
              <a:ext uri="{FF2B5EF4-FFF2-40B4-BE49-F238E27FC236}">
                <a16:creationId xmlns:a16="http://schemas.microsoft.com/office/drawing/2014/main" id="{07216093-8253-1288-7F14-0DD19BC9527F}"/>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121" name="Text Placeholder 2">
            <a:extLst>
              <a:ext uri="{FF2B5EF4-FFF2-40B4-BE49-F238E27FC236}">
                <a16:creationId xmlns:a16="http://schemas.microsoft.com/office/drawing/2014/main" id="{7021EE33-ECBF-6658-9F15-D85D86DB86B3}"/>
              </a:ext>
            </a:extLst>
          </p:cNvPr>
          <p:cNvSpPr txBox="1">
            <a:spLocks/>
          </p:cNvSpPr>
          <p:nvPr/>
        </p:nvSpPr>
        <p:spPr>
          <a:xfrm>
            <a:off x="381599" y="1263129"/>
            <a:ext cx="11428800"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aFRR capacity and energy auctions are based on opportunity and reservation costs, are uncoupled and treated as such in our modelling</a:t>
            </a:r>
            <a:endParaRPr lang="en-US"/>
          </a:p>
        </p:txBody>
      </p:sp>
    </p:spTree>
    <p:extLst>
      <p:ext uri="{BB962C8B-B14F-4D97-AF65-F5344CB8AC3E}">
        <p14:creationId xmlns:p14="http://schemas.microsoft.com/office/powerpoint/2010/main" val="3401644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4725D2-29AA-C71B-06A4-64BE040C29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674725D2-29AA-C71B-06A4-64BE040C29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B5D3E4E-7DC9-4FE6-AAAB-C670C914F092}"/>
              </a:ext>
            </a:extLst>
          </p:cNvPr>
          <p:cNvSpPr>
            <a:spLocks noGrp="1"/>
          </p:cNvSpPr>
          <p:nvPr>
            <p:ph type="body" sz="quarter" idx="28"/>
          </p:nvPr>
        </p:nvSpPr>
        <p:spPr>
          <a:xfrm>
            <a:off x="3814481" y="1270000"/>
            <a:ext cx="8009220" cy="4909036"/>
          </a:xfrm>
        </p:spPr>
        <p:txBody>
          <a:bodyPr vert="horz" lIns="0" tIns="0" rIns="0" bIns="0" rtlCol="0" anchor="t">
            <a:spAutoFit/>
          </a:bodyPr>
          <a:lstStyle/>
          <a:p>
            <a:pPr marL="182880" indent="-182880">
              <a:buFont typeface="Wingdings" panose="05000000000000000000" pitchFamily="2" charset="2"/>
              <a:buChar char="§"/>
            </a:pPr>
            <a:r>
              <a:rPr lang="en-GB">
                <a:ea typeface="Lato"/>
                <a:cs typeface="Lato"/>
              </a:rPr>
              <a:t>Battery Energy Storage Systems (BESS) have become an increasingly important component of the global decarbonisation drive. They are crucial to complement variable renewables generation and provide grid services, maintaining security of supply.</a:t>
            </a:r>
            <a:endParaRPr lang="en-GB"/>
          </a:p>
          <a:p>
            <a:pPr marL="182880" indent="-182880">
              <a:buFont typeface="Wingdings" panose="05000000000000000000" pitchFamily="2" charset="2"/>
              <a:buChar char="§"/>
            </a:pPr>
            <a:r>
              <a:rPr lang="en-GB"/>
              <a:t>While the industry remains nascent, Europe currently stands as a promising region for BESS investments with strong potential for capacity deployment, driven by ambitious decarbonisation targets and projected exponential growth in renewables in the coming years.</a:t>
            </a:r>
          </a:p>
          <a:p>
            <a:pPr marL="182880" indent="-182880">
              <a:buFont typeface="Wingdings" panose="05000000000000000000" pitchFamily="2" charset="2"/>
              <a:buChar char="§"/>
            </a:pPr>
            <a:r>
              <a:rPr lang="en-GB"/>
              <a:t>Aurora has a strong track record working on flexible energy markets and providing business cases for flexible technologies including batteries. This European Battery Markets Attractiveness Report provides an overview of European BESS markets and the key underlying value drivers.</a:t>
            </a:r>
          </a:p>
          <a:p>
            <a:pPr marL="182880" indent="-182880">
              <a:buFont typeface="Wingdings" panose="05000000000000000000" pitchFamily="2" charset="2"/>
              <a:buChar char="§"/>
            </a:pPr>
            <a:r>
              <a:rPr lang="en-GB"/>
              <a:t>Key highlights from the report include: </a:t>
            </a:r>
          </a:p>
          <a:p>
            <a:pPr marL="365760" lvl="1" indent="-182880">
              <a:spcBef>
                <a:spcPts val="750"/>
              </a:spcBef>
              <a:buFont typeface="Symbol" panose="05050102010706020507" pitchFamily="18" charset="2"/>
              <a:buChar char="-"/>
            </a:pPr>
            <a:r>
              <a:rPr lang="en-GB" b="1"/>
              <a:t>Wind and solar renewables capacity in Europe is expected to  </a:t>
            </a:r>
            <a:r>
              <a:rPr lang="en-GB" b="1">
                <a:highlight>
                  <a:srgbClr val="808080"/>
                </a:highlight>
              </a:rPr>
              <a:t>                            </a:t>
            </a:r>
            <a:r>
              <a:rPr lang="en-GB" b="1"/>
              <a:t>  by 2030, </a:t>
            </a:r>
            <a:r>
              <a:rPr lang="en-GB"/>
              <a:t>driving an increased need for rapid response flexibility services and other grid services, creating significant opportunities for batteries.</a:t>
            </a:r>
          </a:p>
          <a:p>
            <a:pPr marL="365760" lvl="1" indent="-182880">
              <a:spcBef>
                <a:spcPts val="750"/>
              </a:spcBef>
              <a:buFont typeface="Symbol" panose="05050102010706020507" pitchFamily="18" charset="2"/>
              <a:buChar char="-"/>
            </a:pPr>
            <a:r>
              <a:rPr lang="en-GB"/>
              <a:t>Conventional thermal generation is expected to reduce by </a:t>
            </a:r>
            <a:r>
              <a:rPr lang="en-GB">
                <a:highlight>
                  <a:srgbClr val="808080"/>
                </a:highlight>
              </a:rPr>
              <a:t>     </a:t>
            </a:r>
            <a:r>
              <a:rPr lang="en-GB"/>
              <a:t> through to 2050 including generation from coal, gas and nuclear plants, </a:t>
            </a:r>
            <a:r>
              <a:rPr lang="en-GB" sz="1200"/>
              <a:t>creating a further deficit in firm capacity and grid services.</a:t>
            </a:r>
          </a:p>
          <a:p>
            <a:pPr marL="365760" lvl="1" indent="-182880">
              <a:spcBef>
                <a:spcPts val="750"/>
              </a:spcBef>
              <a:buFont typeface="Symbol" panose="05050102010706020507" pitchFamily="18" charset="2"/>
              <a:buChar char="-"/>
            </a:pPr>
            <a:r>
              <a:rPr lang="en-GB"/>
              <a:t>Rising from </a:t>
            </a:r>
            <a:r>
              <a:rPr lang="en-GB">
                <a:highlight>
                  <a:srgbClr val="808080"/>
                </a:highlight>
              </a:rPr>
              <a:t>           </a:t>
            </a:r>
            <a:r>
              <a:rPr lang="en-GB"/>
              <a:t> GW of installed grid scale BESS capacity across Europe as of Q3 of 2023, Aurora‘s central outlook sees total capacity </a:t>
            </a:r>
            <a:r>
              <a:rPr lang="en-GB" b="1"/>
              <a:t>grow </a:t>
            </a:r>
            <a:r>
              <a:rPr lang="en-GB" b="1">
                <a:highlight>
                  <a:srgbClr val="808080"/>
                </a:highlight>
              </a:rPr>
              <a:t>               </a:t>
            </a:r>
            <a:r>
              <a:rPr lang="en-GB" b="1"/>
              <a:t> to </a:t>
            </a:r>
            <a:r>
              <a:rPr lang="en-GB" b="1">
                <a:highlight>
                  <a:srgbClr val="808080"/>
                </a:highlight>
              </a:rPr>
              <a:t>       </a:t>
            </a:r>
            <a:r>
              <a:rPr lang="en-GB" b="1"/>
              <a:t> GW by 2030 and </a:t>
            </a:r>
            <a:r>
              <a:rPr lang="en-GB" b="1">
                <a:highlight>
                  <a:srgbClr val="808080"/>
                </a:highlight>
              </a:rPr>
              <a:t>        </a:t>
            </a:r>
            <a:r>
              <a:rPr lang="en-GB" b="1"/>
              <a:t> by 2050</a:t>
            </a:r>
            <a:r>
              <a:rPr lang="en-GB"/>
              <a:t>; these new capacity additions represent a </a:t>
            </a:r>
            <a:r>
              <a:rPr lang="en-GB" b="1"/>
              <a:t>cumulative investment opportunity of </a:t>
            </a:r>
            <a:r>
              <a:rPr lang="en-GB" b="1">
                <a:highlight>
                  <a:srgbClr val="808080"/>
                </a:highlight>
              </a:rPr>
              <a:t>     </a:t>
            </a:r>
            <a:r>
              <a:rPr lang="en-GB" b="1"/>
              <a:t> bn €</a:t>
            </a:r>
            <a:r>
              <a:rPr lang="en-GB"/>
              <a:t> through to 2050, including repowering opportunities.</a:t>
            </a:r>
          </a:p>
          <a:p>
            <a:pPr marL="182880" lvl="1" indent="-182880"/>
            <a:r>
              <a:rPr kumimoji="0" lang="en-GB" sz="12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The most attractive markets for </a:t>
            </a:r>
            <a:r>
              <a:rPr kumimoji="0" lang="en-GB" sz="120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BESS</a:t>
            </a:r>
            <a:r>
              <a:rPr kumimoji="0" lang="en-GB" sz="1200" b="1"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in Europe are  </a:t>
            </a:r>
            <a:r>
              <a:rPr kumimoji="0" lang="en-GB" sz="1200" b="0" i="0" u="none" strike="noStrike" kern="1200" cap="none" spc="0" normalizeH="0" baseline="0" noProof="0">
                <a:ln>
                  <a:noFill/>
                </a:ln>
                <a:solidFill>
                  <a:srgbClr val="3C3C3B"/>
                </a:solidFill>
                <a:effectLst/>
                <a:highlight>
                  <a:srgbClr val="808080"/>
                </a:highlight>
                <a:uLnTx/>
                <a:uFillTx/>
                <a:latin typeface="Lato"/>
                <a:ea typeface="Lato" panose="020F0502020204030203" pitchFamily="34" charset="0"/>
                <a:cs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rgbClr val="3C3C3B"/>
                </a:solidFill>
                <a:effectLst/>
                <a:uLnTx/>
                <a:uFillTx/>
                <a:latin typeface="Lato"/>
                <a:ea typeface="Lato" panose="020F0502020204030203" pitchFamily="34" charset="0"/>
                <a:cs typeface="Lato" panose="020F0502020204030203" pitchFamily="34" charset="0"/>
                <a:sym typeface="Lato" panose="020F0502020204030203" pitchFamily="34" charset="0"/>
              </a:rPr>
              <a:t> </a:t>
            </a:r>
            <a:r>
              <a:rPr kumimoji="0" lang="en-GB" sz="1200" b="1" i="0" u="none" strike="noStrike" kern="1200" cap="none" spc="0" normalizeH="0" baseline="0" noProof="0">
                <a:ln>
                  <a:noFill/>
                </a:ln>
                <a:effectLst/>
                <a:uLnTx/>
                <a:uFillTx/>
                <a:latin typeface="Lato"/>
                <a:ea typeface="Lato" panose="020F0502020204030203" pitchFamily="34" charset="0"/>
                <a:cs typeface="Lato" panose="020F0502020204030203" pitchFamily="34" charset="0"/>
                <a:sym typeface="Lato" panose="020F0502020204030203" pitchFamily="34" charset="0"/>
              </a:rPr>
              <a:t>,  </a:t>
            </a:r>
            <a:r>
              <a:rPr kumimoji="0" lang="en-GB" sz="1200" b="1" i="0" u="none" strike="noStrike" kern="1200" cap="none" spc="0" normalizeH="0" baseline="0" noProof="0">
                <a:ln>
                  <a:noFill/>
                </a:ln>
                <a:effectLst/>
                <a:highlight>
                  <a:srgbClr val="808080"/>
                </a:highlight>
                <a:uLnTx/>
                <a:uFillTx/>
                <a:latin typeface="Lato"/>
                <a:ea typeface="Lato" panose="020F0502020204030203" pitchFamily="34" charset="0"/>
                <a:cs typeface="Lato" panose="020F0502020204030203" pitchFamily="34" charset="0"/>
                <a:sym typeface="Lato" panose="020F0502020204030203" pitchFamily="34" charset="0"/>
              </a:rPr>
              <a:t>            </a:t>
            </a:r>
            <a:r>
              <a:rPr kumimoji="0" lang="en-GB" sz="1200" b="1" i="0" u="none" strike="noStrike" kern="1200" cap="none" spc="0" normalizeH="0" baseline="0" noProof="0">
                <a:ln>
                  <a:noFill/>
                </a:ln>
                <a:effectLst/>
                <a:uLnTx/>
                <a:uFillTx/>
                <a:latin typeface="Lato"/>
                <a:ea typeface="Lato" panose="020F0502020204030203" pitchFamily="34" charset="0"/>
                <a:cs typeface="Lato" panose="020F0502020204030203" pitchFamily="34" charset="0"/>
                <a:sym typeface="Lato" panose="020F0502020204030203" pitchFamily="34" charset="0"/>
              </a:rPr>
              <a:t> and </a:t>
            </a:r>
            <a:r>
              <a:rPr kumimoji="0" lang="en-GB" sz="1200" b="1" i="0" u="none" strike="noStrike" kern="1200" cap="none" spc="0" normalizeH="0" baseline="0" noProof="0">
                <a:ln>
                  <a:noFill/>
                </a:ln>
                <a:effectLst/>
                <a:highlight>
                  <a:srgbClr val="808080"/>
                </a:highlight>
                <a:uLnTx/>
                <a:uFillTx/>
                <a:latin typeface="Lato"/>
                <a:ea typeface="Lato" panose="020F0502020204030203" pitchFamily="34" charset="0"/>
                <a:cs typeface="Lato" panose="020F0502020204030203" pitchFamily="34" charset="0"/>
                <a:sym typeface="Lato" panose="020F0502020204030203" pitchFamily="34" charset="0"/>
              </a:rPr>
              <a:t>            </a:t>
            </a:r>
            <a:r>
              <a:rPr kumimoji="0" lang="en-GB" sz="1200" b="1" i="0" u="none" strike="noStrike" kern="1200" cap="none" spc="0" normalizeH="0" baseline="0" noProof="0">
                <a:ln>
                  <a:noFill/>
                </a:ln>
                <a:effectLst/>
                <a:uLnTx/>
                <a:uFillTx/>
                <a:latin typeface="Lato"/>
                <a:ea typeface="Lato" panose="020F0502020204030203" pitchFamily="34" charset="0"/>
                <a:cs typeface="Lato" panose="020F0502020204030203" pitchFamily="34" charset="0"/>
                <a:sym typeface="Lato" panose="020F0502020204030203" pitchFamily="34" charset="0"/>
              </a:rPr>
              <a:t>.</a:t>
            </a:r>
            <a:endParaRPr kumimoji="0" lang="en-GB" sz="1200" b="0" i="0" u="none" strike="noStrike" kern="1200" cap="none" spc="0" normalizeH="0" baseline="0" noProof="0">
              <a:ln>
                <a:noFill/>
              </a:ln>
              <a:effectLst/>
              <a:uLnTx/>
              <a:uFillTx/>
              <a:latin typeface="Lato"/>
              <a:ea typeface="Lato" panose="020F0502020204030203" pitchFamily="34" charset="0"/>
              <a:cs typeface="Lato" panose="020F0502020204030203" pitchFamily="34" charset="0"/>
              <a:sym typeface="Lato" panose="020F0502020204030203" pitchFamily="34" charset="0"/>
            </a:endParaRPr>
          </a:p>
          <a:p>
            <a:pPr marL="182880" lvl="1" indent="-182880"/>
            <a:r>
              <a:rPr lang="en-GB">
                <a:highlight>
                  <a:srgbClr val="808080"/>
                </a:highlight>
              </a:rPr>
              <a:t>                      </a:t>
            </a:r>
            <a:r>
              <a:rPr lang="en-GB"/>
              <a:t> robust installed capacity and projected growth (over </a:t>
            </a:r>
            <a:r>
              <a:rPr lang="en-GB">
                <a:highlight>
                  <a:srgbClr val="808080"/>
                </a:highlight>
              </a:rPr>
              <a:t>    </a:t>
            </a:r>
            <a:r>
              <a:rPr lang="en-GB"/>
              <a:t>GW and  </a:t>
            </a:r>
            <a:r>
              <a:rPr lang="en-GB">
                <a:highlight>
                  <a:srgbClr val="808080"/>
                </a:highlight>
              </a:rPr>
              <a:t>     </a:t>
            </a:r>
            <a:r>
              <a:rPr lang="en-GB"/>
              <a:t>GW</a:t>
            </a:r>
            <a:r>
              <a:rPr lang="en-GB" baseline="30000"/>
              <a:t>1</a:t>
            </a:r>
            <a:r>
              <a:rPr lang="en-GB"/>
              <a:t> respectively), supported by favourable revenue streams, make it the most attractive market in Europe. </a:t>
            </a:r>
            <a:r>
              <a:rPr lang="en-GB">
                <a:highlight>
                  <a:srgbClr val="808080"/>
                </a:highlight>
              </a:rPr>
              <a:t>          </a:t>
            </a:r>
            <a:r>
              <a:rPr lang="en-GB"/>
              <a:t> ambitious target of </a:t>
            </a:r>
            <a:r>
              <a:rPr lang="en-GB">
                <a:highlight>
                  <a:srgbClr val="808080"/>
                </a:highlight>
              </a:rPr>
              <a:t>     </a:t>
            </a:r>
            <a:r>
              <a:rPr lang="en-GB"/>
              <a:t> GW battery capacity by 2030 with the opening of its ancillary markets to BESS, plus </a:t>
            </a:r>
            <a:r>
              <a:rPr lang="en-GB">
                <a:highlight>
                  <a:srgbClr val="808080"/>
                </a:highlight>
              </a:rPr>
              <a:t>           </a:t>
            </a:r>
            <a:r>
              <a:rPr lang="en-GB"/>
              <a:t>  strong revenue potential with the extension of lucrative </a:t>
            </a:r>
            <a:r>
              <a:rPr lang="en-GB">
                <a:highlight>
                  <a:srgbClr val="808080"/>
                </a:highlight>
              </a:rPr>
              <a:t>      </a:t>
            </a:r>
            <a:r>
              <a:rPr lang="en-GB"/>
              <a:t> tariffs, also make them attractive markets to explore.</a:t>
            </a:r>
            <a:endParaRPr lang="en-GB" b="1"/>
          </a:p>
        </p:txBody>
      </p:sp>
      <p:sp>
        <p:nvSpPr>
          <p:cNvPr id="4" name="Text Placeholder 3">
            <a:extLst>
              <a:ext uri="{FF2B5EF4-FFF2-40B4-BE49-F238E27FC236}">
                <a16:creationId xmlns:a16="http://schemas.microsoft.com/office/drawing/2014/main" id="{5B366331-8923-4917-86EF-A81F8759F996}"/>
              </a:ext>
            </a:extLst>
          </p:cNvPr>
          <p:cNvSpPr>
            <a:spLocks noGrp="1"/>
          </p:cNvSpPr>
          <p:nvPr>
            <p:ph type="body" sz="quarter" idx="22"/>
          </p:nvPr>
        </p:nvSpPr>
        <p:spPr>
          <a:xfrm>
            <a:off x="3814481" y="6715169"/>
            <a:ext cx="1452321" cy="110800"/>
          </a:xfrm>
        </p:spPr>
        <p:txBody>
          <a:bodyPr/>
          <a:lstStyle/>
          <a:p>
            <a:r>
              <a:rPr lang="en-GB"/>
              <a:t>Source: Aurora Energy Research</a:t>
            </a:r>
          </a:p>
        </p:txBody>
      </p:sp>
      <p:sp>
        <p:nvSpPr>
          <p:cNvPr id="6" name="Text Placeholder 5">
            <a:extLst>
              <a:ext uri="{FF2B5EF4-FFF2-40B4-BE49-F238E27FC236}">
                <a16:creationId xmlns:a16="http://schemas.microsoft.com/office/drawing/2014/main" id="{CE47E8C5-16D4-4575-8A40-1E725AF83CDD}"/>
              </a:ext>
            </a:extLst>
          </p:cNvPr>
          <p:cNvSpPr>
            <a:spLocks noGrp="1"/>
          </p:cNvSpPr>
          <p:nvPr>
            <p:ph type="body" sz="quarter" idx="31"/>
          </p:nvPr>
        </p:nvSpPr>
        <p:spPr>
          <a:xfrm>
            <a:off x="3814481" y="79401"/>
            <a:ext cx="1561646" cy="184666"/>
          </a:xfrm>
        </p:spPr>
        <p:txBody>
          <a:bodyPr/>
          <a:lstStyle/>
          <a:p>
            <a:r>
              <a:rPr lang="en-GB"/>
              <a:t>	Executive Summary</a:t>
            </a:r>
          </a:p>
        </p:txBody>
      </p:sp>
      <p:sp>
        <p:nvSpPr>
          <p:cNvPr id="11" name="TextBox 10">
            <a:extLst>
              <a:ext uri="{FF2B5EF4-FFF2-40B4-BE49-F238E27FC236}">
                <a16:creationId xmlns:a16="http://schemas.microsoft.com/office/drawing/2014/main" id="{05E0C0A0-CF7C-E301-2DA1-73FDAEC192FB}"/>
              </a:ext>
            </a:extLst>
          </p:cNvPr>
          <p:cNvSpPr txBox="1"/>
          <p:nvPr/>
        </p:nvSpPr>
        <p:spPr>
          <a:xfrm>
            <a:off x="292097" y="4570908"/>
            <a:ext cx="3250346" cy="1486992"/>
          </a:xfrm>
          <a:prstGeom prst="rect">
            <a:avLst/>
          </a:prstGeom>
          <a:noFill/>
          <a:ln>
            <a:solidFill>
              <a:schemeClr val="tx1"/>
            </a:solidFill>
          </a:ln>
        </p:spPr>
        <p:txBody>
          <a:bodyPr wrap="square" lIns="72000" tIns="72000" rIns="72000" bIns="72000" rtlCol="0">
            <a:spAutoFit/>
          </a:bodyPr>
          <a:lstStyle/>
          <a:p>
            <a:pPr algn="ctr">
              <a:lnSpc>
                <a:spcPct val="105000"/>
              </a:lnSpc>
              <a:spcAft>
                <a:spcPts val="800"/>
              </a:spcAft>
            </a:pPr>
            <a:r>
              <a:rPr lang="en-GB" sz="1200" i="1">
                <a:solidFill>
                  <a:schemeClr val="bg1">
                    <a:lumMod val="50000"/>
                  </a:schemeClr>
                </a:solidFill>
                <a:effectLst/>
                <a:ea typeface="Calibri" panose="020F0502020204030204" pitchFamily="34" charset="0"/>
              </a:rPr>
              <a:t>*The information in this report draws on Aurora’s Flexible energy market subscriptions to provide you with an overview of European battery markets. For a deep dive into country specific markets, view our </a:t>
            </a:r>
            <a:r>
              <a:rPr lang="en-GB" sz="1200" i="1" u="sng">
                <a:solidFill>
                  <a:schemeClr val="bg1">
                    <a:lumMod val="50000"/>
                  </a:schemeClr>
                </a:solidFill>
                <a:effectLst/>
                <a:ea typeface="Calibri" panose="020F0502020204030204" pitchFamily="34" charset="0"/>
                <a:hlinkClick r:id="rId7">
                  <a:extLst>
                    <a:ext uri="{A12FA001-AC4F-418D-AE19-62706E023703}">
                      <ahyp:hlinkClr xmlns:ahyp="http://schemas.microsoft.com/office/drawing/2018/hyperlinkcolor" val="tx"/>
                    </a:ext>
                  </a:extLst>
                </a:hlinkClick>
              </a:rPr>
              <a:t>subscription services</a:t>
            </a:r>
            <a:r>
              <a:rPr lang="en-GB" sz="1200" i="1">
                <a:solidFill>
                  <a:schemeClr val="bg1">
                    <a:lumMod val="50000"/>
                  </a:schemeClr>
                </a:solidFill>
                <a:effectLst/>
                <a:ea typeface="Calibri" panose="020F0502020204030204" pitchFamily="34" charset="0"/>
              </a:rPr>
              <a:t>, or contact Alex Hutcheson (</a:t>
            </a:r>
            <a:r>
              <a:rPr lang="en-GB" sz="1200" i="1" u="sng">
                <a:solidFill>
                  <a:schemeClr val="bg1">
                    <a:lumMod val="50000"/>
                  </a:schemeClr>
                </a:solidFill>
                <a:effectLst/>
                <a:ea typeface="Calibri" panose="020F0502020204030204" pitchFamily="34" charset="0"/>
              </a:rPr>
              <a:t>alex</a:t>
            </a:r>
            <a:r>
              <a:rPr lang="en-GB" sz="1200" i="1" u="sng">
                <a:solidFill>
                  <a:schemeClr val="bg1">
                    <a:lumMod val="50000"/>
                  </a:schemeClr>
                </a:solidFill>
                <a:effectLst/>
                <a:ea typeface="Calibri" panose="020F0502020204030204" pitchFamily="34" charset="0"/>
                <a:hlinkClick r:id="rId8">
                  <a:extLst>
                    <a:ext uri="{A12FA001-AC4F-418D-AE19-62706E023703}">
                      <ahyp:hlinkClr xmlns:ahyp="http://schemas.microsoft.com/office/drawing/2018/hyperlinkcolor" val="tx"/>
                    </a:ext>
                  </a:extLst>
                </a:hlinkClick>
              </a:rPr>
              <a:t>.</a:t>
            </a:r>
            <a:r>
              <a:rPr lang="en-GB" sz="1200" i="1">
                <a:solidFill>
                  <a:schemeClr val="bg1">
                    <a:lumMod val="50000"/>
                  </a:schemeClr>
                </a:solidFill>
                <a:effectLst/>
                <a:ea typeface="Calibri" panose="020F0502020204030204" pitchFamily="34" charset="0"/>
                <a:hlinkClick r:id="rId8">
                  <a:extLst>
                    <a:ext uri="{A12FA001-AC4F-418D-AE19-62706E023703}">
                      <ahyp:hlinkClr xmlns:ahyp="http://schemas.microsoft.com/office/drawing/2018/hyperlinkcolor" val="tx"/>
                    </a:ext>
                  </a:extLst>
                </a:hlinkClick>
              </a:rPr>
              <a:t>hutcheson@auroraer.com</a:t>
            </a:r>
            <a:r>
              <a:rPr lang="en-GB" sz="1200" i="1">
                <a:solidFill>
                  <a:schemeClr val="bg1">
                    <a:lumMod val="50000"/>
                  </a:schemeClr>
                </a:solidFill>
                <a:effectLst/>
                <a:ea typeface="Calibri" panose="020F0502020204030204" pitchFamily="34" charset="0"/>
              </a:rPr>
              <a:t>) about finding a solution relevant to your needs.  </a:t>
            </a:r>
          </a:p>
        </p:txBody>
      </p:sp>
      <p:sp>
        <p:nvSpPr>
          <p:cNvPr id="7" name="Oval 6">
            <a:extLst>
              <a:ext uri="{FF2B5EF4-FFF2-40B4-BE49-F238E27FC236}">
                <a16:creationId xmlns:a16="http://schemas.microsoft.com/office/drawing/2014/main" id="{0BC58E50-522D-428B-9F05-49819E4DF99C}"/>
              </a:ext>
            </a:extLst>
          </p:cNvPr>
          <p:cNvSpPr/>
          <p:nvPr/>
        </p:nvSpPr>
        <p:spPr>
          <a:xfrm>
            <a:off x="3814481"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
        <p:nvSpPr>
          <p:cNvPr id="5" name="Text Placeholder 15">
            <a:extLst>
              <a:ext uri="{FF2B5EF4-FFF2-40B4-BE49-F238E27FC236}">
                <a16:creationId xmlns:a16="http://schemas.microsoft.com/office/drawing/2014/main" id="{CE86F024-CEEC-B0B4-1E2D-AB2109678AB6}"/>
              </a:ext>
            </a:extLst>
          </p:cNvPr>
          <p:cNvSpPr txBox="1">
            <a:spLocks/>
          </p:cNvSpPr>
          <p:nvPr/>
        </p:nvSpPr>
        <p:spPr>
          <a:xfrm>
            <a:off x="3814480" y="6490002"/>
            <a:ext cx="7995919" cy="110800"/>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8" name="Rectangle 7">
            <a:extLst>
              <a:ext uri="{FF2B5EF4-FFF2-40B4-BE49-F238E27FC236}">
                <a16:creationId xmlns:a16="http://schemas.microsoft.com/office/drawing/2014/main" id="{4BCFDBAE-0B15-D56C-27B2-EE3C170225FB}"/>
              </a:ext>
            </a:extLst>
          </p:cNvPr>
          <p:cNvSpPr/>
          <p:nvPr/>
        </p:nvSpPr>
        <p:spPr>
          <a:xfrm>
            <a:off x="3994975" y="873611"/>
            <a:ext cx="7904928" cy="5305425"/>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407838508"/>
      </p:ext>
    </p:extLst>
  </p:cSld>
  <p:clrMapOvr>
    <a:masterClrMapping/>
  </p:clrMapOvr>
  <p:extLst>
    <p:ext uri="{6950BFC3-D8DA-4A85-94F7-54DA5524770B}">
      <p188:commentRel xmlns:p188="http://schemas.microsoft.com/office/powerpoint/2018/8/main" r:id="rId4"/>
    </p:ext>
  </p:extLs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0A5EAE75-8FF4-CECA-1925-4800CF4B5654}"/>
              </a:ext>
            </a:extLst>
          </p:cNvPr>
          <p:cNvGraphicFramePr>
            <a:graphicFrameLocks noChangeAspect="1"/>
          </p:cNvGraphicFramePr>
          <p:nvPr>
            <p:custDataLst>
              <p:tags r:id="rId1"/>
            </p:custDataLst>
            <p:extLst>
              <p:ext uri="{D42A27DB-BD31-4B8C-83A1-F6EECF244321}">
                <p14:modId xmlns:p14="http://schemas.microsoft.com/office/powerpoint/2010/main" val="3411572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95" imgH="396" progId="TCLayout.ActiveDocument.1">
                  <p:embed/>
                </p:oleObj>
              </mc:Choice>
              <mc:Fallback>
                <p:oleObj name="think-cell Slide" r:id="rId51" imgW="395" imgH="396" progId="TCLayout.ActiveDocument.1">
                  <p:embed/>
                  <p:pic>
                    <p:nvPicPr>
                      <p:cNvPr id="31" name="Object 30" hidden="1">
                        <a:extLst>
                          <a:ext uri="{FF2B5EF4-FFF2-40B4-BE49-F238E27FC236}">
                            <a16:creationId xmlns:a16="http://schemas.microsoft.com/office/drawing/2014/main" id="{0A5EAE75-8FF4-CECA-1925-4800CF4B5654}"/>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graphicFrame>
        <p:nvGraphicFramePr>
          <p:cNvPr id="49" name="Tabelle 7">
            <a:extLst>
              <a:ext uri="{FF2B5EF4-FFF2-40B4-BE49-F238E27FC236}">
                <a16:creationId xmlns:a16="http://schemas.microsoft.com/office/drawing/2014/main" id="{C5BA8C7A-BCB1-D80F-4BC4-0A133090BFD0}"/>
              </a:ext>
            </a:extLst>
          </p:cNvPr>
          <p:cNvGraphicFramePr>
            <a:graphicFrameLocks noGrp="1"/>
          </p:cNvGraphicFramePr>
          <p:nvPr>
            <p:custDataLst>
              <p:tags r:id="rId2"/>
            </p:custDataLst>
            <p:extLst>
              <p:ext uri="{D42A27DB-BD31-4B8C-83A1-F6EECF244321}">
                <p14:modId xmlns:p14="http://schemas.microsoft.com/office/powerpoint/2010/main" val="469801888"/>
              </p:ext>
            </p:extLst>
          </p:nvPr>
        </p:nvGraphicFramePr>
        <p:xfrm>
          <a:off x="381597" y="1198800"/>
          <a:ext cx="11466528" cy="5220000"/>
        </p:xfrm>
        <a:graphic>
          <a:graphicData uri="http://schemas.openxmlformats.org/drawingml/2006/table">
            <a:tbl>
              <a:tblPr firstRow="1" bandRow="1">
                <a:effectLst/>
                <a:tableStyleId>{5C22544A-7EE6-4342-B048-85BDC9FD1C3A}</a:tableStyleId>
              </a:tblPr>
              <a:tblGrid>
                <a:gridCol w="1228128">
                  <a:extLst>
                    <a:ext uri="{9D8B030D-6E8A-4147-A177-3AD203B41FA5}">
                      <a16:colId xmlns:a16="http://schemas.microsoft.com/office/drawing/2014/main" val="20000"/>
                    </a:ext>
                  </a:extLst>
                </a:gridCol>
                <a:gridCol w="122400">
                  <a:extLst>
                    <a:ext uri="{9D8B030D-6E8A-4147-A177-3AD203B41FA5}">
                      <a16:colId xmlns:a16="http://schemas.microsoft.com/office/drawing/2014/main" val="2133620686"/>
                    </a:ext>
                  </a:extLst>
                </a:gridCol>
                <a:gridCol w="4644000">
                  <a:extLst>
                    <a:ext uri="{9D8B030D-6E8A-4147-A177-3AD203B41FA5}">
                      <a16:colId xmlns:a16="http://schemas.microsoft.com/office/drawing/2014/main" val="20001"/>
                    </a:ext>
                  </a:extLst>
                </a:gridCol>
                <a:gridCol w="5472000">
                  <a:extLst>
                    <a:ext uri="{9D8B030D-6E8A-4147-A177-3AD203B41FA5}">
                      <a16:colId xmlns:a16="http://schemas.microsoft.com/office/drawing/2014/main" val="20002"/>
                    </a:ext>
                  </a:extLst>
                </a:gridCol>
              </a:tblGrid>
              <a:tr h="360000">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reservation price of selected services, </a:t>
                      </a:r>
                      <a:r>
                        <a:rPr lang="en-GB" sz="1200" b="0" i="0" noProof="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W/h (real 2022)</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ents</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088000">
                <a:tc>
                  <a:txBody>
                    <a:bodyPr/>
                    <a:lstStyle/>
                    <a:p>
                      <a:pPr lvl="0"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 X</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4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lang="en-GB" sz="1200" kern="1200">
                        <a:solidFill>
                          <a:schemeClr val="dk1"/>
                        </a:solidFill>
                        <a:effectLs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72000">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 Y</a:t>
                      </a:r>
                    </a:p>
                  </a:txBody>
                  <a:tcPr marL="36000" marR="36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mn-lt"/>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 name="Text Placeholder 1">
            <a:extLst>
              <a:ext uri="{FF2B5EF4-FFF2-40B4-BE49-F238E27FC236}">
                <a16:creationId xmlns:a16="http://schemas.microsoft.com/office/drawing/2014/main" id="{B0DBA6CB-975A-9931-C3A7-117CF0CE65A6}"/>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3" name="Title 2">
            <a:extLst>
              <a:ext uri="{FF2B5EF4-FFF2-40B4-BE49-F238E27FC236}">
                <a16:creationId xmlns:a16="http://schemas.microsoft.com/office/drawing/2014/main" id="{11BD282E-265D-5036-8D45-68854E2FC128}"/>
              </a:ext>
            </a:extLst>
          </p:cNvPr>
          <p:cNvSpPr>
            <a:spLocks noGrp="1"/>
          </p:cNvSpPr>
          <p:nvPr>
            <p:ph type="title"/>
          </p:nvPr>
        </p:nvSpPr>
        <p:spPr>
          <a:xfrm>
            <a:off x="381599" y="411856"/>
            <a:ext cx="8886226" cy="609398"/>
          </a:xfrm>
        </p:spPr>
        <p:txBody>
          <a:bodyPr vert="horz"/>
          <a:lstStyle/>
          <a:p>
            <a:r>
              <a:rPr lang="en-GB"/>
              <a:t>The increasing penetration of flexible assets and the decrease in hydro power revenues pull down frequency response services prices (1/4)</a:t>
            </a:r>
          </a:p>
        </p:txBody>
      </p:sp>
      <p:graphicFrame>
        <p:nvGraphicFramePr>
          <p:cNvPr id="68" name="Chart 67">
            <a:extLst>
              <a:ext uri="{FF2B5EF4-FFF2-40B4-BE49-F238E27FC236}">
                <a16:creationId xmlns:a16="http://schemas.microsoft.com/office/drawing/2014/main" id="{AD9A0583-FBDC-EA47-2420-49279485D653}"/>
              </a:ext>
            </a:extLst>
          </p:cNvPr>
          <p:cNvGraphicFramePr/>
          <p:nvPr>
            <p:custDataLst>
              <p:tags r:id="rId3"/>
            </p:custDataLst>
            <p:extLst>
              <p:ext uri="{D42A27DB-BD31-4B8C-83A1-F6EECF244321}">
                <p14:modId xmlns:p14="http://schemas.microsoft.com/office/powerpoint/2010/main" val="915437305"/>
              </p:ext>
            </p:extLst>
          </p:nvPr>
        </p:nvGraphicFramePr>
        <p:xfrm>
          <a:off x="2070100" y="2008188"/>
          <a:ext cx="3756025" cy="1068387"/>
        </p:xfrm>
        <a:graphic>
          <a:graphicData uri="http://schemas.openxmlformats.org/drawingml/2006/chart">
            <c:chart xmlns:c="http://schemas.openxmlformats.org/drawingml/2006/chart" xmlns:r="http://schemas.openxmlformats.org/officeDocument/2006/relationships" r:id="rId53"/>
          </a:graphicData>
        </a:graphic>
      </p:graphicFrame>
      <p:cxnSp>
        <p:nvCxnSpPr>
          <p:cNvPr id="59" name="Straight Connector 58">
            <a:extLst>
              <a:ext uri="{FF2B5EF4-FFF2-40B4-BE49-F238E27FC236}">
                <a16:creationId xmlns:a16="http://schemas.microsoft.com/office/drawing/2014/main" id="{F2327431-A461-6C2D-BC29-8188F157D3FC}"/>
              </a:ext>
            </a:extLst>
          </p:cNvPr>
          <p:cNvCxnSpPr/>
          <p:nvPr>
            <p:custDataLst>
              <p:tags r:id="rId4"/>
            </p:custDataLst>
          </p:nvPr>
        </p:nvCxnSpPr>
        <p:spPr bwMode="gray">
          <a:xfrm flipV="1">
            <a:off x="2451100" y="2513013"/>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AE5FFC5-FE2A-4B5E-84BD-9FF94AD2783E}"/>
              </a:ext>
            </a:extLst>
          </p:cNvPr>
          <p:cNvCxnSpPr/>
          <p:nvPr>
            <p:custDataLst>
              <p:tags r:id="rId5"/>
            </p:custDataLst>
          </p:nvPr>
        </p:nvCxnSpPr>
        <p:spPr bwMode="gray">
          <a:xfrm>
            <a:off x="2451100" y="2513013"/>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F614D2FB-5BD9-2890-2409-6447343B983F}"/>
              </a:ext>
            </a:extLst>
          </p:cNvPr>
          <p:cNvCxnSpPr/>
          <p:nvPr>
            <p:custDataLst>
              <p:tags r:id="rId6"/>
            </p:custDataLst>
          </p:nvPr>
        </p:nvCxnSpPr>
        <p:spPr bwMode="gray">
          <a:xfrm>
            <a:off x="3049588" y="2513013"/>
            <a:ext cx="0" cy="2587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A11D0B6F-6489-97B0-05F8-492E51FDC9AD}"/>
              </a:ext>
            </a:extLst>
          </p:cNvPr>
          <p:cNvCxnSpPr>
            <a:cxnSpLocks/>
          </p:cNvCxnSpPr>
          <p:nvPr>
            <p:custDataLst>
              <p:tags r:id="rId7"/>
            </p:custDataLst>
          </p:nvPr>
        </p:nvCxnSpPr>
        <p:spPr bwMode="gray">
          <a:xfrm flipV="1">
            <a:off x="3648075" y="2516188"/>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3" name="Straight Connector 1092">
            <a:extLst>
              <a:ext uri="{FF2B5EF4-FFF2-40B4-BE49-F238E27FC236}">
                <a16:creationId xmlns:a16="http://schemas.microsoft.com/office/drawing/2014/main" id="{BB2D1EBA-8BC1-4F8A-ECB5-F93D4F973DA9}"/>
              </a:ext>
            </a:extLst>
          </p:cNvPr>
          <p:cNvCxnSpPr/>
          <p:nvPr>
            <p:custDataLst>
              <p:tags r:id="rId8"/>
            </p:custDataLst>
          </p:nvPr>
        </p:nvCxnSpPr>
        <p:spPr bwMode="gray">
          <a:xfrm>
            <a:off x="3648075" y="2516188"/>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4" name="Straight Connector 1093">
            <a:extLst>
              <a:ext uri="{FF2B5EF4-FFF2-40B4-BE49-F238E27FC236}">
                <a16:creationId xmlns:a16="http://schemas.microsoft.com/office/drawing/2014/main" id="{7D8B83AE-B0AF-235A-2C7A-01630E07B863}"/>
              </a:ext>
            </a:extLst>
          </p:cNvPr>
          <p:cNvCxnSpPr/>
          <p:nvPr>
            <p:custDataLst>
              <p:tags r:id="rId9"/>
            </p:custDataLst>
          </p:nvPr>
        </p:nvCxnSpPr>
        <p:spPr bwMode="gray">
          <a:xfrm>
            <a:off x="4246563" y="2516188"/>
            <a:ext cx="0" cy="2524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88" name="Straight Connector 1087">
            <a:extLst>
              <a:ext uri="{FF2B5EF4-FFF2-40B4-BE49-F238E27FC236}">
                <a16:creationId xmlns:a16="http://schemas.microsoft.com/office/drawing/2014/main" id="{8CADD732-CDBB-66CF-D3E5-B73013A487D1}"/>
              </a:ext>
            </a:extLst>
          </p:cNvPr>
          <p:cNvCxnSpPr/>
          <p:nvPr>
            <p:custDataLst>
              <p:tags r:id="rId10"/>
            </p:custDataLst>
          </p:nvPr>
        </p:nvCxnSpPr>
        <p:spPr bwMode="gray">
          <a:xfrm flipV="1">
            <a:off x="4845050" y="2519363"/>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9" name="Straight Connector 1088">
            <a:extLst>
              <a:ext uri="{FF2B5EF4-FFF2-40B4-BE49-F238E27FC236}">
                <a16:creationId xmlns:a16="http://schemas.microsoft.com/office/drawing/2014/main" id="{E6C6E2E7-75FB-E1E2-B47B-637D5C04221E}"/>
              </a:ext>
            </a:extLst>
          </p:cNvPr>
          <p:cNvCxnSpPr/>
          <p:nvPr>
            <p:custDataLst>
              <p:tags r:id="rId11"/>
            </p:custDataLst>
          </p:nvPr>
        </p:nvCxnSpPr>
        <p:spPr bwMode="gray">
          <a:xfrm>
            <a:off x="4845050" y="2519363"/>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0" name="Straight Connector 1089">
            <a:extLst>
              <a:ext uri="{FF2B5EF4-FFF2-40B4-BE49-F238E27FC236}">
                <a16:creationId xmlns:a16="http://schemas.microsoft.com/office/drawing/2014/main" id="{D948C6C9-6472-5CE9-72BB-F5882BD295A6}"/>
              </a:ext>
            </a:extLst>
          </p:cNvPr>
          <p:cNvCxnSpPr/>
          <p:nvPr>
            <p:custDataLst>
              <p:tags r:id="rId12"/>
            </p:custDataLst>
          </p:nvPr>
        </p:nvCxnSpPr>
        <p:spPr bwMode="gray">
          <a:xfrm>
            <a:off x="5443538" y="2519363"/>
            <a:ext cx="0" cy="2524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1" name="Text Placeholder 19">
            <a:extLst>
              <a:ext uri="{FF2B5EF4-FFF2-40B4-BE49-F238E27FC236}">
                <a16:creationId xmlns:a16="http://schemas.microsoft.com/office/drawing/2014/main" id="{0055C306-CFC1-2A36-2B8A-0AE6745601B0}"/>
              </a:ext>
            </a:extLst>
          </p:cNvPr>
          <p:cNvSpPr>
            <a:spLocks noGrp="1"/>
          </p:cNvSpPr>
          <p:nvPr>
            <p:custDataLst>
              <p:tags r:id="rId13"/>
            </p:custDataLst>
          </p:nvPr>
        </p:nvSpPr>
        <p:spPr bwMode="auto">
          <a:xfrm>
            <a:off x="2517775" y="2384425"/>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72" name="Text Placeholder 19">
            <a:extLst>
              <a:ext uri="{FF2B5EF4-FFF2-40B4-BE49-F238E27FC236}">
                <a16:creationId xmlns:a16="http://schemas.microsoft.com/office/drawing/2014/main" id="{21EC420C-C357-BB7B-974E-BEB35CA440D9}"/>
              </a:ext>
            </a:extLst>
          </p:cNvPr>
          <p:cNvSpPr>
            <a:spLocks noGrp="1"/>
          </p:cNvSpPr>
          <p:nvPr>
            <p:custDataLst>
              <p:tags r:id="rId14"/>
            </p:custDataLst>
          </p:nvPr>
        </p:nvSpPr>
        <p:spPr bwMode="auto">
          <a:xfrm>
            <a:off x="3714749" y="2387600"/>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b="1">
                <a:ea typeface="+mn-ea"/>
                <a:cs typeface="+mn-cs"/>
              </a:rPr>
              <a:t>XX%</a:t>
            </a:r>
          </a:p>
        </p:txBody>
      </p:sp>
      <p:sp>
        <p:nvSpPr>
          <p:cNvPr id="1087" name="Text Placeholder 19">
            <a:extLst>
              <a:ext uri="{FF2B5EF4-FFF2-40B4-BE49-F238E27FC236}">
                <a16:creationId xmlns:a16="http://schemas.microsoft.com/office/drawing/2014/main" id="{9F9869AF-B0F6-4E89-B216-4EC18C7334C2}"/>
              </a:ext>
            </a:extLst>
          </p:cNvPr>
          <p:cNvSpPr>
            <a:spLocks noGrp="1"/>
          </p:cNvSpPr>
          <p:nvPr>
            <p:custDataLst>
              <p:tags r:id="rId15"/>
            </p:custDataLst>
          </p:nvPr>
        </p:nvSpPr>
        <p:spPr bwMode="auto">
          <a:xfrm>
            <a:off x="4911725" y="2390775"/>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graphicFrame>
        <p:nvGraphicFramePr>
          <p:cNvPr id="90" name="Chart 89">
            <a:extLst>
              <a:ext uri="{FF2B5EF4-FFF2-40B4-BE49-F238E27FC236}">
                <a16:creationId xmlns:a16="http://schemas.microsoft.com/office/drawing/2014/main" id="{C7AC6FAE-E0E4-865A-0B9A-4362D170917C}"/>
              </a:ext>
            </a:extLst>
          </p:cNvPr>
          <p:cNvGraphicFramePr/>
          <p:nvPr>
            <p:custDataLst>
              <p:tags r:id="rId16"/>
            </p:custDataLst>
            <p:extLst>
              <p:ext uri="{D42A27DB-BD31-4B8C-83A1-F6EECF244321}">
                <p14:modId xmlns:p14="http://schemas.microsoft.com/office/powerpoint/2010/main" val="1469886333"/>
              </p:ext>
            </p:extLst>
          </p:nvPr>
        </p:nvGraphicFramePr>
        <p:xfrm>
          <a:off x="2070100" y="5057775"/>
          <a:ext cx="3756025" cy="1001713"/>
        </p:xfrm>
        <a:graphic>
          <a:graphicData uri="http://schemas.openxmlformats.org/drawingml/2006/chart">
            <c:chart xmlns:c="http://schemas.openxmlformats.org/drawingml/2006/chart" xmlns:r="http://schemas.openxmlformats.org/officeDocument/2006/relationships" r:id="rId54"/>
          </a:graphicData>
        </a:graphic>
      </p:graphicFrame>
      <p:cxnSp>
        <p:nvCxnSpPr>
          <p:cNvPr id="1197" name="Straight Connector 1196">
            <a:extLst>
              <a:ext uri="{FF2B5EF4-FFF2-40B4-BE49-F238E27FC236}">
                <a16:creationId xmlns:a16="http://schemas.microsoft.com/office/drawing/2014/main" id="{1979879E-1495-D057-9190-B7EE40763A0E}"/>
              </a:ext>
            </a:extLst>
          </p:cNvPr>
          <p:cNvCxnSpPr/>
          <p:nvPr>
            <p:custDataLst>
              <p:tags r:id="rId17"/>
            </p:custDataLst>
          </p:nvPr>
        </p:nvCxnSpPr>
        <p:spPr bwMode="gray">
          <a:xfrm flipV="1">
            <a:off x="2451100" y="5140325"/>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8" name="Straight Connector 1197">
            <a:extLst>
              <a:ext uri="{FF2B5EF4-FFF2-40B4-BE49-F238E27FC236}">
                <a16:creationId xmlns:a16="http://schemas.microsoft.com/office/drawing/2014/main" id="{10B4C3A4-2C02-72E4-74EF-BEF597980A6A}"/>
              </a:ext>
            </a:extLst>
          </p:cNvPr>
          <p:cNvCxnSpPr/>
          <p:nvPr>
            <p:custDataLst>
              <p:tags r:id="rId18"/>
            </p:custDataLst>
          </p:nvPr>
        </p:nvCxnSpPr>
        <p:spPr bwMode="gray">
          <a:xfrm>
            <a:off x="2451100" y="5140325"/>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9" name="Straight Connector 1198">
            <a:extLst>
              <a:ext uri="{FF2B5EF4-FFF2-40B4-BE49-F238E27FC236}">
                <a16:creationId xmlns:a16="http://schemas.microsoft.com/office/drawing/2014/main" id="{E8BC8C76-4DE6-132E-784B-B4E43C598DE2}"/>
              </a:ext>
            </a:extLst>
          </p:cNvPr>
          <p:cNvCxnSpPr/>
          <p:nvPr>
            <p:custDataLst>
              <p:tags r:id="rId19"/>
            </p:custDataLst>
          </p:nvPr>
        </p:nvCxnSpPr>
        <p:spPr bwMode="gray">
          <a:xfrm>
            <a:off x="3049588" y="5140325"/>
            <a:ext cx="0" cy="6064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DA46F800-CADD-0297-5E41-71090815771A}"/>
              </a:ext>
            </a:extLst>
          </p:cNvPr>
          <p:cNvCxnSpPr>
            <a:cxnSpLocks/>
          </p:cNvCxnSpPr>
          <p:nvPr>
            <p:custDataLst>
              <p:tags r:id="rId20"/>
            </p:custDataLst>
          </p:nvPr>
        </p:nvCxnSpPr>
        <p:spPr bwMode="gray">
          <a:xfrm flipV="1">
            <a:off x="3648075" y="5397500"/>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4" name="Straight Connector 1203">
            <a:extLst>
              <a:ext uri="{FF2B5EF4-FFF2-40B4-BE49-F238E27FC236}">
                <a16:creationId xmlns:a16="http://schemas.microsoft.com/office/drawing/2014/main" id="{3F590EA4-B3B7-41C7-FC0F-A503CF3A87D8}"/>
              </a:ext>
            </a:extLst>
          </p:cNvPr>
          <p:cNvCxnSpPr/>
          <p:nvPr>
            <p:custDataLst>
              <p:tags r:id="rId21"/>
            </p:custDataLst>
          </p:nvPr>
        </p:nvCxnSpPr>
        <p:spPr bwMode="gray">
          <a:xfrm>
            <a:off x="3648075" y="5397500"/>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5" name="Straight Connector 1204">
            <a:extLst>
              <a:ext uri="{FF2B5EF4-FFF2-40B4-BE49-F238E27FC236}">
                <a16:creationId xmlns:a16="http://schemas.microsoft.com/office/drawing/2014/main" id="{8952300C-5ACC-77E0-AB40-522A6AC4E9B4}"/>
              </a:ext>
            </a:extLst>
          </p:cNvPr>
          <p:cNvCxnSpPr/>
          <p:nvPr>
            <p:custDataLst>
              <p:tags r:id="rId22"/>
            </p:custDataLst>
          </p:nvPr>
        </p:nvCxnSpPr>
        <p:spPr bwMode="gray">
          <a:xfrm>
            <a:off x="4246563" y="5397500"/>
            <a:ext cx="0" cy="3524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8212C2E9-2913-DD8F-7A09-595DC5D733C8}"/>
              </a:ext>
            </a:extLst>
          </p:cNvPr>
          <p:cNvCxnSpPr>
            <a:cxnSpLocks/>
          </p:cNvCxnSpPr>
          <p:nvPr>
            <p:custDataLst>
              <p:tags r:id="rId23"/>
            </p:custDataLst>
          </p:nvPr>
        </p:nvCxnSpPr>
        <p:spPr bwMode="gray">
          <a:xfrm flipV="1">
            <a:off x="4845050" y="5140325"/>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6" name="Straight Connector 1045">
            <a:extLst>
              <a:ext uri="{FF2B5EF4-FFF2-40B4-BE49-F238E27FC236}">
                <a16:creationId xmlns:a16="http://schemas.microsoft.com/office/drawing/2014/main" id="{040BC887-5186-77AC-0A63-192771CE61D4}"/>
              </a:ext>
            </a:extLst>
          </p:cNvPr>
          <p:cNvCxnSpPr/>
          <p:nvPr>
            <p:custDataLst>
              <p:tags r:id="rId24"/>
            </p:custDataLst>
          </p:nvPr>
        </p:nvCxnSpPr>
        <p:spPr bwMode="gray">
          <a:xfrm>
            <a:off x="4845050" y="5140325"/>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3" name="Straight Connector 1042">
            <a:extLst>
              <a:ext uri="{FF2B5EF4-FFF2-40B4-BE49-F238E27FC236}">
                <a16:creationId xmlns:a16="http://schemas.microsoft.com/office/drawing/2014/main" id="{9ECF5428-8A04-668E-8521-4465DCB27D83}"/>
              </a:ext>
            </a:extLst>
          </p:cNvPr>
          <p:cNvCxnSpPr/>
          <p:nvPr>
            <p:custDataLst>
              <p:tags r:id="rId25"/>
            </p:custDataLst>
          </p:nvPr>
        </p:nvCxnSpPr>
        <p:spPr bwMode="gray">
          <a:xfrm>
            <a:off x="5443538" y="5140325"/>
            <a:ext cx="0" cy="6064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96" name="Text Placeholder 19">
            <a:extLst>
              <a:ext uri="{FF2B5EF4-FFF2-40B4-BE49-F238E27FC236}">
                <a16:creationId xmlns:a16="http://schemas.microsoft.com/office/drawing/2014/main" id="{9F9869AF-B0F6-4E89-B216-4EC18C7334C2}"/>
              </a:ext>
            </a:extLst>
          </p:cNvPr>
          <p:cNvSpPr>
            <a:spLocks noGrp="1"/>
          </p:cNvSpPr>
          <p:nvPr>
            <p:custDataLst>
              <p:tags r:id="rId26"/>
            </p:custDataLst>
          </p:nvPr>
        </p:nvSpPr>
        <p:spPr bwMode="auto">
          <a:xfrm>
            <a:off x="2517775" y="5011738"/>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92" name="Text Placeholder 19">
            <a:extLst>
              <a:ext uri="{FF2B5EF4-FFF2-40B4-BE49-F238E27FC236}">
                <a16:creationId xmlns:a16="http://schemas.microsoft.com/office/drawing/2014/main" id="{14288AC8-A6A3-41C0-2CFE-00BE78E1ABDD}"/>
              </a:ext>
            </a:extLst>
          </p:cNvPr>
          <p:cNvSpPr>
            <a:spLocks noGrp="1"/>
          </p:cNvSpPr>
          <p:nvPr>
            <p:custDataLst>
              <p:tags r:id="rId27"/>
            </p:custDataLst>
          </p:nvPr>
        </p:nvSpPr>
        <p:spPr bwMode="auto">
          <a:xfrm>
            <a:off x="3714750" y="5268913"/>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93" name="Text Placeholder 19">
            <a:extLst>
              <a:ext uri="{FF2B5EF4-FFF2-40B4-BE49-F238E27FC236}">
                <a16:creationId xmlns:a16="http://schemas.microsoft.com/office/drawing/2014/main" id="{55ECC205-0717-C61E-1760-5A5C41DE96D5}"/>
              </a:ext>
            </a:extLst>
          </p:cNvPr>
          <p:cNvSpPr>
            <a:spLocks noGrp="1"/>
          </p:cNvSpPr>
          <p:nvPr>
            <p:custDataLst>
              <p:tags r:id="rId28"/>
            </p:custDataLst>
          </p:nvPr>
        </p:nvSpPr>
        <p:spPr bwMode="auto">
          <a:xfrm>
            <a:off x="4911725" y="5011738"/>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graphicFrame>
        <p:nvGraphicFramePr>
          <p:cNvPr id="79" name="Chart 78">
            <a:extLst>
              <a:ext uri="{FF2B5EF4-FFF2-40B4-BE49-F238E27FC236}">
                <a16:creationId xmlns:a16="http://schemas.microsoft.com/office/drawing/2014/main" id="{ACB6872F-739E-F0FD-35BC-E204BE882A92}"/>
              </a:ext>
            </a:extLst>
          </p:cNvPr>
          <p:cNvGraphicFramePr/>
          <p:nvPr>
            <p:custDataLst>
              <p:tags r:id="rId29"/>
            </p:custDataLst>
            <p:extLst>
              <p:ext uri="{D42A27DB-BD31-4B8C-83A1-F6EECF244321}">
                <p14:modId xmlns:p14="http://schemas.microsoft.com/office/powerpoint/2010/main" val="2102803865"/>
              </p:ext>
            </p:extLst>
          </p:nvPr>
        </p:nvGraphicFramePr>
        <p:xfrm>
          <a:off x="2070100" y="3735388"/>
          <a:ext cx="3756025" cy="1050925"/>
        </p:xfrm>
        <a:graphic>
          <a:graphicData uri="http://schemas.openxmlformats.org/drawingml/2006/chart">
            <c:chart xmlns:c="http://schemas.openxmlformats.org/drawingml/2006/chart" xmlns:r="http://schemas.openxmlformats.org/officeDocument/2006/relationships" r:id="rId55"/>
          </a:graphicData>
        </a:graphic>
      </p:graphicFrame>
      <p:cxnSp>
        <p:nvCxnSpPr>
          <p:cNvPr id="1174" name="Straight Connector 1173">
            <a:extLst>
              <a:ext uri="{FF2B5EF4-FFF2-40B4-BE49-F238E27FC236}">
                <a16:creationId xmlns:a16="http://schemas.microsoft.com/office/drawing/2014/main" id="{7256198C-00EA-5126-0C52-14455BB36FAA}"/>
              </a:ext>
            </a:extLst>
          </p:cNvPr>
          <p:cNvCxnSpPr/>
          <p:nvPr>
            <p:custDataLst>
              <p:tags r:id="rId30"/>
            </p:custDataLst>
          </p:nvPr>
        </p:nvCxnSpPr>
        <p:spPr bwMode="gray">
          <a:xfrm flipV="1">
            <a:off x="2451100" y="3716338"/>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5" name="Straight Connector 1174">
            <a:extLst>
              <a:ext uri="{FF2B5EF4-FFF2-40B4-BE49-F238E27FC236}">
                <a16:creationId xmlns:a16="http://schemas.microsoft.com/office/drawing/2014/main" id="{1AC88A16-DE8D-5A76-C922-10C1F5DCD6E9}"/>
              </a:ext>
            </a:extLst>
          </p:cNvPr>
          <p:cNvCxnSpPr/>
          <p:nvPr>
            <p:custDataLst>
              <p:tags r:id="rId31"/>
            </p:custDataLst>
          </p:nvPr>
        </p:nvCxnSpPr>
        <p:spPr bwMode="gray">
          <a:xfrm>
            <a:off x="2451100" y="3716338"/>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6" name="Straight Connector 1175">
            <a:extLst>
              <a:ext uri="{FF2B5EF4-FFF2-40B4-BE49-F238E27FC236}">
                <a16:creationId xmlns:a16="http://schemas.microsoft.com/office/drawing/2014/main" id="{D8ACF2BA-FC93-74A0-9BDD-F79AE3746EC1}"/>
              </a:ext>
            </a:extLst>
          </p:cNvPr>
          <p:cNvCxnSpPr/>
          <p:nvPr>
            <p:custDataLst>
              <p:tags r:id="rId32"/>
            </p:custDataLst>
          </p:nvPr>
        </p:nvCxnSpPr>
        <p:spPr bwMode="gray">
          <a:xfrm>
            <a:off x="3049588" y="3716337"/>
            <a:ext cx="0" cy="7556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177C07C2-2CEF-14A0-E17F-0B0B799B4E50}"/>
              </a:ext>
            </a:extLst>
          </p:cNvPr>
          <p:cNvCxnSpPr>
            <a:cxnSpLocks/>
          </p:cNvCxnSpPr>
          <p:nvPr>
            <p:custDataLst>
              <p:tags r:id="rId33"/>
            </p:custDataLst>
          </p:nvPr>
        </p:nvCxnSpPr>
        <p:spPr bwMode="gray">
          <a:xfrm flipV="1">
            <a:off x="3648075" y="4030663"/>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1" name="Straight Connector 1180">
            <a:extLst>
              <a:ext uri="{FF2B5EF4-FFF2-40B4-BE49-F238E27FC236}">
                <a16:creationId xmlns:a16="http://schemas.microsoft.com/office/drawing/2014/main" id="{9F8BA182-54E3-5FBF-F7A3-8618D48E33AF}"/>
              </a:ext>
            </a:extLst>
          </p:cNvPr>
          <p:cNvCxnSpPr/>
          <p:nvPr>
            <p:custDataLst>
              <p:tags r:id="rId34"/>
            </p:custDataLst>
          </p:nvPr>
        </p:nvCxnSpPr>
        <p:spPr bwMode="gray">
          <a:xfrm>
            <a:off x="3648075" y="4030663"/>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2" name="Straight Connector 1181">
            <a:extLst>
              <a:ext uri="{FF2B5EF4-FFF2-40B4-BE49-F238E27FC236}">
                <a16:creationId xmlns:a16="http://schemas.microsoft.com/office/drawing/2014/main" id="{10E60845-A992-204C-7B20-EFD4733F172D}"/>
              </a:ext>
            </a:extLst>
          </p:cNvPr>
          <p:cNvCxnSpPr/>
          <p:nvPr>
            <p:custDataLst>
              <p:tags r:id="rId35"/>
            </p:custDataLst>
          </p:nvPr>
        </p:nvCxnSpPr>
        <p:spPr bwMode="gray">
          <a:xfrm>
            <a:off x="4246563" y="4030663"/>
            <a:ext cx="0" cy="4365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AD4F055C-22AF-1F98-AFBA-C87A12A8474F}"/>
              </a:ext>
            </a:extLst>
          </p:cNvPr>
          <p:cNvCxnSpPr>
            <a:cxnSpLocks/>
          </p:cNvCxnSpPr>
          <p:nvPr>
            <p:custDataLst>
              <p:tags r:id="rId36"/>
            </p:custDataLst>
          </p:nvPr>
        </p:nvCxnSpPr>
        <p:spPr bwMode="gray">
          <a:xfrm flipV="1">
            <a:off x="4845050" y="3716338"/>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F511A23C-D15A-DECD-7E79-61F074B3028C}"/>
              </a:ext>
            </a:extLst>
          </p:cNvPr>
          <p:cNvCxnSpPr/>
          <p:nvPr>
            <p:custDataLst>
              <p:tags r:id="rId37"/>
            </p:custDataLst>
          </p:nvPr>
        </p:nvCxnSpPr>
        <p:spPr bwMode="gray">
          <a:xfrm>
            <a:off x="4845050" y="3716338"/>
            <a:ext cx="59848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602105C6-D531-1B37-0CB2-0FF15B563A37}"/>
              </a:ext>
            </a:extLst>
          </p:cNvPr>
          <p:cNvCxnSpPr/>
          <p:nvPr>
            <p:custDataLst>
              <p:tags r:id="rId38"/>
            </p:custDataLst>
          </p:nvPr>
        </p:nvCxnSpPr>
        <p:spPr bwMode="gray">
          <a:xfrm>
            <a:off x="5443538" y="3716337"/>
            <a:ext cx="0" cy="7556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73" name="Text Placeholder 19">
            <a:extLst>
              <a:ext uri="{FF2B5EF4-FFF2-40B4-BE49-F238E27FC236}">
                <a16:creationId xmlns:a16="http://schemas.microsoft.com/office/drawing/2014/main" id="{9F9869AF-B0F6-4E89-B216-4EC18C7334C2}"/>
              </a:ext>
            </a:extLst>
          </p:cNvPr>
          <p:cNvSpPr>
            <a:spLocks noGrp="1"/>
          </p:cNvSpPr>
          <p:nvPr>
            <p:custDataLst>
              <p:tags r:id="rId39"/>
            </p:custDataLst>
          </p:nvPr>
        </p:nvSpPr>
        <p:spPr bwMode="auto">
          <a:xfrm>
            <a:off x="2517775" y="3587750"/>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147" name="Text Placeholder 19">
            <a:extLst>
              <a:ext uri="{FF2B5EF4-FFF2-40B4-BE49-F238E27FC236}">
                <a16:creationId xmlns:a16="http://schemas.microsoft.com/office/drawing/2014/main" id="{3F61AED4-564E-D951-52A0-F8DE422B2EE7}"/>
              </a:ext>
            </a:extLst>
          </p:cNvPr>
          <p:cNvSpPr>
            <a:spLocks noGrp="1"/>
          </p:cNvSpPr>
          <p:nvPr>
            <p:custDataLst>
              <p:tags r:id="rId40"/>
            </p:custDataLst>
          </p:nvPr>
        </p:nvSpPr>
        <p:spPr bwMode="auto">
          <a:xfrm>
            <a:off x="3714750" y="3902075"/>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148" name="Text Placeholder 19">
            <a:extLst>
              <a:ext uri="{FF2B5EF4-FFF2-40B4-BE49-F238E27FC236}">
                <a16:creationId xmlns:a16="http://schemas.microsoft.com/office/drawing/2014/main" id="{57CD1801-EDF6-C0CD-632F-37E6168AFBC8}"/>
              </a:ext>
            </a:extLst>
          </p:cNvPr>
          <p:cNvSpPr>
            <a:spLocks noGrp="1"/>
          </p:cNvSpPr>
          <p:nvPr>
            <p:custDataLst>
              <p:tags r:id="rId41"/>
            </p:custDataLst>
          </p:nvPr>
        </p:nvSpPr>
        <p:spPr bwMode="auto">
          <a:xfrm>
            <a:off x="4911725" y="3587750"/>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102" name="Text Placeholder 2">
            <a:extLst>
              <a:ext uri="{FF2B5EF4-FFF2-40B4-BE49-F238E27FC236}">
                <a16:creationId xmlns:a16="http://schemas.microsoft.com/office/drawing/2014/main" id="{166A3C58-D92B-2BA2-CFA5-2A9FBB703633}"/>
              </a:ext>
            </a:extLst>
          </p:cNvPr>
          <p:cNvSpPr txBox="1">
            <a:spLocks/>
          </p:cNvSpPr>
          <p:nvPr/>
        </p:nvSpPr>
        <p:spPr>
          <a:xfrm>
            <a:off x="381599" y="79401"/>
            <a:ext cx="373050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Frequency response services</a:t>
            </a:r>
          </a:p>
        </p:txBody>
      </p:sp>
      <p:sp>
        <p:nvSpPr>
          <p:cNvPr id="77" name="Oval 76">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78" name="Oval 77">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1235" name="Rectangle 1234">
            <a:extLst>
              <a:ext uri="{FF2B5EF4-FFF2-40B4-BE49-F238E27FC236}">
                <a16:creationId xmlns:a16="http://schemas.microsoft.com/office/drawing/2014/main" id="{D42BD391-8FAD-E7D7-8E19-B0C0A6B01AC3}"/>
              </a:ext>
            </a:extLst>
          </p:cNvPr>
          <p:cNvSpPr/>
          <p:nvPr>
            <p:custDataLst>
              <p:tags r:id="rId42"/>
            </p:custDataLst>
          </p:nvPr>
        </p:nvSpPr>
        <p:spPr bwMode="auto">
          <a:xfrm>
            <a:off x="1884363" y="6264275"/>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236" name="Rectangle 1235">
            <a:extLst>
              <a:ext uri="{FF2B5EF4-FFF2-40B4-BE49-F238E27FC236}">
                <a16:creationId xmlns:a16="http://schemas.microsoft.com/office/drawing/2014/main" id="{AF74E11C-BCA3-22C2-CEFC-B51C70F95074}"/>
              </a:ext>
            </a:extLst>
          </p:cNvPr>
          <p:cNvSpPr/>
          <p:nvPr>
            <p:custDataLst>
              <p:tags r:id="rId43"/>
            </p:custDataLst>
          </p:nvPr>
        </p:nvSpPr>
        <p:spPr bwMode="auto">
          <a:xfrm>
            <a:off x="2814638" y="6264275"/>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237" name="Rectangle 1236">
            <a:extLst>
              <a:ext uri="{FF2B5EF4-FFF2-40B4-BE49-F238E27FC236}">
                <a16:creationId xmlns:a16="http://schemas.microsoft.com/office/drawing/2014/main" id="{BC1F8820-49BD-2EEC-371A-5A6AE4A0F414}"/>
              </a:ext>
            </a:extLst>
          </p:cNvPr>
          <p:cNvSpPr/>
          <p:nvPr>
            <p:custDataLst>
              <p:tags r:id="rId44"/>
            </p:custDataLst>
          </p:nvPr>
        </p:nvSpPr>
        <p:spPr bwMode="auto">
          <a:xfrm>
            <a:off x="3762375" y="6264275"/>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232" name="Text Placeholder 19">
            <a:extLst>
              <a:ext uri="{FF2B5EF4-FFF2-40B4-BE49-F238E27FC236}">
                <a16:creationId xmlns:a16="http://schemas.microsoft.com/office/drawing/2014/main" id="{9F9869AF-B0F6-4E89-B216-4EC18C7334C2}"/>
              </a:ext>
            </a:extLst>
          </p:cNvPr>
          <p:cNvSpPr>
            <a:spLocks noGrp="1"/>
          </p:cNvSpPr>
          <p:nvPr>
            <p:custDataLst>
              <p:tags r:id="rId45"/>
            </p:custDataLst>
          </p:nvPr>
        </p:nvSpPr>
        <p:spPr bwMode="auto">
          <a:xfrm>
            <a:off x="2114550" y="6259513"/>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3D7250E4-6862-47E1-80CB-EE6879712E2A}"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1230" name="Text Placeholder 19">
            <a:extLst>
              <a:ext uri="{FF2B5EF4-FFF2-40B4-BE49-F238E27FC236}">
                <a16:creationId xmlns:a16="http://schemas.microsoft.com/office/drawing/2014/main" id="{9F9869AF-B0F6-4E89-B216-4EC18C7334C2}"/>
              </a:ext>
            </a:extLst>
          </p:cNvPr>
          <p:cNvSpPr>
            <a:spLocks noGrp="1"/>
          </p:cNvSpPr>
          <p:nvPr>
            <p:custDataLst>
              <p:tags r:id="rId46"/>
            </p:custDataLst>
          </p:nvPr>
        </p:nvSpPr>
        <p:spPr bwMode="auto">
          <a:xfrm>
            <a:off x="3044825" y="6259513"/>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D764BE6-AEEB-4A35-B190-4A43951373A8}" type="datetime'''''''''L''''''''''at''''e'''''''''''''' ''''''2''0''''20s'''">
              <a:rPr lang="en-GB" altLang="en-US" sz="1000" smtClean="0">
                <a:effectLst/>
                <a:ea typeface="+mn-ea"/>
                <a:cs typeface="+mn-cs"/>
              </a:rPr>
              <a:pPr lvl="0">
                <a:spcBef>
                  <a:spcPct val="0"/>
                </a:spcBef>
                <a:spcAft>
                  <a:spcPct val="0"/>
                </a:spcAft>
              </a:pPr>
              <a:t>Late 2020s</a:t>
            </a:fld>
            <a:endParaRPr lang="en-GB" sz="1000">
              <a:ea typeface="+mn-ea"/>
              <a:cs typeface="+mn-cs"/>
            </a:endParaRPr>
          </a:p>
        </p:txBody>
      </p:sp>
      <p:sp>
        <p:nvSpPr>
          <p:cNvPr id="1228" name="Text Placeholder 19">
            <a:extLst>
              <a:ext uri="{FF2B5EF4-FFF2-40B4-BE49-F238E27FC236}">
                <a16:creationId xmlns:a16="http://schemas.microsoft.com/office/drawing/2014/main" id="{9F9869AF-B0F6-4E89-B216-4EC18C7334C2}"/>
              </a:ext>
            </a:extLst>
          </p:cNvPr>
          <p:cNvSpPr>
            <a:spLocks noGrp="1"/>
          </p:cNvSpPr>
          <p:nvPr>
            <p:custDataLst>
              <p:tags r:id="rId47"/>
            </p:custDataLst>
          </p:nvPr>
        </p:nvSpPr>
        <p:spPr bwMode="auto">
          <a:xfrm>
            <a:off x="3992563" y="6259513"/>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38ABF8BB-FE19-4104-A8F7-A80D486B601F}"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48" name="Text Placeholder 47">
            <a:extLst>
              <a:ext uri="{FF2B5EF4-FFF2-40B4-BE49-F238E27FC236}">
                <a16:creationId xmlns:a16="http://schemas.microsoft.com/office/drawing/2014/main" id="{BA8227FA-4A9F-A22B-302E-D957481B9605}"/>
              </a:ext>
            </a:extLst>
          </p:cNvPr>
          <p:cNvSpPr>
            <a:spLocks noGrp="1"/>
          </p:cNvSpPr>
          <p:nvPr>
            <p:ph type="body" sz="quarter" idx="32"/>
          </p:nvPr>
        </p:nvSpPr>
        <p:spPr/>
        <p:txBody>
          <a:bodyPr/>
          <a:lstStyle/>
          <a:p>
            <a:endParaRPr lang="en-GB"/>
          </a:p>
        </p:txBody>
      </p:sp>
      <p:sp>
        <p:nvSpPr>
          <p:cNvPr id="50" name="Text Placeholder 16">
            <a:extLst>
              <a:ext uri="{FF2B5EF4-FFF2-40B4-BE49-F238E27FC236}">
                <a16:creationId xmlns:a16="http://schemas.microsoft.com/office/drawing/2014/main" id="{EF563660-6D75-1408-704A-42D576336427}"/>
              </a:ext>
            </a:extLst>
          </p:cNvPr>
          <p:cNvSpPr txBox="1">
            <a:spLocks/>
          </p:cNvSpPr>
          <p:nvPr/>
        </p:nvSpPr>
        <p:spPr>
          <a:xfrm>
            <a:off x="7089775" y="4790139"/>
            <a:ext cx="4384470" cy="37394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900"/>
              <a:t>This is a redacted sample of the European Battery Market Attractiveness Report. If you are interested in the full report, contact Alex Hutcheson (</a:t>
            </a:r>
            <a:r>
              <a:rPr lang="en-GB" sz="900" u="sng"/>
              <a:t>alex.hutcheson@auroraer.com)</a:t>
            </a:r>
            <a:endParaRPr lang="en-GB" sz="900"/>
          </a:p>
        </p:txBody>
      </p:sp>
    </p:spTree>
    <p:extLst>
      <p:ext uri="{BB962C8B-B14F-4D97-AF65-F5344CB8AC3E}">
        <p14:creationId xmlns:p14="http://schemas.microsoft.com/office/powerpoint/2010/main" val="4274253584"/>
      </p:ext>
    </p:extLst>
  </p:cSld>
  <p:clrMapOvr>
    <a:masterClrMapping/>
  </p:clrMapOvr>
  <p:extLst>
    <p:ext uri="{6950BFC3-D8DA-4A85-94F7-54DA5524770B}">
      <p188:commentRel xmlns:p188="http://schemas.microsoft.com/office/powerpoint/2018/8/main" r:id="rId50"/>
    </p:ext>
  </p:extLs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0A5EAE75-8FF4-CECA-1925-4800CF4B5654}"/>
              </a:ext>
            </a:extLst>
          </p:cNvPr>
          <p:cNvGraphicFramePr>
            <a:graphicFrameLocks noChangeAspect="1"/>
          </p:cNvGraphicFramePr>
          <p:nvPr>
            <p:custDataLst>
              <p:tags r:id="rId1"/>
            </p:custDataLst>
            <p:extLst>
              <p:ext uri="{D42A27DB-BD31-4B8C-83A1-F6EECF244321}">
                <p14:modId xmlns:p14="http://schemas.microsoft.com/office/powerpoint/2010/main" val="50904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95" imgH="396" progId="TCLayout.ActiveDocument.1">
                  <p:embed/>
                </p:oleObj>
              </mc:Choice>
              <mc:Fallback>
                <p:oleObj name="think-cell Slide" r:id="rId46" imgW="395" imgH="396" progId="TCLayout.ActiveDocument.1">
                  <p:embed/>
                  <p:pic>
                    <p:nvPicPr>
                      <p:cNvPr id="31" name="Object 30" hidden="1">
                        <a:extLst>
                          <a:ext uri="{FF2B5EF4-FFF2-40B4-BE49-F238E27FC236}">
                            <a16:creationId xmlns:a16="http://schemas.microsoft.com/office/drawing/2014/main" id="{0A5EAE75-8FF4-CECA-1925-4800CF4B565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graphicFrame>
        <p:nvGraphicFramePr>
          <p:cNvPr id="6" name="Tabelle 7">
            <a:extLst>
              <a:ext uri="{FF2B5EF4-FFF2-40B4-BE49-F238E27FC236}">
                <a16:creationId xmlns:a16="http://schemas.microsoft.com/office/drawing/2014/main" id="{1949E43D-A36C-453D-EF49-DE47A6D29C97}"/>
              </a:ext>
            </a:extLst>
          </p:cNvPr>
          <p:cNvGraphicFramePr>
            <a:graphicFrameLocks noGrp="1"/>
          </p:cNvGraphicFramePr>
          <p:nvPr>
            <p:custDataLst>
              <p:tags r:id="rId2"/>
            </p:custDataLst>
            <p:extLst>
              <p:ext uri="{D42A27DB-BD31-4B8C-83A1-F6EECF244321}">
                <p14:modId xmlns:p14="http://schemas.microsoft.com/office/powerpoint/2010/main" val="123882990"/>
              </p:ext>
            </p:extLst>
          </p:nvPr>
        </p:nvGraphicFramePr>
        <p:xfrm>
          <a:off x="381600" y="1267200"/>
          <a:ext cx="11467425" cy="5059822"/>
        </p:xfrm>
        <a:graphic>
          <a:graphicData uri="http://schemas.openxmlformats.org/drawingml/2006/table">
            <a:tbl>
              <a:tblPr firstRow="1" bandRow="1">
                <a:effectLst/>
                <a:tableStyleId>{5C22544A-7EE6-4342-B048-85BDC9FD1C3A}</a:tableStyleId>
              </a:tblPr>
              <a:tblGrid>
                <a:gridCol w="1227600">
                  <a:extLst>
                    <a:ext uri="{9D8B030D-6E8A-4147-A177-3AD203B41FA5}">
                      <a16:colId xmlns:a16="http://schemas.microsoft.com/office/drawing/2014/main" val="20000"/>
                    </a:ext>
                  </a:extLst>
                </a:gridCol>
                <a:gridCol w="123825">
                  <a:extLst>
                    <a:ext uri="{9D8B030D-6E8A-4147-A177-3AD203B41FA5}">
                      <a16:colId xmlns:a16="http://schemas.microsoft.com/office/drawing/2014/main" val="2133620686"/>
                    </a:ext>
                  </a:extLst>
                </a:gridCol>
                <a:gridCol w="4644000">
                  <a:extLst>
                    <a:ext uri="{9D8B030D-6E8A-4147-A177-3AD203B41FA5}">
                      <a16:colId xmlns:a16="http://schemas.microsoft.com/office/drawing/2014/main" val="20001"/>
                    </a:ext>
                  </a:extLst>
                </a:gridCol>
                <a:gridCol w="5472000">
                  <a:extLst>
                    <a:ext uri="{9D8B030D-6E8A-4147-A177-3AD203B41FA5}">
                      <a16:colId xmlns:a16="http://schemas.microsoft.com/office/drawing/2014/main" val="20002"/>
                    </a:ext>
                  </a:extLst>
                </a:gridCol>
              </a:tblGrid>
              <a:tr h="279336">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reservation price of selected services</a:t>
                      </a: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ents</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320942">
                <a:tc>
                  <a:txBody>
                    <a:bodyPr/>
                    <a:lstStyle/>
                    <a:p>
                      <a:pPr lvl="0"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 Z</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lang="en-GB" sz="1200" kern="1200">
                        <a:solidFill>
                          <a:schemeClr val="dk1"/>
                        </a:solidFill>
                        <a:effectLs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448000">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lang="en-GB" sz="1200" kern="1200">
                        <a:solidFill>
                          <a:schemeClr val="tx1"/>
                        </a:solidFill>
                        <a:effectLst/>
                        <a:highlight>
                          <a:srgbClr val="FFFF00"/>
                        </a:highligh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 name="Text Placeholder 1">
            <a:extLst>
              <a:ext uri="{FF2B5EF4-FFF2-40B4-BE49-F238E27FC236}">
                <a16:creationId xmlns:a16="http://schemas.microsoft.com/office/drawing/2014/main" id="{B0DBA6CB-975A-9931-C3A7-117CF0CE65A6}"/>
              </a:ext>
            </a:extLst>
          </p:cNvPr>
          <p:cNvSpPr>
            <a:spLocks noGrp="1"/>
          </p:cNvSpPr>
          <p:nvPr>
            <p:ph type="body" sz="quarter" idx="22"/>
          </p:nvPr>
        </p:nvSpPr>
        <p:spPr>
          <a:xfrm>
            <a:off x="381001" y="6715169"/>
            <a:ext cx="1477969" cy="110800"/>
          </a:xfrm>
        </p:spPr>
        <p:txBody>
          <a:bodyPr/>
          <a:lstStyle/>
          <a:p>
            <a:r>
              <a:rPr lang="en-GB"/>
              <a:t>Source: Aurora Energy Research</a:t>
            </a:r>
          </a:p>
        </p:txBody>
      </p:sp>
      <p:sp>
        <p:nvSpPr>
          <p:cNvPr id="3" name="Title 2">
            <a:extLst>
              <a:ext uri="{FF2B5EF4-FFF2-40B4-BE49-F238E27FC236}">
                <a16:creationId xmlns:a16="http://schemas.microsoft.com/office/drawing/2014/main" id="{11BD282E-265D-5036-8D45-68854E2FC128}"/>
              </a:ext>
            </a:extLst>
          </p:cNvPr>
          <p:cNvSpPr>
            <a:spLocks noGrp="1"/>
          </p:cNvSpPr>
          <p:nvPr>
            <p:ph type="title"/>
          </p:nvPr>
        </p:nvSpPr>
        <p:spPr>
          <a:xfrm>
            <a:off x="381598" y="411856"/>
            <a:ext cx="10057801" cy="609398"/>
          </a:xfrm>
        </p:spPr>
        <p:txBody>
          <a:bodyPr vert="horz"/>
          <a:lstStyle/>
          <a:p>
            <a:r>
              <a:rPr lang="en-GB">
                <a:solidFill>
                  <a:srgbClr val="808080"/>
                </a:solidFill>
                <a:highlight>
                  <a:srgbClr val="808080"/>
                </a:highlight>
              </a:rPr>
              <a:t>XXXX</a:t>
            </a:r>
            <a:r>
              <a:rPr lang="en-GB"/>
              <a:t>’s saturated frequency response market causes a stable prices while </a:t>
            </a:r>
            <a:br>
              <a:rPr lang="en-GB"/>
            </a:br>
            <a:r>
              <a:rPr lang="en-GB">
                <a:solidFill>
                  <a:srgbClr val="808080"/>
                </a:solidFill>
                <a:highlight>
                  <a:srgbClr val="808080"/>
                </a:highlight>
              </a:rPr>
              <a:t>XXXX</a:t>
            </a:r>
            <a:r>
              <a:rPr lang="en-GB"/>
              <a:t> sees an increasing trend due to higher demand for reserve services (2/4)</a:t>
            </a:r>
          </a:p>
        </p:txBody>
      </p:sp>
      <p:graphicFrame>
        <p:nvGraphicFramePr>
          <p:cNvPr id="29" name="Chart 28">
            <a:extLst>
              <a:ext uri="{FF2B5EF4-FFF2-40B4-BE49-F238E27FC236}">
                <a16:creationId xmlns:a16="http://schemas.microsoft.com/office/drawing/2014/main" id="{66670192-FFBC-8B9D-C342-8C93B830E97D}"/>
              </a:ext>
            </a:extLst>
          </p:cNvPr>
          <p:cNvGraphicFramePr/>
          <p:nvPr>
            <p:custDataLst>
              <p:tags r:id="rId3"/>
            </p:custDataLst>
            <p:extLst>
              <p:ext uri="{D42A27DB-BD31-4B8C-83A1-F6EECF244321}">
                <p14:modId xmlns:p14="http://schemas.microsoft.com/office/powerpoint/2010/main" val="2847523208"/>
              </p:ext>
            </p:extLst>
          </p:nvPr>
        </p:nvGraphicFramePr>
        <p:xfrm>
          <a:off x="2044700" y="1873250"/>
          <a:ext cx="3790950" cy="1573213"/>
        </p:xfrm>
        <a:graphic>
          <a:graphicData uri="http://schemas.openxmlformats.org/drawingml/2006/chart">
            <c:chart xmlns:c="http://schemas.openxmlformats.org/drawingml/2006/chart" xmlns:r="http://schemas.openxmlformats.org/officeDocument/2006/relationships" r:id="rId48"/>
          </a:graphicData>
        </a:graphic>
      </p:graphicFrame>
      <p:cxnSp>
        <p:nvCxnSpPr>
          <p:cNvPr id="195" name="Straight Connector 194">
            <a:extLst>
              <a:ext uri="{FF2B5EF4-FFF2-40B4-BE49-F238E27FC236}">
                <a16:creationId xmlns:a16="http://schemas.microsoft.com/office/drawing/2014/main" id="{17A377BF-215C-3FE8-3E77-E0EB1872DFF6}"/>
              </a:ext>
            </a:extLst>
          </p:cNvPr>
          <p:cNvCxnSpPr/>
          <p:nvPr>
            <p:custDataLst>
              <p:tags r:id="rId4"/>
            </p:custDataLst>
          </p:nvPr>
        </p:nvCxnSpPr>
        <p:spPr bwMode="gray">
          <a:xfrm flipV="1">
            <a:off x="2428875" y="2073275"/>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C8AA23CD-0848-DB9E-89D8-874D82A99C10}"/>
              </a:ext>
            </a:extLst>
          </p:cNvPr>
          <p:cNvCxnSpPr/>
          <p:nvPr>
            <p:custDataLst>
              <p:tags r:id="rId5"/>
            </p:custDataLst>
          </p:nvPr>
        </p:nvCxnSpPr>
        <p:spPr bwMode="gray">
          <a:xfrm>
            <a:off x="2428875" y="2073275"/>
            <a:ext cx="6048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12A42A32-BB68-2FB1-80B2-4C184DA4B460}"/>
              </a:ext>
            </a:extLst>
          </p:cNvPr>
          <p:cNvCxnSpPr/>
          <p:nvPr>
            <p:custDataLst>
              <p:tags r:id="rId6"/>
            </p:custDataLst>
          </p:nvPr>
        </p:nvCxnSpPr>
        <p:spPr bwMode="gray">
          <a:xfrm>
            <a:off x="3033713" y="2073275"/>
            <a:ext cx="0" cy="1968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38F6D37C-8A4B-E158-0234-1952CF278BAB}"/>
              </a:ext>
            </a:extLst>
          </p:cNvPr>
          <p:cNvCxnSpPr>
            <a:cxnSpLocks/>
          </p:cNvCxnSpPr>
          <p:nvPr>
            <p:custDataLst>
              <p:tags r:id="rId7"/>
            </p:custDataLst>
          </p:nvPr>
        </p:nvCxnSpPr>
        <p:spPr bwMode="gray">
          <a:xfrm flipV="1">
            <a:off x="3636963" y="2017713"/>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18B2034-1545-28AD-DA4A-00C12ECD75FA}"/>
              </a:ext>
            </a:extLst>
          </p:cNvPr>
          <p:cNvCxnSpPr/>
          <p:nvPr>
            <p:custDataLst>
              <p:tags r:id="rId8"/>
            </p:custDataLst>
          </p:nvPr>
        </p:nvCxnSpPr>
        <p:spPr bwMode="gray">
          <a:xfrm>
            <a:off x="3636963" y="2017713"/>
            <a:ext cx="6048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BA176CED-CAB7-FAB4-AA51-861C64763E2A}"/>
              </a:ext>
            </a:extLst>
          </p:cNvPr>
          <p:cNvCxnSpPr/>
          <p:nvPr>
            <p:custDataLst>
              <p:tags r:id="rId9"/>
            </p:custDataLst>
          </p:nvPr>
        </p:nvCxnSpPr>
        <p:spPr bwMode="gray">
          <a:xfrm>
            <a:off x="4241800" y="2017713"/>
            <a:ext cx="0" cy="20955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B283E51C-BC3E-3A8C-E4C0-E3DD13BAA081}"/>
              </a:ext>
            </a:extLst>
          </p:cNvPr>
          <p:cNvCxnSpPr/>
          <p:nvPr>
            <p:custDataLst>
              <p:tags r:id="rId10"/>
            </p:custDataLst>
          </p:nvPr>
        </p:nvCxnSpPr>
        <p:spPr bwMode="gray">
          <a:xfrm flipV="1">
            <a:off x="4846638" y="1763713"/>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6CB9FFB4-ACE8-986A-1C30-616CF50FC2F7}"/>
              </a:ext>
            </a:extLst>
          </p:cNvPr>
          <p:cNvCxnSpPr>
            <a:cxnSpLocks/>
          </p:cNvCxnSpPr>
          <p:nvPr>
            <p:custDataLst>
              <p:tags r:id="rId11"/>
            </p:custDataLst>
          </p:nvPr>
        </p:nvCxnSpPr>
        <p:spPr bwMode="gray">
          <a:xfrm>
            <a:off x="4846638" y="1763713"/>
            <a:ext cx="6048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11833D50-0D72-4F19-605E-0C496A6C1902}"/>
              </a:ext>
            </a:extLst>
          </p:cNvPr>
          <p:cNvCxnSpPr/>
          <p:nvPr>
            <p:custDataLst>
              <p:tags r:id="rId12"/>
            </p:custDataLst>
          </p:nvPr>
        </p:nvCxnSpPr>
        <p:spPr bwMode="gray">
          <a:xfrm>
            <a:off x="5451475" y="1763713"/>
            <a:ext cx="0" cy="3095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3" name="Text Placeholder 19">
            <a:extLst>
              <a:ext uri="{FF2B5EF4-FFF2-40B4-BE49-F238E27FC236}">
                <a16:creationId xmlns:a16="http://schemas.microsoft.com/office/drawing/2014/main" id="{9F9869AF-B0F6-4E89-B216-4EC18C7334C2}"/>
              </a:ext>
            </a:extLst>
          </p:cNvPr>
          <p:cNvSpPr>
            <a:spLocks noGrp="1"/>
          </p:cNvSpPr>
          <p:nvPr>
            <p:custDataLst>
              <p:tags r:id="rId13"/>
            </p:custDataLst>
          </p:nvPr>
        </p:nvSpPr>
        <p:spPr bwMode="auto">
          <a:xfrm>
            <a:off x="2498725" y="1944688"/>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205" name="Text Placeholder 19">
            <a:extLst>
              <a:ext uri="{FF2B5EF4-FFF2-40B4-BE49-F238E27FC236}">
                <a16:creationId xmlns:a16="http://schemas.microsoft.com/office/drawing/2014/main" id="{9F9869AF-B0F6-4E89-B216-4EC18C7334C2}"/>
              </a:ext>
            </a:extLst>
          </p:cNvPr>
          <p:cNvSpPr>
            <a:spLocks noGrp="1"/>
          </p:cNvSpPr>
          <p:nvPr>
            <p:custDataLst>
              <p:tags r:id="rId14"/>
            </p:custDataLst>
          </p:nvPr>
        </p:nvSpPr>
        <p:spPr bwMode="auto">
          <a:xfrm>
            <a:off x="3706813" y="1889125"/>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215" name="Text Placeholder 19">
            <a:extLst>
              <a:ext uri="{FF2B5EF4-FFF2-40B4-BE49-F238E27FC236}">
                <a16:creationId xmlns:a16="http://schemas.microsoft.com/office/drawing/2014/main" id="{9F9869AF-B0F6-4E89-B216-4EC18C7334C2}"/>
              </a:ext>
            </a:extLst>
          </p:cNvPr>
          <p:cNvSpPr>
            <a:spLocks noGrp="1"/>
          </p:cNvSpPr>
          <p:nvPr>
            <p:custDataLst>
              <p:tags r:id="rId15"/>
            </p:custDataLst>
          </p:nvPr>
        </p:nvSpPr>
        <p:spPr bwMode="auto">
          <a:xfrm>
            <a:off x="4916488" y="1635125"/>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graphicFrame>
        <p:nvGraphicFramePr>
          <p:cNvPr id="33" name="Chart 32">
            <a:extLst>
              <a:ext uri="{FF2B5EF4-FFF2-40B4-BE49-F238E27FC236}">
                <a16:creationId xmlns:a16="http://schemas.microsoft.com/office/drawing/2014/main" id="{6EFAE471-49C2-A9E6-D2E3-37988EE45C26}"/>
              </a:ext>
            </a:extLst>
          </p:cNvPr>
          <p:cNvGraphicFramePr/>
          <p:nvPr>
            <p:custDataLst>
              <p:tags r:id="rId16"/>
            </p:custDataLst>
            <p:extLst>
              <p:ext uri="{D42A27DB-BD31-4B8C-83A1-F6EECF244321}">
                <p14:modId xmlns:p14="http://schemas.microsoft.com/office/powerpoint/2010/main" val="3923233661"/>
              </p:ext>
            </p:extLst>
          </p:nvPr>
        </p:nvGraphicFramePr>
        <p:xfrm>
          <a:off x="2044700" y="4360863"/>
          <a:ext cx="3790950" cy="1573212"/>
        </p:xfrm>
        <a:graphic>
          <a:graphicData uri="http://schemas.openxmlformats.org/drawingml/2006/chart">
            <c:chart xmlns:c="http://schemas.openxmlformats.org/drawingml/2006/chart" xmlns:r="http://schemas.openxmlformats.org/officeDocument/2006/relationships" r:id="rId49"/>
          </a:graphicData>
        </a:graphic>
      </p:graphicFrame>
      <p:cxnSp>
        <p:nvCxnSpPr>
          <p:cNvPr id="143" name="Straight Connector 142">
            <a:extLst>
              <a:ext uri="{FF2B5EF4-FFF2-40B4-BE49-F238E27FC236}">
                <a16:creationId xmlns:a16="http://schemas.microsoft.com/office/drawing/2014/main" id="{DDE8BF17-193A-F4D9-BCD5-648D74A3A0FA}"/>
              </a:ext>
            </a:extLst>
          </p:cNvPr>
          <p:cNvCxnSpPr>
            <a:cxnSpLocks/>
          </p:cNvCxnSpPr>
          <p:nvPr>
            <p:custDataLst>
              <p:tags r:id="rId17"/>
            </p:custDataLst>
          </p:nvPr>
        </p:nvCxnSpPr>
        <p:spPr bwMode="gray">
          <a:xfrm flipV="1">
            <a:off x="2308225" y="4613275"/>
            <a:ext cx="0" cy="5588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2BB3AD94-A1F5-628E-1F7A-2DA14019C2AB}"/>
              </a:ext>
            </a:extLst>
          </p:cNvPr>
          <p:cNvCxnSpPr/>
          <p:nvPr>
            <p:custDataLst>
              <p:tags r:id="rId18"/>
            </p:custDataLst>
          </p:nvPr>
        </p:nvCxnSpPr>
        <p:spPr bwMode="gray">
          <a:xfrm>
            <a:off x="2308225" y="4613275"/>
            <a:ext cx="3635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22E484E5-13BF-481F-838C-4053AC917344}"/>
              </a:ext>
            </a:extLst>
          </p:cNvPr>
          <p:cNvCxnSpPr/>
          <p:nvPr>
            <p:custDataLst>
              <p:tags r:id="rId19"/>
            </p:custDataLst>
          </p:nvPr>
        </p:nvCxnSpPr>
        <p:spPr bwMode="gray">
          <a:xfrm>
            <a:off x="2671763" y="4613275"/>
            <a:ext cx="0" cy="3079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BA483BBE-AE61-EECC-B983-B8629906E268}"/>
              </a:ext>
            </a:extLst>
          </p:cNvPr>
          <p:cNvCxnSpPr/>
          <p:nvPr>
            <p:custDataLst>
              <p:tags r:id="rId20"/>
            </p:custDataLst>
          </p:nvPr>
        </p:nvCxnSpPr>
        <p:spPr bwMode="gray">
          <a:xfrm flipV="1">
            <a:off x="3033713" y="5092700"/>
            <a:ext cx="0" cy="3143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47B61A49-79D7-C25B-62C4-69E6338DC818}"/>
              </a:ext>
            </a:extLst>
          </p:cNvPr>
          <p:cNvCxnSpPr/>
          <p:nvPr>
            <p:custDataLst>
              <p:tags r:id="rId21"/>
            </p:custDataLst>
          </p:nvPr>
        </p:nvCxnSpPr>
        <p:spPr bwMode="gray">
          <a:xfrm>
            <a:off x="3033713" y="5092700"/>
            <a:ext cx="3635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B170EE44-89C3-2A01-457E-610B7DC02CF8}"/>
              </a:ext>
            </a:extLst>
          </p:cNvPr>
          <p:cNvCxnSpPr/>
          <p:nvPr>
            <p:custDataLst>
              <p:tags r:id="rId22"/>
            </p:custDataLst>
          </p:nvPr>
        </p:nvCxnSpPr>
        <p:spPr bwMode="gray">
          <a:xfrm>
            <a:off x="3397250" y="5092700"/>
            <a:ext cx="0" cy="2825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EBF715D6-F968-5CC1-5BB1-27EF1DB68D40}"/>
              </a:ext>
            </a:extLst>
          </p:cNvPr>
          <p:cNvCxnSpPr/>
          <p:nvPr>
            <p:custDataLst>
              <p:tags r:id="rId23"/>
            </p:custDataLst>
          </p:nvPr>
        </p:nvCxnSpPr>
        <p:spPr bwMode="gray">
          <a:xfrm flipV="1">
            <a:off x="3759200" y="5186363"/>
            <a:ext cx="0" cy="37623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A7DDDAA3-4709-9B2C-5FC5-DFE2D0380326}"/>
              </a:ext>
            </a:extLst>
          </p:cNvPr>
          <p:cNvCxnSpPr/>
          <p:nvPr>
            <p:custDataLst>
              <p:tags r:id="rId24"/>
            </p:custDataLst>
          </p:nvPr>
        </p:nvCxnSpPr>
        <p:spPr bwMode="gray">
          <a:xfrm>
            <a:off x="3759200" y="5186363"/>
            <a:ext cx="36195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7DD4AF76-C68C-EE1B-E002-0D66F05BB1A0}"/>
              </a:ext>
            </a:extLst>
          </p:cNvPr>
          <p:cNvCxnSpPr/>
          <p:nvPr>
            <p:custDataLst>
              <p:tags r:id="rId25"/>
            </p:custDataLst>
          </p:nvPr>
        </p:nvCxnSpPr>
        <p:spPr bwMode="gray">
          <a:xfrm>
            <a:off x="4121150" y="5186363"/>
            <a:ext cx="0" cy="2825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699BD532-65DC-96FD-4123-62266DD0DC4A}"/>
              </a:ext>
            </a:extLst>
          </p:cNvPr>
          <p:cNvCxnSpPr/>
          <p:nvPr>
            <p:custDataLst>
              <p:tags r:id="rId26"/>
            </p:custDataLst>
          </p:nvPr>
        </p:nvCxnSpPr>
        <p:spPr bwMode="gray">
          <a:xfrm flipV="1">
            <a:off x="4483100" y="5060950"/>
            <a:ext cx="0" cy="56515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4FF602D1-7D9D-9DBF-0E42-FED6126AAB73}"/>
              </a:ext>
            </a:extLst>
          </p:cNvPr>
          <p:cNvCxnSpPr/>
          <p:nvPr>
            <p:custDataLst>
              <p:tags r:id="rId27"/>
            </p:custDataLst>
          </p:nvPr>
        </p:nvCxnSpPr>
        <p:spPr bwMode="gray">
          <a:xfrm>
            <a:off x="4483100" y="5060950"/>
            <a:ext cx="3635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86D9E423-E6B4-4D45-3990-DDDA803973C1}"/>
              </a:ext>
            </a:extLst>
          </p:cNvPr>
          <p:cNvCxnSpPr/>
          <p:nvPr>
            <p:custDataLst>
              <p:tags r:id="rId28"/>
            </p:custDataLst>
          </p:nvPr>
        </p:nvCxnSpPr>
        <p:spPr bwMode="gray">
          <a:xfrm>
            <a:off x="4846638" y="5060950"/>
            <a:ext cx="0" cy="2825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AA808F67-EAF4-680A-013D-A221F3247B17}"/>
              </a:ext>
            </a:extLst>
          </p:cNvPr>
          <p:cNvCxnSpPr/>
          <p:nvPr>
            <p:custDataLst>
              <p:tags r:id="rId29"/>
            </p:custDataLst>
          </p:nvPr>
        </p:nvCxnSpPr>
        <p:spPr bwMode="gray">
          <a:xfrm flipV="1">
            <a:off x="5208588" y="5254625"/>
            <a:ext cx="0" cy="3714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68855CB0-D6D8-6E78-61B2-1139C399CBAE}"/>
              </a:ext>
            </a:extLst>
          </p:cNvPr>
          <p:cNvCxnSpPr/>
          <p:nvPr>
            <p:custDataLst>
              <p:tags r:id="rId30"/>
            </p:custDataLst>
          </p:nvPr>
        </p:nvCxnSpPr>
        <p:spPr bwMode="gray">
          <a:xfrm>
            <a:off x="5208588" y="5254625"/>
            <a:ext cx="3635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0293325A-21CF-114B-AC04-439C476047FF}"/>
              </a:ext>
            </a:extLst>
          </p:cNvPr>
          <p:cNvCxnSpPr/>
          <p:nvPr>
            <p:custDataLst>
              <p:tags r:id="rId31"/>
            </p:custDataLst>
          </p:nvPr>
        </p:nvCxnSpPr>
        <p:spPr bwMode="gray">
          <a:xfrm>
            <a:off x="5572125" y="5254625"/>
            <a:ext cx="0" cy="4651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9" name="Text Placeholder 19">
            <a:extLst>
              <a:ext uri="{FF2B5EF4-FFF2-40B4-BE49-F238E27FC236}">
                <a16:creationId xmlns:a16="http://schemas.microsoft.com/office/drawing/2014/main" id="{9F9869AF-B0F6-4E89-B216-4EC18C7334C2}"/>
              </a:ext>
            </a:extLst>
          </p:cNvPr>
          <p:cNvSpPr>
            <a:spLocks noGrp="1"/>
          </p:cNvSpPr>
          <p:nvPr>
            <p:custDataLst>
              <p:tags r:id="rId32"/>
            </p:custDataLst>
          </p:nvPr>
        </p:nvSpPr>
        <p:spPr bwMode="auto">
          <a:xfrm>
            <a:off x="2257425" y="4484688"/>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148" name="Text Placeholder 19">
            <a:extLst>
              <a:ext uri="{FF2B5EF4-FFF2-40B4-BE49-F238E27FC236}">
                <a16:creationId xmlns:a16="http://schemas.microsoft.com/office/drawing/2014/main" id="{9F9869AF-B0F6-4E89-B216-4EC18C7334C2}"/>
              </a:ext>
            </a:extLst>
          </p:cNvPr>
          <p:cNvSpPr>
            <a:spLocks noGrp="1"/>
          </p:cNvSpPr>
          <p:nvPr>
            <p:custDataLst>
              <p:tags r:id="rId33"/>
            </p:custDataLst>
          </p:nvPr>
        </p:nvSpPr>
        <p:spPr bwMode="auto">
          <a:xfrm>
            <a:off x="2982913" y="4964113"/>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163"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auto">
          <a:xfrm>
            <a:off x="3708400" y="5057775"/>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175" name="Text Placeholder 19">
            <a:extLst>
              <a:ext uri="{FF2B5EF4-FFF2-40B4-BE49-F238E27FC236}">
                <a16:creationId xmlns:a16="http://schemas.microsoft.com/office/drawing/2014/main" id="{9F9869AF-B0F6-4E89-B216-4EC18C7334C2}"/>
              </a:ext>
            </a:extLst>
          </p:cNvPr>
          <p:cNvSpPr>
            <a:spLocks noGrp="1"/>
          </p:cNvSpPr>
          <p:nvPr>
            <p:custDataLst>
              <p:tags r:id="rId35"/>
            </p:custDataLst>
          </p:nvPr>
        </p:nvSpPr>
        <p:spPr bwMode="auto">
          <a:xfrm>
            <a:off x="4432300" y="4932363"/>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188" name="Text Placeholder 19">
            <a:extLst>
              <a:ext uri="{FF2B5EF4-FFF2-40B4-BE49-F238E27FC236}">
                <a16:creationId xmlns:a16="http://schemas.microsoft.com/office/drawing/2014/main" id="{9F9869AF-B0F6-4E89-B216-4EC18C7334C2}"/>
              </a:ext>
            </a:extLst>
          </p:cNvPr>
          <p:cNvSpPr>
            <a:spLocks noGrp="1"/>
          </p:cNvSpPr>
          <p:nvPr>
            <p:custDataLst>
              <p:tags r:id="rId36"/>
            </p:custDataLst>
          </p:nvPr>
        </p:nvSpPr>
        <p:spPr bwMode="auto">
          <a:xfrm>
            <a:off x="5157788" y="5126038"/>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12" name="Text Placeholder 6">
            <a:extLst>
              <a:ext uri="{FF2B5EF4-FFF2-40B4-BE49-F238E27FC236}">
                <a16:creationId xmlns:a16="http://schemas.microsoft.com/office/drawing/2014/main" id="{570F2818-8433-99A4-9B6B-40B985C5EAB6}"/>
              </a:ext>
            </a:extLst>
          </p:cNvPr>
          <p:cNvSpPr>
            <a:spLocks noGrp="1"/>
          </p:cNvSpPr>
          <p:nvPr>
            <p:ph type="body" sz="quarter" idx="32"/>
          </p:nvPr>
        </p:nvSpPr>
        <p:spPr>
          <a:xfrm>
            <a:off x="381600" y="6474841"/>
            <a:ext cx="11428800" cy="110800"/>
          </a:xfrm>
        </p:spPr>
        <p:txBody>
          <a:bodyPr/>
          <a:lstStyle/>
          <a:p>
            <a:endParaRPr lang="en-GB"/>
          </a:p>
        </p:txBody>
      </p:sp>
      <p:sp>
        <p:nvSpPr>
          <p:cNvPr id="161" name="Text Placeholder 2">
            <a:extLst>
              <a:ext uri="{FF2B5EF4-FFF2-40B4-BE49-F238E27FC236}">
                <a16:creationId xmlns:a16="http://schemas.microsoft.com/office/drawing/2014/main" id="{857195AD-D0F0-EC65-1322-F43BEBAB8CFA}"/>
              </a:ext>
            </a:extLst>
          </p:cNvPr>
          <p:cNvSpPr txBox="1">
            <a:spLocks/>
          </p:cNvSpPr>
          <p:nvPr/>
        </p:nvSpPr>
        <p:spPr>
          <a:xfrm>
            <a:off x="381599" y="79401"/>
            <a:ext cx="373050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Frequency response services</a:t>
            </a:r>
          </a:p>
        </p:txBody>
      </p:sp>
      <p:sp>
        <p:nvSpPr>
          <p:cNvPr id="60" name="Oval 59">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61" name="Oval 60">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341" name="Rectangle 340">
            <a:extLst>
              <a:ext uri="{FF2B5EF4-FFF2-40B4-BE49-F238E27FC236}">
                <a16:creationId xmlns:a16="http://schemas.microsoft.com/office/drawing/2014/main" id="{5BD7C930-3CE5-3B7F-03F8-7630E64967D5}"/>
              </a:ext>
            </a:extLst>
          </p:cNvPr>
          <p:cNvSpPr/>
          <p:nvPr>
            <p:custDataLst>
              <p:tags r:id="rId37"/>
            </p:custDataLst>
          </p:nvPr>
        </p:nvSpPr>
        <p:spPr bwMode="auto">
          <a:xfrm>
            <a:off x="1909763" y="6230938"/>
            <a:ext cx="179388" cy="133350"/>
          </a:xfrm>
          <a:prstGeom prst="rect">
            <a:avLst/>
          </a:prstGeom>
          <a:solidFill>
            <a:srgbClr val="5A5A5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42" name="Rectangle 341">
            <a:extLst>
              <a:ext uri="{FF2B5EF4-FFF2-40B4-BE49-F238E27FC236}">
                <a16:creationId xmlns:a16="http://schemas.microsoft.com/office/drawing/2014/main" id="{B56AEB44-9CEA-556F-AD71-18677C36BF16}"/>
              </a:ext>
            </a:extLst>
          </p:cNvPr>
          <p:cNvSpPr/>
          <p:nvPr>
            <p:custDataLst>
              <p:tags r:id="rId38"/>
            </p:custDataLst>
          </p:nvPr>
        </p:nvSpPr>
        <p:spPr bwMode="auto">
          <a:xfrm>
            <a:off x="2840038" y="6230938"/>
            <a:ext cx="179388" cy="133350"/>
          </a:xfrm>
          <a:prstGeom prst="rect">
            <a:avLst/>
          </a:prstGeom>
          <a:solidFill>
            <a:schemeClr val="accent5"/>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43" name="Rectangle 342">
            <a:extLst>
              <a:ext uri="{FF2B5EF4-FFF2-40B4-BE49-F238E27FC236}">
                <a16:creationId xmlns:a16="http://schemas.microsoft.com/office/drawing/2014/main" id="{B934D51A-E5E2-9326-8324-DFED58FB5550}"/>
              </a:ext>
            </a:extLst>
          </p:cNvPr>
          <p:cNvSpPr/>
          <p:nvPr>
            <p:custDataLst>
              <p:tags r:id="rId39"/>
            </p:custDataLst>
          </p:nvPr>
        </p:nvSpPr>
        <p:spPr bwMode="auto">
          <a:xfrm>
            <a:off x="3787775" y="6230938"/>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36" name="Text Placeholder 19">
            <a:extLst>
              <a:ext uri="{FF2B5EF4-FFF2-40B4-BE49-F238E27FC236}">
                <a16:creationId xmlns:a16="http://schemas.microsoft.com/office/drawing/2014/main" id="{9F9869AF-B0F6-4E89-B216-4EC18C7334C2}"/>
              </a:ext>
            </a:extLst>
          </p:cNvPr>
          <p:cNvSpPr>
            <a:spLocks noGrp="1"/>
          </p:cNvSpPr>
          <p:nvPr>
            <p:custDataLst>
              <p:tags r:id="rId40"/>
            </p:custDataLst>
          </p:nvPr>
        </p:nvSpPr>
        <p:spPr bwMode="auto">
          <a:xfrm>
            <a:off x="2139950" y="622617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181A060-D7D8-482F-88AF-8B5E15710CCE}"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337" name="Text Placeholder 19">
            <a:extLst>
              <a:ext uri="{FF2B5EF4-FFF2-40B4-BE49-F238E27FC236}">
                <a16:creationId xmlns:a16="http://schemas.microsoft.com/office/drawing/2014/main" id="{9F9869AF-B0F6-4E89-B216-4EC18C7334C2}"/>
              </a:ext>
            </a:extLst>
          </p:cNvPr>
          <p:cNvSpPr>
            <a:spLocks noGrp="1"/>
          </p:cNvSpPr>
          <p:nvPr>
            <p:custDataLst>
              <p:tags r:id="rId41"/>
            </p:custDataLst>
          </p:nvPr>
        </p:nvSpPr>
        <p:spPr bwMode="auto">
          <a:xfrm>
            <a:off x="3070225" y="622617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B71AE575-E4E9-42E5-B7A2-A509F5D90246}" type="datetime'''L''''a''''''te'' ''''''''''2''''''''0''''''''20''''''s'''''">
              <a:rPr lang="en-GB" altLang="en-US" sz="1000" smtClean="0">
                <a:effectLst/>
                <a:ea typeface="+mn-ea"/>
                <a:cs typeface="+mn-cs"/>
              </a:rPr>
              <a:pPr lvl="0">
                <a:spcBef>
                  <a:spcPct val="0"/>
                </a:spcBef>
                <a:spcAft>
                  <a:spcPct val="0"/>
                </a:spcAft>
              </a:pPr>
              <a:t>Late 2020s</a:t>
            </a:fld>
            <a:endParaRPr lang="en-GB" sz="1000">
              <a:ea typeface="+mn-ea"/>
              <a:cs typeface="+mn-cs"/>
            </a:endParaRPr>
          </a:p>
        </p:txBody>
      </p:sp>
      <p:sp>
        <p:nvSpPr>
          <p:cNvPr id="338" name="Text Placeholder 19">
            <a:extLst>
              <a:ext uri="{FF2B5EF4-FFF2-40B4-BE49-F238E27FC236}">
                <a16:creationId xmlns:a16="http://schemas.microsoft.com/office/drawing/2014/main" id="{9F9869AF-B0F6-4E89-B216-4EC18C7334C2}"/>
              </a:ext>
            </a:extLst>
          </p:cNvPr>
          <p:cNvSpPr>
            <a:spLocks noGrp="1"/>
          </p:cNvSpPr>
          <p:nvPr>
            <p:custDataLst>
              <p:tags r:id="rId42"/>
            </p:custDataLst>
          </p:nvPr>
        </p:nvSpPr>
        <p:spPr bwMode="auto">
          <a:xfrm>
            <a:off x="4017963" y="622617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39D51D8-8FB1-43C5-AFCA-E585D272439A}"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15" name="Text Placeholder 16">
            <a:extLst>
              <a:ext uri="{FF2B5EF4-FFF2-40B4-BE49-F238E27FC236}">
                <a16:creationId xmlns:a16="http://schemas.microsoft.com/office/drawing/2014/main" id="{98866ADB-AED4-4BFC-6E1F-9D4B356937B2}"/>
              </a:ext>
            </a:extLst>
          </p:cNvPr>
          <p:cNvSpPr txBox="1">
            <a:spLocks/>
          </p:cNvSpPr>
          <p:nvPr/>
        </p:nvSpPr>
        <p:spPr>
          <a:xfrm>
            <a:off x="7089775" y="4790139"/>
            <a:ext cx="4384470" cy="37394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900"/>
              <a:t>This is a redacted sample of the European Battery Market Attractiveness Report. If you are interested in the full report, contact Alex Hutcheson (</a:t>
            </a:r>
            <a:r>
              <a:rPr lang="en-GB" sz="900" u="sng"/>
              <a:t>alex.hutcheson@auroraer.com)</a:t>
            </a:r>
            <a:endParaRPr lang="en-GB" sz="900"/>
          </a:p>
        </p:txBody>
      </p:sp>
    </p:spTree>
    <p:extLst>
      <p:ext uri="{BB962C8B-B14F-4D97-AF65-F5344CB8AC3E}">
        <p14:creationId xmlns:p14="http://schemas.microsoft.com/office/powerpoint/2010/main" val="1560014322"/>
      </p:ext>
    </p:extLst>
  </p:cSld>
  <p:clrMapOvr>
    <a:masterClrMapping/>
  </p:clrMapOvr>
  <p:extLst>
    <p:ext uri="{6950BFC3-D8DA-4A85-94F7-54DA5524770B}">
      <p188:commentRel xmlns:p188="http://schemas.microsoft.com/office/powerpoint/2018/8/main" r:id="rId45"/>
    </p:ext>
  </p:extLs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0A5EAE75-8FF4-CECA-1925-4800CF4B5654}"/>
              </a:ext>
            </a:extLst>
          </p:cNvPr>
          <p:cNvGraphicFramePr>
            <a:graphicFrameLocks noChangeAspect="1"/>
          </p:cNvGraphicFramePr>
          <p:nvPr>
            <p:custDataLst>
              <p:tags r:id="rId1"/>
            </p:custDataLst>
            <p:extLst>
              <p:ext uri="{D42A27DB-BD31-4B8C-83A1-F6EECF244321}">
                <p14:modId xmlns:p14="http://schemas.microsoft.com/office/powerpoint/2010/main" val="1176542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95" imgH="396" progId="TCLayout.ActiveDocument.1">
                  <p:embed/>
                </p:oleObj>
              </mc:Choice>
              <mc:Fallback>
                <p:oleObj name="think-cell Slide" r:id="rId44" imgW="395" imgH="396" progId="TCLayout.ActiveDocument.1">
                  <p:embed/>
                  <p:pic>
                    <p:nvPicPr>
                      <p:cNvPr id="31" name="Object 30" hidden="1">
                        <a:extLst>
                          <a:ext uri="{FF2B5EF4-FFF2-40B4-BE49-F238E27FC236}">
                            <a16:creationId xmlns:a16="http://schemas.microsoft.com/office/drawing/2014/main" id="{0A5EAE75-8FF4-CECA-1925-4800CF4B5654}"/>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graphicFrame>
        <p:nvGraphicFramePr>
          <p:cNvPr id="6" name="Tabelle 7">
            <a:extLst>
              <a:ext uri="{FF2B5EF4-FFF2-40B4-BE49-F238E27FC236}">
                <a16:creationId xmlns:a16="http://schemas.microsoft.com/office/drawing/2014/main" id="{1949E43D-A36C-453D-EF49-DE47A6D29C97}"/>
              </a:ext>
            </a:extLst>
          </p:cNvPr>
          <p:cNvGraphicFramePr>
            <a:graphicFrameLocks noGrp="1"/>
          </p:cNvGraphicFramePr>
          <p:nvPr>
            <p:custDataLst>
              <p:tags r:id="rId2"/>
            </p:custDataLst>
            <p:extLst>
              <p:ext uri="{D42A27DB-BD31-4B8C-83A1-F6EECF244321}">
                <p14:modId xmlns:p14="http://schemas.microsoft.com/office/powerpoint/2010/main" val="2798394925"/>
              </p:ext>
            </p:extLst>
          </p:nvPr>
        </p:nvGraphicFramePr>
        <p:xfrm>
          <a:off x="381600" y="1267200"/>
          <a:ext cx="11467425" cy="5161680"/>
        </p:xfrm>
        <a:graphic>
          <a:graphicData uri="http://schemas.openxmlformats.org/drawingml/2006/table">
            <a:tbl>
              <a:tblPr firstRow="1" bandRow="1">
                <a:effectLst/>
                <a:tableStyleId>{5C22544A-7EE6-4342-B048-85BDC9FD1C3A}</a:tableStyleId>
              </a:tblPr>
              <a:tblGrid>
                <a:gridCol w="1227600">
                  <a:extLst>
                    <a:ext uri="{9D8B030D-6E8A-4147-A177-3AD203B41FA5}">
                      <a16:colId xmlns:a16="http://schemas.microsoft.com/office/drawing/2014/main" val="20000"/>
                    </a:ext>
                  </a:extLst>
                </a:gridCol>
                <a:gridCol w="123825">
                  <a:extLst>
                    <a:ext uri="{9D8B030D-6E8A-4147-A177-3AD203B41FA5}">
                      <a16:colId xmlns:a16="http://schemas.microsoft.com/office/drawing/2014/main" val="2133620686"/>
                    </a:ext>
                  </a:extLst>
                </a:gridCol>
                <a:gridCol w="4644000">
                  <a:extLst>
                    <a:ext uri="{9D8B030D-6E8A-4147-A177-3AD203B41FA5}">
                      <a16:colId xmlns:a16="http://schemas.microsoft.com/office/drawing/2014/main" val="20001"/>
                    </a:ext>
                  </a:extLst>
                </a:gridCol>
                <a:gridCol w="5472000">
                  <a:extLst>
                    <a:ext uri="{9D8B030D-6E8A-4147-A177-3AD203B41FA5}">
                      <a16:colId xmlns:a16="http://schemas.microsoft.com/office/drawing/2014/main" val="20002"/>
                    </a:ext>
                  </a:extLst>
                </a:gridCol>
              </a:tblGrid>
              <a:tr h="28800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reservation price of selected services, </a:t>
                      </a:r>
                      <a:r>
                        <a:rPr lang="en-GB" sz="1200" b="0" i="0" noProof="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W/h (real 2022)</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ents</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415600">
                <a:tc>
                  <a:txBody>
                    <a:bodyPr/>
                    <a:lstStyle/>
                    <a:p>
                      <a:pPr lvl="0"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lvl="0"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lvl="0"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600"/>
                        </a:spcAft>
                        <a:buClrTx/>
                        <a:buSzTx/>
                        <a:buFont typeface="Wingdings" panose="05000000000000000000" pitchFamily="2" charset="2"/>
                        <a:buNone/>
                        <a:tabLst/>
                        <a:defRPr/>
                      </a:pPr>
                      <a:endParaRPr lang="en-GB" sz="1200" kern="1200">
                        <a:solidFill>
                          <a:schemeClr val="tx1"/>
                        </a:solidFill>
                        <a:effectLs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455200">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lang="en-GB" sz="1200" kern="1200">
                        <a:solidFill>
                          <a:schemeClr val="tx1"/>
                        </a:solidFill>
                        <a:effectLs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 name="Text Placeholder 1">
            <a:extLst>
              <a:ext uri="{FF2B5EF4-FFF2-40B4-BE49-F238E27FC236}">
                <a16:creationId xmlns:a16="http://schemas.microsoft.com/office/drawing/2014/main" id="{B0DBA6CB-975A-9931-C3A7-117CF0CE65A6}"/>
              </a:ext>
            </a:extLst>
          </p:cNvPr>
          <p:cNvSpPr>
            <a:spLocks noGrp="1"/>
          </p:cNvSpPr>
          <p:nvPr>
            <p:ph type="body" sz="quarter" idx="22"/>
          </p:nvPr>
        </p:nvSpPr>
        <p:spPr>
          <a:xfrm>
            <a:off x="381001" y="6715169"/>
            <a:ext cx="1477969" cy="110800"/>
          </a:xfrm>
        </p:spPr>
        <p:txBody>
          <a:bodyPr/>
          <a:lstStyle/>
          <a:p>
            <a:r>
              <a:rPr lang="en-GB"/>
              <a:t>Source: Aurora Energy Research</a:t>
            </a:r>
          </a:p>
        </p:txBody>
      </p:sp>
      <p:sp>
        <p:nvSpPr>
          <p:cNvPr id="3" name="Title 2">
            <a:extLst>
              <a:ext uri="{FF2B5EF4-FFF2-40B4-BE49-F238E27FC236}">
                <a16:creationId xmlns:a16="http://schemas.microsoft.com/office/drawing/2014/main" id="{11BD282E-265D-5036-8D45-68854E2FC128}"/>
              </a:ext>
            </a:extLst>
          </p:cNvPr>
          <p:cNvSpPr>
            <a:spLocks noGrp="1"/>
          </p:cNvSpPr>
          <p:nvPr>
            <p:ph type="title"/>
          </p:nvPr>
        </p:nvSpPr>
        <p:spPr>
          <a:xfrm>
            <a:off x="381599" y="411856"/>
            <a:ext cx="9676801" cy="609398"/>
          </a:xfrm>
        </p:spPr>
        <p:txBody>
          <a:bodyPr vert="horz"/>
          <a:lstStyle/>
          <a:p>
            <a:r>
              <a:rPr lang="en-GB"/>
              <a:t>Retirement of thermal assets and battery deployment steadily reduce frequency service costs in </a:t>
            </a:r>
            <a:r>
              <a:rPr lang="en-GB">
                <a:solidFill>
                  <a:srgbClr val="808080"/>
                </a:solidFill>
                <a:highlight>
                  <a:srgbClr val="808080"/>
                </a:highlight>
              </a:rPr>
              <a:t>Greece and Poland </a:t>
            </a:r>
            <a:r>
              <a:rPr lang="en-GB"/>
              <a:t>(3/4)</a:t>
            </a:r>
          </a:p>
        </p:txBody>
      </p:sp>
      <p:graphicFrame>
        <p:nvGraphicFramePr>
          <p:cNvPr id="45" name="Chart 44">
            <a:extLst>
              <a:ext uri="{FF2B5EF4-FFF2-40B4-BE49-F238E27FC236}">
                <a16:creationId xmlns:a16="http://schemas.microsoft.com/office/drawing/2014/main" id="{8EBF3B0A-BAD1-3093-AA76-8612B7DE89DE}"/>
              </a:ext>
            </a:extLst>
          </p:cNvPr>
          <p:cNvGraphicFramePr/>
          <p:nvPr>
            <p:custDataLst>
              <p:tags r:id="rId3"/>
            </p:custDataLst>
            <p:extLst>
              <p:ext uri="{D42A27DB-BD31-4B8C-83A1-F6EECF244321}">
                <p14:modId xmlns:p14="http://schemas.microsoft.com/office/powerpoint/2010/main" val="3326566408"/>
              </p:ext>
            </p:extLst>
          </p:nvPr>
        </p:nvGraphicFramePr>
        <p:xfrm>
          <a:off x="2044700" y="1870075"/>
          <a:ext cx="3790950" cy="1573213"/>
        </p:xfrm>
        <a:graphic>
          <a:graphicData uri="http://schemas.openxmlformats.org/drawingml/2006/chart">
            <c:chart xmlns:c="http://schemas.openxmlformats.org/drawingml/2006/chart" xmlns:r="http://schemas.openxmlformats.org/officeDocument/2006/relationships" r:id="rId46"/>
          </a:graphicData>
        </a:graphic>
      </p:graphicFrame>
      <p:sp>
        <p:nvSpPr>
          <p:cNvPr id="46" name="Text Placeholder 19">
            <a:extLst>
              <a:ext uri="{FF2B5EF4-FFF2-40B4-BE49-F238E27FC236}">
                <a16:creationId xmlns:a16="http://schemas.microsoft.com/office/drawing/2014/main" id="{9F9869AF-B0F6-4E89-B216-4EC18C7334C2}"/>
              </a:ext>
            </a:extLst>
          </p:cNvPr>
          <p:cNvSpPr>
            <a:spLocks noGrp="1"/>
          </p:cNvSpPr>
          <p:nvPr>
            <p:custDataLst>
              <p:tags r:id="rId4"/>
            </p:custDataLst>
          </p:nvPr>
        </p:nvSpPr>
        <p:spPr bwMode="gray">
          <a:xfrm>
            <a:off x="1936750" y="3270250"/>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5E43AB67-6659-4DD1-A19D-BE6C871CE753}" type="datetime'''''''''''''''''''''''''''''''''''''''''''''''''''''0'''''''''">
              <a:rPr lang="en-GB" altLang="en-US" smtClean="0">
                <a:ea typeface="+mn-ea"/>
                <a:cs typeface="+mn-cs"/>
              </a:rPr>
              <a:pPr algn="r">
                <a:spcBef>
                  <a:spcPct val="0"/>
                </a:spcBef>
                <a:spcAft>
                  <a:spcPct val="0"/>
                </a:spcAft>
              </a:pPr>
              <a:t>0</a:t>
            </a:fld>
            <a:endParaRPr lang="en-GB">
              <a:ea typeface="+mn-ea"/>
              <a:cs typeface="+mn-cs"/>
            </a:endParaRPr>
          </a:p>
        </p:txBody>
      </p:sp>
      <p:sp>
        <p:nvSpPr>
          <p:cNvPr id="74" name="Text Placeholder 19">
            <a:extLst>
              <a:ext uri="{FF2B5EF4-FFF2-40B4-BE49-F238E27FC236}">
                <a16:creationId xmlns:a16="http://schemas.microsoft.com/office/drawing/2014/main" id="{9F9869AF-B0F6-4E89-B216-4EC18C7334C2}"/>
              </a:ext>
            </a:extLst>
          </p:cNvPr>
          <p:cNvSpPr>
            <a:spLocks noGrp="1"/>
          </p:cNvSpPr>
          <p:nvPr>
            <p:custDataLst>
              <p:tags r:id="rId5"/>
            </p:custDataLst>
          </p:nvPr>
        </p:nvSpPr>
        <p:spPr bwMode="gray">
          <a:xfrm>
            <a:off x="1936750" y="2989263"/>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F07DC48D-52A2-458F-9650-EF81175CEF46}" type="datetime'''''''''''''''''''''3'''''">
              <a:rPr lang="en-GB" altLang="en-US" smtClean="0">
                <a:effectLst/>
                <a:ea typeface="+mn-ea"/>
                <a:cs typeface="+mn-cs"/>
              </a:rPr>
              <a:pPr lvl="0" algn="r">
                <a:spcBef>
                  <a:spcPct val="0"/>
                </a:spcBef>
                <a:spcAft>
                  <a:spcPct val="0"/>
                </a:spcAft>
              </a:pPr>
              <a:t>3</a:t>
            </a:fld>
            <a:endParaRPr lang="en-GB">
              <a:ea typeface="+mn-ea"/>
              <a:cs typeface="+mn-cs"/>
            </a:endParaRPr>
          </a:p>
        </p:txBody>
      </p:sp>
      <p:sp>
        <p:nvSpPr>
          <p:cNvPr id="75"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gray">
          <a:xfrm>
            <a:off x="1936750" y="2706688"/>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F265D4A-1C90-46D3-8C9F-FD0FCA8616E4}" type="datetime'6'''''''''''''''''''''''''''''''''''''">
              <a:rPr lang="en-GB" altLang="en-US" smtClean="0">
                <a:effectLst/>
                <a:ea typeface="+mn-ea"/>
                <a:cs typeface="+mn-cs"/>
              </a:rPr>
              <a:pPr lvl="0" algn="r">
                <a:spcBef>
                  <a:spcPct val="0"/>
                </a:spcBef>
                <a:spcAft>
                  <a:spcPct val="0"/>
                </a:spcAft>
              </a:pPr>
              <a:t>6</a:t>
            </a:fld>
            <a:endParaRPr lang="en-GB">
              <a:ea typeface="+mn-ea"/>
              <a:cs typeface="+mn-cs"/>
            </a:endParaRPr>
          </a:p>
        </p:txBody>
      </p:sp>
      <p:sp>
        <p:nvSpPr>
          <p:cNvPr id="76"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gray">
          <a:xfrm>
            <a:off x="1936750" y="2425700"/>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D4BE584E-B80D-42B8-B319-15F0C4E5AF0B}" type="datetime'''''''''''''''''''''''''9'''''''''''''''''''''''''''''''''''">
              <a:rPr lang="en-GB" altLang="en-US" smtClean="0">
                <a:effectLst/>
                <a:ea typeface="+mn-ea"/>
                <a:cs typeface="+mn-cs"/>
              </a:rPr>
              <a:pPr lvl="0" algn="r">
                <a:spcBef>
                  <a:spcPct val="0"/>
                </a:spcBef>
                <a:spcAft>
                  <a:spcPct val="0"/>
                </a:spcAft>
              </a:pPr>
              <a:t>9</a:t>
            </a:fld>
            <a:endParaRPr lang="en-GB">
              <a:ea typeface="+mn-ea"/>
              <a:cs typeface="+mn-cs"/>
            </a:endParaRPr>
          </a:p>
        </p:txBody>
      </p:sp>
      <p:sp>
        <p:nvSpPr>
          <p:cNvPr id="77" name="Text Placeholder 19">
            <a:extLst>
              <a:ext uri="{FF2B5EF4-FFF2-40B4-BE49-F238E27FC236}">
                <a16:creationId xmlns:a16="http://schemas.microsoft.com/office/drawing/2014/main" id="{9F9869AF-B0F6-4E89-B216-4EC18C7334C2}"/>
              </a:ext>
            </a:extLst>
          </p:cNvPr>
          <p:cNvSpPr>
            <a:spLocks noGrp="1"/>
          </p:cNvSpPr>
          <p:nvPr>
            <p:custDataLst>
              <p:tags r:id="rId8"/>
            </p:custDataLst>
          </p:nvPr>
        </p:nvSpPr>
        <p:spPr bwMode="gray">
          <a:xfrm>
            <a:off x="1847850" y="2143125"/>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94EB9876-F80B-40E7-8597-F445D3443B52}" type="datetime'''''''''''''''''''''''''''''''''1''''''''''2'''''''">
              <a:rPr lang="en-GB" altLang="en-US" smtClean="0">
                <a:effectLst/>
                <a:ea typeface="+mn-ea"/>
                <a:cs typeface="+mn-cs"/>
              </a:rPr>
              <a:pPr lvl="0" algn="r">
                <a:spcBef>
                  <a:spcPct val="0"/>
                </a:spcBef>
                <a:spcAft>
                  <a:spcPct val="0"/>
                </a:spcAft>
              </a:pPr>
              <a:t>12</a:t>
            </a:fld>
            <a:endParaRPr lang="en-GB">
              <a:ea typeface="+mn-ea"/>
              <a:cs typeface="+mn-cs"/>
            </a:endParaRPr>
          </a:p>
        </p:txBody>
      </p:sp>
      <p:sp>
        <p:nvSpPr>
          <p:cNvPr id="49"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gray">
          <a:xfrm>
            <a:off x="1847850" y="1862138"/>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A3A23679-6F61-46AE-97DB-0C55B88D82AE}" type="datetime'1''''''''''5'''''''''''''''''''''''''''''">
              <a:rPr lang="en-GB" altLang="en-US" smtClean="0">
                <a:ea typeface="+mn-ea"/>
                <a:cs typeface="+mn-cs"/>
              </a:rPr>
              <a:pPr algn="r">
                <a:spcBef>
                  <a:spcPct val="0"/>
                </a:spcBef>
                <a:spcAft>
                  <a:spcPct val="0"/>
                </a:spcAft>
              </a:pPr>
              <a:t>15</a:t>
            </a:fld>
            <a:endParaRPr lang="en-GB">
              <a:ea typeface="+mn-ea"/>
              <a:cs typeface="+mn-cs"/>
            </a:endParaRPr>
          </a:p>
        </p:txBody>
      </p:sp>
      <p:cxnSp>
        <p:nvCxnSpPr>
          <p:cNvPr id="11" name="Straight Connector 10">
            <a:extLst>
              <a:ext uri="{FF2B5EF4-FFF2-40B4-BE49-F238E27FC236}">
                <a16:creationId xmlns:a16="http://schemas.microsoft.com/office/drawing/2014/main" id="{A1B2DF1D-77EA-676F-22CC-9C2E04BB95F5}"/>
              </a:ext>
            </a:extLst>
          </p:cNvPr>
          <p:cNvCxnSpPr>
            <a:cxnSpLocks/>
          </p:cNvCxnSpPr>
          <p:nvPr>
            <p:custDataLst>
              <p:tags r:id="rId10"/>
            </p:custDataLst>
          </p:nvPr>
        </p:nvCxnSpPr>
        <p:spPr bwMode="gray">
          <a:xfrm flipV="1">
            <a:off x="2579688" y="1944688"/>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A1BC10BB-0A25-07F3-540C-862E8D7CD3DD}"/>
              </a:ext>
            </a:extLst>
          </p:cNvPr>
          <p:cNvCxnSpPr/>
          <p:nvPr>
            <p:custDataLst>
              <p:tags r:id="rId11"/>
            </p:custDataLst>
          </p:nvPr>
        </p:nvCxnSpPr>
        <p:spPr bwMode="gray">
          <a:xfrm>
            <a:off x="2579688" y="1944688"/>
            <a:ext cx="90646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4E027AA-6D5E-9837-5711-2C694D53EA5F}"/>
              </a:ext>
            </a:extLst>
          </p:cNvPr>
          <p:cNvCxnSpPr/>
          <p:nvPr>
            <p:custDataLst>
              <p:tags r:id="rId12"/>
            </p:custDataLst>
          </p:nvPr>
        </p:nvCxnSpPr>
        <p:spPr bwMode="gray">
          <a:xfrm>
            <a:off x="3486150" y="1944688"/>
            <a:ext cx="0" cy="10541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71CF0D-42DA-2C0F-3AA8-F23A63CCDA55}"/>
              </a:ext>
            </a:extLst>
          </p:cNvPr>
          <p:cNvCxnSpPr/>
          <p:nvPr>
            <p:custDataLst>
              <p:tags r:id="rId13"/>
            </p:custDataLst>
          </p:nvPr>
        </p:nvCxnSpPr>
        <p:spPr bwMode="gray">
          <a:xfrm flipV="1">
            <a:off x="4392613" y="2176463"/>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CFA8955-1749-250D-10BF-0596BE3A24CB}"/>
              </a:ext>
            </a:extLst>
          </p:cNvPr>
          <p:cNvCxnSpPr/>
          <p:nvPr>
            <p:custDataLst>
              <p:tags r:id="rId14"/>
            </p:custDataLst>
          </p:nvPr>
        </p:nvCxnSpPr>
        <p:spPr bwMode="gray">
          <a:xfrm>
            <a:off x="4392614" y="2176463"/>
            <a:ext cx="90646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4B00DD83-0534-6EC1-A017-CFEBD32AA83C}"/>
              </a:ext>
            </a:extLst>
          </p:cNvPr>
          <p:cNvCxnSpPr/>
          <p:nvPr>
            <p:custDataLst>
              <p:tags r:id="rId15"/>
            </p:custDataLst>
          </p:nvPr>
        </p:nvCxnSpPr>
        <p:spPr bwMode="gray">
          <a:xfrm>
            <a:off x="5299075" y="2176463"/>
            <a:ext cx="0" cy="83026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 name="Text Placeholder 19">
            <a:extLst>
              <a:ext uri="{FF2B5EF4-FFF2-40B4-BE49-F238E27FC236}">
                <a16:creationId xmlns:a16="http://schemas.microsoft.com/office/drawing/2014/main" id="{EBBE6B72-62F6-42E5-A413-CEC178F37673}"/>
              </a:ext>
            </a:extLst>
          </p:cNvPr>
          <p:cNvSpPr>
            <a:spLocks noGrp="1"/>
          </p:cNvSpPr>
          <p:nvPr>
            <p:custDataLst>
              <p:tags r:id="rId16"/>
            </p:custDataLst>
          </p:nvPr>
        </p:nvSpPr>
        <p:spPr bwMode="auto">
          <a:xfrm>
            <a:off x="2800350" y="1816100"/>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40" name="Text Placeholder 19">
            <a:extLst>
              <a:ext uri="{FF2B5EF4-FFF2-40B4-BE49-F238E27FC236}">
                <a16:creationId xmlns:a16="http://schemas.microsoft.com/office/drawing/2014/main" id="{EF209072-52F9-CF67-CECB-C5710D2C2429}"/>
              </a:ext>
            </a:extLst>
          </p:cNvPr>
          <p:cNvSpPr>
            <a:spLocks noGrp="1"/>
          </p:cNvSpPr>
          <p:nvPr>
            <p:custDataLst>
              <p:tags r:id="rId17"/>
            </p:custDataLst>
          </p:nvPr>
        </p:nvSpPr>
        <p:spPr bwMode="auto">
          <a:xfrm>
            <a:off x="4613275" y="2047875"/>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graphicFrame>
        <p:nvGraphicFramePr>
          <p:cNvPr id="35" name="Chart 34">
            <a:extLst>
              <a:ext uri="{FF2B5EF4-FFF2-40B4-BE49-F238E27FC236}">
                <a16:creationId xmlns:a16="http://schemas.microsoft.com/office/drawing/2014/main" id="{8752A805-6291-BEB4-C998-96BDC9FD0833}"/>
              </a:ext>
            </a:extLst>
          </p:cNvPr>
          <p:cNvGraphicFramePr/>
          <p:nvPr>
            <p:custDataLst>
              <p:tags r:id="rId18"/>
            </p:custDataLst>
            <p:extLst>
              <p:ext uri="{D42A27DB-BD31-4B8C-83A1-F6EECF244321}">
                <p14:modId xmlns:p14="http://schemas.microsoft.com/office/powerpoint/2010/main" val="2275027075"/>
              </p:ext>
            </p:extLst>
          </p:nvPr>
        </p:nvGraphicFramePr>
        <p:xfrm>
          <a:off x="2044700" y="4351338"/>
          <a:ext cx="3790950" cy="1573212"/>
        </p:xfrm>
        <a:graphic>
          <a:graphicData uri="http://schemas.openxmlformats.org/drawingml/2006/chart">
            <c:chart xmlns:c="http://schemas.openxmlformats.org/drawingml/2006/chart" xmlns:r="http://schemas.openxmlformats.org/officeDocument/2006/relationships" r:id="rId47"/>
          </a:graphicData>
        </a:graphic>
      </p:graphicFrame>
      <p:sp>
        <p:nvSpPr>
          <p:cNvPr id="56" name="Text Placeholder 19">
            <a:extLst>
              <a:ext uri="{FF2B5EF4-FFF2-40B4-BE49-F238E27FC236}">
                <a16:creationId xmlns:a16="http://schemas.microsoft.com/office/drawing/2014/main" id="{9F9869AF-B0F6-4E89-B216-4EC18C7334C2}"/>
              </a:ext>
            </a:extLst>
          </p:cNvPr>
          <p:cNvSpPr>
            <a:spLocks noGrp="1"/>
          </p:cNvSpPr>
          <p:nvPr>
            <p:custDataLst>
              <p:tags r:id="rId19"/>
            </p:custDataLst>
          </p:nvPr>
        </p:nvSpPr>
        <p:spPr bwMode="gray">
          <a:xfrm>
            <a:off x="1936750" y="5751513"/>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5B08019B-6ADF-4768-A61F-4E0F1FF0CD0A}" type="datetime'''''''''''''''''0'''''''''''''''''''''''''''">
              <a:rPr lang="en-GB" altLang="en-US" smtClean="0">
                <a:ea typeface="+mn-ea"/>
                <a:cs typeface="+mn-cs"/>
              </a:rPr>
              <a:pPr algn="r">
                <a:spcBef>
                  <a:spcPct val="0"/>
                </a:spcBef>
                <a:spcAft>
                  <a:spcPct val="0"/>
                </a:spcAft>
              </a:pPr>
              <a:t>0</a:t>
            </a:fld>
            <a:endParaRPr lang="en-GB">
              <a:ea typeface="+mn-ea"/>
              <a:cs typeface="+mn-cs"/>
            </a:endParaRPr>
          </a:p>
        </p:txBody>
      </p:sp>
      <p:sp>
        <p:nvSpPr>
          <p:cNvPr id="47" name="Text Placeholder 19">
            <a:extLst>
              <a:ext uri="{FF2B5EF4-FFF2-40B4-BE49-F238E27FC236}">
                <a16:creationId xmlns:a16="http://schemas.microsoft.com/office/drawing/2014/main" id="{9F9869AF-B0F6-4E89-B216-4EC18C7334C2}"/>
              </a:ext>
            </a:extLst>
          </p:cNvPr>
          <p:cNvSpPr>
            <a:spLocks noGrp="1"/>
          </p:cNvSpPr>
          <p:nvPr>
            <p:custDataLst>
              <p:tags r:id="rId20"/>
            </p:custDataLst>
          </p:nvPr>
        </p:nvSpPr>
        <p:spPr bwMode="gray">
          <a:xfrm>
            <a:off x="1936750" y="5549900"/>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6EA9732B-66A9-432A-8F67-2A9F755C13AE}" type="datetime'''''''3'''''''''''">
              <a:rPr lang="en-GB" altLang="en-US" smtClean="0">
                <a:effectLst/>
                <a:ea typeface="+mn-ea"/>
                <a:cs typeface="+mn-cs"/>
              </a:rPr>
              <a:pPr lvl="0" algn="r">
                <a:spcBef>
                  <a:spcPct val="0"/>
                </a:spcBef>
                <a:spcAft>
                  <a:spcPct val="0"/>
                </a:spcAft>
              </a:pPr>
              <a:t>3</a:t>
            </a:fld>
            <a:endParaRPr lang="en-GB">
              <a:ea typeface="+mn-ea"/>
              <a:cs typeface="+mn-cs"/>
            </a:endParaRPr>
          </a:p>
        </p:txBody>
      </p:sp>
      <p:sp>
        <p:nvSpPr>
          <p:cNvPr id="48"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gray">
          <a:xfrm>
            <a:off x="1936750" y="5349875"/>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1883567E-F27A-4F27-8B72-D0B2051EDC5E}" type="datetime'''''''6'''''''''''''''">
              <a:rPr lang="en-GB" altLang="en-US" smtClean="0">
                <a:effectLst/>
                <a:ea typeface="+mn-ea"/>
                <a:cs typeface="+mn-cs"/>
              </a:rPr>
              <a:pPr lvl="0" algn="r">
                <a:spcBef>
                  <a:spcPct val="0"/>
                </a:spcBef>
                <a:spcAft>
                  <a:spcPct val="0"/>
                </a:spcAft>
              </a:pPr>
              <a:t>6</a:t>
            </a:fld>
            <a:endParaRPr lang="en-GB">
              <a:ea typeface="+mn-ea"/>
              <a:cs typeface="+mn-cs"/>
            </a:endParaRPr>
          </a:p>
        </p:txBody>
      </p:sp>
      <p:sp>
        <p:nvSpPr>
          <p:cNvPr id="50"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gray">
          <a:xfrm>
            <a:off x="1936750" y="5148263"/>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E7C6686A-8CEB-47CF-A169-C413C89F7D37}" type="datetime'''''''''''''''''''''''''''''''9'''''''''''''''''''">
              <a:rPr lang="en-GB" altLang="en-US" smtClean="0">
                <a:effectLst/>
                <a:ea typeface="+mn-ea"/>
                <a:cs typeface="+mn-cs"/>
              </a:rPr>
              <a:pPr lvl="0" algn="r">
                <a:spcBef>
                  <a:spcPct val="0"/>
                </a:spcBef>
                <a:spcAft>
                  <a:spcPct val="0"/>
                </a:spcAft>
              </a:pPr>
              <a:t>9</a:t>
            </a:fld>
            <a:endParaRPr lang="en-GB">
              <a:ea typeface="+mn-ea"/>
              <a:cs typeface="+mn-cs"/>
            </a:endParaRPr>
          </a:p>
        </p:txBody>
      </p:sp>
      <p:sp>
        <p:nvSpPr>
          <p:cNvPr id="51"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gray">
          <a:xfrm>
            <a:off x="1847850" y="4946650"/>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381A9DB5-168D-41D1-8B47-05964BC69E72}" type="datetime'''''''''''''1''''''''''''2'''''''''''''''''''''''">
              <a:rPr lang="en-GB" altLang="en-US" smtClean="0">
                <a:effectLst/>
                <a:ea typeface="+mn-ea"/>
                <a:cs typeface="+mn-cs"/>
              </a:rPr>
              <a:pPr lvl="0" algn="r">
                <a:spcBef>
                  <a:spcPct val="0"/>
                </a:spcBef>
                <a:spcAft>
                  <a:spcPct val="0"/>
                </a:spcAft>
              </a:pPr>
              <a:t>12</a:t>
            </a:fld>
            <a:endParaRPr lang="en-GB">
              <a:ea typeface="+mn-ea"/>
              <a:cs typeface="+mn-cs"/>
            </a:endParaRPr>
          </a:p>
        </p:txBody>
      </p:sp>
      <p:sp>
        <p:nvSpPr>
          <p:cNvPr id="59" name="Text Placeholder 19">
            <a:extLst>
              <a:ext uri="{FF2B5EF4-FFF2-40B4-BE49-F238E27FC236}">
                <a16:creationId xmlns:a16="http://schemas.microsoft.com/office/drawing/2014/main" id="{9F9869AF-B0F6-4E89-B216-4EC18C7334C2}"/>
              </a:ext>
            </a:extLst>
          </p:cNvPr>
          <p:cNvSpPr>
            <a:spLocks noGrp="1"/>
          </p:cNvSpPr>
          <p:nvPr>
            <p:custDataLst>
              <p:tags r:id="rId24"/>
            </p:custDataLst>
          </p:nvPr>
        </p:nvSpPr>
        <p:spPr bwMode="gray">
          <a:xfrm>
            <a:off x="1847850" y="4745038"/>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4C625B3F-099C-4BDB-BCA9-F0EEA5770182}" type="datetime'''''''1''''''''''5'''''''''''''''''''''''''''''''''">
              <a:rPr lang="en-GB" altLang="en-US" smtClean="0">
                <a:ea typeface="+mn-ea"/>
                <a:cs typeface="+mn-cs"/>
              </a:rPr>
              <a:pPr algn="r">
                <a:spcBef>
                  <a:spcPct val="0"/>
                </a:spcBef>
                <a:spcAft>
                  <a:spcPct val="0"/>
                </a:spcAft>
              </a:pPr>
              <a:t>15</a:t>
            </a:fld>
            <a:endParaRPr lang="en-GB">
              <a:ea typeface="+mn-ea"/>
              <a:cs typeface="+mn-cs"/>
            </a:endParaRPr>
          </a:p>
        </p:txBody>
      </p:sp>
      <p:sp>
        <p:nvSpPr>
          <p:cNvPr id="52" name="Text Placeholder 19">
            <a:extLst>
              <a:ext uri="{FF2B5EF4-FFF2-40B4-BE49-F238E27FC236}">
                <a16:creationId xmlns:a16="http://schemas.microsoft.com/office/drawing/2014/main" id="{9F9869AF-B0F6-4E89-B216-4EC18C7334C2}"/>
              </a:ext>
            </a:extLst>
          </p:cNvPr>
          <p:cNvSpPr>
            <a:spLocks noGrp="1"/>
          </p:cNvSpPr>
          <p:nvPr>
            <p:custDataLst>
              <p:tags r:id="rId25"/>
            </p:custDataLst>
          </p:nvPr>
        </p:nvSpPr>
        <p:spPr bwMode="gray">
          <a:xfrm>
            <a:off x="1847850" y="4545013"/>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DC97392-C5A3-4489-ACF8-6A36A6CC1061}" type="datetime'''''1''''''''''''''''''''''''''''''''8'''''">
              <a:rPr lang="en-GB" altLang="en-US" smtClean="0">
                <a:effectLst/>
                <a:ea typeface="+mn-ea"/>
                <a:cs typeface="+mn-cs"/>
              </a:rPr>
              <a:pPr lvl="0" algn="r">
                <a:spcBef>
                  <a:spcPct val="0"/>
                </a:spcBef>
                <a:spcAft>
                  <a:spcPct val="0"/>
                </a:spcAft>
              </a:pPr>
              <a:t>18</a:t>
            </a:fld>
            <a:endParaRPr lang="en-GB">
              <a:ea typeface="+mn-ea"/>
              <a:cs typeface="+mn-cs"/>
            </a:endParaRPr>
          </a:p>
        </p:txBody>
      </p:sp>
      <p:sp>
        <p:nvSpPr>
          <p:cNvPr id="53" name="Text Placeholder 19">
            <a:extLst>
              <a:ext uri="{FF2B5EF4-FFF2-40B4-BE49-F238E27FC236}">
                <a16:creationId xmlns:a16="http://schemas.microsoft.com/office/drawing/2014/main" id="{9F9869AF-B0F6-4E89-B216-4EC18C7334C2}"/>
              </a:ext>
            </a:extLst>
          </p:cNvPr>
          <p:cNvSpPr>
            <a:spLocks noGrp="1"/>
          </p:cNvSpPr>
          <p:nvPr>
            <p:custDataLst>
              <p:tags r:id="rId26"/>
            </p:custDataLst>
          </p:nvPr>
        </p:nvSpPr>
        <p:spPr bwMode="gray">
          <a:xfrm>
            <a:off x="1847850" y="4343400"/>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E1F24A9-0860-47E0-8454-0F6E86554579}" type="datetime'''''''''''''''2''''''''''''''''''''''''''''1'''''''">
              <a:rPr lang="en-GB" altLang="en-US" smtClean="0">
                <a:effectLst/>
                <a:ea typeface="+mn-ea"/>
                <a:cs typeface="+mn-cs"/>
              </a:rPr>
              <a:pPr lvl="0" algn="r">
                <a:spcBef>
                  <a:spcPct val="0"/>
                </a:spcBef>
                <a:spcAft>
                  <a:spcPct val="0"/>
                </a:spcAft>
              </a:pPr>
              <a:t>21</a:t>
            </a:fld>
            <a:endParaRPr lang="en-GB">
              <a:ea typeface="+mn-ea"/>
              <a:cs typeface="+mn-cs"/>
            </a:endParaRPr>
          </a:p>
        </p:txBody>
      </p:sp>
      <p:cxnSp>
        <p:nvCxnSpPr>
          <p:cNvPr id="90" name="Straight Connector 89">
            <a:extLst>
              <a:ext uri="{FF2B5EF4-FFF2-40B4-BE49-F238E27FC236}">
                <a16:creationId xmlns:a16="http://schemas.microsoft.com/office/drawing/2014/main" id="{DF09DD1C-7F99-414E-ED42-6F7C00C612D7}"/>
              </a:ext>
            </a:extLst>
          </p:cNvPr>
          <p:cNvCxnSpPr>
            <a:cxnSpLocks/>
          </p:cNvCxnSpPr>
          <p:nvPr>
            <p:custDataLst>
              <p:tags r:id="rId27"/>
            </p:custDataLst>
          </p:nvPr>
        </p:nvCxnSpPr>
        <p:spPr bwMode="gray">
          <a:xfrm flipV="1">
            <a:off x="2579688" y="4300538"/>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FCA45DFD-3BDE-31D0-7DD2-4561263F03F6}"/>
              </a:ext>
            </a:extLst>
          </p:cNvPr>
          <p:cNvCxnSpPr/>
          <p:nvPr>
            <p:custDataLst>
              <p:tags r:id="rId28"/>
            </p:custDataLst>
          </p:nvPr>
        </p:nvCxnSpPr>
        <p:spPr bwMode="gray">
          <a:xfrm>
            <a:off x="2579688" y="4300538"/>
            <a:ext cx="90646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A23E7304-E0E7-7C6E-5AC0-DFF8A9A00F7E}"/>
              </a:ext>
            </a:extLst>
          </p:cNvPr>
          <p:cNvCxnSpPr/>
          <p:nvPr>
            <p:custDataLst>
              <p:tags r:id="rId29"/>
            </p:custDataLst>
          </p:nvPr>
        </p:nvCxnSpPr>
        <p:spPr bwMode="gray">
          <a:xfrm>
            <a:off x="3486150" y="4300538"/>
            <a:ext cx="0" cy="12017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6FA64876-70C7-8096-A517-63EA329A2DB4}"/>
              </a:ext>
            </a:extLst>
          </p:cNvPr>
          <p:cNvCxnSpPr/>
          <p:nvPr>
            <p:custDataLst>
              <p:tags r:id="rId30"/>
            </p:custDataLst>
          </p:nvPr>
        </p:nvCxnSpPr>
        <p:spPr bwMode="gray">
          <a:xfrm flipV="1">
            <a:off x="4392613" y="4270375"/>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ABD3A68-B0E1-7AD0-0C00-4E8846B3D221}"/>
              </a:ext>
            </a:extLst>
          </p:cNvPr>
          <p:cNvCxnSpPr/>
          <p:nvPr>
            <p:custDataLst>
              <p:tags r:id="rId31"/>
            </p:custDataLst>
          </p:nvPr>
        </p:nvCxnSpPr>
        <p:spPr bwMode="gray">
          <a:xfrm>
            <a:off x="4392614" y="4270375"/>
            <a:ext cx="906463"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7559A142-E6E9-9705-2608-85CCFC8C051C}"/>
              </a:ext>
            </a:extLst>
          </p:cNvPr>
          <p:cNvCxnSpPr/>
          <p:nvPr>
            <p:custDataLst>
              <p:tags r:id="rId32"/>
            </p:custDataLst>
          </p:nvPr>
        </p:nvCxnSpPr>
        <p:spPr bwMode="gray">
          <a:xfrm>
            <a:off x="5299075" y="4270375"/>
            <a:ext cx="0" cy="119697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3" name="Text Placeholder 19">
            <a:extLst>
              <a:ext uri="{FF2B5EF4-FFF2-40B4-BE49-F238E27FC236}">
                <a16:creationId xmlns:a16="http://schemas.microsoft.com/office/drawing/2014/main" id="{BA783195-AE77-9283-C0EB-BFE75863A4C7}"/>
              </a:ext>
            </a:extLst>
          </p:cNvPr>
          <p:cNvSpPr>
            <a:spLocks noGrp="1"/>
          </p:cNvSpPr>
          <p:nvPr>
            <p:custDataLst>
              <p:tags r:id="rId33"/>
            </p:custDataLst>
          </p:nvPr>
        </p:nvSpPr>
        <p:spPr bwMode="auto">
          <a:xfrm>
            <a:off x="2800350" y="4171950"/>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105" name="Text Placeholder 19">
            <a:extLst>
              <a:ext uri="{FF2B5EF4-FFF2-40B4-BE49-F238E27FC236}">
                <a16:creationId xmlns:a16="http://schemas.microsoft.com/office/drawing/2014/main" id="{8A63C57F-53A9-AC5A-F0A1-39AA8610AE90}"/>
              </a:ext>
            </a:extLst>
          </p:cNvPr>
          <p:cNvSpPr>
            <a:spLocks noGrp="1"/>
          </p:cNvSpPr>
          <p:nvPr>
            <p:custDataLst>
              <p:tags r:id="rId34"/>
            </p:custDataLst>
          </p:nvPr>
        </p:nvSpPr>
        <p:spPr bwMode="auto">
          <a:xfrm>
            <a:off x="4613275" y="4141788"/>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121" name="Rectangle 120">
            <a:extLst>
              <a:ext uri="{FF2B5EF4-FFF2-40B4-BE49-F238E27FC236}">
                <a16:creationId xmlns:a16="http://schemas.microsoft.com/office/drawing/2014/main" id="{572CC08C-6573-809B-ED3E-6060545225A8}"/>
              </a:ext>
            </a:extLst>
          </p:cNvPr>
          <p:cNvSpPr/>
          <p:nvPr>
            <p:custDataLst>
              <p:tags r:id="rId35"/>
            </p:custDataLst>
          </p:nvPr>
        </p:nvSpPr>
        <p:spPr bwMode="auto">
          <a:xfrm>
            <a:off x="1909763" y="623093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22" name="Rectangle 121">
            <a:extLst>
              <a:ext uri="{FF2B5EF4-FFF2-40B4-BE49-F238E27FC236}">
                <a16:creationId xmlns:a16="http://schemas.microsoft.com/office/drawing/2014/main" id="{ED23096E-ED7E-DA86-74ED-0B1545D9A326}"/>
              </a:ext>
            </a:extLst>
          </p:cNvPr>
          <p:cNvSpPr/>
          <p:nvPr>
            <p:custDataLst>
              <p:tags r:id="rId36"/>
            </p:custDataLst>
          </p:nvPr>
        </p:nvSpPr>
        <p:spPr bwMode="auto">
          <a:xfrm>
            <a:off x="2840038" y="623093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23" name="Rectangle 122">
            <a:extLst>
              <a:ext uri="{FF2B5EF4-FFF2-40B4-BE49-F238E27FC236}">
                <a16:creationId xmlns:a16="http://schemas.microsoft.com/office/drawing/2014/main" id="{2DCE7F5D-D3C9-5DFA-BFDA-B8A53F6F45FA}"/>
              </a:ext>
            </a:extLst>
          </p:cNvPr>
          <p:cNvSpPr/>
          <p:nvPr>
            <p:custDataLst>
              <p:tags r:id="rId37"/>
            </p:custDataLst>
          </p:nvPr>
        </p:nvSpPr>
        <p:spPr bwMode="auto">
          <a:xfrm>
            <a:off x="3787775" y="6230938"/>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16" name="Text Placeholder 19">
            <a:extLst>
              <a:ext uri="{FF2B5EF4-FFF2-40B4-BE49-F238E27FC236}">
                <a16:creationId xmlns:a16="http://schemas.microsoft.com/office/drawing/2014/main" id="{9F9869AF-B0F6-4E89-B216-4EC18C7334C2}"/>
              </a:ext>
            </a:extLst>
          </p:cNvPr>
          <p:cNvSpPr>
            <a:spLocks noGrp="1"/>
          </p:cNvSpPr>
          <p:nvPr>
            <p:custDataLst>
              <p:tags r:id="rId38"/>
            </p:custDataLst>
          </p:nvPr>
        </p:nvSpPr>
        <p:spPr bwMode="auto">
          <a:xfrm>
            <a:off x="2139950" y="622617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1BF16E8D-60EC-40FB-B7C6-3B2A1F7BF594}" type="datetime'''Sh''''''o''''''r''''''''''''t'' ''''''t''''''''e''''r''m'">
              <a:rPr lang="en-GB" altLang="en-US" sz="1000" smtClean="0">
                <a:effectLst/>
                <a:ea typeface="+mn-ea"/>
                <a:cs typeface="+mn-cs"/>
              </a:rPr>
              <a:pPr>
                <a:spcBef>
                  <a:spcPct val="0"/>
                </a:spcBef>
                <a:spcAft>
                  <a:spcPct val="0"/>
                </a:spcAft>
              </a:pPr>
              <a:t>Short term</a:t>
            </a:fld>
            <a:endParaRPr lang="en-GB" sz="1000">
              <a:ea typeface="+mn-ea"/>
              <a:cs typeface="+mn-cs"/>
            </a:endParaRPr>
          </a:p>
        </p:txBody>
      </p:sp>
      <p:sp>
        <p:nvSpPr>
          <p:cNvPr id="118" name="Text Placeholder 19">
            <a:extLst>
              <a:ext uri="{FF2B5EF4-FFF2-40B4-BE49-F238E27FC236}">
                <a16:creationId xmlns:a16="http://schemas.microsoft.com/office/drawing/2014/main" id="{9F9869AF-B0F6-4E89-B216-4EC18C7334C2}"/>
              </a:ext>
            </a:extLst>
          </p:cNvPr>
          <p:cNvSpPr>
            <a:spLocks noGrp="1"/>
          </p:cNvSpPr>
          <p:nvPr>
            <p:custDataLst>
              <p:tags r:id="rId39"/>
            </p:custDataLst>
          </p:nvPr>
        </p:nvSpPr>
        <p:spPr bwMode="auto">
          <a:xfrm>
            <a:off x="3070225" y="622617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292AE83B-DA5B-4BB6-A367-AD66CC2B2720}" type="datetime'''''L''''''''''''''''''''at''e 20''''2''''''''''''0''s'''''''">
              <a:rPr lang="en-GB" altLang="en-US" sz="1000" smtClean="0">
                <a:effectLst/>
                <a:ea typeface="+mn-ea"/>
                <a:cs typeface="+mn-cs"/>
              </a:rPr>
              <a:pPr>
                <a:spcBef>
                  <a:spcPct val="0"/>
                </a:spcBef>
                <a:spcAft>
                  <a:spcPct val="0"/>
                </a:spcAft>
              </a:pPr>
              <a:t>Late 2020s</a:t>
            </a:fld>
            <a:endParaRPr lang="en-GB" sz="1000">
              <a:ea typeface="+mn-ea"/>
              <a:cs typeface="+mn-cs"/>
            </a:endParaRPr>
          </a:p>
        </p:txBody>
      </p:sp>
      <p:sp>
        <p:nvSpPr>
          <p:cNvPr id="119" name="Text Placeholder 19">
            <a:extLst>
              <a:ext uri="{FF2B5EF4-FFF2-40B4-BE49-F238E27FC236}">
                <a16:creationId xmlns:a16="http://schemas.microsoft.com/office/drawing/2014/main" id="{9F9869AF-B0F6-4E89-B216-4EC18C7334C2}"/>
              </a:ext>
            </a:extLst>
          </p:cNvPr>
          <p:cNvSpPr>
            <a:spLocks noGrp="1"/>
          </p:cNvSpPr>
          <p:nvPr>
            <p:custDataLst>
              <p:tags r:id="rId40"/>
            </p:custDataLst>
          </p:nvPr>
        </p:nvSpPr>
        <p:spPr bwMode="auto">
          <a:xfrm>
            <a:off x="4017963" y="622617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151362C0-1E34-4560-85C1-851D340B4220}" type="datetime'203''''''''''''''''''''''''''''''0''s'''">
              <a:rPr lang="en-GB" altLang="en-US" sz="1000" smtClean="0">
                <a:effectLst/>
                <a:ea typeface="+mn-ea"/>
                <a:cs typeface="+mn-cs"/>
              </a:rPr>
              <a:pPr>
                <a:spcBef>
                  <a:spcPct val="0"/>
                </a:spcBef>
                <a:spcAft>
                  <a:spcPct val="0"/>
                </a:spcAft>
              </a:pPr>
              <a:t>2030s</a:t>
            </a:fld>
            <a:endParaRPr lang="en-GB" sz="1000">
              <a:ea typeface="+mn-ea"/>
              <a:cs typeface="+mn-cs"/>
            </a:endParaRPr>
          </a:p>
        </p:txBody>
      </p:sp>
      <p:sp>
        <p:nvSpPr>
          <p:cNvPr id="39" name="Text Placeholder 2">
            <a:extLst>
              <a:ext uri="{FF2B5EF4-FFF2-40B4-BE49-F238E27FC236}">
                <a16:creationId xmlns:a16="http://schemas.microsoft.com/office/drawing/2014/main" id="{A3C203E2-560D-586A-F607-87A7CBB8857F}"/>
              </a:ext>
            </a:extLst>
          </p:cNvPr>
          <p:cNvSpPr txBox="1">
            <a:spLocks/>
          </p:cNvSpPr>
          <p:nvPr/>
        </p:nvSpPr>
        <p:spPr>
          <a:xfrm>
            <a:off x="381599" y="79401"/>
            <a:ext cx="373050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Frequency response services</a:t>
            </a:r>
          </a:p>
        </p:txBody>
      </p:sp>
      <p:sp>
        <p:nvSpPr>
          <p:cNvPr id="42" name="Oval 41">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43" name="Oval 42">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27" name="Text Placeholder 16">
            <a:extLst>
              <a:ext uri="{FF2B5EF4-FFF2-40B4-BE49-F238E27FC236}">
                <a16:creationId xmlns:a16="http://schemas.microsoft.com/office/drawing/2014/main" id="{DB839FE6-43C3-E1E2-9E25-46BF9AE630CD}"/>
              </a:ext>
            </a:extLst>
          </p:cNvPr>
          <p:cNvSpPr txBox="1">
            <a:spLocks/>
          </p:cNvSpPr>
          <p:nvPr/>
        </p:nvSpPr>
        <p:spPr>
          <a:xfrm>
            <a:off x="7089775" y="4790139"/>
            <a:ext cx="4384470" cy="37394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900"/>
              <a:t>This is a redacted sample of the European Battery Market Attractiveness Report. If you are interested in the full report, contact Alex Hutcheson (</a:t>
            </a:r>
            <a:r>
              <a:rPr lang="en-GB" sz="900" u="sng"/>
              <a:t>alex.hutcheson@auroraer.com)</a:t>
            </a:r>
            <a:endParaRPr lang="en-GB" sz="900"/>
          </a:p>
        </p:txBody>
      </p:sp>
    </p:spTree>
    <p:extLst>
      <p:ext uri="{BB962C8B-B14F-4D97-AF65-F5344CB8AC3E}">
        <p14:creationId xmlns:p14="http://schemas.microsoft.com/office/powerpoint/2010/main" val="1180533530"/>
      </p:ext>
    </p:extLst>
  </p:cSld>
  <p:clrMapOvr>
    <a:masterClrMapping/>
  </p:clrMapOvr>
  <p:extLst>
    <p:ext uri="{6950BFC3-D8DA-4A85-94F7-54DA5524770B}">
      <p188:commentRel xmlns:p188="http://schemas.microsoft.com/office/powerpoint/2018/8/main" r:id="rId43"/>
    </p:ext>
  </p:extLs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0A5EAE75-8FF4-CECA-1925-4800CF4B5654}"/>
              </a:ext>
            </a:extLst>
          </p:cNvPr>
          <p:cNvGraphicFramePr>
            <a:graphicFrameLocks noChangeAspect="1"/>
          </p:cNvGraphicFramePr>
          <p:nvPr>
            <p:custDataLst>
              <p:tags r:id="rId1"/>
            </p:custDataLst>
            <p:extLst>
              <p:ext uri="{D42A27DB-BD31-4B8C-83A1-F6EECF244321}">
                <p14:modId xmlns:p14="http://schemas.microsoft.com/office/powerpoint/2010/main" val="381531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95" imgH="396" progId="TCLayout.ActiveDocument.1">
                  <p:embed/>
                </p:oleObj>
              </mc:Choice>
              <mc:Fallback>
                <p:oleObj name="think-cell Slide" r:id="rId44" imgW="395" imgH="396" progId="TCLayout.ActiveDocument.1">
                  <p:embed/>
                  <p:pic>
                    <p:nvPicPr>
                      <p:cNvPr id="31" name="Object 30" hidden="1">
                        <a:extLst>
                          <a:ext uri="{FF2B5EF4-FFF2-40B4-BE49-F238E27FC236}">
                            <a16:creationId xmlns:a16="http://schemas.microsoft.com/office/drawing/2014/main" id="{0A5EAE75-8FF4-CECA-1925-4800CF4B5654}"/>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graphicFrame>
        <p:nvGraphicFramePr>
          <p:cNvPr id="6" name="Tabelle 7">
            <a:extLst>
              <a:ext uri="{FF2B5EF4-FFF2-40B4-BE49-F238E27FC236}">
                <a16:creationId xmlns:a16="http://schemas.microsoft.com/office/drawing/2014/main" id="{1949E43D-A36C-453D-EF49-DE47A6D29C97}"/>
              </a:ext>
            </a:extLst>
          </p:cNvPr>
          <p:cNvGraphicFramePr>
            <a:graphicFrameLocks noGrp="1"/>
          </p:cNvGraphicFramePr>
          <p:nvPr>
            <p:custDataLst>
              <p:tags r:id="rId2"/>
            </p:custDataLst>
            <p:extLst>
              <p:ext uri="{D42A27DB-BD31-4B8C-83A1-F6EECF244321}">
                <p14:modId xmlns:p14="http://schemas.microsoft.com/office/powerpoint/2010/main" val="3892983329"/>
              </p:ext>
            </p:extLst>
          </p:nvPr>
        </p:nvGraphicFramePr>
        <p:xfrm>
          <a:off x="381597" y="1267200"/>
          <a:ext cx="11467425" cy="5161680"/>
        </p:xfrm>
        <a:graphic>
          <a:graphicData uri="http://schemas.openxmlformats.org/drawingml/2006/table">
            <a:tbl>
              <a:tblPr firstRow="1" bandRow="1">
                <a:effectLst/>
                <a:tableStyleId>{5C22544A-7EE6-4342-B048-85BDC9FD1C3A}</a:tableStyleId>
              </a:tblPr>
              <a:tblGrid>
                <a:gridCol w="1227600">
                  <a:extLst>
                    <a:ext uri="{9D8B030D-6E8A-4147-A177-3AD203B41FA5}">
                      <a16:colId xmlns:a16="http://schemas.microsoft.com/office/drawing/2014/main" val="20000"/>
                    </a:ext>
                  </a:extLst>
                </a:gridCol>
                <a:gridCol w="123825">
                  <a:extLst>
                    <a:ext uri="{9D8B030D-6E8A-4147-A177-3AD203B41FA5}">
                      <a16:colId xmlns:a16="http://schemas.microsoft.com/office/drawing/2014/main" val="2133620686"/>
                    </a:ext>
                  </a:extLst>
                </a:gridCol>
                <a:gridCol w="4644000">
                  <a:extLst>
                    <a:ext uri="{9D8B030D-6E8A-4147-A177-3AD203B41FA5}">
                      <a16:colId xmlns:a16="http://schemas.microsoft.com/office/drawing/2014/main" val="20001"/>
                    </a:ext>
                  </a:extLst>
                </a:gridCol>
                <a:gridCol w="5472000">
                  <a:extLst>
                    <a:ext uri="{9D8B030D-6E8A-4147-A177-3AD203B41FA5}">
                      <a16:colId xmlns:a16="http://schemas.microsoft.com/office/drawing/2014/main" val="20002"/>
                    </a:ext>
                  </a:extLst>
                </a:gridCol>
              </a:tblGrid>
              <a:tr h="28800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reservation price of selected services, </a:t>
                      </a:r>
                      <a:r>
                        <a:rPr lang="en-GB" sz="1200" b="0" i="0" noProof="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W/h (real 2022)</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ents</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415600">
                <a:tc>
                  <a:txBody>
                    <a:bodyPr/>
                    <a:lstStyle/>
                    <a:p>
                      <a:pPr lvl="0"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lvl="0"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lvl="0"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lang="en-GB" sz="1200" kern="1200">
                        <a:solidFill>
                          <a:schemeClr val="dk1"/>
                        </a:solidFill>
                        <a:effectLs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455200">
                <a:tc>
                  <a:txBody>
                    <a:bodyPr/>
                    <a:lstStyle/>
                    <a:p>
                      <a:pPr lvl="0"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lvl="0"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lvl="0"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US"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lang="en-GB" sz="1200" kern="1200">
                        <a:solidFill>
                          <a:schemeClr val="dk1"/>
                        </a:solidFill>
                        <a:effectLs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9094740"/>
                  </a:ext>
                </a:extLst>
              </a:tr>
            </a:tbl>
          </a:graphicData>
        </a:graphic>
      </p:graphicFrame>
      <p:sp>
        <p:nvSpPr>
          <p:cNvPr id="2" name="Text Placeholder 1">
            <a:extLst>
              <a:ext uri="{FF2B5EF4-FFF2-40B4-BE49-F238E27FC236}">
                <a16:creationId xmlns:a16="http://schemas.microsoft.com/office/drawing/2014/main" id="{B0DBA6CB-975A-9931-C3A7-117CF0CE65A6}"/>
              </a:ext>
            </a:extLst>
          </p:cNvPr>
          <p:cNvSpPr>
            <a:spLocks noGrp="1"/>
          </p:cNvSpPr>
          <p:nvPr>
            <p:ph type="body" sz="quarter" idx="22"/>
          </p:nvPr>
        </p:nvSpPr>
        <p:spPr>
          <a:xfrm>
            <a:off x="381001" y="6715169"/>
            <a:ext cx="1477969" cy="110800"/>
          </a:xfrm>
        </p:spPr>
        <p:txBody>
          <a:bodyPr/>
          <a:lstStyle/>
          <a:p>
            <a:r>
              <a:rPr lang="en-GB"/>
              <a:t>Source: Aurora Energy Research</a:t>
            </a:r>
          </a:p>
        </p:txBody>
      </p:sp>
      <p:sp>
        <p:nvSpPr>
          <p:cNvPr id="3" name="Title 2">
            <a:extLst>
              <a:ext uri="{FF2B5EF4-FFF2-40B4-BE49-F238E27FC236}">
                <a16:creationId xmlns:a16="http://schemas.microsoft.com/office/drawing/2014/main" id="{11BD282E-265D-5036-8D45-68854E2FC128}"/>
              </a:ext>
            </a:extLst>
          </p:cNvPr>
          <p:cNvSpPr>
            <a:spLocks noGrp="1"/>
          </p:cNvSpPr>
          <p:nvPr>
            <p:ph type="title"/>
          </p:nvPr>
        </p:nvSpPr>
        <p:spPr/>
        <p:txBody>
          <a:bodyPr vert="horz"/>
          <a:lstStyle/>
          <a:p>
            <a:r>
              <a:rPr lang="en-GB"/>
              <a:t>Increased battery participation and regulatory shifts drive down frequency service prices in </a:t>
            </a:r>
            <a:r>
              <a:rPr lang="en-GB">
                <a:solidFill>
                  <a:srgbClr val="808080"/>
                </a:solidFill>
                <a:highlight>
                  <a:srgbClr val="808080"/>
                </a:highlight>
              </a:rPr>
              <a:t>Spain, Portugal, and France </a:t>
            </a:r>
            <a:r>
              <a:rPr lang="en-GB"/>
              <a:t>(4/4)</a:t>
            </a:r>
          </a:p>
        </p:txBody>
      </p:sp>
      <p:graphicFrame>
        <p:nvGraphicFramePr>
          <p:cNvPr id="52" name="Chart 51">
            <a:extLst>
              <a:ext uri="{FF2B5EF4-FFF2-40B4-BE49-F238E27FC236}">
                <a16:creationId xmlns:a16="http://schemas.microsoft.com/office/drawing/2014/main" id="{80BD9BA0-8C28-98FC-2CEB-9F42D0769D13}"/>
              </a:ext>
            </a:extLst>
          </p:cNvPr>
          <p:cNvGraphicFramePr/>
          <p:nvPr>
            <p:custDataLst>
              <p:tags r:id="rId3"/>
            </p:custDataLst>
            <p:extLst>
              <p:ext uri="{D42A27DB-BD31-4B8C-83A1-F6EECF244321}">
                <p14:modId xmlns:p14="http://schemas.microsoft.com/office/powerpoint/2010/main" val="2209645674"/>
              </p:ext>
            </p:extLst>
          </p:nvPr>
        </p:nvGraphicFramePr>
        <p:xfrm>
          <a:off x="2044700" y="1868488"/>
          <a:ext cx="4276725" cy="1577975"/>
        </p:xfrm>
        <a:graphic>
          <a:graphicData uri="http://schemas.openxmlformats.org/drawingml/2006/chart">
            <c:chart xmlns:c="http://schemas.openxmlformats.org/drawingml/2006/chart" xmlns:r="http://schemas.openxmlformats.org/officeDocument/2006/relationships" r:id="rId46"/>
          </a:graphicData>
        </a:graphic>
      </p:graphicFrame>
      <p:sp>
        <p:nvSpPr>
          <p:cNvPr id="60" name="Text Placeholder 19">
            <a:extLst>
              <a:ext uri="{FF2B5EF4-FFF2-40B4-BE49-F238E27FC236}">
                <a16:creationId xmlns:a16="http://schemas.microsoft.com/office/drawing/2014/main" id="{9F9869AF-B0F6-4E89-B216-4EC18C7334C2}"/>
              </a:ext>
            </a:extLst>
          </p:cNvPr>
          <p:cNvSpPr>
            <a:spLocks noGrp="1"/>
          </p:cNvSpPr>
          <p:nvPr>
            <p:custDataLst>
              <p:tags r:id="rId4"/>
            </p:custDataLst>
          </p:nvPr>
        </p:nvSpPr>
        <p:spPr bwMode="gray">
          <a:xfrm>
            <a:off x="1936750" y="3273425"/>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A6231BA6-5166-46D2-9099-901D1D7D4E81}" type="datetime'''''''''''''''0'''''">
              <a:rPr lang="en-GB" altLang="en-US" smtClean="0">
                <a:ea typeface="+mn-ea"/>
                <a:cs typeface="+mn-cs"/>
              </a:rPr>
              <a:pPr algn="r">
                <a:spcBef>
                  <a:spcPct val="0"/>
                </a:spcBef>
                <a:spcAft>
                  <a:spcPct val="0"/>
                </a:spcAft>
              </a:pPr>
              <a:t>0</a:t>
            </a:fld>
            <a:endParaRPr lang="en-GB">
              <a:ea typeface="+mn-ea"/>
              <a:cs typeface="+mn-cs"/>
            </a:endParaRPr>
          </a:p>
        </p:txBody>
      </p:sp>
      <p:sp>
        <p:nvSpPr>
          <p:cNvPr id="78" name="Text Placeholder 19">
            <a:extLst>
              <a:ext uri="{FF2B5EF4-FFF2-40B4-BE49-F238E27FC236}">
                <a16:creationId xmlns:a16="http://schemas.microsoft.com/office/drawing/2014/main" id="{9F9869AF-B0F6-4E89-B216-4EC18C7334C2}"/>
              </a:ext>
            </a:extLst>
          </p:cNvPr>
          <p:cNvSpPr>
            <a:spLocks noGrp="1"/>
          </p:cNvSpPr>
          <p:nvPr>
            <p:custDataLst>
              <p:tags r:id="rId5"/>
            </p:custDataLst>
          </p:nvPr>
        </p:nvSpPr>
        <p:spPr bwMode="gray">
          <a:xfrm>
            <a:off x="1847850" y="3071813"/>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D9617A86-A646-47DD-B461-001169A43DC6}" type="datetime'''''''''''''''''''''''''''''1''0'''''''''">
              <a:rPr lang="en-GB" altLang="en-US" smtClean="0">
                <a:effectLst/>
                <a:ea typeface="+mn-ea"/>
                <a:cs typeface="+mn-cs"/>
              </a:rPr>
              <a:pPr lvl="0" algn="r">
                <a:spcBef>
                  <a:spcPct val="0"/>
                </a:spcBef>
                <a:spcAft>
                  <a:spcPct val="0"/>
                </a:spcAft>
              </a:pPr>
              <a:t>10</a:t>
            </a:fld>
            <a:endParaRPr lang="en-GB">
              <a:ea typeface="+mn-ea"/>
              <a:cs typeface="+mn-cs"/>
            </a:endParaRPr>
          </a:p>
        </p:txBody>
      </p:sp>
      <p:sp>
        <p:nvSpPr>
          <p:cNvPr id="79"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gray">
          <a:xfrm>
            <a:off x="1847850" y="2870200"/>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FF4AE075-606A-448C-B43F-581FC8CFA085}" type="datetime'2''''''''''''''''''''''''''''''''''''''''''''''''0'''''''''">
              <a:rPr lang="en-GB" altLang="en-US" smtClean="0">
                <a:effectLst/>
                <a:ea typeface="+mn-ea"/>
                <a:cs typeface="+mn-cs"/>
              </a:rPr>
              <a:pPr lvl="0" algn="r">
                <a:spcBef>
                  <a:spcPct val="0"/>
                </a:spcBef>
                <a:spcAft>
                  <a:spcPct val="0"/>
                </a:spcAft>
              </a:pPr>
              <a:t>20</a:t>
            </a:fld>
            <a:endParaRPr lang="en-GB">
              <a:ea typeface="+mn-ea"/>
              <a:cs typeface="+mn-cs"/>
            </a:endParaRPr>
          </a:p>
        </p:txBody>
      </p:sp>
      <p:sp>
        <p:nvSpPr>
          <p:cNvPr id="80"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gray">
          <a:xfrm>
            <a:off x="1847850" y="2668588"/>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0E83724-5659-4286-8746-60E9ECA084A7}" type="datetime'''''''''''''''''''3''''''''''''''''0'''''''''">
              <a:rPr lang="en-GB" altLang="en-US" smtClean="0">
                <a:effectLst/>
                <a:ea typeface="+mn-ea"/>
                <a:cs typeface="+mn-cs"/>
              </a:rPr>
              <a:pPr lvl="0" algn="r">
                <a:spcBef>
                  <a:spcPct val="0"/>
                </a:spcBef>
                <a:spcAft>
                  <a:spcPct val="0"/>
                </a:spcAft>
              </a:pPr>
              <a:t>30</a:t>
            </a:fld>
            <a:endParaRPr lang="en-GB">
              <a:ea typeface="+mn-ea"/>
              <a:cs typeface="+mn-cs"/>
            </a:endParaRPr>
          </a:p>
        </p:txBody>
      </p:sp>
      <p:sp>
        <p:nvSpPr>
          <p:cNvPr id="81" name="Text Placeholder 19">
            <a:extLst>
              <a:ext uri="{FF2B5EF4-FFF2-40B4-BE49-F238E27FC236}">
                <a16:creationId xmlns:a16="http://schemas.microsoft.com/office/drawing/2014/main" id="{9F9869AF-B0F6-4E89-B216-4EC18C7334C2}"/>
              </a:ext>
            </a:extLst>
          </p:cNvPr>
          <p:cNvSpPr>
            <a:spLocks noGrp="1"/>
          </p:cNvSpPr>
          <p:nvPr>
            <p:custDataLst>
              <p:tags r:id="rId8"/>
            </p:custDataLst>
          </p:nvPr>
        </p:nvSpPr>
        <p:spPr bwMode="gray">
          <a:xfrm>
            <a:off x="1847850" y="2465388"/>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5895B459-AE28-41E8-AB18-D7F1C5B4DF66}" type="datetime'''''''''4''''''''''''0'''''''''''''''''''''''''">
              <a:rPr lang="en-GB" altLang="en-US" smtClean="0">
                <a:effectLst/>
                <a:ea typeface="+mn-ea"/>
                <a:cs typeface="+mn-cs"/>
              </a:rPr>
              <a:pPr lvl="0" algn="r">
                <a:spcBef>
                  <a:spcPct val="0"/>
                </a:spcBef>
                <a:spcAft>
                  <a:spcPct val="0"/>
                </a:spcAft>
              </a:pPr>
              <a:t>40</a:t>
            </a:fld>
            <a:endParaRPr lang="en-GB">
              <a:ea typeface="+mn-ea"/>
              <a:cs typeface="+mn-cs"/>
            </a:endParaRPr>
          </a:p>
        </p:txBody>
      </p:sp>
      <p:sp>
        <p:nvSpPr>
          <p:cNvPr id="86"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gray">
          <a:xfrm>
            <a:off x="1847850" y="2263775"/>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E859F334-EB57-4BFB-972A-460B5CAEF59C}" type="datetime'''''''''''5''''0'''''''''''''''''''''''''''''''''''''''''''''">
              <a:rPr lang="en-GB" altLang="en-US" smtClean="0">
                <a:effectLst/>
                <a:ea typeface="+mn-ea"/>
                <a:cs typeface="+mn-cs"/>
              </a:rPr>
              <a:pPr lvl="0" algn="r">
                <a:spcBef>
                  <a:spcPct val="0"/>
                </a:spcBef>
                <a:spcAft>
                  <a:spcPct val="0"/>
                </a:spcAft>
              </a:pPr>
              <a:t>50</a:t>
            </a:fld>
            <a:endParaRPr lang="en-GB">
              <a:ea typeface="+mn-ea"/>
              <a:cs typeface="+mn-cs"/>
            </a:endParaRPr>
          </a:p>
        </p:txBody>
      </p:sp>
      <p:sp>
        <p:nvSpPr>
          <p:cNvPr id="87"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gray">
          <a:xfrm>
            <a:off x="1847850" y="2062163"/>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06ED7D8F-6D97-41D7-BCA9-FE0C2D663F2E}" type="datetime'''''''''''''''''''6''''''''''''''0'''''''''''''''''''''''''">
              <a:rPr lang="en-GB" altLang="en-US" smtClean="0">
                <a:effectLst/>
                <a:ea typeface="+mn-ea"/>
                <a:cs typeface="+mn-cs"/>
              </a:rPr>
              <a:pPr lvl="0" algn="r">
                <a:spcBef>
                  <a:spcPct val="0"/>
                </a:spcBef>
                <a:spcAft>
                  <a:spcPct val="0"/>
                </a:spcAft>
              </a:pPr>
              <a:t>60</a:t>
            </a:fld>
            <a:endParaRPr lang="en-GB">
              <a:ea typeface="+mn-ea"/>
              <a:cs typeface="+mn-cs"/>
            </a:endParaRPr>
          </a:p>
        </p:txBody>
      </p:sp>
      <p:sp>
        <p:nvSpPr>
          <p:cNvPr id="90"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gray">
          <a:xfrm>
            <a:off x="1847850" y="1860550"/>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2C8F1B85-CFAE-4062-9ED8-79A53F9C722E}" type="datetime'''''''''''''7''''''''''''''''''''''''''''''0'''''''''''''''''">
              <a:rPr lang="en-GB" altLang="en-US" smtClean="0">
                <a:effectLst/>
                <a:ea typeface="+mn-ea"/>
                <a:cs typeface="+mn-cs"/>
              </a:rPr>
              <a:pPr lvl="0" algn="r">
                <a:spcBef>
                  <a:spcPct val="0"/>
                </a:spcBef>
                <a:spcAft>
                  <a:spcPct val="0"/>
                </a:spcAft>
              </a:pPr>
              <a:t>70</a:t>
            </a:fld>
            <a:endParaRPr lang="en-GB">
              <a:ea typeface="+mn-ea"/>
              <a:cs typeface="+mn-cs"/>
            </a:endParaRPr>
          </a:p>
        </p:txBody>
      </p:sp>
      <p:cxnSp>
        <p:nvCxnSpPr>
          <p:cNvPr id="49" name="Straight Connector 48">
            <a:extLst>
              <a:ext uri="{FF2B5EF4-FFF2-40B4-BE49-F238E27FC236}">
                <a16:creationId xmlns:a16="http://schemas.microsoft.com/office/drawing/2014/main" id="{11D7473F-C106-C198-A279-EAC417CDD35B}"/>
              </a:ext>
            </a:extLst>
          </p:cNvPr>
          <p:cNvCxnSpPr/>
          <p:nvPr>
            <p:custDataLst>
              <p:tags r:id="rId12"/>
            </p:custDataLst>
          </p:nvPr>
        </p:nvCxnSpPr>
        <p:spPr bwMode="gray">
          <a:xfrm flipV="1">
            <a:off x="2536825" y="2098675"/>
            <a:ext cx="0" cy="8509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88955A6B-5404-98C8-A74E-23BE0D055FC8}"/>
              </a:ext>
            </a:extLst>
          </p:cNvPr>
          <p:cNvCxnSpPr/>
          <p:nvPr>
            <p:custDataLst>
              <p:tags r:id="rId13"/>
            </p:custDataLst>
          </p:nvPr>
        </p:nvCxnSpPr>
        <p:spPr bwMode="gray">
          <a:xfrm>
            <a:off x="2536825" y="2098675"/>
            <a:ext cx="82232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AC7BC9FF-5C08-0C31-A754-0A52ABF876C4}"/>
              </a:ext>
            </a:extLst>
          </p:cNvPr>
          <p:cNvCxnSpPr/>
          <p:nvPr>
            <p:custDataLst>
              <p:tags r:id="rId14"/>
            </p:custDataLst>
          </p:nvPr>
        </p:nvCxnSpPr>
        <p:spPr bwMode="gray">
          <a:xfrm>
            <a:off x="3359150" y="2098675"/>
            <a:ext cx="0" cy="73818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214E5BAA-9F75-0CA3-4919-E60966A96E44}"/>
              </a:ext>
            </a:extLst>
          </p:cNvPr>
          <p:cNvCxnSpPr/>
          <p:nvPr>
            <p:custDataLst>
              <p:tags r:id="rId15"/>
            </p:custDataLst>
          </p:nvPr>
        </p:nvCxnSpPr>
        <p:spPr bwMode="gray">
          <a:xfrm flipV="1">
            <a:off x="4592638" y="1903413"/>
            <a:ext cx="0" cy="1049338"/>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346F3E3D-35EE-1190-8247-FDA6B43C639E}"/>
              </a:ext>
            </a:extLst>
          </p:cNvPr>
          <p:cNvCxnSpPr>
            <a:cxnSpLocks/>
          </p:cNvCxnSpPr>
          <p:nvPr>
            <p:custDataLst>
              <p:tags r:id="rId16"/>
            </p:custDataLst>
          </p:nvPr>
        </p:nvCxnSpPr>
        <p:spPr bwMode="gray">
          <a:xfrm>
            <a:off x="4592638" y="1903413"/>
            <a:ext cx="82232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3BE1A479-AB33-1BFA-F810-0CFC59058AF6}"/>
              </a:ext>
            </a:extLst>
          </p:cNvPr>
          <p:cNvCxnSpPr/>
          <p:nvPr>
            <p:custDataLst>
              <p:tags r:id="rId17"/>
            </p:custDataLst>
          </p:nvPr>
        </p:nvCxnSpPr>
        <p:spPr bwMode="gray">
          <a:xfrm>
            <a:off x="5414963" y="1903413"/>
            <a:ext cx="0" cy="9001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8" name="Text Placeholder 19">
            <a:extLst>
              <a:ext uri="{FF2B5EF4-FFF2-40B4-BE49-F238E27FC236}">
                <a16:creationId xmlns:a16="http://schemas.microsoft.com/office/drawing/2014/main" id="{9F9869AF-B0F6-4E89-B216-4EC18C7334C2}"/>
              </a:ext>
            </a:extLst>
          </p:cNvPr>
          <p:cNvSpPr>
            <a:spLocks noGrp="1"/>
          </p:cNvSpPr>
          <p:nvPr>
            <p:custDataLst>
              <p:tags r:id="rId18"/>
            </p:custDataLst>
          </p:nvPr>
        </p:nvSpPr>
        <p:spPr bwMode="auto">
          <a:xfrm>
            <a:off x="2716213" y="1970088"/>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61" name="Text Placeholder 19">
            <a:extLst>
              <a:ext uri="{FF2B5EF4-FFF2-40B4-BE49-F238E27FC236}">
                <a16:creationId xmlns:a16="http://schemas.microsoft.com/office/drawing/2014/main" id="{9F9869AF-B0F6-4E89-B216-4EC18C7334C2}"/>
              </a:ext>
            </a:extLst>
          </p:cNvPr>
          <p:cNvSpPr>
            <a:spLocks noGrp="1"/>
          </p:cNvSpPr>
          <p:nvPr>
            <p:custDataLst>
              <p:tags r:id="rId19"/>
            </p:custDataLst>
          </p:nvPr>
        </p:nvSpPr>
        <p:spPr bwMode="auto">
          <a:xfrm>
            <a:off x="4772025" y="1774825"/>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26" name="Text Placeholder 2">
            <a:extLst>
              <a:ext uri="{FF2B5EF4-FFF2-40B4-BE49-F238E27FC236}">
                <a16:creationId xmlns:a16="http://schemas.microsoft.com/office/drawing/2014/main" id="{377EEB8A-42EF-A0F6-36CB-7F907EEED8A2}"/>
              </a:ext>
            </a:extLst>
          </p:cNvPr>
          <p:cNvSpPr txBox="1">
            <a:spLocks/>
          </p:cNvSpPr>
          <p:nvPr/>
        </p:nvSpPr>
        <p:spPr>
          <a:xfrm>
            <a:off x="381599" y="79401"/>
            <a:ext cx="3730508"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Frequency response services</a:t>
            </a:r>
          </a:p>
        </p:txBody>
      </p:sp>
      <p:graphicFrame>
        <p:nvGraphicFramePr>
          <p:cNvPr id="65" name="Chart 64">
            <a:extLst>
              <a:ext uri="{FF2B5EF4-FFF2-40B4-BE49-F238E27FC236}">
                <a16:creationId xmlns:a16="http://schemas.microsoft.com/office/drawing/2014/main" id="{04FA337F-0474-9A16-6AD3-84ADA9245544}"/>
              </a:ext>
            </a:extLst>
          </p:cNvPr>
          <p:cNvGraphicFramePr/>
          <p:nvPr>
            <p:custDataLst>
              <p:tags r:id="rId20"/>
            </p:custDataLst>
            <p:extLst>
              <p:ext uri="{D42A27DB-BD31-4B8C-83A1-F6EECF244321}">
                <p14:modId xmlns:p14="http://schemas.microsoft.com/office/powerpoint/2010/main" val="2856821578"/>
              </p:ext>
            </p:extLst>
          </p:nvPr>
        </p:nvGraphicFramePr>
        <p:xfrm>
          <a:off x="2044700" y="4338638"/>
          <a:ext cx="4276725" cy="1577975"/>
        </p:xfrm>
        <a:graphic>
          <a:graphicData uri="http://schemas.openxmlformats.org/drawingml/2006/chart">
            <c:chart xmlns:c="http://schemas.openxmlformats.org/drawingml/2006/chart" xmlns:r="http://schemas.openxmlformats.org/officeDocument/2006/relationships" r:id="rId47"/>
          </a:graphicData>
        </a:graphic>
      </p:graphicFrame>
      <p:sp>
        <p:nvSpPr>
          <p:cNvPr id="66"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gray">
          <a:xfrm>
            <a:off x="1936750" y="5743575"/>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65F27F1B-2C56-49E8-9685-E087E3493E27}" type="datetime'''''''''''''''0'''''''">
              <a:rPr lang="en-GB" altLang="en-US" smtClean="0">
                <a:ea typeface="+mn-ea"/>
                <a:cs typeface="+mn-cs"/>
              </a:rPr>
              <a:pPr algn="r">
                <a:spcBef>
                  <a:spcPct val="0"/>
                </a:spcBef>
                <a:spcAft>
                  <a:spcPct val="0"/>
                </a:spcAft>
              </a:pPr>
              <a:t>0</a:t>
            </a:fld>
            <a:endParaRPr lang="en-GB">
              <a:ea typeface="+mn-ea"/>
              <a:cs typeface="+mn-cs"/>
            </a:endParaRPr>
          </a:p>
        </p:txBody>
      </p:sp>
      <p:sp>
        <p:nvSpPr>
          <p:cNvPr id="67"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gray">
          <a:xfrm>
            <a:off x="1847850" y="5272088"/>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10B371EA-5679-49C2-85E2-68DE756D6738}" type="datetime'1''''''''''''''''''''''''0'''''''''''''''''''''''''''''''">
              <a:rPr lang="en-GB" altLang="en-US" smtClean="0">
                <a:ea typeface="+mn-ea"/>
                <a:cs typeface="+mn-cs"/>
              </a:rPr>
              <a:pPr algn="r">
                <a:spcBef>
                  <a:spcPct val="0"/>
                </a:spcBef>
                <a:spcAft>
                  <a:spcPct val="0"/>
                </a:spcAft>
              </a:pPr>
              <a:t>10</a:t>
            </a:fld>
            <a:endParaRPr lang="en-GB">
              <a:ea typeface="+mn-ea"/>
              <a:cs typeface="+mn-cs"/>
            </a:endParaRPr>
          </a:p>
        </p:txBody>
      </p:sp>
      <p:sp>
        <p:nvSpPr>
          <p:cNvPr id="68"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gray">
          <a:xfrm>
            <a:off x="1847850" y="4802188"/>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A1A831ED-B686-48B7-B1F4-5455D28D39D7}" type="datetime'''''''''''2''''''0'''''''">
              <a:rPr lang="en-GB" altLang="en-US" smtClean="0">
                <a:ea typeface="+mn-ea"/>
                <a:cs typeface="+mn-cs"/>
              </a:rPr>
              <a:pPr algn="r">
                <a:spcBef>
                  <a:spcPct val="0"/>
                </a:spcBef>
                <a:spcAft>
                  <a:spcPct val="0"/>
                </a:spcAft>
              </a:pPr>
              <a:t>20</a:t>
            </a:fld>
            <a:endParaRPr lang="en-GB">
              <a:ea typeface="+mn-ea"/>
              <a:cs typeface="+mn-cs"/>
            </a:endParaRPr>
          </a:p>
        </p:txBody>
      </p:sp>
      <p:sp>
        <p:nvSpPr>
          <p:cNvPr id="69" name="Text Placeholder 19">
            <a:extLst>
              <a:ext uri="{FF2B5EF4-FFF2-40B4-BE49-F238E27FC236}">
                <a16:creationId xmlns:a16="http://schemas.microsoft.com/office/drawing/2014/main" id="{9F9869AF-B0F6-4E89-B216-4EC18C7334C2}"/>
              </a:ext>
            </a:extLst>
          </p:cNvPr>
          <p:cNvSpPr>
            <a:spLocks noGrp="1"/>
          </p:cNvSpPr>
          <p:nvPr>
            <p:custDataLst>
              <p:tags r:id="rId24"/>
            </p:custDataLst>
          </p:nvPr>
        </p:nvSpPr>
        <p:spPr bwMode="gray">
          <a:xfrm>
            <a:off x="1847850" y="4330700"/>
            <a:ext cx="177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4D57ED32-3BAE-4A42-BD97-89544CAEB678}" type="datetime'''''''''''''''''''''''''''''''''''''''''''''''3''0'">
              <a:rPr lang="en-GB" altLang="en-US" smtClean="0">
                <a:ea typeface="+mn-ea"/>
                <a:cs typeface="+mn-cs"/>
              </a:rPr>
              <a:pPr algn="r">
                <a:spcBef>
                  <a:spcPct val="0"/>
                </a:spcBef>
                <a:spcAft>
                  <a:spcPct val="0"/>
                </a:spcAft>
              </a:pPr>
              <a:t>30</a:t>
            </a:fld>
            <a:endParaRPr lang="en-GB">
              <a:ea typeface="+mn-ea"/>
              <a:cs typeface="+mn-cs"/>
            </a:endParaRPr>
          </a:p>
        </p:txBody>
      </p:sp>
      <p:cxnSp>
        <p:nvCxnSpPr>
          <p:cNvPr id="7" name="Straight Connector 6">
            <a:extLst>
              <a:ext uri="{FF2B5EF4-FFF2-40B4-BE49-F238E27FC236}">
                <a16:creationId xmlns:a16="http://schemas.microsoft.com/office/drawing/2014/main" id="{6D6FE822-A6FA-EE8D-810D-CC85CD2DC121}"/>
              </a:ext>
            </a:extLst>
          </p:cNvPr>
          <p:cNvCxnSpPr/>
          <p:nvPr>
            <p:custDataLst>
              <p:tags r:id="rId25"/>
            </p:custDataLst>
          </p:nvPr>
        </p:nvCxnSpPr>
        <p:spPr bwMode="gray">
          <a:xfrm flipV="1">
            <a:off x="2947988" y="4281488"/>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63D0CFEE-F553-2194-F509-97E9423A06F2}"/>
              </a:ext>
            </a:extLst>
          </p:cNvPr>
          <p:cNvCxnSpPr/>
          <p:nvPr>
            <p:custDataLst>
              <p:tags r:id="rId26"/>
            </p:custDataLst>
          </p:nvPr>
        </p:nvCxnSpPr>
        <p:spPr bwMode="gray">
          <a:xfrm>
            <a:off x="2947988" y="4281488"/>
            <a:ext cx="82232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D88A7C16-FB5A-3DD8-3527-C5EE9FC0AABC}"/>
              </a:ext>
            </a:extLst>
          </p:cNvPr>
          <p:cNvCxnSpPr/>
          <p:nvPr>
            <p:custDataLst>
              <p:tags r:id="rId27"/>
            </p:custDataLst>
          </p:nvPr>
        </p:nvCxnSpPr>
        <p:spPr bwMode="gray">
          <a:xfrm>
            <a:off x="3770313" y="4281487"/>
            <a:ext cx="0" cy="10668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258E851C-1C3D-2D4C-373F-5E69C2320534}"/>
              </a:ext>
            </a:extLst>
          </p:cNvPr>
          <p:cNvCxnSpPr/>
          <p:nvPr>
            <p:custDataLst>
              <p:tags r:id="rId28"/>
            </p:custDataLst>
          </p:nvPr>
        </p:nvCxnSpPr>
        <p:spPr bwMode="gray">
          <a:xfrm flipV="1">
            <a:off x="5003800" y="5251450"/>
            <a:ext cx="0" cy="1682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5969C1E-72D4-26B5-902F-FF6A7FCE972D}"/>
              </a:ext>
            </a:extLst>
          </p:cNvPr>
          <p:cNvCxnSpPr>
            <a:cxnSpLocks/>
          </p:cNvCxnSpPr>
          <p:nvPr>
            <p:custDataLst>
              <p:tags r:id="rId29"/>
            </p:custDataLst>
          </p:nvPr>
        </p:nvCxnSpPr>
        <p:spPr bwMode="gray">
          <a:xfrm>
            <a:off x="5003800" y="5251450"/>
            <a:ext cx="822325"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E7925DC-02C2-EA1B-DFD6-61A4A92A2E6E}"/>
              </a:ext>
            </a:extLst>
          </p:cNvPr>
          <p:cNvCxnSpPr/>
          <p:nvPr>
            <p:custDataLst>
              <p:tags r:id="rId30"/>
            </p:custDataLst>
          </p:nvPr>
        </p:nvCxnSpPr>
        <p:spPr bwMode="gray">
          <a:xfrm>
            <a:off x="5826125" y="5251450"/>
            <a:ext cx="0" cy="304800"/>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 name="Text Placeholder 19">
            <a:extLst>
              <a:ext uri="{FF2B5EF4-FFF2-40B4-BE49-F238E27FC236}">
                <a16:creationId xmlns:a16="http://schemas.microsoft.com/office/drawing/2014/main" id="{D399B88B-B13D-B451-48E1-86614CF112B9}"/>
              </a:ext>
            </a:extLst>
          </p:cNvPr>
          <p:cNvSpPr>
            <a:spLocks noGrp="1"/>
          </p:cNvSpPr>
          <p:nvPr>
            <p:custDataLst>
              <p:tags r:id="rId31"/>
            </p:custDataLst>
          </p:nvPr>
        </p:nvSpPr>
        <p:spPr bwMode="auto">
          <a:xfrm>
            <a:off x="3127375" y="4152900"/>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20" name="Text Placeholder 19">
            <a:extLst>
              <a:ext uri="{FF2B5EF4-FFF2-40B4-BE49-F238E27FC236}">
                <a16:creationId xmlns:a16="http://schemas.microsoft.com/office/drawing/2014/main" id="{915A8633-FA9A-68AA-DB13-17E65ADFB235}"/>
              </a:ext>
            </a:extLst>
          </p:cNvPr>
          <p:cNvSpPr>
            <a:spLocks noGrp="1"/>
          </p:cNvSpPr>
          <p:nvPr>
            <p:custDataLst>
              <p:tags r:id="rId32"/>
            </p:custDataLst>
          </p:nvPr>
        </p:nvSpPr>
        <p:spPr bwMode="auto">
          <a:xfrm>
            <a:off x="5183188" y="5122863"/>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41" name="Oval 40">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42" name="Oval 41">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p>
        </p:txBody>
      </p:sp>
      <p:sp>
        <p:nvSpPr>
          <p:cNvPr id="115" name="Text Placeholder 3">
            <a:extLst>
              <a:ext uri="{FF2B5EF4-FFF2-40B4-BE49-F238E27FC236}">
                <a16:creationId xmlns:a16="http://schemas.microsoft.com/office/drawing/2014/main" id="{933923AD-2C0A-ED22-7284-F6F0F481E03D}"/>
              </a:ext>
            </a:extLst>
          </p:cNvPr>
          <p:cNvSpPr>
            <a:spLocks noGrp="1"/>
          </p:cNvSpPr>
          <p:nvPr>
            <p:ph type="body" sz="quarter" idx="32"/>
          </p:nvPr>
        </p:nvSpPr>
        <p:spPr>
          <a:xfrm>
            <a:off x="381600" y="6474841"/>
            <a:ext cx="11428800" cy="110800"/>
          </a:xfrm>
        </p:spPr>
        <p:txBody>
          <a:bodyPr/>
          <a:lstStyle/>
          <a:p>
            <a:endParaRPr lang="en-GB"/>
          </a:p>
        </p:txBody>
      </p:sp>
      <p:sp>
        <p:nvSpPr>
          <p:cNvPr id="36" name="Rectangle 35">
            <a:extLst>
              <a:ext uri="{FF2B5EF4-FFF2-40B4-BE49-F238E27FC236}">
                <a16:creationId xmlns:a16="http://schemas.microsoft.com/office/drawing/2014/main" id="{9690D2D6-CF48-59D4-7A7F-26DD078CBC5B}"/>
              </a:ext>
            </a:extLst>
          </p:cNvPr>
          <p:cNvSpPr/>
          <p:nvPr>
            <p:custDataLst>
              <p:tags r:id="rId33"/>
            </p:custDataLst>
          </p:nvPr>
        </p:nvSpPr>
        <p:spPr bwMode="auto">
          <a:xfrm>
            <a:off x="1909763" y="6230938"/>
            <a:ext cx="179387" cy="133350"/>
          </a:xfrm>
          <a:prstGeom prst="rect">
            <a:avLst/>
          </a:prstGeom>
          <a:solidFill>
            <a:srgbClr val="6F8DB9"/>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3" name="Rectangle 42">
            <a:extLst>
              <a:ext uri="{FF2B5EF4-FFF2-40B4-BE49-F238E27FC236}">
                <a16:creationId xmlns:a16="http://schemas.microsoft.com/office/drawing/2014/main" id="{682C9A98-D1B6-6C4E-8665-CE6713E8F55C}"/>
              </a:ext>
            </a:extLst>
          </p:cNvPr>
          <p:cNvSpPr/>
          <p:nvPr>
            <p:custDataLst>
              <p:tags r:id="rId34"/>
            </p:custDataLst>
          </p:nvPr>
        </p:nvSpPr>
        <p:spPr bwMode="auto">
          <a:xfrm>
            <a:off x="2779713" y="623093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4" name="Rectangle 43">
            <a:extLst>
              <a:ext uri="{FF2B5EF4-FFF2-40B4-BE49-F238E27FC236}">
                <a16:creationId xmlns:a16="http://schemas.microsoft.com/office/drawing/2014/main" id="{D1476D34-B6F2-9B4D-652A-097A4DB83826}"/>
              </a:ext>
            </a:extLst>
          </p:cNvPr>
          <p:cNvSpPr/>
          <p:nvPr>
            <p:custDataLst>
              <p:tags r:id="rId35"/>
            </p:custDataLst>
          </p:nvPr>
        </p:nvSpPr>
        <p:spPr bwMode="auto">
          <a:xfrm>
            <a:off x="3709988" y="6230938"/>
            <a:ext cx="179388" cy="133350"/>
          </a:xfrm>
          <a:prstGeom prst="rect">
            <a:avLst/>
          </a:prstGeom>
          <a:solidFill>
            <a:schemeClr val="accent5"/>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45" name="Rectangle 44">
            <a:extLst>
              <a:ext uri="{FF2B5EF4-FFF2-40B4-BE49-F238E27FC236}">
                <a16:creationId xmlns:a16="http://schemas.microsoft.com/office/drawing/2014/main" id="{C297C64A-7903-293B-B557-D7A2786923B4}"/>
              </a:ext>
            </a:extLst>
          </p:cNvPr>
          <p:cNvSpPr/>
          <p:nvPr>
            <p:custDataLst>
              <p:tags r:id="rId36"/>
            </p:custDataLst>
          </p:nvPr>
        </p:nvSpPr>
        <p:spPr bwMode="auto">
          <a:xfrm>
            <a:off x="4657725" y="6230938"/>
            <a:ext cx="179388" cy="133350"/>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8" name="Text Placeholder 19">
            <a:extLst>
              <a:ext uri="{FF2B5EF4-FFF2-40B4-BE49-F238E27FC236}">
                <a16:creationId xmlns:a16="http://schemas.microsoft.com/office/drawing/2014/main" id="{4A2AF474-EEC9-A7C5-FC5B-C0B7EC3B00DB}"/>
              </a:ext>
            </a:extLst>
          </p:cNvPr>
          <p:cNvSpPr>
            <a:spLocks noGrp="1"/>
          </p:cNvSpPr>
          <p:nvPr>
            <p:custDataLst>
              <p:tags r:id="rId37"/>
            </p:custDataLst>
          </p:nvPr>
        </p:nvSpPr>
        <p:spPr bwMode="auto">
          <a:xfrm>
            <a:off x="2139951" y="6226175"/>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24F29DFE-0E03-4E5E-8174-F774E55FF7E6}" type="datetime'Histo''''''r''i''''''''''''''''''''''c''a''''l'''''''''">
              <a:rPr lang="en-GB" altLang="en-US" sz="1000" smtClean="0">
                <a:ea typeface="+mn-ea"/>
                <a:cs typeface="+mn-cs"/>
              </a:rPr>
              <a:pPr lvl="0">
                <a:spcBef>
                  <a:spcPct val="0"/>
                </a:spcBef>
                <a:spcAft>
                  <a:spcPct val="0"/>
                </a:spcAft>
              </a:pPr>
              <a:t>Historical</a:t>
            </a:fld>
            <a:endParaRPr lang="en-GB" sz="1000">
              <a:ea typeface="+mn-ea"/>
              <a:cs typeface="+mn-cs"/>
            </a:endParaRPr>
          </a:p>
        </p:txBody>
      </p:sp>
      <p:sp>
        <p:nvSpPr>
          <p:cNvPr id="33" name="Text Placeholder 19">
            <a:extLst>
              <a:ext uri="{FF2B5EF4-FFF2-40B4-BE49-F238E27FC236}">
                <a16:creationId xmlns:a16="http://schemas.microsoft.com/office/drawing/2014/main" id="{9F9869AF-B0F6-4E89-B216-4EC18C7334C2}"/>
              </a:ext>
            </a:extLst>
          </p:cNvPr>
          <p:cNvSpPr>
            <a:spLocks noGrp="1"/>
          </p:cNvSpPr>
          <p:nvPr>
            <p:custDataLst>
              <p:tags r:id="rId38"/>
            </p:custDataLst>
          </p:nvPr>
        </p:nvSpPr>
        <p:spPr bwMode="auto">
          <a:xfrm>
            <a:off x="3009900" y="622617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4A2A2DC7-005C-445A-A27E-DBF774F5FC91}" type="datetime'''S''''''h''''''o''''r''''''''t ''''''''''''ter''''''''''m'''">
              <a:rPr lang="en-GB" altLang="en-US" sz="1000" smtClean="0">
                <a:effectLst/>
                <a:ea typeface="+mn-ea"/>
                <a:cs typeface="+mn-cs"/>
              </a:rPr>
              <a:pPr lvl="0">
                <a:spcBef>
                  <a:spcPct val="0"/>
                </a:spcBef>
                <a:spcAft>
                  <a:spcPct val="0"/>
                </a:spcAft>
              </a:pPr>
              <a:t>Short term</a:t>
            </a:fld>
            <a:endParaRPr lang="en-GB" sz="1000">
              <a:ea typeface="+mn-ea"/>
              <a:cs typeface="+mn-cs"/>
            </a:endParaRPr>
          </a:p>
        </p:txBody>
      </p:sp>
      <p:sp>
        <p:nvSpPr>
          <p:cNvPr id="24" name="Text Placeholder 19">
            <a:extLst>
              <a:ext uri="{FF2B5EF4-FFF2-40B4-BE49-F238E27FC236}">
                <a16:creationId xmlns:a16="http://schemas.microsoft.com/office/drawing/2014/main" id="{9F9869AF-B0F6-4E89-B216-4EC18C7334C2}"/>
              </a:ext>
            </a:extLst>
          </p:cNvPr>
          <p:cNvSpPr>
            <a:spLocks noGrp="1"/>
          </p:cNvSpPr>
          <p:nvPr>
            <p:custDataLst>
              <p:tags r:id="rId39"/>
            </p:custDataLst>
          </p:nvPr>
        </p:nvSpPr>
        <p:spPr bwMode="auto">
          <a:xfrm>
            <a:off x="3940175" y="622617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9A329D46-06AB-426E-BF96-29433401C7EA}" type="datetime'''La''''''''''''''te'''''''''''''''''''' 2''0''''''2''0s'''''">
              <a:rPr lang="en-GB" altLang="en-US" sz="1000" smtClean="0">
                <a:effectLst/>
                <a:ea typeface="+mn-ea"/>
                <a:cs typeface="+mn-cs"/>
              </a:rPr>
              <a:pPr lvl="0">
                <a:spcBef>
                  <a:spcPct val="0"/>
                </a:spcBef>
                <a:spcAft>
                  <a:spcPct val="0"/>
                </a:spcAft>
              </a:pPr>
              <a:t>Late 2020s</a:t>
            </a:fld>
            <a:endParaRPr lang="en-GB" sz="1000">
              <a:ea typeface="+mn-ea"/>
              <a:cs typeface="+mn-cs"/>
            </a:endParaRPr>
          </a:p>
        </p:txBody>
      </p:sp>
      <p:sp>
        <p:nvSpPr>
          <p:cNvPr id="35" name="Text Placeholder 19">
            <a:extLst>
              <a:ext uri="{FF2B5EF4-FFF2-40B4-BE49-F238E27FC236}">
                <a16:creationId xmlns:a16="http://schemas.microsoft.com/office/drawing/2014/main" id="{9F9869AF-B0F6-4E89-B216-4EC18C7334C2}"/>
              </a:ext>
            </a:extLst>
          </p:cNvPr>
          <p:cNvSpPr>
            <a:spLocks noGrp="1"/>
          </p:cNvSpPr>
          <p:nvPr>
            <p:custDataLst>
              <p:tags r:id="rId40"/>
            </p:custDataLst>
          </p:nvPr>
        </p:nvSpPr>
        <p:spPr bwMode="auto">
          <a:xfrm>
            <a:off x="4887913" y="622617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3339849-C84C-4E4E-9B1E-F824AA8A5F57}" type="datetime'''''''''2''0''''''''''''3''''''''''''0''''''''''''''s'''">
              <a:rPr lang="en-GB" altLang="en-US" sz="1000" smtClean="0">
                <a:effectLst/>
                <a:ea typeface="+mn-ea"/>
                <a:cs typeface="+mn-cs"/>
              </a:rPr>
              <a:pPr lvl="0">
                <a:spcBef>
                  <a:spcPct val="0"/>
                </a:spcBef>
                <a:spcAft>
                  <a:spcPct val="0"/>
                </a:spcAft>
              </a:pPr>
              <a:t>2030s</a:t>
            </a:fld>
            <a:endParaRPr lang="en-GB" sz="1000">
              <a:ea typeface="+mn-ea"/>
              <a:cs typeface="+mn-cs"/>
            </a:endParaRPr>
          </a:p>
        </p:txBody>
      </p:sp>
      <p:sp>
        <p:nvSpPr>
          <p:cNvPr id="70" name="Text Placeholder 16">
            <a:extLst>
              <a:ext uri="{FF2B5EF4-FFF2-40B4-BE49-F238E27FC236}">
                <a16:creationId xmlns:a16="http://schemas.microsoft.com/office/drawing/2014/main" id="{1AB8F485-EB1D-A28C-4C85-5570E8FB78AD}"/>
              </a:ext>
            </a:extLst>
          </p:cNvPr>
          <p:cNvSpPr txBox="1">
            <a:spLocks/>
          </p:cNvSpPr>
          <p:nvPr/>
        </p:nvSpPr>
        <p:spPr>
          <a:xfrm>
            <a:off x="7089775" y="4790139"/>
            <a:ext cx="4384470" cy="37394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900"/>
              <a:t>This is a redacted sample of the European Battery Market Attractiveness Report. If you are interested in the full report, contact Alex Hutcheson (</a:t>
            </a:r>
            <a:r>
              <a:rPr lang="en-GB" sz="900" u="sng"/>
              <a:t>alex.hutcheson@auroraer.com)</a:t>
            </a:r>
            <a:endParaRPr lang="en-GB" sz="900"/>
          </a:p>
        </p:txBody>
      </p:sp>
    </p:spTree>
    <p:extLst>
      <p:ext uri="{BB962C8B-B14F-4D97-AF65-F5344CB8AC3E}">
        <p14:creationId xmlns:p14="http://schemas.microsoft.com/office/powerpoint/2010/main" val="1342318795"/>
      </p:ext>
    </p:extLst>
  </p:cSld>
  <p:clrMapOvr>
    <a:masterClrMapping/>
  </p:clrMapOvr>
  <p:extLst>
    <p:ext uri="{6950BFC3-D8DA-4A85-94F7-54DA5524770B}">
      <p188:commentRel xmlns:p188="http://schemas.microsoft.com/office/powerpoint/2018/8/main" r:id="rId43"/>
    </p:ext>
  </p:extLs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7">
            <a:hlinkClick r:id="" action="ppaction://noaction"/>
            <a:extLst>
              <a:ext uri="{FF2B5EF4-FFF2-40B4-BE49-F238E27FC236}">
                <a16:creationId xmlns:a16="http://schemas.microsoft.com/office/drawing/2014/main" id="{C5B4F7CF-7051-8370-98F7-A7380764AB44}"/>
              </a:ext>
            </a:extLst>
          </p:cNvPr>
          <p:cNvSpPr txBox="1">
            <a:spLocks/>
          </p:cNvSpPr>
          <p:nvPr/>
        </p:nvSpPr>
        <p:spPr>
          <a:xfrm>
            <a:off x="0" y="3339217"/>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9" name="Text Placeholder 7">
            <a:hlinkClick r:id="rId6" action="ppaction://hlinksldjump"/>
            <a:extLst>
              <a:ext uri="{FF2B5EF4-FFF2-40B4-BE49-F238E27FC236}">
                <a16:creationId xmlns:a16="http://schemas.microsoft.com/office/drawing/2014/main" id="{C5B4F7CF-7051-8370-98F7-A7380764AB44}"/>
              </a:ext>
            </a:extLst>
          </p:cNvPr>
          <p:cNvSpPr txBox="1">
            <a:spLocks/>
          </p:cNvSpPr>
          <p:nvPr/>
        </p:nvSpPr>
        <p:spPr>
          <a:xfrm>
            <a:off x="0" y="3631320"/>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0" name="Text Placeholder 7">
            <a:hlinkClick r:id="rId7" action="ppaction://hlinksldjump"/>
            <a:extLst>
              <a:ext uri="{FF2B5EF4-FFF2-40B4-BE49-F238E27FC236}">
                <a16:creationId xmlns:a16="http://schemas.microsoft.com/office/drawing/2014/main" id="{C5B4F7CF-7051-8370-98F7-A7380764AB44}"/>
              </a:ext>
            </a:extLst>
          </p:cNvPr>
          <p:cNvSpPr txBox="1">
            <a:spLocks/>
          </p:cNvSpPr>
          <p:nvPr/>
        </p:nvSpPr>
        <p:spPr>
          <a:xfrm>
            <a:off x="0" y="3923423"/>
            <a:ext cx="6095996" cy="252000"/>
          </a:xfrm>
          <a:prstGeom prst="rect">
            <a:avLst/>
          </a:prstGeom>
          <a:solidFill>
            <a:schemeClr val="accent4"/>
          </a:solidFill>
          <a:ln>
            <a:solidFill>
              <a:schemeClr val="accent2"/>
            </a:solid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11" name="Text Placeholder 7">
            <a:hlinkClick r:id="" action="ppaction://noaction"/>
            <a:extLst>
              <a:ext uri="{FF2B5EF4-FFF2-40B4-BE49-F238E27FC236}">
                <a16:creationId xmlns:a16="http://schemas.microsoft.com/office/drawing/2014/main" id="{C5B4F7CF-7051-8370-98F7-A7380764AB44}"/>
              </a:ext>
            </a:extLst>
          </p:cNvPr>
          <p:cNvSpPr txBox="1">
            <a:spLocks/>
          </p:cNvSpPr>
          <p:nvPr/>
        </p:nvSpPr>
        <p:spPr>
          <a:xfrm>
            <a:off x="0" y="4215527"/>
            <a:ext cx="6095996" cy="252000"/>
          </a:xfrm>
          <a:prstGeom prst="rect">
            <a:avLst/>
          </a:prstGeom>
          <a:noFill/>
          <a:ln>
            <a:noFill/>
            <a:prstDash val="dash"/>
          </a:ln>
        </p:spPr>
        <p:txBody>
          <a:bodyPr vert="horz" lIns="0" tIns="0" rIns="0" bIns="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 name="Text Placeholder 7">
            <a:extLst>
              <a:ext uri="{FF2B5EF4-FFF2-40B4-BE49-F238E27FC236}">
                <a16:creationId xmlns:a16="http://schemas.microsoft.com/office/drawing/2014/main" id="{7B37A227-7ABC-4D75-881D-CE324C527D9C}"/>
              </a:ext>
            </a:extLst>
          </p:cNvPr>
          <p:cNvSpPr>
            <a:spLocks noGrp="1"/>
          </p:cNvSpPr>
          <p:nvPr>
            <p:ph type="body" sz="quarter" idx="29"/>
          </p:nvPr>
        </p:nvSpPr>
        <p:spPr>
          <a:xfrm>
            <a:off x="0" y="3050370"/>
            <a:ext cx="6095996" cy="252000"/>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8"/>
          </p:nvPr>
        </p:nvSpPr>
        <p:spPr>
          <a:xfrm>
            <a:off x="381000" y="1306834"/>
            <a:ext cx="11428413" cy="4468324"/>
          </a:xfrm>
        </p:spPr>
        <p:txBody>
          <a:bodyPr/>
          <a:lstStyle/>
          <a:p>
            <a:r>
              <a:rPr lang="en-GB" sz="1400" dirty="0">
                <a:hlinkClick r:id="rId6" action="ppaction://hlinksldjump"/>
              </a:rPr>
              <a:t>Executive summary</a:t>
            </a:r>
            <a:endParaRPr lang="en-GB" sz="1400" dirty="0"/>
          </a:p>
          <a:p>
            <a:r>
              <a:rPr lang="en-GB" sz="1400" dirty="0">
                <a:hlinkClick r:id="rId7" action="ppaction://hlinksldjump"/>
              </a:rPr>
              <a:t>Introduction to battery storage </a:t>
            </a:r>
            <a:r>
              <a:rPr lang="en-GB" sz="1400" dirty="0"/>
              <a:t>	</a:t>
            </a:r>
          </a:p>
          <a:p>
            <a:r>
              <a:rPr lang="en-GB" sz="1400" dirty="0">
                <a:hlinkClick r:id="" action="ppaction://noaction"/>
              </a:rPr>
              <a:t>Market size and outlook </a:t>
            </a:r>
            <a:endParaRPr lang="en-GB" sz="1400" dirty="0"/>
          </a:p>
          <a:p>
            <a:r>
              <a:rPr lang="en-GB" sz="1400" dirty="0">
                <a:hlinkClick r:id="" action="ppaction://noaction"/>
              </a:rPr>
              <a:t>Policy and regulatory environment</a:t>
            </a:r>
            <a:endParaRPr lang="en-GB" sz="1400" dirty="0"/>
          </a:p>
          <a:p>
            <a:r>
              <a:rPr lang="en-GB" sz="1400" b="1" dirty="0">
                <a:effectLst/>
                <a:ea typeface="Calibri" panose="020F0502020204030204" pitchFamily="34" charset="0"/>
                <a:hlinkClick r:id="" action="ppaction://noaction"/>
              </a:rPr>
              <a:t>Revenue streams</a:t>
            </a:r>
            <a:endParaRPr lang="en-GB" sz="1400" b="1" dirty="0">
              <a:effectLst/>
              <a:ea typeface="Calibri" panose="020F0502020204030204" pitchFamily="34" charset="0"/>
            </a:endParaRPr>
          </a:p>
          <a:p>
            <a:pPr lvl="1"/>
            <a:r>
              <a:rPr lang="en-GB" sz="1400" dirty="0">
                <a:ea typeface="Calibri" panose="020F0502020204030204" pitchFamily="34" charset="0"/>
              </a:rPr>
              <a:t>Wholesale markets</a:t>
            </a:r>
          </a:p>
          <a:p>
            <a:pPr lvl="1"/>
            <a:r>
              <a:rPr lang="en-GB" sz="1400" dirty="0">
                <a:ea typeface="Calibri" panose="020F0502020204030204" pitchFamily="34" charset="0"/>
              </a:rPr>
              <a:t>Frequency response services</a:t>
            </a:r>
          </a:p>
          <a:p>
            <a:pPr lvl="1"/>
            <a:r>
              <a:rPr lang="en-GB" sz="1400" dirty="0">
                <a:ea typeface="Calibri" panose="020F0502020204030204" pitchFamily="34" charset="0"/>
              </a:rPr>
              <a:t>Balancing and restoration services</a:t>
            </a:r>
          </a:p>
          <a:p>
            <a:pPr lvl="1"/>
            <a:r>
              <a:rPr lang="en-GB" sz="1400" dirty="0">
                <a:ea typeface="Calibri" panose="020F0502020204030204" pitchFamily="34" charset="0"/>
              </a:rPr>
              <a:t>Capacity markets</a:t>
            </a:r>
          </a:p>
          <a:p>
            <a:r>
              <a:rPr lang="en-GB" sz="1400" b="1" u="sng" dirty="0">
                <a:effectLst/>
                <a:ea typeface="Calibri" panose="020F0502020204030204" pitchFamily="34" charset="0"/>
                <a:hlinkClick r:id="" action="ppaction://noaction"/>
              </a:rPr>
              <a:t>Project economics</a:t>
            </a:r>
            <a:endParaRPr lang="en-GB" sz="1400" b="1" u="sng" dirty="0">
              <a:ea typeface="Calibri" panose="020F0502020204030204" pitchFamily="34" charset="0"/>
            </a:endParaRPr>
          </a:p>
          <a:p>
            <a:r>
              <a:rPr lang="en-GB" sz="1400" dirty="0">
                <a:hlinkClick r:id="" action="ppaction://noaction"/>
              </a:rPr>
              <a:t>Appendix</a:t>
            </a:r>
            <a:endParaRPr lang="en-GB" sz="1400" dirty="0"/>
          </a:p>
        </p:txBody>
      </p:sp>
      <p:grpSp>
        <p:nvGrpSpPr>
          <p:cNvPr id="12" name="Group 11">
            <a:extLst>
              <a:ext uri="{FF2B5EF4-FFF2-40B4-BE49-F238E27FC236}">
                <a16:creationId xmlns:a16="http://schemas.microsoft.com/office/drawing/2014/main" id="{EAACF05F-ECCC-3229-1736-F7A432260A30}"/>
              </a:ext>
            </a:extLst>
          </p:cNvPr>
          <p:cNvGrpSpPr/>
          <p:nvPr/>
        </p:nvGrpSpPr>
        <p:grpSpPr>
          <a:xfrm>
            <a:off x="-794" y="5661878"/>
            <a:ext cx="12192000" cy="841829"/>
            <a:chOff x="0" y="5631542"/>
            <a:chExt cx="12192000" cy="841829"/>
          </a:xfrm>
        </p:grpSpPr>
        <p:sp>
          <p:nvSpPr>
            <p:cNvPr id="13" name="Rectangle 12">
              <a:extLst>
                <a:ext uri="{FF2B5EF4-FFF2-40B4-BE49-F238E27FC236}">
                  <a16:creationId xmlns:a16="http://schemas.microsoft.com/office/drawing/2014/main" id="{B0D253E5-6D28-DEF3-D97B-E2FB603373CD}"/>
                </a:ext>
              </a:extLst>
            </p:cNvPr>
            <p:cNvSpPr/>
            <p:nvPr/>
          </p:nvSpPr>
          <p:spPr>
            <a:xfrm>
              <a:off x="0" y="5631542"/>
              <a:ext cx="12192000" cy="841829"/>
            </a:xfrm>
            <a:prstGeom prst="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449263">
                <a:spcBef>
                  <a:spcPts val="600"/>
                </a:spcBef>
              </a:pPr>
              <a:r>
                <a:rPr lang="en-GB" sz="1200" b="1" dirty="0">
                  <a:solidFill>
                    <a:schemeClr val="tx1"/>
                  </a:solidFill>
                </a:rPr>
                <a:t>Want to see the whole report?</a:t>
              </a:r>
            </a:p>
            <a:p>
              <a:pPr marL="449263">
                <a:spcBef>
                  <a:spcPts val="600"/>
                </a:spcBef>
              </a:pPr>
              <a:r>
                <a:rPr lang="en-GB" sz="1200" b="1" dirty="0">
                  <a:solidFill>
                    <a:schemeClr val="tx1"/>
                  </a:solidFill>
                </a:rPr>
                <a:t>Curious about Aurora’s offerings and services?</a:t>
              </a:r>
            </a:p>
            <a:p>
              <a:pPr marL="449263">
                <a:spcBef>
                  <a:spcPts val="600"/>
                </a:spcBef>
              </a:pPr>
              <a:r>
                <a:rPr lang="en-GB" sz="1200" b="1" dirty="0">
                  <a:solidFill>
                    <a:schemeClr val="tx1"/>
                  </a:solidFill>
                </a:rPr>
                <a:t>Looking for more information?</a:t>
              </a:r>
              <a:endParaRPr lang="en-GB" sz="1200" dirty="0">
                <a:solidFill>
                  <a:schemeClr val="tx1"/>
                </a:solidFill>
              </a:endParaRPr>
            </a:p>
          </p:txBody>
        </p:sp>
        <p:sp>
          <p:nvSpPr>
            <p:cNvPr id="14" name="TextBox 13">
              <a:extLst>
                <a:ext uri="{FF2B5EF4-FFF2-40B4-BE49-F238E27FC236}">
                  <a16:creationId xmlns:a16="http://schemas.microsoft.com/office/drawing/2014/main" id="{E8167A85-2E82-A9FB-30BC-DBC9DBBEC876}"/>
                </a:ext>
              </a:extLst>
            </p:cNvPr>
            <p:cNvSpPr txBox="1"/>
            <p:nvPr/>
          </p:nvSpPr>
          <p:spPr>
            <a:xfrm>
              <a:off x="7953829" y="5798540"/>
              <a:ext cx="3855584" cy="569387"/>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600" b="1"/>
                <a:t>Get in touch!</a:t>
              </a:r>
            </a:p>
            <a:p>
              <a:pPr marL="0" indent="0" algn="r">
                <a:spcBef>
                  <a:spcPts val="600"/>
                </a:spcBef>
                <a:buFont typeface="Wingdings" panose="05000000000000000000" pitchFamily="2" charset="2"/>
                <a:buNone/>
              </a:pPr>
              <a:r>
                <a:rPr lang="en-GB" sz="1600" b="1" u="sng">
                  <a:solidFill>
                    <a:schemeClr val="bg1"/>
                  </a:solidFill>
                </a:rPr>
                <a:t>alex.hutcheson@auroraer.com</a:t>
              </a:r>
            </a:p>
          </p:txBody>
        </p:sp>
      </p:grpSp>
    </p:spTree>
    <p:extLst>
      <p:ext uri="{BB962C8B-B14F-4D97-AF65-F5344CB8AC3E}">
        <p14:creationId xmlns:p14="http://schemas.microsoft.com/office/powerpoint/2010/main" val="3895203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605C829E-2D43-434E-B641-4B7FBB9CBAC8}"/>
              </a:ext>
            </a:extLst>
          </p:cNvPr>
          <p:cNvGraphicFramePr>
            <a:graphicFrameLocks noChangeAspect="1"/>
          </p:cNvGraphicFramePr>
          <p:nvPr>
            <p:custDataLst>
              <p:tags r:id="rId1"/>
            </p:custDataLst>
            <p:extLst>
              <p:ext uri="{D42A27DB-BD31-4B8C-83A1-F6EECF244321}">
                <p14:modId xmlns:p14="http://schemas.microsoft.com/office/powerpoint/2010/main" val="427847830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1" imgH="351" progId="TCLayout.ActiveDocument.1">
                  <p:embed/>
                </p:oleObj>
              </mc:Choice>
              <mc:Fallback>
                <p:oleObj name="think-cell Slide" r:id="rId9" imgW="351" imgH="351" progId="TCLayout.ActiveDocument.1">
                  <p:embed/>
                  <p:pic>
                    <p:nvPicPr>
                      <p:cNvPr id="15" name="Objekt 14" hidden="1">
                        <a:extLst>
                          <a:ext uri="{FF2B5EF4-FFF2-40B4-BE49-F238E27FC236}">
                            <a16:creationId xmlns:a16="http://schemas.microsoft.com/office/drawing/2014/main" id="{605C829E-2D43-434E-B641-4B7FBB9CBAC8}"/>
                          </a:ext>
                        </a:extLst>
                      </p:cNvPr>
                      <p:cNvPicPr/>
                      <p:nvPr/>
                    </p:nvPicPr>
                    <p:blipFill>
                      <a:blip r:embed="rId10"/>
                      <a:stretch>
                        <a:fillRect/>
                      </a:stretch>
                    </p:blipFill>
                    <p:spPr>
                      <a:xfrm>
                        <a:off x="1525588" y="1588"/>
                        <a:ext cx="1588" cy="1588"/>
                      </a:xfrm>
                      <a:prstGeom prst="rect">
                        <a:avLst/>
                      </a:prstGeom>
                    </p:spPr>
                  </p:pic>
                </p:oleObj>
              </mc:Fallback>
            </mc:AlternateContent>
          </a:graphicData>
        </a:graphic>
      </p:graphicFrame>
      <p:graphicFrame>
        <p:nvGraphicFramePr>
          <p:cNvPr id="110" name="Table 109">
            <a:extLst>
              <a:ext uri="{FF2B5EF4-FFF2-40B4-BE49-F238E27FC236}">
                <a16:creationId xmlns:a16="http://schemas.microsoft.com/office/drawing/2014/main" id="{7301D1F2-5A2F-357B-F886-0E9F1A5498A1}"/>
              </a:ext>
            </a:extLst>
          </p:cNvPr>
          <p:cNvGraphicFramePr>
            <a:graphicFrameLocks noGrp="1"/>
          </p:cNvGraphicFramePr>
          <p:nvPr>
            <p:extLst>
              <p:ext uri="{D42A27DB-BD31-4B8C-83A1-F6EECF244321}">
                <p14:modId xmlns:p14="http://schemas.microsoft.com/office/powerpoint/2010/main" val="2622791110"/>
              </p:ext>
            </p:extLst>
          </p:nvPr>
        </p:nvGraphicFramePr>
        <p:xfrm>
          <a:off x="6459951" y="1697765"/>
          <a:ext cx="5329399" cy="1944000"/>
        </p:xfrm>
        <a:graphic>
          <a:graphicData uri="http://schemas.openxmlformats.org/drawingml/2006/table">
            <a:tbl>
              <a:tblPr firstRow="1" bandRow="1">
                <a:effectLst/>
                <a:tableStyleId>{5C22544A-7EE6-4342-B048-85BDC9FD1C3A}</a:tableStyleId>
              </a:tblPr>
              <a:tblGrid>
                <a:gridCol w="1126814">
                  <a:extLst>
                    <a:ext uri="{9D8B030D-6E8A-4147-A177-3AD203B41FA5}">
                      <a16:colId xmlns:a16="http://schemas.microsoft.com/office/drawing/2014/main" val="2825232432"/>
                    </a:ext>
                  </a:extLst>
                </a:gridCol>
                <a:gridCol w="113074">
                  <a:extLst>
                    <a:ext uri="{9D8B030D-6E8A-4147-A177-3AD203B41FA5}">
                      <a16:colId xmlns:a16="http://schemas.microsoft.com/office/drawing/2014/main" val="1756962104"/>
                    </a:ext>
                  </a:extLst>
                </a:gridCol>
                <a:gridCol w="4089511">
                  <a:extLst>
                    <a:ext uri="{9D8B030D-6E8A-4147-A177-3AD203B41FA5}">
                      <a16:colId xmlns:a16="http://schemas.microsoft.com/office/drawing/2014/main" val="3733924806"/>
                    </a:ext>
                  </a:extLst>
                </a:gridCol>
              </a:tblGrid>
              <a:tr h="324000">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0" marR="54000" marT="36000" marB="36000" anchor="ctr">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i="0" baseline="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Balancing and Restoration Services</a:t>
                      </a:r>
                    </a:p>
                  </a:txBody>
                  <a:tcPr marL="0" marR="54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2333816"/>
                  </a:ext>
                </a:extLst>
              </a:tr>
              <a:tr h="324000">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8315481"/>
                  </a:ext>
                </a:extLst>
              </a:tr>
              <a:tr h="3240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dk1"/>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3412287"/>
                  </a:ext>
                </a:extLst>
              </a:tr>
              <a:tr h="324000">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715562"/>
                  </a:ext>
                </a:extLst>
              </a:tr>
              <a:tr h="3240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5327939"/>
                  </a:ext>
                </a:extLst>
              </a:tr>
              <a:tr h="3240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7331331"/>
                  </a:ext>
                </a:extLst>
              </a:tr>
            </a:tbl>
          </a:graphicData>
        </a:graphic>
      </p:graphicFrame>
      <p:sp>
        <p:nvSpPr>
          <p:cNvPr id="24" name="Rectangle 23" hidden="1"/>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4" name="Rechteck 13" hidden="1">
            <a:extLst>
              <a:ext uri="{FF2B5EF4-FFF2-40B4-BE49-F238E27FC236}">
                <a16:creationId xmlns:a16="http://schemas.microsoft.com/office/drawing/2014/main" id="{2B8D74B3-3B44-4066-87AD-3A1973EF3DA7}"/>
              </a:ext>
            </a:extLst>
          </p:cNvPr>
          <p:cNvSpPr/>
          <p:nvPr>
            <p:custDataLst>
              <p:tags r:id="rId3"/>
            </p:custDataLst>
          </p:nvPr>
        </p:nvSpPr>
        <p:spPr>
          <a:xfrm>
            <a:off x="152400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a:spcAft>
                <a:spcPts val="1000"/>
              </a:spcAft>
            </a:pPr>
            <a:endParaRPr lang="en-GB" sz="2200" b="1">
              <a:solidFill>
                <a:schemeClr val="tx1"/>
              </a:solidFill>
              <a:latin typeface="Lato" panose="020F0502020204030203" pitchFamily="34" charset="0"/>
              <a:ea typeface="+mj-ea"/>
              <a:cs typeface="+mj-cs"/>
              <a:sym typeface="Lato" panose="020F0502020204030203" pitchFamily="34" charset="0"/>
            </a:endParaRPr>
          </a:p>
        </p:txBody>
      </p:sp>
      <p:sp>
        <p:nvSpPr>
          <p:cNvPr id="4" name="Textplatzhalter 3">
            <a:extLst>
              <a:ext uri="{FF2B5EF4-FFF2-40B4-BE49-F238E27FC236}">
                <a16:creationId xmlns:a16="http://schemas.microsoft.com/office/drawing/2014/main" id="{65128339-C2C0-4EDD-929C-6003F5DA732D}"/>
              </a:ext>
            </a:extLst>
          </p:cNvPr>
          <p:cNvSpPr>
            <a:spLocks noGrp="1"/>
          </p:cNvSpPr>
          <p:nvPr>
            <p:ph type="body" sz="quarter" idx="22"/>
          </p:nvPr>
        </p:nvSpPr>
        <p:spPr bwMode="gray">
          <a:xfrm>
            <a:off x="381001" y="6715169"/>
            <a:ext cx="4490012" cy="110800"/>
          </a:xfrm>
        </p:spPr>
        <p:txBody>
          <a:bodyPr/>
          <a:lstStyle/>
          <a:p>
            <a:r>
              <a:rPr lang="en-GB"/>
              <a:t>Sources: Aurora Energy Research, OMIE, Redes </a:t>
            </a:r>
            <a:r>
              <a:rPr lang="en-GB" err="1"/>
              <a:t>Energéticas</a:t>
            </a:r>
            <a:r>
              <a:rPr lang="en-GB"/>
              <a:t> </a:t>
            </a:r>
            <a:r>
              <a:rPr lang="en-GB" err="1"/>
              <a:t>Nacionais</a:t>
            </a:r>
            <a:r>
              <a:rPr lang="en-GB"/>
              <a:t>, Ofgem, Elexon, </a:t>
            </a:r>
            <a:r>
              <a:rPr lang="en-GB" err="1"/>
              <a:t>EirGrid</a:t>
            </a:r>
            <a:r>
              <a:rPr lang="en-GB"/>
              <a:t>, SONI​</a:t>
            </a:r>
          </a:p>
        </p:txBody>
      </p:sp>
      <p:sp>
        <p:nvSpPr>
          <p:cNvPr id="3" name="Titel 2">
            <a:extLst>
              <a:ext uri="{FF2B5EF4-FFF2-40B4-BE49-F238E27FC236}">
                <a16:creationId xmlns:a16="http://schemas.microsoft.com/office/drawing/2014/main" id="{F026A21D-3809-4BA6-9513-D39813273997}"/>
              </a:ext>
            </a:extLst>
          </p:cNvPr>
          <p:cNvSpPr>
            <a:spLocks noGrp="1"/>
          </p:cNvSpPr>
          <p:nvPr>
            <p:ph type="title"/>
          </p:nvPr>
        </p:nvSpPr>
        <p:spPr bwMode="gray"/>
        <p:txBody>
          <a:bodyPr vert="horz"/>
          <a:lstStyle/>
          <a:p>
            <a:r>
              <a:rPr lang="en-GB"/>
              <a:t>Balancing service prices rose to unprecedented levels over the past couple of years driven by high commodity price volatility in 2022</a:t>
            </a:r>
          </a:p>
        </p:txBody>
      </p:sp>
      <p:sp>
        <p:nvSpPr>
          <p:cNvPr id="68" name="TextBox 67"/>
          <p:cNvSpPr txBox="1"/>
          <p:nvPr/>
        </p:nvSpPr>
        <p:spPr>
          <a:xfrm>
            <a:off x="6438900" y="3787929"/>
            <a:ext cx="3494546" cy="369332"/>
          </a:xfrm>
          <a:prstGeom prst="rect">
            <a:avLst/>
          </a:prstGeom>
          <a:noFill/>
        </p:spPr>
        <p:txBody>
          <a:bodyPr wrap="none" lIns="0" tIns="0" rIns="0" bIns="0" rtlCol="0" anchor="t">
            <a:spAutoFit/>
          </a:bodyPr>
          <a:lstStyle/>
          <a:p>
            <a:pPr>
              <a:spcAft>
                <a:spcPts val="600"/>
              </a:spcAft>
              <a:defRPr/>
            </a:pPr>
            <a:r>
              <a:rPr lang="en-GB" sz="1200" b="1">
                <a:latin typeface="Lato"/>
              </a:rPr>
              <a:t>Total accepted volumes Up/Down services in 2022</a:t>
            </a:r>
            <a:br>
              <a:rPr lang="en-GB" sz="1200" b="1" i="0" u="none" strike="noStrike" kern="1200" cap="none" spc="0" normalizeH="0" baseline="0" noProof="0">
                <a:ln>
                  <a:noFill/>
                </a:ln>
                <a:effectLst/>
                <a:uLnTx/>
                <a:uFillTx/>
                <a:latin typeface="Lato"/>
              </a:rPr>
            </a:br>
            <a:r>
              <a:rPr lang="en-GB" sz="1200">
                <a:solidFill>
                  <a:schemeClr val="accent5"/>
                </a:solidFill>
              </a:rPr>
              <a:t>GWh</a:t>
            </a:r>
          </a:p>
        </p:txBody>
      </p:sp>
      <p:sp>
        <p:nvSpPr>
          <p:cNvPr id="7" name="Text Placeholder 6">
            <a:extLst>
              <a:ext uri="{FF2B5EF4-FFF2-40B4-BE49-F238E27FC236}">
                <a16:creationId xmlns:a16="http://schemas.microsoft.com/office/drawing/2014/main" id="{237D4A52-17BD-ED93-E00A-A8FF5197CDA7}"/>
              </a:ext>
            </a:extLst>
          </p:cNvPr>
          <p:cNvSpPr>
            <a:spLocks noGrp="1"/>
          </p:cNvSpPr>
          <p:nvPr>
            <p:ph type="body" sz="quarter" idx="32"/>
          </p:nvPr>
        </p:nvSpPr>
        <p:spPr>
          <a:xfrm>
            <a:off x="381600" y="6474841"/>
            <a:ext cx="11428800" cy="110800"/>
          </a:xfrm>
        </p:spPr>
        <p:txBody>
          <a:bodyPr vert="horz" lIns="0" tIns="0" rIns="0" bIns="0" rtlCol="0" anchor="t">
            <a:spAutoFit/>
          </a:bodyPr>
          <a:lstStyle/>
          <a:p>
            <a:endParaRPr lang="en-GB">
              <a:latin typeface="Lato"/>
              <a:ea typeface="Lato"/>
              <a:cs typeface="Lato"/>
            </a:endParaRPr>
          </a:p>
        </p:txBody>
      </p:sp>
      <p:sp>
        <p:nvSpPr>
          <p:cNvPr id="75" name="Rounded Rectangle 96">
            <a:extLst>
              <a:ext uri="{FF2B5EF4-FFF2-40B4-BE49-F238E27FC236}">
                <a16:creationId xmlns:a16="http://schemas.microsoft.com/office/drawing/2014/main" id="{A159BD2B-C27E-7992-45C3-7D72E4597A2A}"/>
              </a:ext>
            </a:extLst>
          </p:cNvPr>
          <p:cNvSpPr/>
          <p:nvPr/>
        </p:nvSpPr>
        <p:spPr>
          <a:xfrm>
            <a:off x="11317145" y="2373677"/>
            <a:ext cx="405710" cy="263525"/>
          </a:xfrm>
          <a:prstGeom prst="roundRect">
            <a:avLst>
              <a:gd name="adj" fmla="val 50000"/>
            </a:avLst>
          </a:prstGeom>
          <a:solidFill>
            <a:schemeClr val="tx1">
              <a:lumMod val="20000"/>
              <a:lumOff val="80000"/>
            </a:schemeClr>
          </a:solidFill>
          <a:ln w="6350">
            <a:solidFill>
              <a:schemeClr val="bg2"/>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endParaRPr lang="en-GB" sz="1200" b="1">
              <a:latin typeface="Lato" panose="020F0502020204030203" pitchFamily="34" charset="0"/>
              <a:sym typeface="Lato" panose="020F0502020204030203" pitchFamily="34" charset="0"/>
            </a:endParaRPr>
          </a:p>
        </p:txBody>
      </p:sp>
      <p:sp>
        <p:nvSpPr>
          <p:cNvPr id="76" name="Rounded Rectangle 96">
            <a:extLst>
              <a:ext uri="{FF2B5EF4-FFF2-40B4-BE49-F238E27FC236}">
                <a16:creationId xmlns:a16="http://schemas.microsoft.com/office/drawing/2014/main" id="{E70A0C4A-395F-639A-56A7-6295DAD86FF9}"/>
              </a:ext>
            </a:extLst>
          </p:cNvPr>
          <p:cNvSpPr/>
          <p:nvPr/>
        </p:nvSpPr>
        <p:spPr>
          <a:xfrm>
            <a:off x="11317145" y="2696111"/>
            <a:ext cx="405710" cy="263525"/>
          </a:xfrm>
          <a:prstGeom prst="roundRect">
            <a:avLst>
              <a:gd name="adj" fmla="val 50000"/>
            </a:avLst>
          </a:prstGeom>
          <a:solidFill>
            <a:schemeClr val="tx1">
              <a:lumMod val="20000"/>
              <a:lumOff val="80000"/>
            </a:schemeClr>
          </a:solidFill>
          <a:ln w="6350">
            <a:solidFill>
              <a:schemeClr val="bg2"/>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endParaRPr lang="en-GB" sz="1200" b="1">
              <a:latin typeface="Lato" panose="020F0502020204030203" pitchFamily="34" charset="0"/>
              <a:sym typeface="Lato" panose="020F0502020204030203" pitchFamily="34" charset="0"/>
            </a:endParaRPr>
          </a:p>
        </p:txBody>
      </p:sp>
      <p:sp>
        <p:nvSpPr>
          <p:cNvPr id="77" name="Rounded Rectangle 96">
            <a:extLst>
              <a:ext uri="{FF2B5EF4-FFF2-40B4-BE49-F238E27FC236}">
                <a16:creationId xmlns:a16="http://schemas.microsoft.com/office/drawing/2014/main" id="{5C13F61B-5976-DBA1-FFC0-237E646E1700}"/>
              </a:ext>
            </a:extLst>
          </p:cNvPr>
          <p:cNvSpPr/>
          <p:nvPr/>
        </p:nvSpPr>
        <p:spPr>
          <a:xfrm>
            <a:off x="11317145" y="3347833"/>
            <a:ext cx="405710" cy="263525"/>
          </a:xfrm>
          <a:prstGeom prst="roundRect">
            <a:avLst>
              <a:gd name="adj" fmla="val 50000"/>
            </a:avLst>
          </a:prstGeom>
          <a:solidFill>
            <a:schemeClr val="tx1">
              <a:lumMod val="20000"/>
              <a:lumOff val="80000"/>
            </a:schemeClr>
          </a:solidFill>
          <a:ln w="6350">
            <a:solidFill>
              <a:schemeClr val="bg2"/>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endParaRPr lang="en-GB" sz="1200" b="1">
              <a:latin typeface="Lato" panose="020F0502020204030203" pitchFamily="34" charset="0"/>
              <a:sym typeface="Lato" panose="020F0502020204030203" pitchFamily="34" charset="0"/>
            </a:endParaRPr>
          </a:p>
        </p:txBody>
      </p:sp>
      <p:sp>
        <p:nvSpPr>
          <p:cNvPr id="81" name="Rounded Rectangle 96">
            <a:extLst>
              <a:ext uri="{FF2B5EF4-FFF2-40B4-BE49-F238E27FC236}">
                <a16:creationId xmlns:a16="http://schemas.microsoft.com/office/drawing/2014/main" id="{EDA466FE-C3C6-DE10-AEDC-8C83C144E9AB}"/>
              </a:ext>
            </a:extLst>
          </p:cNvPr>
          <p:cNvSpPr/>
          <p:nvPr/>
        </p:nvSpPr>
        <p:spPr>
          <a:xfrm>
            <a:off x="11317145" y="3021972"/>
            <a:ext cx="405710" cy="263525"/>
          </a:xfrm>
          <a:prstGeom prst="roundRect">
            <a:avLst>
              <a:gd name="adj" fmla="val 50000"/>
            </a:avLst>
          </a:prstGeom>
          <a:solidFill>
            <a:schemeClr val="tx1">
              <a:lumMod val="20000"/>
              <a:lumOff val="80000"/>
            </a:schemeClr>
          </a:solidFill>
          <a:ln w="6350">
            <a:solidFill>
              <a:schemeClr val="bg2"/>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endParaRPr lang="en-GB" sz="1200" b="1">
              <a:latin typeface="Lato" panose="020F0502020204030203" pitchFamily="34" charset="0"/>
              <a:sym typeface="Lato" panose="020F0502020204030203" pitchFamily="34" charset="0"/>
            </a:endParaRPr>
          </a:p>
        </p:txBody>
      </p:sp>
      <p:sp>
        <p:nvSpPr>
          <p:cNvPr id="84" name="Rounded Rectangle 96">
            <a:extLst>
              <a:ext uri="{FF2B5EF4-FFF2-40B4-BE49-F238E27FC236}">
                <a16:creationId xmlns:a16="http://schemas.microsoft.com/office/drawing/2014/main" id="{87F247D4-B084-D6F9-13B4-170BBCB67E84}"/>
              </a:ext>
            </a:extLst>
          </p:cNvPr>
          <p:cNvSpPr/>
          <p:nvPr/>
        </p:nvSpPr>
        <p:spPr>
          <a:xfrm>
            <a:off x="11317145" y="2053930"/>
            <a:ext cx="405710" cy="263525"/>
          </a:xfrm>
          <a:prstGeom prst="roundRect">
            <a:avLst>
              <a:gd name="adj" fmla="val 50000"/>
            </a:avLst>
          </a:prstGeom>
          <a:solidFill>
            <a:schemeClr val="tx1">
              <a:lumMod val="20000"/>
              <a:lumOff val="80000"/>
            </a:schemeClr>
          </a:solidFill>
          <a:ln w="6350">
            <a:solidFill>
              <a:schemeClr val="bg2"/>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endParaRPr lang="en-GB" sz="1200" b="1">
              <a:latin typeface="Lato" panose="020F0502020204030203" pitchFamily="34" charset="0"/>
              <a:sym typeface="Lato" panose="020F0502020204030203" pitchFamily="34" charset="0"/>
            </a:endParaRPr>
          </a:p>
        </p:txBody>
      </p:sp>
      <p:sp>
        <p:nvSpPr>
          <p:cNvPr id="86" name="Rounded Rectangle 96">
            <a:extLst>
              <a:ext uri="{FF2B5EF4-FFF2-40B4-BE49-F238E27FC236}">
                <a16:creationId xmlns:a16="http://schemas.microsoft.com/office/drawing/2014/main" id="{08E23ADD-A15A-40A5-8B2B-848285D33561}"/>
              </a:ext>
            </a:extLst>
          </p:cNvPr>
          <p:cNvSpPr/>
          <p:nvPr/>
        </p:nvSpPr>
        <p:spPr>
          <a:xfrm>
            <a:off x="11318400" y="1268413"/>
            <a:ext cx="406800" cy="263525"/>
          </a:xfrm>
          <a:prstGeom prst="roundRect">
            <a:avLst>
              <a:gd name="adj" fmla="val 50000"/>
            </a:avLst>
          </a:prstGeom>
          <a:solidFill>
            <a:schemeClr val="tx1">
              <a:lumMod val="20000"/>
              <a:lumOff val="80000"/>
            </a:schemeClr>
          </a:solidFill>
          <a:ln w="6350">
            <a:solidFill>
              <a:schemeClr val="bg2"/>
            </a:solid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1">
            <a:noAutofit/>
          </a:bodyPr>
          <a:lstStyle/>
          <a:p>
            <a:pPr algn="ctr">
              <a:spcBef>
                <a:spcPts val="400"/>
              </a:spcBef>
            </a:pPr>
            <a:r>
              <a:rPr lang="en-GB" sz="1200" b="1">
                <a:solidFill>
                  <a:schemeClr val="bg1">
                    <a:lumMod val="6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p>
        </p:txBody>
      </p:sp>
      <p:sp>
        <p:nvSpPr>
          <p:cNvPr id="89" name="TextBox 88">
            <a:extLst>
              <a:ext uri="{FF2B5EF4-FFF2-40B4-BE49-F238E27FC236}">
                <a16:creationId xmlns:a16="http://schemas.microsoft.com/office/drawing/2014/main" id="{EFA7D1DD-9867-410C-084E-19C125208218}"/>
              </a:ext>
            </a:extLst>
          </p:cNvPr>
          <p:cNvSpPr txBox="1"/>
          <p:nvPr/>
        </p:nvSpPr>
        <p:spPr>
          <a:xfrm>
            <a:off x="8982070" y="1304457"/>
            <a:ext cx="2449293" cy="188456"/>
          </a:xfrm>
          <a:prstGeom prst="rect">
            <a:avLst/>
          </a:prstGeom>
          <a:noFill/>
        </p:spPr>
        <p:txBody>
          <a:bodyPr wrap="square" lIns="0" tIns="0" rIns="0" bIns="0" rtlCol="0">
            <a:spAutoFit/>
          </a:bodyPr>
          <a:lstStyle/>
          <a:p>
            <a:r>
              <a:rPr lang="en-GB" sz="1200" b="1" i="1">
                <a:solidFill>
                  <a:schemeClr val="bg1">
                    <a:lumMod val="65000"/>
                  </a:schemeClr>
                </a:solidFill>
              </a:rPr>
              <a:t>Size relative to wholesale market</a:t>
            </a:r>
            <a:r>
              <a:rPr lang="en-GB" sz="1200" b="1" i="1" baseline="30000">
                <a:solidFill>
                  <a:schemeClr val="bg1">
                    <a:lumMod val="65000"/>
                  </a:schemeClr>
                </a:solidFill>
              </a:rPr>
              <a:t>1</a:t>
            </a:r>
            <a:r>
              <a:rPr lang="en-GB" sz="1200" b="1" i="1">
                <a:solidFill>
                  <a:schemeClr val="bg1">
                    <a:lumMod val="65000"/>
                  </a:schemeClr>
                </a:solidFill>
              </a:rPr>
              <a:t>, %</a:t>
            </a:r>
          </a:p>
        </p:txBody>
      </p:sp>
      <p:sp>
        <p:nvSpPr>
          <p:cNvPr id="8" name="Text Placeholder 2">
            <a:extLst>
              <a:ext uri="{FF2B5EF4-FFF2-40B4-BE49-F238E27FC236}">
                <a16:creationId xmlns:a16="http://schemas.microsoft.com/office/drawing/2014/main" id="{EE63B0FE-53FE-7E25-56B1-E6837B828E63}"/>
              </a:ext>
            </a:extLst>
          </p:cNvPr>
          <p:cNvSpPr txBox="1">
            <a:spLocks/>
          </p:cNvSpPr>
          <p:nvPr/>
        </p:nvSpPr>
        <p:spPr>
          <a:xfrm>
            <a:off x="381599" y="79401"/>
            <a:ext cx="4100803"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Balancing and restoration services</a:t>
            </a:r>
          </a:p>
        </p:txBody>
      </p:sp>
      <p:sp>
        <p:nvSpPr>
          <p:cNvPr id="31" name="Oval 30">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32" name="Oval 31">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graphicFrame>
        <p:nvGraphicFramePr>
          <p:cNvPr id="67" name="Chart 66">
            <a:extLst>
              <a:ext uri="{FF2B5EF4-FFF2-40B4-BE49-F238E27FC236}">
                <a16:creationId xmlns:a16="http://schemas.microsoft.com/office/drawing/2014/main" id="{0EE4E4FA-A4B6-635A-8A1B-0B6A2100A4DE}"/>
              </a:ext>
            </a:extLst>
          </p:cNvPr>
          <p:cNvGraphicFramePr/>
          <p:nvPr>
            <p:custDataLst>
              <p:tags r:id="rId4"/>
            </p:custDataLst>
            <p:extLst>
              <p:ext uri="{D42A27DB-BD31-4B8C-83A1-F6EECF244321}">
                <p14:modId xmlns:p14="http://schemas.microsoft.com/office/powerpoint/2010/main" val="4252097226"/>
              </p:ext>
            </p:extLst>
          </p:nvPr>
        </p:nvGraphicFramePr>
        <p:xfrm>
          <a:off x="6356350" y="4375150"/>
          <a:ext cx="5537200" cy="72707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3" name="Chart 72">
            <a:extLst>
              <a:ext uri="{FF2B5EF4-FFF2-40B4-BE49-F238E27FC236}">
                <a16:creationId xmlns:a16="http://schemas.microsoft.com/office/drawing/2014/main" id="{5C8F2D01-126B-DC48-293F-6198CA7A9FDD}"/>
              </a:ext>
            </a:extLst>
          </p:cNvPr>
          <p:cNvGraphicFramePr/>
          <p:nvPr>
            <p:custDataLst>
              <p:tags r:id="rId5"/>
            </p:custDataLst>
            <p:extLst>
              <p:ext uri="{D42A27DB-BD31-4B8C-83A1-F6EECF244321}">
                <p14:modId xmlns:p14="http://schemas.microsoft.com/office/powerpoint/2010/main" val="1117623447"/>
              </p:ext>
            </p:extLst>
          </p:nvPr>
        </p:nvGraphicFramePr>
        <p:xfrm>
          <a:off x="6356350" y="5213350"/>
          <a:ext cx="5537200" cy="727075"/>
        </p:xfrm>
        <a:graphic>
          <a:graphicData uri="http://schemas.openxmlformats.org/drawingml/2006/chart">
            <c:chart xmlns:c="http://schemas.openxmlformats.org/drawingml/2006/chart" xmlns:r="http://schemas.openxmlformats.org/officeDocument/2006/relationships" r:id="rId12"/>
          </a:graphicData>
        </a:graphic>
      </p:graphicFrame>
      <p:sp>
        <p:nvSpPr>
          <p:cNvPr id="141" name="TextBox 140">
            <a:extLst>
              <a:ext uri="{FF2B5EF4-FFF2-40B4-BE49-F238E27FC236}">
                <a16:creationId xmlns:a16="http://schemas.microsoft.com/office/drawing/2014/main" id="{9DD1D4C8-9845-A20B-1E83-3360A70046C9}"/>
              </a:ext>
            </a:extLst>
          </p:cNvPr>
          <p:cNvSpPr txBox="1"/>
          <p:nvPr/>
        </p:nvSpPr>
        <p:spPr>
          <a:xfrm>
            <a:off x="402650" y="1685996"/>
            <a:ext cx="5350449" cy="3339376"/>
          </a:xfrm>
          <a:prstGeom prst="rect">
            <a:avLst/>
          </a:prstGeom>
          <a:noFill/>
        </p:spPr>
        <p:txBody>
          <a:bodyPr wrap="square" lIns="0" tIns="0" rIns="0" bIns="0" rtlCol="0">
            <a:spAutoFit/>
          </a:bodyPr>
          <a:lstStyle/>
          <a:p>
            <a:pPr marL="180975" marR="0" lvl="0" indent="-180975" algn="l" defTabSz="91440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200" b="0" i="0" u="none" strike="noStrike" kern="1200" cap="none" spc="0" normalizeH="0" baseline="0" noProof="0">
                <a:ln>
                  <a:noFill/>
                </a:ln>
                <a:effectLst/>
                <a:uLnTx/>
                <a:uFillTx/>
                <a:latin typeface="Lato"/>
                <a:ea typeface="+mn-ea"/>
                <a:cs typeface="+mn-cs"/>
              </a:rPr>
              <a:t>Balancing and restoration services refer to specifically-named ‘Balancing’ mechanisms in Great Britain and Ireland, and to slower-acting balancing and restoration services such as </a:t>
            </a:r>
            <a:r>
              <a:rPr kumimoji="0" lang="en-GB" sz="1200" b="0" i="0" u="none" strike="noStrike" kern="1200" cap="none" spc="0" normalizeH="0" baseline="0" noProof="0" err="1">
                <a:ln>
                  <a:noFill/>
                </a:ln>
                <a:effectLst/>
                <a:uLnTx/>
                <a:uFillTx/>
                <a:latin typeface="Lato"/>
                <a:ea typeface="+mn-ea"/>
                <a:cs typeface="+mn-cs"/>
              </a:rPr>
              <a:t>mFRR</a:t>
            </a:r>
            <a:r>
              <a:rPr kumimoji="0" lang="en-GB" sz="1200" b="0" i="0" u="none" strike="noStrike" kern="1200" cap="none" spc="0" normalizeH="0" baseline="0" noProof="0">
                <a:ln>
                  <a:noFill/>
                </a:ln>
                <a:effectLst/>
                <a:uLnTx/>
                <a:uFillTx/>
                <a:latin typeface="Lato"/>
                <a:ea typeface="+mn-ea"/>
                <a:cs typeface="+mn-cs"/>
              </a:rPr>
              <a:t> (Tertiary Reserve) and Replacement Reserve which have a full activation time &lt; 10 minutes.</a:t>
            </a:r>
          </a:p>
          <a:p>
            <a:pPr marL="180975" marR="0" lvl="0" indent="-180975" algn="l" defTabSz="91440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200" b="0" i="0" u="none" strike="noStrike" kern="1200" cap="none" spc="0" normalizeH="0" baseline="0" noProof="0">
                <a:ln>
                  <a:noFill/>
                </a:ln>
                <a:effectLst/>
                <a:uLnTx/>
                <a:uFillTx/>
                <a:latin typeface="Lato"/>
                <a:ea typeface="+mn-ea"/>
                <a:cs typeface="+mn-cs"/>
              </a:rPr>
              <a:t>Due to their slower activation requirements and often high energy requirements, such services have typically been provided by thermal generation assets, although in some of the following countries, batteries already play an increasing role providing such services.</a:t>
            </a:r>
          </a:p>
          <a:p>
            <a:pPr marL="180975" marR="0" lvl="0" indent="-180975" algn="l" defTabSz="91440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GB" sz="1200">
                <a:latin typeface="Lato"/>
              </a:rPr>
              <a:t>As the cost of long-duration battery storage declines, these other balancing services are likely to become more attractive revenue streams.</a:t>
            </a:r>
            <a:endParaRPr kumimoji="0" lang="en-GB" sz="1200" b="0" i="0" u="none" strike="noStrike" kern="1200" cap="none" spc="0" normalizeH="0" baseline="0" noProof="0">
              <a:ln>
                <a:noFill/>
              </a:ln>
              <a:effectLst/>
              <a:uLnTx/>
              <a:uFillTx/>
              <a:latin typeface="Lato"/>
              <a:ea typeface="+mn-ea"/>
              <a:cs typeface="+mn-cs"/>
            </a:endParaRPr>
          </a:p>
          <a:p>
            <a:pPr marL="180975" marR="0" lvl="0" indent="-180975" algn="l" defTabSz="91440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GB" sz="1200">
                <a:latin typeface="Lato"/>
              </a:rPr>
              <a:t>Such balancing services are often, but not always remunerated with energy rather than capacity payments.</a:t>
            </a:r>
          </a:p>
          <a:p>
            <a:pPr marL="180975" marR="0" lvl="0" indent="-180975" algn="l" defTabSz="91440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GB" sz="1200">
                <a:latin typeface="Lato"/>
              </a:rPr>
              <a:t>Batteries in these markets can undertake energy arbitrage between the wholesale and balancing services (e.g., charging in one and discharging in the other).</a:t>
            </a:r>
          </a:p>
          <a:p>
            <a:pPr marR="0" lvl="0" algn="l" defTabSz="914400" eaLnBrk="1" fontAlgn="auto" latinLnBrk="0" hangingPunct="1">
              <a:lnSpc>
                <a:spcPct val="100000"/>
              </a:lnSpc>
              <a:spcBef>
                <a:spcPts val="0"/>
              </a:spcBef>
              <a:spcAft>
                <a:spcPts val="600"/>
              </a:spcAft>
              <a:buClrTx/>
              <a:buSzTx/>
              <a:tabLst/>
              <a:defRPr/>
            </a:pPr>
            <a:endParaRPr lang="en-GB" sz="1200"/>
          </a:p>
        </p:txBody>
      </p:sp>
      <p:sp>
        <p:nvSpPr>
          <p:cNvPr id="142" name="TextBox 141">
            <a:extLst>
              <a:ext uri="{FF2B5EF4-FFF2-40B4-BE49-F238E27FC236}">
                <a16:creationId xmlns:a16="http://schemas.microsoft.com/office/drawing/2014/main" id="{D5E08667-2EC0-8F86-BD7B-22A86C08749B}"/>
              </a:ext>
            </a:extLst>
          </p:cNvPr>
          <p:cNvSpPr txBox="1"/>
          <p:nvPr/>
        </p:nvSpPr>
        <p:spPr>
          <a:xfrm>
            <a:off x="381600" y="1299654"/>
            <a:ext cx="1320874" cy="369332"/>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effectLst/>
                <a:uLnTx/>
                <a:uFillTx/>
                <a:latin typeface="Lato"/>
                <a:ea typeface="+mn-ea"/>
                <a:cs typeface="+mn-cs"/>
              </a:rPr>
              <a:t>Market description</a:t>
            </a:r>
            <a:br>
              <a:rPr kumimoji="0" lang="en-GB" sz="1200" b="1" i="0" u="none" strike="noStrike" kern="1200" cap="none" spc="0" normalizeH="0" baseline="0" noProof="0">
                <a:ln>
                  <a:noFill/>
                </a:ln>
                <a:effectLst/>
                <a:uLnTx/>
                <a:uFillTx/>
                <a:latin typeface="Lato"/>
                <a:ea typeface="+mn-ea"/>
                <a:cs typeface="+mn-cs"/>
              </a:rPr>
            </a:br>
            <a:endParaRPr kumimoji="0" lang="en-GB" sz="1200" b="1" i="0" u="none" strike="noStrike" kern="1200" cap="none" spc="0" normalizeH="0" baseline="0" noProof="0">
              <a:ln>
                <a:noFill/>
              </a:ln>
              <a:effectLst/>
              <a:uLnTx/>
              <a:uFillTx/>
              <a:latin typeface="Lato"/>
              <a:ea typeface="+mn-ea"/>
              <a:cs typeface="+mn-cs"/>
            </a:endParaRPr>
          </a:p>
        </p:txBody>
      </p:sp>
      <p:sp>
        <p:nvSpPr>
          <p:cNvPr id="5" name="Rectangle 4">
            <a:extLst>
              <a:ext uri="{FF2B5EF4-FFF2-40B4-BE49-F238E27FC236}">
                <a16:creationId xmlns:a16="http://schemas.microsoft.com/office/drawing/2014/main" id="{E3C9BD5D-6FC2-697B-64C8-04820C0A63DC}"/>
              </a:ext>
            </a:extLst>
          </p:cNvPr>
          <p:cNvSpPr/>
          <p:nvPr/>
        </p:nvSpPr>
        <p:spPr>
          <a:xfrm>
            <a:off x="304800" y="1571625"/>
            <a:ext cx="5350449" cy="3339376"/>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1572149678"/>
      </p:ext>
    </p:extLst>
  </p:cSld>
  <p:clrMapOvr>
    <a:masterClrMapping/>
  </p:clrMapOvr>
  <p:extLst>
    <p:ext uri="{6950BFC3-D8DA-4A85-94F7-54DA5524770B}">
      <p188:commentRel xmlns:p188="http://schemas.microsoft.com/office/powerpoint/2018/8/main" r:id="rId8"/>
    </p:ext>
  </p:extLs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D7C72206-16FB-EC1D-85F1-A01A512F4356}"/>
              </a:ext>
            </a:extLst>
          </p:cNvPr>
          <p:cNvGraphicFramePr>
            <a:graphicFrameLocks noChangeAspect="1"/>
          </p:cNvGraphicFramePr>
          <p:nvPr>
            <p:custDataLst>
              <p:tags r:id="rId1"/>
            </p:custDataLst>
            <p:extLst>
              <p:ext uri="{D42A27DB-BD31-4B8C-83A1-F6EECF244321}">
                <p14:modId xmlns:p14="http://schemas.microsoft.com/office/powerpoint/2010/main" val="96325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6" progId="TCLayout.ActiveDocument.1">
                  <p:embed/>
                </p:oleObj>
              </mc:Choice>
              <mc:Fallback>
                <p:oleObj name="think-cell Slide" r:id="rId34" imgW="395" imgH="396" progId="TCLayout.ActiveDocument.1">
                  <p:embed/>
                  <p:pic>
                    <p:nvPicPr>
                      <p:cNvPr id="29" name="Object 28" hidden="1">
                        <a:extLst>
                          <a:ext uri="{FF2B5EF4-FFF2-40B4-BE49-F238E27FC236}">
                            <a16:creationId xmlns:a16="http://schemas.microsoft.com/office/drawing/2014/main" id="{D7C72206-16FB-EC1D-85F1-A01A512F435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4" name="Text Placeholder 23">
            <a:extLst>
              <a:ext uri="{FF2B5EF4-FFF2-40B4-BE49-F238E27FC236}">
                <a16:creationId xmlns:a16="http://schemas.microsoft.com/office/drawing/2014/main" id="{16AAD0BE-7223-21A4-13A1-947A16CADE10}"/>
              </a:ext>
            </a:extLst>
          </p:cNvPr>
          <p:cNvSpPr>
            <a:spLocks noGrp="1"/>
          </p:cNvSpPr>
          <p:nvPr>
            <p:ph type="body" sz="quarter" idx="22"/>
          </p:nvPr>
        </p:nvSpPr>
        <p:spPr>
          <a:xfrm>
            <a:off x="381001" y="6715169"/>
            <a:ext cx="1522853" cy="110800"/>
          </a:xfrm>
        </p:spPr>
        <p:txBody>
          <a:bodyPr/>
          <a:lstStyle/>
          <a:p>
            <a:r>
              <a:rPr lang="en-GB"/>
              <a:t>Source: Aurora Energy Research </a:t>
            </a:r>
          </a:p>
        </p:txBody>
      </p:sp>
      <p:sp>
        <p:nvSpPr>
          <p:cNvPr id="23" name="Title 22">
            <a:extLst>
              <a:ext uri="{FF2B5EF4-FFF2-40B4-BE49-F238E27FC236}">
                <a16:creationId xmlns:a16="http://schemas.microsoft.com/office/drawing/2014/main" id="{52530303-15C0-7234-2FEF-6D4D0D75EB69}"/>
              </a:ext>
            </a:extLst>
          </p:cNvPr>
          <p:cNvSpPr>
            <a:spLocks noGrp="1"/>
          </p:cNvSpPr>
          <p:nvPr>
            <p:ph type="title"/>
          </p:nvPr>
        </p:nvSpPr>
        <p:spPr/>
        <p:txBody>
          <a:bodyPr vert="horz"/>
          <a:lstStyle/>
          <a:p>
            <a:r>
              <a:rPr lang="en-GB"/>
              <a:t>While demand for balancing services will increase due to increasing demand and variable renewables generation…</a:t>
            </a:r>
          </a:p>
        </p:txBody>
      </p:sp>
      <p:sp>
        <p:nvSpPr>
          <p:cNvPr id="85" name="Text Placeholder 52">
            <a:extLst>
              <a:ext uri="{FF2B5EF4-FFF2-40B4-BE49-F238E27FC236}">
                <a16:creationId xmlns:a16="http://schemas.microsoft.com/office/drawing/2014/main" id="{D092226D-AE43-BB40-85F9-68E50AE38D9F}"/>
              </a:ext>
            </a:extLst>
          </p:cNvPr>
          <p:cNvSpPr txBox="1">
            <a:spLocks/>
          </p:cNvSpPr>
          <p:nvPr/>
        </p:nvSpPr>
        <p:spPr>
          <a:xfrm>
            <a:off x="4570413" y="1211103"/>
            <a:ext cx="4411663" cy="369332"/>
          </a:xfrm>
          <a:prstGeom prst="rect">
            <a:avLst/>
          </a:prstGeom>
        </p:spPr>
        <p:txBody>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a:p>
        </p:txBody>
      </p:sp>
      <p:sp>
        <p:nvSpPr>
          <p:cNvPr id="87" name="TextBox 86">
            <a:extLst>
              <a:ext uri="{FF2B5EF4-FFF2-40B4-BE49-F238E27FC236}">
                <a16:creationId xmlns:a16="http://schemas.microsoft.com/office/drawing/2014/main" id="{E350A38F-3E69-1210-B6AB-BF002F5454D3}"/>
              </a:ext>
            </a:extLst>
          </p:cNvPr>
          <p:cNvSpPr txBox="1"/>
          <p:nvPr/>
        </p:nvSpPr>
        <p:spPr>
          <a:xfrm>
            <a:off x="381600" y="1263600"/>
            <a:ext cx="4411662" cy="369332"/>
          </a:xfrm>
          <a:prstGeom prst="rect">
            <a:avLst/>
          </a:prstGeom>
          <a:noFill/>
        </p:spPr>
        <p:txBody>
          <a:bodyPr wrap="square" lIns="0" tIns="0" rIns="0" bIns="0">
            <a:spAutoFit/>
          </a:bodyPr>
          <a:lstStyle/>
          <a:p>
            <a:pPr marL="0" marR="0" lvl="0" indent="0" algn="l" defTabSz="68578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et imbalance volume duration curve</a:t>
            </a:r>
          </a:p>
          <a:p>
            <a:pPr marL="0" marR="0" lvl="0" indent="0" algn="l" defTabSz="68578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lf-hourly, GWh</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3" name="Arrow: Down 18">
            <a:extLst>
              <a:ext uri="{FF2B5EF4-FFF2-40B4-BE49-F238E27FC236}">
                <a16:creationId xmlns:a16="http://schemas.microsoft.com/office/drawing/2014/main" id="{85345C78-D900-98B0-F527-0B700DC78CE5}"/>
              </a:ext>
            </a:extLst>
          </p:cNvPr>
          <p:cNvSpPr/>
          <p:nvPr/>
        </p:nvSpPr>
        <p:spPr>
          <a:xfrm>
            <a:off x="381600" y="3925695"/>
            <a:ext cx="274320" cy="1908000"/>
          </a:xfrm>
          <a:prstGeom prst="downArrow">
            <a:avLst>
              <a:gd name="adj1" fmla="val 100000"/>
              <a:gd name="adj2" fmla="val 50000"/>
            </a:avLst>
          </a:prstGeom>
          <a:solidFill>
            <a:schemeClr val="accent5"/>
          </a:solidFill>
          <a:ln>
            <a:solidFill>
              <a:schemeClr val="accent5"/>
            </a:solidFill>
          </a:ln>
        </p:spPr>
        <p:style>
          <a:lnRef idx="2">
            <a:schemeClr val="accent1"/>
          </a:lnRef>
          <a:fillRef idx="1">
            <a:schemeClr val="lt1"/>
          </a:fillRef>
          <a:effectRef idx="0">
            <a:schemeClr val="accent1"/>
          </a:effectRef>
          <a:fontRef idx="minor">
            <a:schemeClr val="dk1"/>
          </a:fontRef>
        </p:style>
        <p:txBody>
          <a:bodyPr vert="vert270" tIns="90000" bIns="90000" rtlCol="0" anchor="ctr" anchorCtr="0"/>
          <a:lstStyle/>
          <a:p>
            <a:pPr marL="0" marR="0" lvl="0" indent="0" algn="ctr" defTabSz="914400" eaLnBrk="1" fontAlgn="auto" latinLnBrk="0" hangingPunct="1">
              <a:lnSpc>
                <a:spcPct val="100000"/>
              </a:lnSpc>
              <a:spcBef>
                <a:spcPts val="0"/>
              </a:spcBef>
              <a:spcAft>
                <a:spcPts val="1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Lato"/>
                <a:ea typeface="+mn-ea"/>
                <a:cs typeface="+mn-cs"/>
              </a:rPr>
              <a:t>Long</a:t>
            </a:r>
          </a:p>
        </p:txBody>
      </p:sp>
      <p:sp>
        <p:nvSpPr>
          <p:cNvPr id="164" name="Arrow: Down 34">
            <a:extLst>
              <a:ext uri="{FF2B5EF4-FFF2-40B4-BE49-F238E27FC236}">
                <a16:creationId xmlns:a16="http://schemas.microsoft.com/office/drawing/2014/main" id="{42369F49-D077-8FCE-4F74-F891B40F949E}"/>
              </a:ext>
            </a:extLst>
          </p:cNvPr>
          <p:cNvSpPr/>
          <p:nvPr/>
        </p:nvSpPr>
        <p:spPr>
          <a:xfrm rot="10800000">
            <a:off x="381600" y="1842459"/>
            <a:ext cx="274320" cy="1908000"/>
          </a:xfrm>
          <a:prstGeom prst="downArrow">
            <a:avLst>
              <a:gd name="adj1" fmla="val 100000"/>
              <a:gd name="adj2" fmla="val 50000"/>
            </a:avLst>
          </a:prstGeom>
          <a:solidFill>
            <a:schemeClr val="accent5"/>
          </a:solidFill>
          <a:ln>
            <a:solidFill>
              <a:schemeClr val="accent5"/>
            </a:solidFill>
          </a:ln>
        </p:spPr>
        <p:style>
          <a:lnRef idx="2">
            <a:schemeClr val="accent1"/>
          </a:lnRef>
          <a:fillRef idx="1">
            <a:schemeClr val="lt1"/>
          </a:fillRef>
          <a:effectRef idx="0">
            <a:schemeClr val="accent1"/>
          </a:effectRef>
          <a:fontRef idx="minor">
            <a:schemeClr val="dk1"/>
          </a:fontRef>
        </p:style>
        <p:txBody>
          <a:bodyPr vert="vert" tIns="90000" bIns="90000" rtlCol="0" anchor="ctr" anchorCtr="0"/>
          <a:lstStyle/>
          <a:p>
            <a:pPr marL="0" marR="0" lvl="0" indent="0" algn="ctr" defTabSz="914400" eaLnBrk="1" fontAlgn="auto" latinLnBrk="0" hangingPunct="1">
              <a:lnSpc>
                <a:spcPct val="100000"/>
              </a:lnSpc>
              <a:spcBef>
                <a:spcPts val="0"/>
              </a:spcBef>
              <a:spcAft>
                <a:spcPts val="1000"/>
              </a:spcAft>
              <a:buClrTx/>
              <a:buSzTx/>
              <a:buFontTx/>
              <a:buNone/>
              <a:tabLst/>
              <a:defRPr/>
            </a:pPr>
            <a:r>
              <a:rPr kumimoji="0" lang="en-GB" sz="1400" b="0" i="0" u="none" strike="noStrike" kern="1200" cap="none" spc="0" normalizeH="0" baseline="0" noProof="0">
                <a:ln>
                  <a:noFill/>
                </a:ln>
                <a:solidFill>
                  <a:prstClr val="white"/>
                </a:solidFill>
                <a:effectLst/>
                <a:uLnTx/>
                <a:uFillTx/>
                <a:latin typeface="Lato"/>
                <a:ea typeface="+mn-ea"/>
                <a:cs typeface="+mn-cs"/>
              </a:rPr>
              <a:t>Short</a:t>
            </a:r>
          </a:p>
        </p:txBody>
      </p:sp>
      <p:sp>
        <p:nvSpPr>
          <p:cNvPr id="165" name="TextBox 164">
            <a:extLst>
              <a:ext uri="{FF2B5EF4-FFF2-40B4-BE49-F238E27FC236}">
                <a16:creationId xmlns:a16="http://schemas.microsoft.com/office/drawing/2014/main" id="{14002F3C-2C05-0596-25D0-7DD5D9B3DE29}"/>
              </a:ext>
            </a:extLst>
          </p:cNvPr>
          <p:cNvSpPr txBox="1"/>
          <p:nvPr/>
        </p:nvSpPr>
        <p:spPr>
          <a:xfrm>
            <a:off x="3656013" y="6059520"/>
            <a:ext cx="1068388" cy="369332"/>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Lato"/>
                <a:ea typeface="+mn-ea"/>
                <a:cs typeface="+mn-cs"/>
              </a:rPr>
              <a:t>Percentage of time in year</a:t>
            </a:r>
          </a:p>
        </p:txBody>
      </p:sp>
      <p:sp>
        <p:nvSpPr>
          <p:cNvPr id="2" name="Text Placeholder 2">
            <a:extLst>
              <a:ext uri="{FF2B5EF4-FFF2-40B4-BE49-F238E27FC236}">
                <a16:creationId xmlns:a16="http://schemas.microsoft.com/office/drawing/2014/main" id="{FACE376E-1073-71D9-CEA2-06EB62583D6B}"/>
              </a:ext>
            </a:extLst>
          </p:cNvPr>
          <p:cNvSpPr txBox="1">
            <a:spLocks/>
          </p:cNvSpPr>
          <p:nvPr/>
        </p:nvSpPr>
        <p:spPr>
          <a:xfrm>
            <a:off x="381599" y="79401"/>
            <a:ext cx="4100803"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Balancing and restoration services</a:t>
            </a:r>
          </a:p>
        </p:txBody>
      </p:sp>
      <p:sp>
        <p:nvSpPr>
          <p:cNvPr id="89" name="Oval 8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91" name="Oval 90">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
        <p:nvSpPr>
          <p:cNvPr id="162" name="Text Placeholder 3">
            <a:extLst>
              <a:ext uri="{FF2B5EF4-FFF2-40B4-BE49-F238E27FC236}">
                <a16:creationId xmlns:a16="http://schemas.microsoft.com/office/drawing/2014/main" id="{D140BB0C-0BD8-726D-FBD7-3B8370C1F01B}"/>
              </a:ext>
            </a:extLst>
          </p:cNvPr>
          <p:cNvSpPr txBox="1">
            <a:spLocks/>
          </p:cNvSpPr>
          <p:nvPr/>
        </p:nvSpPr>
        <p:spPr>
          <a:xfrm>
            <a:off x="381600" y="6474841"/>
            <a:ext cx="8758029" cy="2215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1) Quarter 3 of 2023 includes July and August but no data from September</a:t>
            </a:r>
            <a:r>
              <a:rPr lang="en-US"/>
              <a:t>.</a:t>
            </a:r>
            <a:r>
              <a:rPr lang="zh-CN" altLang="en-US"/>
              <a:t> </a:t>
            </a:r>
            <a:r>
              <a:rPr lang="en-US" altLang="zh-CN"/>
              <a:t>2) </a:t>
            </a:r>
            <a:r>
              <a:rPr lang="en-GB" altLang="zh-CN"/>
              <a:t>Single Imbalance Price. The imbalance price is the price applied to all parties out of balance, scaled by the magnitude of deviation from contracted volumes</a:t>
            </a:r>
            <a:r>
              <a:rPr lang="en-US" altLang="zh-CN"/>
              <a:t>.</a:t>
            </a:r>
            <a:endParaRPr lang="en-GB" altLang="zh-CN"/>
          </a:p>
        </p:txBody>
      </p:sp>
      <p:graphicFrame>
        <p:nvGraphicFramePr>
          <p:cNvPr id="4" name="Chart 3">
            <a:extLst>
              <a:ext uri="{FF2B5EF4-FFF2-40B4-BE49-F238E27FC236}">
                <a16:creationId xmlns:a16="http://schemas.microsoft.com/office/drawing/2014/main" id="{DCB6BBE8-CC4F-CE31-3EF7-ADFA29FE2DAA}"/>
              </a:ext>
            </a:extLst>
          </p:cNvPr>
          <p:cNvGraphicFramePr/>
          <p:nvPr>
            <p:custDataLst>
              <p:tags r:id="rId2"/>
            </p:custDataLst>
            <p:extLst>
              <p:ext uri="{D42A27DB-BD31-4B8C-83A1-F6EECF244321}">
                <p14:modId xmlns:p14="http://schemas.microsoft.com/office/powerpoint/2010/main" val="2172180568"/>
              </p:ext>
            </p:extLst>
          </p:nvPr>
        </p:nvGraphicFramePr>
        <p:xfrm>
          <a:off x="828675" y="1790700"/>
          <a:ext cx="3563938" cy="4089400"/>
        </p:xfrm>
        <a:graphic>
          <a:graphicData uri="http://schemas.openxmlformats.org/drawingml/2006/chart">
            <c:chart xmlns:c="http://schemas.openxmlformats.org/drawingml/2006/chart" xmlns:r="http://schemas.openxmlformats.org/officeDocument/2006/relationships" r:id="rId36"/>
          </a:graphicData>
        </a:graphic>
      </p:graphicFrame>
      <p:cxnSp>
        <p:nvCxnSpPr>
          <p:cNvPr id="17" name="Straight Connector 16">
            <a:extLst>
              <a:ext uri="{FF2B5EF4-FFF2-40B4-BE49-F238E27FC236}">
                <a16:creationId xmlns:a16="http://schemas.microsoft.com/office/drawing/2014/main" id="{ECCA888F-4B8C-CC6B-37CB-0F9148DC886A}"/>
              </a:ext>
            </a:extLst>
          </p:cNvPr>
          <p:cNvCxnSpPr>
            <a:cxnSpLocks/>
          </p:cNvCxnSpPr>
          <p:nvPr>
            <p:custDataLst>
              <p:tags r:id="rId3"/>
            </p:custDataLst>
          </p:nvPr>
        </p:nvCxnSpPr>
        <p:spPr bwMode="auto">
          <a:xfrm flipH="1">
            <a:off x="3303588" y="4379913"/>
            <a:ext cx="10064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8F643F7F-B66E-C8AC-C978-F8B1014490D3}"/>
              </a:ext>
            </a:extLst>
          </p:cNvPr>
          <p:cNvCxnSpPr>
            <a:cxnSpLocks/>
          </p:cNvCxnSpPr>
          <p:nvPr>
            <p:custDataLst>
              <p:tags r:id="rId4"/>
            </p:custDataLst>
          </p:nvPr>
        </p:nvCxnSpPr>
        <p:spPr bwMode="auto">
          <a:xfrm flipH="1">
            <a:off x="3303588" y="5602288"/>
            <a:ext cx="10064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26FAF39-77E8-A822-2438-BEDEF5B48EAC}"/>
              </a:ext>
            </a:extLst>
          </p:cNvPr>
          <p:cNvCxnSpPr>
            <a:cxnSpLocks/>
          </p:cNvCxnSpPr>
          <p:nvPr>
            <p:custDataLst>
              <p:tags r:id="rId5"/>
            </p:custDataLst>
          </p:nvPr>
        </p:nvCxnSpPr>
        <p:spPr bwMode="gray">
          <a:xfrm>
            <a:off x="3341688" y="4376738"/>
            <a:ext cx="0" cy="12287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D95F9D54-AE6D-B587-B571-005B9F42BCEB}"/>
              </a:ext>
            </a:extLst>
          </p:cNvPr>
          <p:cNvCxnSpPr/>
          <p:nvPr>
            <p:custDataLst>
              <p:tags r:id="rId6"/>
            </p:custDataLst>
          </p:nvPr>
        </p:nvCxnSpPr>
        <p:spPr bwMode="auto">
          <a:xfrm>
            <a:off x="911225" y="3186113"/>
            <a:ext cx="351313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08010590-31C3-1C4D-F280-1F86F205BFB9}"/>
              </a:ext>
            </a:extLst>
          </p:cNvPr>
          <p:cNvCxnSpPr/>
          <p:nvPr>
            <p:custDataLst>
              <p:tags r:id="rId7"/>
            </p:custDataLst>
          </p:nvPr>
        </p:nvCxnSpPr>
        <p:spPr bwMode="auto">
          <a:xfrm>
            <a:off x="911225" y="1873250"/>
            <a:ext cx="351313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771CA69-C8F9-998D-B975-DE6E0FF17B08}"/>
              </a:ext>
            </a:extLst>
          </p:cNvPr>
          <p:cNvCxnSpPr>
            <a:cxnSpLocks/>
          </p:cNvCxnSpPr>
          <p:nvPr>
            <p:custDataLst>
              <p:tags r:id="rId8"/>
            </p:custDataLst>
          </p:nvPr>
        </p:nvCxnSpPr>
        <p:spPr bwMode="gray">
          <a:xfrm flipV="1">
            <a:off x="4386263" y="1870075"/>
            <a:ext cx="0" cy="13192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 name="Text Placeholder 19">
            <a:extLst>
              <a:ext uri="{FF2B5EF4-FFF2-40B4-BE49-F238E27FC236}">
                <a16:creationId xmlns:a16="http://schemas.microsoft.com/office/drawing/2014/main" id="{EB4936AF-0745-38F0-F116-03E26031E6E3}"/>
              </a:ext>
            </a:extLst>
          </p:cNvPr>
          <p:cNvSpPr>
            <a:spLocks noGrp="1"/>
          </p:cNvSpPr>
          <p:nvPr>
            <p:custDataLst>
              <p:tags r:id="rId9"/>
            </p:custDataLst>
          </p:nvPr>
        </p:nvSpPr>
        <p:spPr bwMode="auto">
          <a:xfrm>
            <a:off x="2868613" y="4883150"/>
            <a:ext cx="387350" cy="215900"/>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US" altLang="en-US" sz="1000" b="1">
                <a:effectLst/>
                <a:latin typeface="+mn-lt"/>
                <a:ea typeface="+mn-ea"/>
                <a:cs typeface="+mn-cs"/>
              </a:rPr>
              <a:t>XX%</a:t>
            </a:r>
            <a:endParaRPr lang="en-US" sz="1000" b="1">
              <a:latin typeface="+mn-lt"/>
              <a:ea typeface="+mn-ea"/>
              <a:cs typeface="+mn-cs"/>
              <a:sym typeface="+mn-lt"/>
            </a:endParaRPr>
          </a:p>
        </p:txBody>
      </p:sp>
      <p:sp>
        <p:nvSpPr>
          <p:cNvPr id="39"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auto">
          <a:xfrm>
            <a:off x="3835400" y="2400300"/>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rPr>
              <a:t>XX%</a:t>
            </a:r>
            <a:endParaRPr lang="en-GB" b="1">
              <a:sym typeface="+mn-lt"/>
            </a:endParaRPr>
          </a:p>
        </p:txBody>
      </p:sp>
      <p:cxnSp>
        <p:nvCxnSpPr>
          <p:cNvPr id="21" name="Straight Connector 20">
            <a:extLst>
              <a:ext uri="{FF2B5EF4-FFF2-40B4-BE49-F238E27FC236}">
                <a16:creationId xmlns:a16="http://schemas.microsoft.com/office/drawing/2014/main" id="{E408D76B-E521-1995-1071-CEBD733AD8F5}"/>
              </a:ext>
            </a:extLst>
          </p:cNvPr>
          <p:cNvCxnSpPr/>
          <p:nvPr>
            <p:custDataLst>
              <p:tags r:id="rId11"/>
            </p:custDataLst>
          </p:nvPr>
        </p:nvCxnSpPr>
        <p:spPr bwMode="gray">
          <a:xfrm>
            <a:off x="441325" y="6297613"/>
            <a:ext cx="160338"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6CD5A39B-7B4B-7C7C-4621-F5AF40D82A4B}"/>
              </a:ext>
            </a:extLst>
          </p:cNvPr>
          <p:cNvCxnSpPr/>
          <p:nvPr>
            <p:custDataLst>
              <p:tags r:id="rId12"/>
            </p:custDataLst>
          </p:nvPr>
        </p:nvCxnSpPr>
        <p:spPr bwMode="gray">
          <a:xfrm>
            <a:off x="1065213" y="6297613"/>
            <a:ext cx="160338"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AC4905F-6597-060F-8D69-E9C591B79A70}"/>
              </a:ext>
            </a:extLst>
          </p:cNvPr>
          <p:cNvCxnSpPr/>
          <p:nvPr>
            <p:custDataLst>
              <p:tags r:id="rId13"/>
            </p:custDataLst>
          </p:nvPr>
        </p:nvCxnSpPr>
        <p:spPr bwMode="gray">
          <a:xfrm>
            <a:off x="1689100" y="6297613"/>
            <a:ext cx="160338" cy="0"/>
          </a:xfrm>
          <a:prstGeom prst="line">
            <a:avLst/>
          </a:prstGeom>
          <a:ln w="1905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4E569694-1161-0FA2-CC07-5C482CAA5AC1}"/>
              </a:ext>
            </a:extLst>
          </p:cNvPr>
          <p:cNvCxnSpPr/>
          <p:nvPr>
            <p:custDataLst>
              <p:tags r:id="rId14"/>
            </p:custDataLst>
          </p:nvPr>
        </p:nvCxnSpPr>
        <p:spPr bwMode="gray">
          <a:xfrm>
            <a:off x="2312988" y="6297613"/>
            <a:ext cx="160338" cy="0"/>
          </a:xfrm>
          <a:prstGeom prst="line">
            <a:avLst/>
          </a:prstGeom>
          <a:ln w="19050" cap="rnd"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59F021A8-E43C-FD4B-0C55-EC88F5001801}"/>
              </a:ext>
            </a:extLst>
          </p:cNvPr>
          <p:cNvCxnSpPr/>
          <p:nvPr>
            <p:custDataLst>
              <p:tags r:id="rId15"/>
            </p:custDataLst>
          </p:nvPr>
        </p:nvCxnSpPr>
        <p:spPr bwMode="gray">
          <a:xfrm>
            <a:off x="2936875" y="6297613"/>
            <a:ext cx="160338" cy="0"/>
          </a:xfrm>
          <a:prstGeom prst="line">
            <a:avLst/>
          </a:prstGeom>
          <a:ln w="19050" cap="rnd" cmpd="sng" algn="ctr">
            <a:solidFill>
              <a:schemeClr val="accent5"/>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 Placeholder 19">
            <a:extLst>
              <a:ext uri="{FF2B5EF4-FFF2-40B4-BE49-F238E27FC236}">
                <a16:creationId xmlns:a16="http://schemas.microsoft.com/office/drawing/2014/main" id="{4BD7B520-8116-8AA3-3CCD-84566B9D8923}"/>
              </a:ext>
            </a:extLst>
          </p:cNvPr>
          <p:cNvSpPr>
            <a:spLocks noGrp="1"/>
          </p:cNvSpPr>
          <p:nvPr>
            <p:custDataLst>
              <p:tags r:id="rId16"/>
            </p:custDataLst>
          </p:nvPr>
        </p:nvSpPr>
        <p:spPr bwMode="auto">
          <a:xfrm>
            <a:off x="661988" y="622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DC308530-6820-4891-B0F6-26E5F8A1BBBD}" type="datetime'''''2''''''''''''''''''0''''''''''2''''3'''''''''''''">
              <a:rPr lang="en-GB" altLang="en-US" sz="1000" smtClean="0">
                <a:latin typeface="+mn-lt"/>
                <a:ea typeface="+mn-ea"/>
                <a:cs typeface="+mn-cs"/>
              </a:rPr>
              <a:pPr lvl="0">
                <a:spcBef>
                  <a:spcPct val="0"/>
                </a:spcBef>
                <a:spcAft>
                  <a:spcPct val="0"/>
                </a:spcAft>
              </a:pPr>
              <a:t>2023</a:t>
            </a:fld>
            <a:endParaRPr lang="en-US" sz="1000">
              <a:latin typeface="+mn-lt"/>
              <a:ea typeface="+mn-ea"/>
              <a:cs typeface="+mn-cs"/>
              <a:sym typeface="+mn-lt"/>
            </a:endParaRPr>
          </a:p>
        </p:txBody>
      </p:sp>
      <p:sp>
        <p:nvSpPr>
          <p:cNvPr id="31" name="Text Placeholder 19">
            <a:extLst>
              <a:ext uri="{FF2B5EF4-FFF2-40B4-BE49-F238E27FC236}">
                <a16:creationId xmlns:a16="http://schemas.microsoft.com/office/drawing/2014/main" id="{705D470B-6EB6-B820-1315-82182A7714DB}"/>
              </a:ext>
            </a:extLst>
          </p:cNvPr>
          <p:cNvSpPr>
            <a:spLocks noGrp="1"/>
          </p:cNvSpPr>
          <p:nvPr>
            <p:custDataLst>
              <p:tags r:id="rId17"/>
            </p:custDataLst>
          </p:nvPr>
        </p:nvSpPr>
        <p:spPr bwMode="auto">
          <a:xfrm>
            <a:off x="1285875" y="622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F93AC22-26E6-4C73-AE26-CAFD6AC41DE0}" type="datetime'''2''''''''''''''''0''3''''''''''''''''''''''''''''''''''0'''">
              <a:rPr lang="en-GB" altLang="en-US" sz="1000" smtClean="0">
                <a:latin typeface="+mn-lt"/>
                <a:ea typeface="+mn-ea"/>
                <a:cs typeface="+mn-cs"/>
              </a:rPr>
              <a:pPr lvl="0">
                <a:spcBef>
                  <a:spcPct val="0"/>
                </a:spcBef>
                <a:spcAft>
                  <a:spcPct val="0"/>
                </a:spcAft>
              </a:pPr>
              <a:t>2030</a:t>
            </a:fld>
            <a:endParaRPr lang="en-US" sz="1000">
              <a:latin typeface="+mn-lt"/>
              <a:ea typeface="+mn-ea"/>
              <a:cs typeface="+mn-cs"/>
              <a:sym typeface="+mn-lt"/>
            </a:endParaRPr>
          </a:p>
        </p:txBody>
      </p:sp>
      <p:sp>
        <p:nvSpPr>
          <p:cNvPr id="32" name="Text Placeholder 19">
            <a:extLst>
              <a:ext uri="{FF2B5EF4-FFF2-40B4-BE49-F238E27FC236}">
                <a16:creationId xmlns:a16="http://schemas.microsoft.com/office/drawing/2014/main" id="{8C732726-E11F-21D5-C5E1-D051AAF49FFC}"/>
              </a:ext>
            </a:extLst>
          </p:cNvPr>
          <p:cNvSpPr>
            <a:spLocks noGrp="1"/>
          </p:cNvSpPr>
          <p:nvPr>
            <p:custDataLst>
              <p:tags r:id="rId18"/>
            </p:custDataLst>
          </p:nvPr>
        </p:nvSpPr>
        <p:spPr bwMode="auto">
          <a:xfrm>
            <a:off x="1909763" y="622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966AC7BA-E381-4CF6-9E00-4F8A8FF796EC}" type="datetime'''''''''''''2''''''0''4''''''''''''''''''''''''''0'''''''''">
              <a:rPr lang="en-GB" altLang="en-US" sz="1000" smtClean="0">
                <a:latin typeface="+mn-lt"/>
                <a:ea typeface="+mn-ea"/>
                <a:cs typeface="+mn-cs"/>
              </a:rPr>
              <a:pPr lvl="0">
                <a:spcBef>
                  <a:spcPct val="0"/>
                </a:spcBef>
                <a:spcAft>
                  <a:spcPct val="0"/>
                </a:spcAft>
              </a:pPr>
              <a:t>2040</a:t>
            </a:fld>
            <a:endParaRPr lang="en-US" sz="1000">
              <a:latin typeface="+mn-lt"/>
              <a:ea typeface="+mn-ea"/>
              <a:cs typeface="+mn-cs"/>
              <a:sym typeface="+mn-lt"/>
            </a:endParaRPr>
          </a:p>
        </p:txBody>
      </p:sp>
      <p:sp>
        <p:nvSpPr>
          <p:cNvPr id="30" name="Text Placeholder 19">
            <a:extLst>
              <a:ext uri="{FF2B5EF4-FFF2-40B4-BE49-F238E27FC236}">
                <a16:creationId xmlns:a16="http://schemas.microsoft.com/office/drawing/2014/main" id="{FDF5D6CA-2A60-1A23-5E7A-96A0C4415B1E}"/>
              </a:ext>
            </a:extLst>
          </p:cNvPr>
          <p:cNvSpPr>
            <a:spLocks noGrp="1"/>
          </p:cNvSpPr>
          <p:nvPr>
            <p:custDataLst>
              <p:tags r:id="rId19"/>
            </p:custDataLst>
          </p:nvPr>
        </p:nvSpPr>
        <p:spPr bwMode="auto">
          <a:xfrm>
            <a:off x="2533650" y="622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D1164FF-4D4D-4374-80CE-BDAD50435B1E}" type="datetime'''2''''''''0''''''''''''''''''5''''''''''''''''''''0'''">
              <a:rPr lang="en-GB" altLang="en-US" sz="1000" smtClean="0">
                <a:latin typeface="+mn-lt"/>
                <a:ea typeface="+mn-ea"/>
                <a:cs typeface="+mn-cs"/>
              </a:rPr>
              <a:pPr lvl="0">
                <a:spcBef>
                  <a:spcPct val="0"/>
                </a:spcBef>
                <a:spcAft>
                  <a:spcPct val="0"/>
                </a:spcAft>
              </a:pPr>
              <a:t>2050</a:t>
            </a:fld>
            <a:endParaRPr lang="en-US" sz="1000">
              <a:latin typeface="+mn-lt"/>
              <a:ea typeface="+mn-ea"/>
              <a:cs typeface="+mn-cs"/>
              <a:sym typeface="+mn-lt"/>
            </a:endParaRPr>
          </a:p>
        </p:txBody>
      </p:sp>
      <p:sp>
        <p:nvSpPr>
          <p:cNvPr id="33" name="Text Placeholder 19">
            <a:extLst>
              <a:ext uri="{FF2B5EF4-FFF2-40B4-BE49-F238E27FC236}">
                <a16:creationId xmlns:a16="http://schemas.microsoft.com/office/drawing/2014/main" id="{AFAC3223-D2F6-3E77-0C4B-3F943FEA79F0}"/>
              </a:ext>
            </a:extLst>
          </p:cNvPr>
          <p:cNvSpPr>
            <a:spLocks noGrp="1"/>
          </p:cNvSpPr>
          <p:nvPr>
            <p:custDataLst>
              <p:tags r:id="rId20"/>
            </p:custDataLst>
          </p:nvPr>
        </p:nvSpPr>
        <p:spPr bwMode="auto">
          <a:xfrm>
            <a:off x="3157538" y="622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4DE33465-C77C-4077-BD7F-C23209969432}" type="datetime'2''''''''''''''''''''0''''6''''''''''''''''''0'''''">
              <a:rPr lang="en-GB" altLang="en-US" sz="1000" smtClean="0">
                <a:latin typeface="+mn-lt"/>
                <a:ea typeface="+mn-ea"/>
                <a:cs typeface="+mn-cs"/>
              </a:rPr>
              <a:pPr lvl="0">
                <a:spcBef>
                  <a:spcPct val="0"/>
                </a:spcBef>
                <a:spcAft>
                  <a:spcPct val="0"/>
                </a:spcAft>
              </a:pPr>
              <a:t>2060</a:t>
            </a:fld>
            <a:endParaRPr lang="en-US" sz="1000">
              <a:latin typeface="+mn-lt"/>
              <a:ea typeface="+mn-ea"/>
              <a:cs typeface="+mn-cs"/>
              <a:sym typeface="+mn-lt"/>
            </a:endParaRPr>
          </a:p>
        </p:txBody>
      </p:sp>
      <p:sp>
        <p:nvSpPr>
          <p:cNvPr id="43" name="TextBox 42">
            <a:extLst>
              <a:ext uri="{FF2B5EF4-FFF2-40B4-BE49-F238E27FC236}">
                <a16:creationId xmlns:a16="http://schemas.microsoft.com/office/drawing/2014/main" id="{47B1D1E8-6ADC-A762-E039-A7A1EEBAD728}"/>
              </a:ext>
            </a:extLst>
          </p:cNvPr>
          <p:cNvSpPr txBox="1"/>
          <p:nvPr/>
        </p:nvSpPr>
        <p:spPr>
          <a:xfrm>
            <a:off x="4949825" y="1270000"/>
            <a:ext cx="2005357" cy="369332"/>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Lato"/>
                <a:ea typeface="+mn-ea"/>
                <a:cs typeface="+mn-cs"/>
              </a:rPr>
              <a:t>Historical balancing volumes </a:t>
            </a:r>
          </a:p>
          <a:p>
            <a:pPr marL="0" marR="0" lvl="0" indent="0" algn="l" defTabSz="914400" eaLnBrk="1" fontAlgn="auto" latinLnBrk="0" hangingPunct="1">
              <a:lnSpc>
                <a:spcPct val="100000"/>
              </a:lnSpc>
              <a:spcBef>
                <a:spcPts val="0"/>
              </a:spcBef>
              <a:spcAft>
                <a:spcPts val="0"/>
              </a:spcAft>
              <a:buClrTx/>
              <a:buSzTx/>
              <a:buFontTx/>
              <a:buNone/>
              <a:tabLst/>
              <a:defRPr/>
            </a:pPr>
            <a:r>
              <a:rPr lang="en-GB" sz="1200">
                <a:solidFill>
                  <a:schemeClr val="accent5"/>
                </a:solidFill>
                <a:latin typeface="Lato"/>
              </a:rPr>
              <a:t>T</a:t>
            </a:r>
            <a:r>
              <a:rPr kumimoji="0" lang="en-GB" sz="1200" b="0" i="0" u="none" strike="noStrike" kern="1200" cap="none" spc="0" normalizeH="0" baseline="0" noProof="0" err="1">
                <a:ln>
                  <a:noFill/>
                </a:ln>
                <a:solidFill>
                  <a:schemeClr val="accent5"/>
                </a:solidFill>
                <a:effectLst/>
                <a:uLnTx/>
                <a:uFillTx/>
                <a:latin typeface="Lato"/>
                <a:ea typeface="+mn-ea"/>
                <a:cs typeface="+mn-cs"/>
              </a:rPr>
              <a:t>Wh</a:t>
            </a:r>
            <a:endParaRPr kumimoji="0" lang="en-GB" sz="1200" b="0" i="0" u="none" strike="noStrike" kern="1200" cap="none" spc="0" normalizeH="0" baseline="0" noProof="0">
              <a:ln>
                <a:noFill/>
              </a:ln>
              <a:solidFill>
                <a:schemeClr val="accent5"/>
              </a:solidFill>
              <a:effectLst/>
              <a:uLnTx/>
              <a:uFillTx/>
              <a:latin typeface="Lato"/>
              <a:ea typeface="+mn-ea"/>
              <a:cs typeface="+mn-cs"/>
            </a:endParaRPr>
          </a:p>
        </p:txBody>
      </p:sp>
      <p:sp>
        <p:nvSpPr>
          <p:cNvPr id="44" name="Rectangle 43">
            <a:extLst>
              <a:ext uri="{FF2B5EF4-FFF2-40B4-BE49-F238E27FC236}">
                <a16:creationId xmlns:a16="http://schemas.microsoft.com/office/drawing/2014/main" id="{39D41348-339A-C080-7A86-6879D51BBD50}"/>
              </a:ext>
            </a:extLst>
          </p:cNvPr>
          <p:cNvSpPr/>
          <p:nvPr/>
        </p:nvSpPr>
        <p:spPr>
          <a:xfrm>
            <a:off x="4949825" y="3940175"/>
            <a:ext cx="2880597" cy="369332"/>
          </a:xfrm>
          <a:prstGeom prst="rect">
            <a:avLst/>
          </a:prstGeom>
        </p:spPr>
        <p:txBody>
          <a:bodyPr wrap="none" lIns="0" tIns="0" rIns="0" bIns="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Lato"/>
                <a:ea typeface="+mn-ea"/>
                <a:cs typeface="+mn-cs"/>
              </a:rPr>
              <a:t>Historical average monthly system prices</a:t>
            </a:r>
            <a:r>
              <a:rPr kumimoji="0" lang="en-GB" sz="1200" b="1" i="0" u="none" strike="noStrike" kern="1200" cap="none" spc="0" normalizeH="0" baseline="30000" noProof="0">
                <a:ln>
                  <a:noFill/>
                </a:ln>
                <a:effectLst/>
                <a:uLnTx/>
                <a:uFillTx/>
                <a:latin typeface="Lato"/>
                <a:ea typeface="+mn-ea"/>
                <a:cs typeface="+mn-cs"/>
              </a:rPr>
              <a:t>2</a:t>
            </a:r>
            <a:br>
              <a:rPr kumimoji="0" lang="en-GB" sz="1200" b="0" i="0" u="none" strike="noStrike" kern="1200" cap="none" spc="0" normalizeH="0" baseline="0" noProof="0">
                <a:ln>
                  <a:noFill/>
                </a:ln>
                <a:effectLst/>
                <a:uLnTx/>
                <a:uFillTx/>
                <a:latin typeface="Lato"/>
                <a:ea typeface="+mn-ea"/>
                <a:cs typeface="+mn-cs"/>
              </a:rPr>
            </a:br>
            <a:r>
              <a:rPr kumimoji="0" lang="en-GB" sz="1200" b="0" i="0" u="none" strike="noStrike" kern="1200" cap="none" spc="0" normalizeH="0" baseline="0" noProof="0">
                <a:ln>
                  <a:noFill/>
                </a:ln>
                <a:solidFill>
                  <a:schemeClr val="accent5"/>
                </a:solidFill>
                <a:effectLst/>
                <a:uLnTx/>
                <a:uFillTx/>
                <a:latin typeface="Lato"/>
                <a:ea typeface="+mn-ea"/>
                <a:cs typeface="+mn-cs"/>
              </a:rPr>
              <a:t>£/MWh</a:t>
            </a:r>
          </a:p>
        </p:txBody>
      </p:sp>
      <p:sp>
        <p:nvSpPr>
          <p:cNvPr id="59" name="TextBox 58">
            <a:extLst>
              <a:ext uri="{FF2B5EF4-FFF2-40B4-BE49-F238E27FC236}">
                <a16:creationId xmlns:a16="http://schemas.microsoft.com/office/drawing/2014/main" id="{BA9AB867-C71D-8B14-5EC0-57C391E434A3}"/>
              </a:ext>
            </a:extLst>
          </p:cNvPr>
          <p:cNvSpPr txBox="1"/>
          <p:nvPr/>
        </p:nvSpPr>
        <p:spPr>
          <a:xfrm>
            <a:off x="6911975" y="1501695"/>
            <a:ext cx="2041525" cy="184150"/>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200" i="1">
                <a:solidFill>
                  <a:schemeClr val="accent5"/>
                </a:solidFill>
              </a:rPr>
              <a:t>Indicative country example</a:t>
            </a:r>
          </a:p>
        </p:txBody>
      </p:sp>
      <p:sp>
        <p:nvSpPr>
          <p:cNvPr id="61" name="TextBox 60">
            <a:extLst>
              <a:ext uri="{FF2B5EF4-FFF2-40B4-BE49-F238E27FC236}">
                <a16:creationId xmlns:a16="http://schemas.microsoft.com/office/drawing/2014/main" id="{A50B73F9-158D-21AB-B24F-F26BDA2E20BE}"/>
              </a:ext>
            </a:extLst>
          </p:cNvPr>
          <p:cNvSpPr txBox="1"/>
          <p:nvPr/>
        </p:nvSpPr>
        <p:spPr>
          <a:xfrm>
            <a:off x="6826250" y="4207790"/>
            <a:ext cx="2041525" cy="184150"/>
          </a:xfrm>
          <a:prstGeom prst="rect">
            <a:avLst/>
          </a:prstGeom>
          <a:noFill/>
        </p:spPr>
        <p:txBody>
          <a:bodyPr wrap="square" lIns="0" tIns="0" rIns="0" bIns="0" rtlCol="0">
            <a:spAutoFit/>
          </a:bodyPr>
          <a:lstStyle/>
          <a:p>
            <a:pPr marL="0" indent="0" algn="r">
              <a:spcBef>
                <a:spcPts val="600"/>
              </a:spcBef>
              <a:buFont typeface="Wingdings" panose="05000000000000000000" pitchFamily="2" charset="2"/>
              <a:buNone/>
            </a:pPr>
            <a:r>
              <a:rPr lang="en-GB" sz="1200" i="1">
                <a:solidFill>
                  <a:schemeClr val="accent5"/>
                </a:solidFill>
              </a:rPr>
              <a:t>Indicative country example</a:t>
            </a:r>
          </a:p>
        </p:txBody>
      </p:sp>
      <p:graphicFrame>
        <p:nvGraphicFramePr>
          <p:cNvPr id="5" name="Chart 4">
            <a:extLst>
              <a:ext uri="{FF2B5EF4-FFF2-40B4-BE49-F238E27FC236}">
                <a16:creationId xmlns:a16="http://schemas.microsoft.com/office/drawing/2014/main" id="{8B64A830-CD25-A6E4-3541-64602B494554}"/>
              </a:ext>
            </a:extLst>
          </p:cNvPr>
          <p:cNvGraphicFramePr/>
          <p:nvPr>
            <p:custDataLst>
              <p:tags r:id="rId21"/>
            </p:custDataLst>
            <p:extLst>
              <p:ext uri="{D42A27DB-BD31-4B8C-83A1-F6EECF244321}">
                <p14:modId xmlns:p14="http://schemas.microsoft.com/office/powerpoint/2010/main" val="2200007975"/>
              </p:ext>
            </p:extLst>
          </p:nvPr>
        </p:nvGraphicFramePr>
        <p:xfrm>
          <a:off x="5092700" y="1617663"/>
          <a:ext cx="3957638" cy="1906587"/>
        </p:xfrm>
        <a:graphic>
          <a:graphicData uri="http://schemas.openxmlformats.org/drawingml/2006/chart">
            <c:chart xmlns:c="http://schemas.openxmlformats.org/drawingml/2006/chart" xmlns:r="http://schemas.openxmlformats.org/officeDocument/2006/relationships" r:id="rId37"/>
          </a:graphicData>
        </a:graphic>
      </p:graphicFrame>
      <p:sp>
        <p:nvSpPr>
          <p:cNvPr id="80" name="Rectangle 79">
            <a:extLst>
              <a:ext uri="{FF2B5EF4-FFF2-40B4-BE49-F238E27FC236}">
                <a16:creationId xmlns:a16="http://schemas.microsoft.com/office/drawing/2014/main" id="{5BCE43F0-17BF-37D2-F9BC-CFBEFD67958A}"/>
              </a:ext>
            </a:extLst>
          </p:cNvPr>
          <p:cNvSpPr/>
          <p:nvPr>
            <p:custDataLst>
              <p:tags r:id="rId22"/>
            </p:custDataLst>
          </p:nvPr>
        </p:nvSpPr>
        <p:spPr bwMode="auto">
          <a:xfrm>
            <a:off x="6354763" y="6232525"/>
            <a:ext cx="179388" cy="133350"/>
          </a:xfrm>
          <a:prstGeom prst="rect">
            <a:avLst/>
          </a:prstGeom>
          <a:solidFill>
            <a:schemeClr val="accent2"/>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81" name="Rectangle 80">
            <a:extLst>
              <a:ext uri="{FF2B5EF4-FFF2-40B4-BE49-F238E27FC236}">
                <a16:creationId xmlns:a16="http://schemas.microsoft.com/office/drawing/2014/main" id="{CAF6A035-25D3-DC07-B1C8-EA1D7DF2960E}"/>
              </a:ext>
            </a:extLst>
          </p:cNvPr>
          <p:cNvSpPr/>
          <p:nvPr>
            <p:custDataLst>
              <p:tags r:id="rId23"/>
            </p:custDataLst>
          </p:nvPr>
        </p:nvSpPr>
        <p:spPr bwMode="auto">
          <a:xfrm>
            <a:off x="7564438" y="6232525"/>
            <a:ext cx="179388" cy="133350"/>
          </a:xfrm>
          <a:prstGeom prst="rect">
            <a:avLst/>
          </a:prstGeom>
          <a:solidFill>
            <a:schemeClr val="accent5"/>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82" name="Text Placeholder 19">
            <a:extLst>
              <a:ext uri="{FF2B5EF4-FFF2-40B4-BE49-F238E27FC236}">
                <a16:creationId xmlns:a16="http://schemas.microsoft.com/office/drawing/2014/main" id="{27BCDD8F-266D-3111-FFA1-7AE32351C3EA}"/>
              </a:ext>
            </a:extLst>
          </p:cNvPr>
          <p:cNvSpPr>
            <a:spLocks noGrp="1"/>
          </p:cNvSpPr>
          <p:nvPr>
            <p:custDataLst>
              <p:tags r:id="rId24"/>
            </p:custDataLst>
          </p:nvPr>
        </p:nvSpPr>
        <p:spPr bwMode="auto">
          <a:xfrm>
            <a:off x="6584950" y="6227763"/>
            <a:ext cx="8778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E1AA7D15-8AC5-4E09-B771-C95556209D79}" type="datetime'Ac''c''e''''''p''''t''''e''d'''''''''''' o''ffer''''''s'">
              <a:rPr lang="en-US" altLang="en-US" sz="1000" smtClean="0">
                <a:ea typeface="+mn-ea"/>
                <a:cs typeface="+mn-cs"/>
              </a:rPr>
              <a:pPr>
                <a:spcBef>
                  <a:spcPct val="0"/>
                </a:spcBef>
                <a:spcAft>
                  <a:spcPct val="0"/>
                </a:spcAft>
              </a:pPr>
              <a:t>Accepted offers</a:t>
            </a:fld>
            <a:endParaRPr lang="en-US" sz="1000">
              <a:ea typeface="+mn-ea"/>
              <a:cs typeface="+mn-cs"/>
              <a:sym typeface="+mn-lt"/>
            </a:endParaRPr>
          </a:p>
        </p:txBody>
      </p:sp>
      <p:sp>
        <p:nvSpPr>
          <p:cNvPr id="83" name="Text Placeholder 19">
            <a:extLst>
              <a:ext uri="{FF2B5EF4-FFF2-40B4-BE49-F238E27FC236}">
                <a16:creationId xmlns:a16="http://schemas.microsoft.com/office/drawing/2014/main" id="{0465B631-0A6E-B99C-DC2E-AA0338B7441E}"/>
              </a:ext>
            </a:extLst>
          </p:cNvPr>
          <p:cNvSpPr>
            <a:spLocks noGrp="1"/>
          </p:cNvSpPr>
          <p:nvPr>
            <p:custDataLst>
              <p:tags r:id="rId25"/>
            </p:custDataLst>
          </p:nvPr>
        </p:nvSpPr>
        <p:spPr bwMode="auto">
          <a:xfrm>
            <a:off x="7794625" y="6227763"/>
            <a:ext cx="7794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076BC6DD-48CA-45B5-83AA-5A7723C62D20}" type="datetime'''''''A''cc''e''''''''''''''pt''ed'''' ''''b''i''''''''ds'''">
              <a:rPr lang="en-US" altLang="en-US" sz="1000" smtClean="0">
                <a:ea typeface="+mn-ea"/>
                <a:cs typeface="+mn-cs"/>
              </a:rPr>
              <a:pPr>
                <a:spcBef>
                  <a:spcPct val="0"/>
                </a:spcBef>
                <a:spcAft>
                  <a:spcPct val="0"/>
                </a:spcAft>
              </a:pPr>
              <a:t>Accepted bids</a:t>
            </a:fld>
            <a:endParaRPr lang="en-US" sz="1000">
              <a:ea typeface="+mn-ea"/>
              <a:cs typeface="+mn-cs"/>
              <a:sym typeface="+mn-lt"/>
            </a:endParaRPr>
          </a:p>
        </p:txBody>
      </p:sp>
      <p:graphicFrame>
        <p:nvGraphicFramePr>
          <p:cNvPr id="6" name="Chart 5">
            <a:extLst>
              <a:ext uri="{FF2B5EF4-FFF2-40B4-BE49-F238E27FC236}">
                <a16:creationId xmlns:a16="http://schemas.microsoft.com/office/drawing/2014/main" id="{46DDF0E7-1F92-47AB-BB0A-2DE585A9930F}"/>
              </a:ext>
            </a:extLst>
          </p:cNvPr>
          <p:cNvGraphicFramePr/>
          <p:nvPr>
            <p:custDataLst>
              <p:tags r:id="rId26"/>
            </p:custDataLst>
            <p:extLst>
              <p:ext uri="{D42A27DB-BD31-4B8C-83A1-F6EECF244321}">
                <p14:modId xmlns:p14="http://schemas.microsoft.com/office/powerpoint/2010/main" val="233967136"/>
              </p:ext>
            </p:extLst>
          </p:nvPr>
        </p:nvGraphicFramePr>
        <p:xfrm>
          <a:off x="5273675" y="4338638"/>
          <a:ext cx="3776663" cy="1692275"/>
        </p:xfrm>
        <a:graphic>
          <a:graphicData uri="http://schemas.openxmlformats.org/drawingml/2006/chart">
            <c:chart xmlns:c="http://schemas.openxmlformats.org/drawingml/2006/chart" xmlns:r="http://schemas.openxmlformats.org/officeDocument/2006/relationships" r:id="rId38"/>
          </a:graphicData>
        </a:graphic>
      </p:graphicFrame>
      <p:cxnSp>
        <p:nvCxnSpPr>
          <p:cNvPr id="96" name="Straight Connector 95">
            <a:extLst>
              <a:ext uri="{FF2B5EF4-FFF2-40B4-BE49-F238E27FC236}">
                <a16:creationId xmlns:a16="http://schemas.microsoft.com/office/drawing/2014/main" id="{26F6AE35-C726-1F45-C2DE-BE534A73D115}"/>
              </a:ext>
            </a:extLst>
          </p:cNvPr>
          <p:cNvCxnSpPr/>
          <p:nvPr>
            <p:custDataLst>
              <p:tags r:id="rId27"/>
            </p:custDataLst>
          </p:nvPr>
        </p:nvCxnSpPr>
        <p:spPr bwMode="gray">
          <a:xfrm>
            <a:off x="5011738" y="6302375"/>
            <a:ext cx="157163" cy="0"/>
          </a:xfrm>
          <a:prstGeom prst="line">
            <a:avLst/>
          </a:prstGeom>
          <a:ln w="22225" cap="rnd" cmpd="sng" algn="ctr">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1F4DDCBC-4F64-A003-BA94-18E9653AC395}"/>
              </a:ext>
            </a:extLst>
          </p:cNvPr>
          <p:cNvCxnSpPr/>
          <p:nvPr>
            <p:custDataLst>
              <p:tags r:id="rId28"/>
            </p:custDataLst>
          </p:nvPr>
        </p:nvCxnSpPr>
        <p:spPr bwMode="gray">
          <a:xfrm>
            <a:off x="5648325" y="6302375"/>
            <a:ext cx="157163" cy="0"/>
          </a:xfrm>
          <a:prstGeom prst="line">
            <a:avLst/>
          </a:prstGeom>
          <a:ln w="22225" cap="rnd" cmpd="sng" algn="ctr">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8" name="Text Placeholder 1">
            <a:extLst>
              <a:ext uri="{FF2B5EF4-FFF2-40B4-BE49-F238E27FC236}">
                <a16:creationId xmlns:a16="http://schemas.microsoft.com/office/drawing/2014/main" id="{14115727-C64F-49B1-3ECD-8CF8A0CA66CE}"/>
              </a:ext>
            </a:extLst>
          </p:cNvPr>
          <p:cNvSpPr>
            <a:spLocks noGrp="1"/>
          </p:cNvSpPr>
          <p:nvPr>
            <p:custDataLst>
              <p:tags r:id="rId29"/>
            </p:custDataLst>
          </p:nvPr>
        </p:nvSpPr>
        <p:spPr bwMode="auto">
          <a:xfrm>
            <a:off x="5230813" y="6243638"/>
            <a:ext cx="304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defRPr/>
            </a:pPr>
            <a:fld id="{97FB2072-FF73-4BB8-AB46-30A8C2962C2B}" type="datetime'''''''''''S''''''''h''or''''''''''t'''''''">
              <a:rPr lang="en-GB" altLang="en-US" sz="1000" smtClean="0">
                <a:solidFill>
                  <a:srgbClr val="000000"/>
                </a:solidFill>
              </a:rPr>
              <a:pPr marL="0" lvl="0" indent="0">
                <a:spcBef>
                  <a:spcPct val="0"/>
                </a:spcBef>
                <a:spcAft>
                  <a:spcPct val="0"/>
                </a:spcAft>
                <a:buNone/>
                <a:defRPr/>
              </a:pPr>
              <a:t>Short</a:t>
            </a:fld>
            <a:endParaRPr kumimoji="0" lang="en-GB" sz="1000" strike="noStrike" kern="1200" spc="0" normalizeH="0" noProof="0">
              <a:ln>
                <a:noFill/>
              </a:ln>
              <a:solidFill>
                <a:srgbClr val="000000"/>
              </a:solidFill>
              <a:effectLst/>
              <a:uLnTx/>
              <a:uFillTx/>
              <a:sym typeface="+mn-lt"/>
            </a:endParaRPr>
          </a:p>
        </p:txBody>
      </p:sp>
      <p:sp>
        <p:nvSpPr>
          <p:cNvPr id="99" name="Text Placeholder 1">
            <a:extLst>
              <a:ext uri="{FF2B5EF4-FFF2-40B4-BE49-F238E27FC236}">
                <a16:creationId xmlns:a16="http://schemas.microsoft.com/office/drawing/2014/main" id="{EAF799C5-038D-A79A-178C-DED43A2E6112}"/>
              </a:ext>
            </a:extLst>
          </p:cNvPr>
          <p:cNvSpPr>
            <a:spLocks noGrp="1"/>
          </p:cNvSpPr>
          <p:nvPr>
            <p:custDataLst>
              <p:tags r:id="rId30"/>
            </p:custDataLst>
          </p:nvPr>
        </p:nvSpPr>
        <p:spPr bwMode="auto">
          <a:xfrm>
            <a:off x="5867400" y="6243638"/>
            <a:ext cx="26987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defTabSz="685783" rtl="0" eaLnBrk="1" latinLnBrk="0" hangingPunct="1">
              <a:lnSpc>
                <a:spcPct val="90000"/>
              </a:lnSpc>
              <a:spcBef>
                <a:spcPts val="750"/>
              </a:spcBef>
              <a:buFont typeface="Wingdings" panose="05000000000000000000" pitchFamily="2" charset="2"/>
              <a:buChar char="§"/>
              <a:defRPr sz="1400" kern="1200">
                <a:solidFill>
                  <a:schemeClr val="tx1"/>
                </a:solidFill>
                <a:latin typeface="+mn-lt"/>
                <a:ea typeface="+mn-ea"/>
                <a:cs typeface="+mn-cs"/>
              </a:defRPr>
            </a:lvl1pPr>
            <a:lvl2pPr marL="628641"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2pPr>
            <a:lvl3pPr marL="971532"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3pPr>
            <a:lvl4pPr marL="1314424" indent="-285750" algn="l" defTabSz="685783" rtl="0" eaLnBrk="1" latinLnBrk="0" hangingPunct="1">
              <a:lnSpc>
                <a:spcPct val="90000"/>
              </a:lnSpc>
              <a:spcBef>
                <a:spcPts val="375"/>
              </a:spcBef>
              <a:buSzPct val="80000"/>
              <a:buFontTx/>
              <a:buChar char="-"/>
              <a:defRPr sz="1400" kern="1200">
                <a:solidFill>
                  <a:schemeClr val="tx1"/>
                </a:solidFill>
                <a:latin typeface="+mn-lt"/>
                <a:ea typeface="+mn-ea"/>
                <a:cs typeface="+mn-cs"/>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defRPr/>
            </a:pPr>
            <a:fld id="{634674EB-3074-4465-A977-78E2EA1EBFED}" type="datetime'''''''''''Lo''n''''''''''''''''''''''''''''''g'''''''''">
              <a:rPr lang="en-GB" altLang="en-US" sz="1000" smtClean="0">
                <a:solidFill>
                  <a:srgbClr val="000000"/>
                </a:solidFill>
              </a:rPr>
              <a:pPr marL="0" lvl="0" indent="0">
                <a:spcBef>
                  <a:spcPct val="0"/>
                </a:spcBef>
                <a:spcAft>
                  <a:spcPct val="0"/>
                </a:spcAft>
                <a:buNone/>
                <a:defRPr/>
              </a:pPr>
              <a:t>Long</a:t>
            </a:fld>
            <a:endParaRPr kumimoji="0" lang="en-GB" sz="1000" strike="noStrike" kern="1200" spc="0" normalizeH="0" noProof="0">
              <a:ln>
                <a:noFill/>
              </a:ln>
              <a:solidFill>
                <a:srgbClr val="000000"/>
              </a:solidFill>
              <a:effectLst/>
              <a:uLnTx/>
              <a:uFillTx/>
              <a:sym typeface="+mn-lt"/>
            </a:endParaRPr>
          </a:p>
        </p:txBody>
      </p:sp>
      <p:sp>
        <p:nvSpPr>
          <p:cNvPr id="60" name="Text Placeholder 16">
            <a:extLst>
              <a:ext uri="{FF2B5EF4-FFF2-40B4-BE49-F238E27FC236}">
                <a16:creationId xmlns:a16="http://schemas.microsoft.com/office/drawing/2014/main" id="{C1B88F58-3805-A07D-29EE-F88BBC400FC9}"/>
              </a:ext>
            </a:extLst>
          </p:cNvPr>
          <p:cNvSpPr txBox="1">
            <a:spLocks/>
          </p:cNvSpPr>
          <p:nvPr/>
        </p:nvSpPr>
        <p:spPr>
          <a:xfrm>
            <a:off x="9487629" y="6103558"/>
            <a:ext cx="2454536" cy="443198"/>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This is a redacted sample of the European Battery Market Attractiveness Report. If you are interested in the full report, contact Alex Hutcheson (</a:t>
            </a:r>
            <a:r>
              <a:rPr lang="en-GB" u="sng"/>
              <a:t>alex.hutcheson@auroraer.com)</a:t>
            </a:r>
            <a:endParaRPr lang="en-GB"/>
          </a:p>
        </p:txBody>
      </p:sp>
      <p:sp>
        <p:nvSpPr>
          <p:cNvPr id="3" name="Rectangle 2">
            <a:extLst>
              <a:ext uri="{FF2B5EF4-FFF2-40B4-BE49-F238E27FC236}">
                <a16:creationId xmlns:a16="http://schemas.microsoft.com/office/drawing/2014/main" id="{CBB53405-720E-C504-E99E-5C89A3A8B9D7}"/>
              </a:ext>
            </a:extLst>
          </p:cNvPr>
          <p:cNvSpPr/>
          <p:nvPr/>
        </p:nvSpPr>
        <p:spPr>
          <a:xfrm>
            <a:off x="655920" y="1685845"/>
            <a:ext cx="3957638" cy="4080859"/>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774188298"/>
      </p:ext>
    </p:extLst>
  </p:cSld>
  <p:clrMapOvr>
    <a:masterClrMapping/>
  </p:clrMapOvr>
  <p:extLst>
    <p:ext uri="{6950BFC3-D8DA-4A85-94F7-54DA5524770B}">
      <p188:commentRel xmlns:p188="http://schemas.microsoft.com/office/powerpoint/2018/8/main" r:id="rId33"/>
    </p:ext>
  </p:extLs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0A5EAE75-8FF4-CECA-1925-4800CF4B5654}"/>
              </a:ext>
            </a:extLst>
          </p:cNvPr>
          <p:cNvGraphicFramePr>
            <a:graphicFrameLocks noChangeAspect="1"/>
          </p:cNvGraphicFramePr>
          <p:nvPr>
            <p:custDataLst>
              <p:tags r:id="rId1"/>
            </p:custDataLst>
            <p:extLst>
              <p:ext uri="{D42A27DB-BD31-4B8C-83A1-F6EECF244321}">
                <p14:modId xmlns:p14="http://schemas.microsoft.com/office/powerpoint/2010/main" val="2840099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6" progId="TCLayout.ActiveDocument.1">
                  <p:embed/>
                </p:oleObj>
              </mc:Choice>
              <mc:Fallback>
                <p:oleObj name="think-cell Slide" r:id="rId22" imgW="395" imgH="396" progId="TCLayout.ActiveDocument.1">
                  <p:embed/>
                  <p:pic>
                    <p:nvPicPr>
                      <p:cNvPr id="31" name="Object 30" hidden="1">
                        <a:extLst>
                          <a:ext uri="{FF2B5EF4-FFF2-40B4-BE49-F238E27FC236}">
                            <a16:creationId xmlns:a16="http://schemas.microsoft.com/office/drawing/2014/main" id="{0A5EAE75-8FF4-CECA-1925-4800CF4B5654}"/>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aphicFrame>
        <p:nvGraphicFramePr>
          <p:cNvPr id="6" name="Tabelle 7">
            <a:extLst>
              <a:ext uri="{FF2B5EF4-FFF2-40B4-BE49-F238E27FC236}">
                <a16:creationId xmlns:a16="http://schemas.microsoft.com/office/drawing/2014/main" id="{1949E43D-A36C-453D-EF49-DE47A6D29C97}"/>
              </a:ext>
            </a:extLst>
          </p:cNvPr>
          <p:cNvGraphicFramePr>
            <a:graphicFrameLocks noGrp="1"/>
          </p:cNvGraphicFramePr>
          <p:nvPr>
            <p:custDataLst>
              <p:tags r:id="rId2"/>
            </p:custDataLst>
            <p:extLst>
              <p:ext uri="{D42A27DB-BD31-4B8C-83A1-F6EECF244321}">
                <p14:modId xmlns:p14="http://schemas.microsoft.com/office/powerpoint/2010/main" val="4281499876"/>
              </p:ext>
            </p:extLst>
          </p:nvPr>
        </p:nvGraphicFramePr>
        <p:xfrm>
          <a:off x="381597" y="1263600"/>
          <a:ext cx="11448000" cy="4936585"/>
        </p:xfrm>
        <a:graphic>
          <a:graphicData uri="http://schemas.openxmlformats.org/drawingml/2006/table">
            <a:tbl>
              <a:tblPr firstRow="1" bandRow="1">
                <a:effectLst/>
                <a:tableStyleId>{5C22544A-7EE6-4342-B048-85BDC9FD1C3A}</a:tableStyleId>
              </a:tblPr>
              <a:tblGrid>
                <a:gridCol w="1188000">
                  <a:extLst>
                    <a:ext uri="{9D8B030D-6E8A-4147-A177-3AD203B41FA5}">
                      <a16:colId xmlns:a16="http://schemas.microsoft.com/office/drawing/2014/main" val="20000"/>
                    </a:ext>
                  </a:extLst>
                </a:gridCol>
                <a:gridCol w="144000">
                  <a:extLst>
                    <a:ext uri="{9D8B030D-6E8A-4147-A177-3AD203B41FA5}">
                      <a16:colId xmlns:a16="http://schemas.microsoft.com/office/drawing/2014/main" val="2133620686"/>
                    </a:ext>
                  </a:extLst>
                </a:gridCol>
                <a:gridCol w="4320000">
                  <a:extLst>
                    <a:ext uri="{9D8B030D-6E8A-4147-A177-3AD203B41FA5}">
                      <a16:colId xmlns:a16="http://schemas.microsoft.com/office/drawing/2014/main" val="20001"/>
                    </a:ext>
                  </a:extLst>
                </a:gridCol>
                <a:gridCol w="5796000">
                  <a:extLst>
                    <a:ext uri="{9D8B030D-6E8A-4147-A177-3AD203B41FA5}">
                      <a16:colId xmlns:a16="http://schemas.microsoft.com/office/drawing/2014/main" val="20002"/>
                    </a:ext>
                  </a:extLst>
                </a:gridCol>
              </a:tblGrid>
              <a:tr h="288000">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ergy remuneration of selected Up services</a:t>
                      </a:r>
                      <a:endParaRPr lang="en-GB" sz="1200" b="0" i="0" noProof="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ents</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230969">
                <a:tc>
                  <a:txBody>
                    <a:bodyPr/>
                    <a:lstStyle/>
                    <a:p>
                      <a:pPr lvl="0"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 X</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200"/>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414736">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 Y</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200" b="0" i="0" u="none" strike="noStrike" kern="1200">
                        <a:solidFill>
                          <a:schemeClr val="tx1"/>
                        </a:solidFill>
                        <a:effectLs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 name="Text Placeholder 1">
            <a:extLst>
              <a:ext uri="{FF2B5EF4-FFF2-40B4-BE49-F238E27FC236}">
                <a16:creationId xmlns:a16="http://schemas.microsoft.com/office/drawing/2014/main" id="{B0DBA6CB-975A-9931-C3A7-117CF0CE65A6}"/>
              </a:ext>
            </a:extLst>
          </p:cNvPr>
          <p:cNvSpPr>
            <a:spLocks noGrp="1"/>
          </p:cNvSpPr>
          <p:nvPr>
            <p:ph type="body" sz="quarter" idx="22"/>
          </p:nvPr>
        </p:nvSpPr>
        <p:spPr>
          <a:xfrm>
            <a:off x="381001" y="6715169"/>
            <a:ext cx="1477969" cy="110800"/>
          </a:xfrm>
        </p:spPr>
        <p:txBody>
          <a:bodyPr/>
          <a:lstStyle/>
          <a:p>
            <a:r>
              <a:rPr lang="en-GB"/>
              <a:t>Source: Aurora Energy Research</a:t>
            </a:r>
          </a:p>
        </p:txBody>
      </p:sp>
      <p:sp>
        <p:nvSpPr>
          <p:cNvPr id="3" name="Title 2">
            <a:extLst>
              <a:ext uri="{FF2B5EF4-FFF2-40B4-BE49-F238E27FC236}">
                <a16:creationId xmlns:a16="http://schemas.microsoft.com/office/drawing/2014/main" id="{11BD282E-265D-5036-8D45-68854E2FC128}"/>
              </a:ext>
            </a:extLst>
          </p:cNvPr>
          <p:cNvSpPr>
            <a:spLocks noGrp="1"/>
          </p:cNvSpPr>
          <p:nvPr>
            <p:ph type="title"/>
          </p:nvPr>
        </p:nvSpPr>
        <p:spPr/>
        <p:txBody>
          <a:bodyPr vert="horz"/>
          <a:lstStyle/>
          <a:p>
            <a:r>
              <a:rPr lang="en-GB"/>
              <a:t>…prices for such balancing services are expected to adjust as the technology mix changes in each country (1/2)</a:t>
            </a:r>
          </a:p>
        </p:txBody>
      </p:sp>
      <p:graphicFrame>
        <p:nvGraphicFramePr>
          <p:cNvPr id="35" name="Chart 34">
            <a:extLst>
              <a:ext uri="{FF2B5EF4-FFF2-40B4-BE49-F238E27FC236}">
                <a16:creationId xmlns:a16="http://schemas.microsoft.com/office/drawing/2014/main" id="{F6379123-030D-4406-D52D-C904354EA142}"/>
              </a:ext>
            </a:extLst>
          </p:cNvPr>
          <p:cNvGraphicFramePr/>
          <p:nvPr>
            <p:custDataLst>
              <p:tags r:id="rId3"/>
            </p:custDataLst>
            <p:extLst>
              <p:ext uri="{D42A27DB-BD31-4B8C-83A1-F6EECF244321}">
                <p14:modId xmlns:p14="http://schemas.microsoft.com/office/powerpoint/2010/main" val="1301811127"/>
              </p:ext>
            </p:extLst>
          </p:nvPr>
        </p:nvGraphicFramePr>
        <p:xfrm>
          <a:off x="2176463" y="1771650"/>
          <a:ext cx="3532187" cy="1844675"/>
        </p:xfrm>
        <a:graphic>
          <a:graphicData uri="http://schemas.openxmlformats.org/drawingml/2006/chart">
            <c:chart xmlns:c="http://schemas.openxmlformats.org/drawingml/2006/chart" xmlns:r="http://schemas.openxmlformats.org/officeDocument/2006/relationships" r:id="rId24"/>
          </a:graphicData>
        </a:graphic>
      </p:graphicFrame>
      <p:cxnSp>
        <p:nvCxnSpPr>
          <p:cNvPr id="15" name="Straight Connector 14">
            <a:extLst>
              <a:ext uri="{FF2B5EF4-FFF2-40B4-BE49-F238E27FC236}">
                <a16:creationId xmlns:a16="http://schemas.microsoft.com/office/drawing/2014/main" id="{AEFDE29C-757B-A7CE-E2C8-6C758E832C33}"/>
              </a:ext>
            </a:extLst>
          </p:cNvPr>
          <p:cNvCxnSpPr/>
          <p:nvPr>
            <p:custDataLst>
              <p:tags r:id="rId4"/>
            </p:custDataLst>
          </p:nvPr>
        </p:nvCxnSpPr>
        <p:spPr bwMode="gray">
          <a:xfrm flipV="1">
            <a:off x="3100388" y="1765300"/>
            <a:ext cx="0" cy="762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3770C47-8E0A-085A-9180-B89D1413D014}"/>
              </a:ext>
            </a:extLst>
          </p:cNvPr>
          <p:cNvCxnSpPr/>
          <p:nvPr>
            <p:custDataLst>
              <p:tags r:id="rId5"/>
            </p:custDataLst>
          </p:nvPr>
        </p:nvCxnSpPr>
        <p:spPr bwMode="gray">
          <a:xfrm>
            <a:off x="3100387" y="1765300"/>
            <a:ext cx="16843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7A1987CD-3498-3244-7B59-9DFEBA00BBDF}"/>
              </a:ext>
            </a:extLst>
          </p:cNvPr>
          <p:cNvCxnSpPr/>
          <p:nvPr>
            <p:custDataLst>
              <p:tags r:id="rId6"/>
            </p:custDataLst>
          </p:nvPr>
        </p:nvCxnSpPr>
        <p:spPr bwMode="gray">
          <a:xfrm>
            <a:off x="4784725" y="1765300"/>
            <a:ext cx="0" cy="404813"/>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2"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auto">
          <a:xfrm>
            <a:off x="3709988" y="1636713"/>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graphicFrame>
        <p:nvGraphicFramePr>
          <p:cNvPr id="36" name="Chart 35">
            <a:extLst>
              <a:ext uri="{FF2B5EF4-FFF2-40B4-BE49-F238E27FC236}">
                <a16:creationId xmlns:a16="http://schemas.microsoft.com/office/drawing/2014/main" id="{95889DC5-676F-BED4-C753-5A0943C9DDDA}"/>
              </a:ext>
            </a:extLst>
          </p:cNvPr>
          <p:cNvGraphicFramePr/>
          <p:nvPr>
            <p:custDataLst>
              <p:tags r:id="rId8"/>
            </p:custDataLst>
            <p:extLst>
              <p:ext uri="{D42A27DB-BD31-4B8C-83A1-F6EECF244321}">
                <p14:modId xmlns:p14="http://schemas.microsoft.com/office/powerpoint/2010/main" val="2551555789"/>
              </p:ext>
            </p:extLst>
          </p:nvPr>
        </p:nvGraphicFramePr>
        <p:xfrm>
          <a:off x="2176463" y="4022725"/>
          <a:ext cx="3532187" cy="1774825"/>
        </p:xfrm>
        <a:graphic>
          <a:graphicData uri="http://schemas.openxmlformats.org/drawingml/2006/chart">
            <c:chart xmlns:c="http://schemas.openxmlformats.org/drawingml/2006/chart" xmlns:r="http://schemas.openxmlformats.org/officeDocument/2006/relationships" r:id="rId25"/>
          </a:graphicData>
        </a:graphic>
      </p:graphicFrame>
      <p:cxnSp>
        <p:nvCxnSpPr>
          <p:cNvPr id="44" name="Straight Connector 43">
            <a:extLst>
              <a:ext uri="{FF2B5EF4-FFF2-40B4-BE49-F238E27FC236}">
                <a16:creationId xmlns:a16="http://schemas.microsoft.com/office/drawing/2014/main" id="{CB014A6F-0164-BB88-8D0A-85669E086285}"/>
              </a:ext>
            </a:extLst>
          </p:cNvPr>
          <p:cNvCxnSpPr>
            <a:cxnSpLocks/>
          </p:cNvCxnSpPr>
          <p:nvPr>
            <p:custDataLst>
              <p:tags r:id="rId9"/>
            </p:custDataLst>
          </p:nvPr>
        </p:nvCxnSpPr>
        <p:spPr bwMode="gray">
          <a:xfrm flipV="1">
            <a:off x="3100388" y="4008438"/>
            <a:ext cx="0" cy="7620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385773E1-2CC5-D778-83AF-1851BC3FBD41}"/>
              </a:ext>
            </a:extLst>
          </p:cNvPr>
          <p:cNvCxnSpPr/>
          <p:nvPr>
            <p:custDataLst>
              <p:tags r:id="rId10"/>
            </p:custDataLst>
          </p:nvPr>
        </p:nvCxnSpPr>
        <p:spPr bwMode="gray">
          <a:xfrm>
            <a:off x="3100387" y="4008438"/>
            <a:ext cx="1684338"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711EB3EF-0134-F07F-D4ED-6CFA5EB1682C}"/>
              </a:ext>
            </a:extLst>
          </p:cNvPr>
          <p:cNvCxnSpPr/>
          <p:nvPr>
            <p:custDataLst>
              <p:tags r:id="rId11"/>
            </p:custDataLst>
          </p:nvPr>
        </p:nvCxnSpPr>
        <p:spPr bwMode="gray">
          <a:xfrm>
            <a:off x="4784725" y="4008438"/>
            <a:ext cx="0" cy="4540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4"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auto">
          <a:xfrm>
            <a:off x="3709988" y="3879850"/>
            <a:ext cx="465138" cy="258763"/>
          </a:xfrm>
          <a:prstGeom prst="ellipse">
            <a:avLst/>
          </a:prstGeom>
          <a:solidFill>
            <a:schemeClr val="bg1"/>
          </a:solidFill>
          <a:ln w="9525" algn="ctr">
            <a:solidFill>
              <a:schemeClr val="tx2"/>
            </a:solidFill>
          </a:ln>
          <a:effec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GB" altLang="en-US" b="1">
                <a:effectLst/>
                <a:ea typeface="+mn-ea"/>
                <a:cs typeface="+mn-cs"/>
              </a:rPr>
              <a:t>XX%</a:t>
            </a:r>
            <a:endParaRPr lang="en-GB" b="1">
              <a:ea typeface="+mn-ea"/>
              <a:cs typeface="+mn-cs"/>
            </a:endParaRPr>
          </a:p>
        </p:txBody>
      </p:sp>
      <p:sp>
        <p:nvSpPr>
          <p:cNvPr id="111" name="Rectangle 110">
            <a:extLst>
              <a:ext uri="{FF2B5EF4-FFF2-40B4-BE49-F238E27FC236}">
                <a16:creationId xmlns:a16="http://schemas.microsoft.com/office/drawing/2014/main" id="{08390AD7-83CD-65CE-5024-7FB464DE93A3}"/>
              </a:ext>
            </a:extLst>
          </p:cNvPr>
          <p:cNvSpPr/>
          <p:nvPr>
            <p:custDataLst>
              <p:tags r:id="rId13"/>
            </p:custDataLst>
          </p:nvPr>
        </p:nvSpPr>
        <p:spPr bwMode="auto">
          <a:xfrm>
            <a:off x="1909763" y="600233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12" name="Rectangle 111">
            <a:extLst>
              <a:ext uri="{FF2B5EF4-FFF2-40B4-BE49-F238E27FC236}">
                <a16:creationId xmlns:a16="http://schemas.microsoft.com/office/drawing/2014/main" id="{F4BEC2AD-5A48-6A71-A626-C30B7439375B}"/>
              </a:ext>
            </a:extLst>
          </p:cNvPr>
          <p:cNvSpPr/>
          <p:nvPr>
            <p:custDataLst>
              <p:tags r:id="rId14"/>
            </p:custDataLst>
          </p:nvPr>
        </p:nvSpPr>
        <p:spPr bwMode="auto">
          <a:xfrm>
            <a:off x="2840038" y="600233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10" name="Rectangle 109">
            <a:extLst>
              <a:ext uri="{FF2B5EF4-FFF2-40B4-BE49-F238E27FC236}">
                <a16:creationId xmlns:a16="http://schemas.microsoft.com/office/drawing/2014/main" id="{2B889C88-95ED-6CFC-56C0-35D0388C6498}"/>
              </a:ext>
            </a:extLst>
          </p:cNvPr>
          <p:cNvSpPr/>
          <p:nvPr>
            <p:custDataLst>
              <p:tags r:id="rId15"/>
            </p:custDataLst>
          </p:nvPr>
        </p:nvSpPr>
        <p:spPr bwMode="auto">
          <a:xfrm>
            <a:off x="3787775" y="6002338"/>
            <a:ext cx="179388" cy="133350"/>
          </a:xfrm>
          <a:prstGeom prst="rect">
            <a:avLst/>
          </a:prstGeom>
          <a:solidFill>
            <a:schemeClr val="accent2"/>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14" name="Text Placeholder 19">
            <a:extLst>
              <a:ext uri="{FF2B5EF4-FFF2-40B4-BE49-F238E27FC236}">
                <a16:creationId xmlns:a16="http://schemas.microsoft.com/office/drawing/2014/main" id="{0C373226-0504-FD78-4F2F-DA5F962AE354}"/>
              </a:ext>
            </a:extLst>
          </p:cNvPr>
          <p:cNvSpPr>
            <a:spLocks noGrp="1"/>
          </p:cNvSpPr>
          <p:nvPr>
            <p:custDataLst>
              <p:tags r:id="rId16"/>
            </p:custDataLst>
          </p:nvPr>
        </p:nvSpPr>
        <p:spPr bwMode="auto">
          <a:xfrm>
            <a:off x="2139950" y="599757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A7EDAD18-1728-438D-8D6D-3078174A1A78}" type="datetime'''S''h''''''''''''''''o''''''r''''t'' ''t''''''e''''''rm'">
              <a:rPr lang="en-GB" altLang="en-US" sz="1000" smtClean="0">
                <a:ea typeface="+mn-ea"/>
                <a:cs typeface="+mn-cs"/>
              </a:rPr>
              <a:pPr>
                <a:spcBef>
                  <a:spcPct val="0"/>
                </a:spcBef>
                <a:spcAft>
                  <a:spcPct val="0"/>
                </a:spcAft>
              </a:pPr>
              <a:t>Short term</a:t>
            </a:fld>
            <a:endParaRPr lang="en-GB" sz="1000">
              <a:ea typeface="+mn-ea"/>
              <a:cs typeface="+mn-cs"/>
            </a:endParaRPr>
          </a:p>
        </p:txBody>
      </p:sp>
      <p:sp>
        <p:nvSpPr>
          <p:cNvPr id="113" name="Text Placeholder 19">
            <a:extLst>
              <a:ext uri="{FF2B5EF4-FFF2-40B4-BE49-F238E27FC236}">
                <a16:creationId xmlns:a16="http://schemas.microsoft.com/office/drawing/2014/main" id="{7203ED26-CED6-19F5-4785-3D6EA036C044}"/>
              </a:ext>
            </a:extLst>
          </p:cNvPr>
          <p:cNvSpPr>
            <a:spLocks noGrp="1"/>
          </p:cNvSpPr>
          <p:nvPr>
            <p:custDataLst>
              <p:tags r:id="rId17"/>
            </p:custDataLst>
          </p:nvPr>
        </p:nvSpPr>
        <p:spPr bwMode="auto">
          <a:xfrm>
            <a:off x="3070225" y="599757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2410B744-1356-4667-8BE4-476A2B935947}" type="datetime'''La''''''''''''te ''2''''''''''''''''''''''''''0''''20s'''''">
              <a:rPr lang="en-GB" altLang="en-US" sz="1000" smtClean="0">
                <a:ea typeface="+mn-ea"/>
                <a:cs typeface="+mn-cs"/>
              </a:rPr>
              <a:pPr>
                <a:spcBef>
                  <a:spcPct val="0"/>
                </a:spcBef>
                <a:spcAft>
                  <a:spcPct val="0"/>
                </a:spcAft>
              </a:pPr>
              <a:t>Late 2020s</a:t>
            </a:fld>
            <a:endParaRPr lang="en-GB" sz="1000">
              <a:ea typeface="+mn-ea"/>
              <a:cs typeface="+mn-cs"/>
            </a:endParaRPr>
          </a:p>
        </p:txBody>
      </p:sp>
      <p:sp>
        <p:nvSpPr>
          <p:cNvPr id="115" name="Text Placeholder 19">
            <a:extLst>
              <a:ext uri="{FF2B5EF4-FFF2-40B4-BE49-F238E27FC236}">
                <a16:creationId xmlns:a16="http://schemas.microsoft.com/office/drawing/2014/main" id="{4796F1ED-37DA-86D2-10F8-58F0FFE10A00}"/>
              </a:ext>
            </a:extLst>
          </p:cNvPr>
          <p:cNvSpPr>
            <a:spLocks noGrp="1"/>
          </p:cNvSpPr>
          <p:nvPr>
            <p:custDataLst>
              <p:tags r:id="rId18"/>
            </p:custDataLst>
          </p:nvPr>
        </p:nvSpPr>
        <p:spPr bwMode="auto">
          <a:xfrm>
            <a:off x="4017963" y="599757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BE8E0DF3-B43B-4A68-A9E6-6ABE0C1A2B0A}" type="datetime'''''''''''2''''''''''03''''''0''s'''''''''''''''''''''''">
              <a:rPr lang="en-GB" altLang="en-US" sz="1000" smtClean="0">
                <a:ea typeface="+mn-ea"/>
                <a:cs typeface="+mn-cs"/>
              </a:rPr>
              <a:pPr>
                <a:spcBef>
                  <a:spcPct val="0"/>
                </a:spcBef>
                <a:spcAft>
                  <a:spcPct val="0"/>
                </a:spcAft>
              </a:pPr>
              <a:t>2030s</a:t>
            </a:fld>
            <a:endParaRPr lang="en-GB" sz="1000">
              <a:ea typeface="+mn-ea"/>
              <a:cs typeface="+mn-cs"/>
            </a:endParaRPr>
          </a:p>
        </p:txBody>
      </p:sp>
      <p:sp>
        <p:nvSpPr>
          <p:cNvPr id="27" name="Text Placeholder 2">
            <a:extLst>
              <a:ext uri="{FF2B5EF4-FFF2-40B4-BE49-F238E27FC236}">
                <a16:creationId xmlns:a16="http://schemas.microsoft.com/office/drawing/2014/main" id="{7D25EEBF-3DB3-7DC6-F3EF-FA6D82E4CC0D}"/>
              </a:ext>
            </a:extLst>
          </p:cNvPr>
          <p:cNvSpPr txBox="1">
            <a:spLocks/>
          </p:cNvSpPr>
          <p:nvPr/>
        </p:nvSpPr>
        <p:spPr>
          <a:xfrm>
            <a:off x="381599" y="79401"/>
            <a:ext cx="4100803"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Balancing and restoration services</a:t>
            </a:r>
          </a:p>
        </p:txBody>
      </p:sp>
      <p:sp>
        <p:nvSpPr>
          <p:cNvPr id="29" name="Oval 28">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30" name="Oval 29">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
        <p:nvSpPr>
          <p:cNvPr id="32" name="Text Placeholder 6">
            <a:extLst>
              <a:ext uri="{FF2B5EF4-FFF2-40B4-BE49-F238E27FC236}">
                <a16:creationId xmlns:a16="http://schemas.microsoft.com/office/drawing/2014/main" id="{6FCCEABD-8F5B-5917-18D8-BD996B497B3E}"/>
              </a:ext>
            </a:extLst>
          </p:cNvPr>
          <p:cNvSpPr>
            <a:spLocks noGrp="1"/>
          </p:cNvSpPr>
          <p:nvPr>
            <p:ph type="body" sz="quarter" idx="32"/>
          </p:nvPr>
        </p:nvSpPr>
        <p:spPr>
          <a:xfrm>
            <a:off x="381600" y="6474841"/>
            <a:ext cx="11428800" cy="110800"/>
          </a:xfrm>
        </p:spPr>
        <p:txBody>
          <a:bodyPr/>
          <a:lstStyle/>
          <a:p>
            <a:r>
              <a:rPr lang="en-GB"/>
              <a:t>1) Represents the average imbalance price when the system is short</a:t>
            </a:r>
          </a:p>
        </p:txBody>
      </p:sp>
      <p:sp>
        <p:nvSpPr>
          <p:cNvPr id="37" name="Text Placeholder 16">
            <a:extLst>
              <a:ext uri="{FF2B5EF4-FFF2-40B4-BE49-F238E27FC236}">
                <a16:creationId xmlns:a16="http://schemas.microsoft.com/office/drawing/2014/main" id="{46FA157C-08E6-344F-5CA9-658E6E143163}"/>
              </a:ext>
            </a:extLst>
          </p:cNvPr>
          <p:cNvSpPr txBox="1">
            <a:spLocks/>
          </p:cNvSpPr>
          <p:nvPr/>
        </p:nvSpPr>
        <p:spPr>
          <a:xfrm>
            <a:off x="6483351" y="4805700"/>
            <a:ext cx="5138377" cy="2769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00"/>
              <a:t>This is a redacted sample of the European Battery Market Attractiveness Report. If you are interested in the full report, contact Alex Hutcheson (</a:t>
            </a:r>
            <a:r>
              <a:rPr lang="en-GB" sz="1000" u="sng"/>
              <a:t>alex.hutcheson@auroraer.com)</a:t>
            </a:r>
            <a:endParaRPr lang="en-GB" sz="1000"/>
          </a:p>
        </p:txBody>
      </p:sp>
      <p:sp>
        <p:nvSpPr>
          <p:cNvPr id="4" name="Rectangle 3">
            <a:extLst>
              <a:ext uri="{FF2B5EF4-FFF2-40B4-BE49-F238E27FC236}">
                <a16:creationId xmlns:a16="http://schemas.microsoft.com/office/drawing/2014/main" id="{84F3DEC8-D6E0-A893-AA97-52B9FB44BF6D}"/>
              </a:ext>
            </a:extLst>
          </p:cNvPr>
          <p:cNvSpPr/>
          <p:nvPr/>
        </p:nvSpPr>
        <p:spPr>
          <a:xfrm>
            <a:off x="297712" y="1263600"/>
            <a:ext cx="11681637" cy="4936585"/>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nvGrpSpPr>
          <p:cNvPr id="5" name="Group 4">
            <a:extLst>
              <a:ext uri="{FF2B5EF4-FFF2-40B4-BE49-F238E27FC236}">
                <a16:creationId xmlns:a16="http://schemas.microsoft.com/office/drawing/2014/main" id="{B78BC6B8-8C97-CEEF-91B7-F89FFF8CF3A8}"/>
              </a:ext>
            </a:extLst>
          </p:cNvPr>
          <p:cNvGrpSpPr/>
          <p:nvPr/>
        </p:nvGrpSpPr>
        <p:grpSpPr>
          <a:xfrm>
            <a:off x="4772297" y="2928257"/>
            <a:ext cx="2647407" cy="1001486"/>
            <a:chOff x="8251369" y="2255520"/>
            <a:chExt cx="2647407" cy="1001486"/>
          </a:xfrm>
        </p:grpSpPr>
        <p:sp>
          <p:nvSpPr>
            <p:cNvPr id="7" name="Rectangle: Rounded Corners 6">
              <a:extLst>
                <a:ext uri="{FF2B5EF4-FFF2-40B4-BE49-F238E27FC236}">
                  <a16:creationId xmlns:a16="http://schemas.microsoft.com/office/drawing/2014/main" id="{7C6AB304-D2B6-5193-19DF-EB275EBEC7CD}"/>
                </a:ext>
              </a:extLst>
            </p:cNvPr>
            <p:cNvSpPr/>
            <p:nvPr/>
          </p:nvSpPr>
          <p:spPr>
            <a:xfrm>
              <a:off x="8290559" y="2255520"/>
              <a:ext cx="2569029" cy="1001486"/>
            </a:xfrm>
            <a:prstGeom prst="roundRect">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dirty="0" err="1">
                <a:solidFill>
                  <a:schemeClr val="tx1"/>
                </a:solidFill>
              </a:endParaRPr>
            </a:p>
          </p:txBody>
        </p:sp>
        <p:sp>
          <p:nvSpPr>
            <p:cNvPr id="8" name="TextBox 7">
              <a:extLst>
                <a:ext uri="{FF2B5EF4-FFF2-40B4-BE49-F238E27FC236}">
                  <a16:creationId xmlns:a16="http://schemas.microsoft.com/office/drawing/2014/main" id="{05EFA026-EBF7-8A04-93C4-9E1810859B86}"/>
                </a:ext>
              </a:extLst>
            </p:cNvPr>
            <p:cNvSpPr txBox="1"/>
            <p:nvPr/>
          </p:nvSpPr>
          <p:spPr>
            <a:xfrm>
              <a:off x="8251369" y="2394625"/>
              <a:ext cx="2647407" cy="723275"/>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400" b="1" dirty="0"/>
                <a:t>To gain access to this redacted information, get in touch with:</a:t>
              </a:r>
            </a:p>
            <a:p>
              <a:pPr marL="0" indent="0" algn="ctr">
                <a:spcBef>
                  <a:spcPts val="600"/>
                </a:spcBef>
                <a:buFont typeface="Wingdings" panose="05000000000000000000" pitchFamily="2" charset="2"/>
                <a:buNone/>
              </a:pPr>
              <a:r>
                <a:rPr lang="en-GB" sz="1400" b="1" u="sng" dirty="0">
                  <a:solidFill>
                    <a:schemeClr val="bg1"/>
                  </a:solidFill>
                </a:rPr>
                <a:t>alex.hutcheson@auroraer.com</a:t>
              </a:r>
            </a:p>
          </p:txBody>
        </p:sp>
      </p:grpSp>
    </p:spTree>
    <p:extLst>
      <p:ext uri="{BB962C8B-B14F-4D97-AF65-F5344CB8AC3E}">
        <p14:creationId xmlns:p14="http://schemas.microsoft.com/office/powerpoint/2010/main" val="3076565669"/>
      </p:ext>
    </p:extLst>
  </p:cSld>
  <p:clrMapOvr>
    <a:masterClrMapping/>
  </p:clrMapOvr>
  <p:extLst>
    <p:ext uri="{6950BFC3-D8DA-4A85-94F7-54DA5524770B}">
      <p188:commentRel xmlns:p188="http://schemas.microsoft.com/office/powerpoint/2018/8/main" r:id="rId21"/>
    </p:ext>
  </p:extLs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0A5EAE75-8FF4-CECA-1925-4800CF4B5654}"/>
              </a:ext>
            </a:extLst>
          </p:cNvPr>
          <p:cNvGraphicFramePr>
            <a:graphicFrameLocks noChangeAspect="1"/>
          </p:cNvGraphicFramePr>
          <p:nvPr>
            <p:custDataLst>
              <p:tags r:id="rId1"/>
            </p:custDataLst>
            <p:extLst>
              <p:ext uri="{D42A27DB-BD31-4B8C-83A1-F6EECF244321}">
                <p14:modId xmlns:p14="http://schemas.microsoft.com/office/powerpoint/2010/main" val="1978359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95" imgH="396" progId="TCLayout.ActiveDocument.1">
                  <p:embed/>
                </p:oleObj>
              </mc:Choice>
              <mc:Fallback>
                <p:oleObj name="think-cell Slide" r:id="rId30" imgW="395" imgH="396" progId="TCLayout.ActiveDocument.1">
                  <p:embed/>
                  <p:pic>
                    <p:nvPicPr>
                      <p:cNvPr id="31" name="Object 30" hidden="1">
                        <a:extLst>
                          <a:ext uri="{FF2B5EF4-FFF2-40B4-BE49-F238E27FC236}">
                            <a16:creationId xmlns:a16="http://schemas.microsoft.com/office/drawing/2014/main" id="{0A5EAE75-8FF4-CECA-1925-4800CF4B565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0DBA6CB-975A-9931-C3A7-117CF0CE65A6}"/>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3" name="Title 2">
            <a:extLst>
              <a:ext uri="{FF2B5EF4-FFF2-40B4-BE49-F238E27FC236}">
                <a16:creationId xmlns:a16="http://schemas.microsoft.com/office/drawing/2014/main" id="{11BD282E-265D-5036-8D45-68854E2FC128}"/>
              </a:ext>
            </a:extLst>
          </p:cNvPr>
          <p:cNvSpPr>
            <a:spLocks noGrp="1"/>
          </p:cNvSpPr>
          <p:nvPr>
            <p:ph type="title"/>
          </p:nvPr>
        </p:nvSpPr>
        <p:spPr/>
        <p:txBody>
          <a:bodyPr vert="horz"/>
          <a:lstStyle/>
          <a:p>
            <a:r>
              <a:rPr lang="en-GB"/>
              <a:t>…prices for such balancing services are expected to adjust as the technology mix changes in each country (2/2)</a:t>
            </a:r>
          </a:p>
        </p:txBody>
      </p:sp>
      <p:graphicFrame>
        <p:nvGraphicFramePr>
          <p:cNvPr id="6" name="Tabelle 7">
            <a:extLst>
              <a:ext uri="{FF2B5EF4-FFF2-40B4-BE49-F238E27FC236}">
                <a16:creationId xmlns:a16="http://schemas.microsoft.com/office/drawing/2014/main" id="{1949E43D-A36C-453D-EF49-DE47A6D29C97}"/>
              </a:ext>
            </a:extLst>
          </p:cNvPr>
          <p:cNvGraphicFramePr>
            <a:graphicFrameLocks noGrp="1"/>
          </p:cNvGraphicFramePr>
          <p:nvPr>
            <p:custDataLst>
              <p:tags r:id="rId2"/>
            </p:custDataLst>
            <p:extLst>
              <p:ext uri="{D42A27DB-BD31-4B8C-83A1-F6EECF244321}">
                <p14:modId xmlns:p14="http://schemas.microsoft.com/office/powerpoint/2010/main" val="4002818794"/>
              </p:ext>
            </p:extLst>
          </p:nvPr>
        </p:nvGraphicFramePr>
        <p:xfrm>
          <a:off x="381597" y="1262550"/>
          <a:ext cx="11448000" cy="5023650"/>
        </p:xfrm>
        <a:graphic>
          <a:graphicData uri="http://schemas.openxmlformats.org/drawingml/2006/table">
            <a:tbl>
              <a:tblPr firstRow="1" bandRow="1">
                <a:effectLst/>
                <a:tableStyleId>{5C22544A-7EE6-4342-B048-85BDC9FD1C3A}</a:tableStyleId>
              </a:tblPr>
              <a:tblGrid>
                <a:gridCol w="1188000">
                  <a:extLst>
                    <a:ext uri="{9D8B030D-6E8A-4147-A177-3AD203B41FA5}">
                      <a16:colId xmlns:a16="http://schemas.microsoft.com/office/drawing/2014/main" val="20000"/>
                    </a:ext>
                  </a:extLst>
                </a:gridCol>
                <a:gridCol w="144000">
                  <a:extLst>
                    <a:ext uri="{9D8B030D-6E8A-4147-A177-3AD203B41FA5}">
                      <a16:colId xmlns:a16="http://schemas.microsoft.com/office/drawing/2014/main" val="2133620686"/>
                    </a:ext>
                  </a:extLst>
                </a:gridCol>
                <a:gridCol w="4320000">
                  <a:extLst>
                    <a:ext uri="{9D8B030D-6E8A-4147-A177-3AD203B41FA5}">
                      <a16:colId xmlns:a16="http://schemas.microsoft.com/office/drawing/2014/main" val="20001"/>
                    </a:ext>
                  </a:extLst>
                </a:gridCol>
                <a:gridCol w="5796000">
                  <a:extLst>
                    <a:ext uri="{9D8B030D-6E8A-4147-A177-3AD203B41FA5}">
                      <a16:colId xmlns:a16="http://schemas.microsoft.com/office/drawing/2014/main" val="20002"/>
                    </a:ext>
                  </a:extLst>
                </a:gridCol>
              </a:tblGrid>
              <a:tr h="288000">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ergy renumeration of selected services, </a:t>
                      </a:r>
                      <a:r>
                        <a:rPr lang="en-GB" sz="1200" b="0" i="0" noProof="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Wh (real 2022)</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en-GB" sz="1200" i="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ents</a:t>
                      </a:r>
                    </a:p>
                  </a:txBody>
                  <a:tcPr marL="0" marR="54000" marT="36000" marB="72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003847">
                <a:tc>
                  <a:txBody>
                    <a:bodyPr/>
                    <a:lstStyle/>
                    <a:p>
                      <a:pPr lvl="0"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 X</a:t>
                      </a:r>
                    </a:p>
                    <a:p>
                      <a:pPr lvl="0"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lvl="0"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200" kern="1200">
                        <a:solidFill>
                          <a:schemeClr val="dk1"/>
                        </a:solidFill>
                        <a:effectLst/>
                        <a:highlight>
                          <a:srgbClr val="FFFF00"/>
                        </a:highlight>
                        <a:latin typeface="+mn-lt"/>
                        <a:ea typeface="+mn-ea"/>
                        <a:cs typeface="+mn-cs"/>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84205">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untry Y</a:t>
                      </a:r>
                    </a:p>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200" baseline="30000"/>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44718">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200" kern="1200" noProof="0">
                        <a:solidFill>
                          <a:schemeClr val="dk1"/>
                        </a:solidFill>
                        <a:latin typeface="+mn-lt"/>
                        <a:ea typeface="+mn-ea"/>
                        <a:cs typeface="+mn-cs"/>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a:t>The Polish balancing market is undergoing reforms to adjust it to European Balancing Guidelines including </a:t>
                      </a:r>
                      <a:r>
                        <a:rPr lang="en-GB" sz="1200" b="0" err="1"/>
                        <a:t>i</a:t>
                      </a:r>
                      <a:r>
                        <a:rPr kumimoji="0" lang="en-GB" sz="1200" b="0" i="0" u="none" strike="noStrike" kern="1200" cap="none" spc="0" normalizeH="0" baseline="0" noProof="0" err="1">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plementation</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of a dedicated solution for the active participation of electricity storage facilities and pumped storage plants in the balancing market, exposing battery assets to additional revenues.</a:t>
                      </a: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008999"/>
                  </a:ext>
                </a:extLst>
              </a:tr>
            </a:tbl>
          </a:graphicData>
        </a:graphic>
      </p:graphicFrame>
      <p:graphicFrame>
        <p:nvGraphicFramePr>
          <p:cNvPr id="23" name="Chart 22">
            <a:extLst>
              <a:ext uri="{FF2B5EF4-FFF2-40B4-BE49-F238E27FC236}">
                <a16:creationId xmlns:a16="http://schemas.microsoft.com/office/drawing/2014/main" id="{B78EF385-2FE5-D745-5BE0-DA45BFC8FDDD}"/>
              </a:ext>
            </a:extLst>
          </p:cNvPr>
          <p:cNvGraphicFramePr/>
          <p:nvPr>
            <p:custDataLst>
              <p:tags r:id="rId3"/>
            </p:custDataLst>
            <p:extLst>
              <p:ext uri="{D42A27DB-BD31-4B8C-83A1-F6EECF244321}">
                <p14:modId xmlns:p14="http://schemas.microsoft.com/office/powerpoint/2010/main" val="2142943490"/>
              </p:ext>
            </p:extLst>
          </p:nvPr>
        </p:nvGraphicFramePr>
        <p:xfrm>
          <a:off x="2130425" y="1771650"/>
          <a:ext cx="3486150" cy="1387475"/>
        </p:xfrm>
        <a:graphic>
          <a:graphicData uri="http://schemas.openxmlformats.org/drawingml/2006/chart">
            <c:chart xmlns:c="http://schemas.openxmlformats.org/drawingml/2006/chart" xmlns:r="http://schemas.openxmlformats.org/officeDocument/2006/relationships" r:id="rId32"/>
          </a:graphicData>
        </a:graphic>
      </p:graphicFrame>
      <p:sp>
        <p:nvSpPr>
          <p:cNvPr id="46" name="Text Placeholder 19">
            <a:extLst>
              <a:ext uri="{FF2B5EF4-FFF2-40B4-BE49-F238E27FC236}">
                <a16:creationId xmlns:a16="http://schemas.microsoft.com/office/drawing/2014/main" id="{9F9869AF-B0F6-4E89-B216-4EC18C7334C2}"/>
              </a:ext>
            </a:extLst>
          </p:cNvPr>
          <p:cNvSpPr>
            <a:spLocks noGrp="1"/>
          </p:cNvSpPr>
          <p:nvPr>
            <p:custDataLst>
              <p:tags r:id="rId4"/>
            </p:custDataLst>
          </p:nvPr>
        </p:nvSpPr>
        <p:spPr bwMode="gray">
          <a:xfrm>
            <a:off x="2022475" y="2986088"/>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BB0899CF-9EFB-457C-9195-A1FE0111D565}" type="datetime'''''0'''''''''''''''''''''''">
              <a:rPr lang="en-GB" altLang="en-US" smtClean="0">
                <a:ea typeface="+mn-ea"/>
                <a:cs typeface="+mn-cs"/>
              </a:rPr>
              <a:pPr algn="r">
                <a:spcBef>
                  <a:spcPct val="0"/>
                </a:spcBef>
                <a:spcAft>
                  <a:spcPct val="0"/>
                </a:spcAft>
              </a:pPr>
              <a:t>0</a:t>
            </a:fld>
            <a:endParaRPr lang="en-GB">
              <a:ea typeface="+mn-ea"/>
              <a:cs typeface="+mn-cs"/>
            </a:endParaRPr>
          </a:p>
        </p:txBody>
      </p:sp>
      <p:sp>
        <p:nvSpPr>
          <p:cNvPr id="47" name="Text Placeholder 19">
            <a:extLst>
              <a:ext uri="{FF2B5EF4-FFF2-40B4-BE49-F238E27FC236}">
                <a16:creationId xmlns:a16="http://schemas.microsoft.com/office/drawing/2014/main" id="{9F9869AF-B0F6-4E89-B216-4EC18C7334C2}"/>
              </a:ext>
            </a:extLst>
          </p:cNvPr>
          <p:cNvSpPr>
            <a:spLocks noGrp="1"/>
          </p:cNvSpPr>
          <p:nvPr>
            <p:custDataLst>
              <p:tags r:id="rId5"/>
            </p:custDataLst>
          </p:nvPr>
        </p:nvSpPr>
        <p:spPr bwMode="gray">
          <a:xfrm>
            <a:off x="1844675" y="2374900"/>
            <a:ext cx="266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BEE4C793-774F-4460-A340-56C498F0898B}" type="datetime'''1''0''''''''''''''''0'''''">
              <a:rPr lang="en-GB" altLang="en-US" smtClean="0">
                <a:ea typeface="+mn-ea"/>
                <a:cs typeface="+mn-cs"/>
              </a:rPr>
              <a:pPr algn="r">
                <a:spcBef>
                  <a:spcPct val="0"/>
                </a:spcBef>
                <a:spcAft>
                  <a:spcPct val="0"/>
                </a:spcAft>
              </a:pPr>
              <a:t>100</a:t>
            </a:fld>
            <a:endParaRPr lang="en-GB">
              <a:ea typeface="+mn-ea"/>
              <a:cs typeface="+mn-cs"/>
            </a:endParaRPr>
          </a:p>
        </p:txBody>
      </p:sp>
      <p:sp>
        <p:nvSpPr>
          <p:cNvPr id="48"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gray">
          <a:xfrm>
            <a:off x="1844675" y="1763713"/>
            <a:ext cx="266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F68B1617-025D-4E2A-AFF1-D5864E0764D1}" type="datetime'''''2''''''''0''''''''''''''''0'''">
              <a:rPr lang="en-GB" altLang="en-US" smtClean="0">
                <a:ea typeface="+mn-ea"/>
                <a:cs typeface="+mn-cs"/>
              </a:rPr>
              <a:pPr algn="r">
                <a:spcBef>
                  <a:spcPct val="0"/>
                </a:spcBef>
                <a:spcAft>
                  <a:spcPct val="0"/>
                </a:spcAft>
              </a:pPr>
              <a:t>200</a:t>
            </a:fld>
            <a:endParaRPr lang="en-GB">
              <a:ea typeface="+mn-ea"/>
              <a:cs typeface="+mn-cs"/>
            </a:endParaRPr>
          </a:p>
        </p:txBody>
      </p:sp>
      <p:cxnSp>
        <p:nvCxnSpPr>
          <p:cNvPr id="25" name="Straight Connector 24">
            <a:extLst>
              <a:ext uri="{FF2B5EF4-FFF2-40B4-BE49-F238E27FC236}">
                <a16:creationId xmlns:a16="http://schemas.microsoft.com/office/drawing/2014/main" id="{CF624CD1-68EE-286B-0C13-BD56BFCAF2D3}"/>
              </a:ext>
            </a:extLst>
          </p:cNvPr>
          <p:cNvCxnSpPr/>
          <p:nvPr>
            <p:custDataLst>
              <p:tags r:id="rId7"/>
            </p:custDataLst>
          </p:nvPr>
        </p:nvCxnSpPr>
        <p:spPr bwMode="gray">
          <a:xfrm flipV="1">
            <a:off x="2876550" y="1773238"/>
            <a:ext cx="0" cy="40957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285D276C-1A30-80BE-3DE9-1288AE40C0C6}"/>
              </a:ext>
            </a:extLst>
          </p:cNvPr>
          <p:cNvCxnSpPr>
            <a:cxnSpLocks/>
          </p:cNvCxnSpPr>
          <p:nvPr>
            <p:custDataLst>
              <p:tags r:id="rId8"/>
            </p:custDataLst>
          </p:nvPr>
        </p:nvCxnSpPr>
        <p:spPr bwMode="gray">
          <a:xfrm>
            <a:off x="2876550" y="1773238"/>
            <a:ext cx="19939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8F32744D-3C13-64D1-F232-3DD37D5FE420}"/>
              </a:ext>
            </a:extLst>
          </p:cNvPr>
          <p:cNvCxnSpPr/>
          <p:nvPr>
            <p:custDataLst>
              <p:tags r:id="rId9"/>
            </p:custDataLst>
          </p:nvPr>
        </p:nvCxnSpPr>
        <p:spPr bwMode="gray">
          <a:xfrm>
            <a:off x="4870450" y="1773238"/>
            <a:ext cx="0" cy="441325"/>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auto">
          <a:xfrm>
            <a:off x="3641725" y="1644650"/>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graphicFrame>
        <p:nvGraphicFramePr>
          <p:cNvPr id="26" name="Chart 25">
            <a:extLst>
              <a:ext uri="{FF2B5EF4-FFF2-40B4-BE49-F238E27FC236}">
                <a16:creationId xmlns:a16="http://schemas.microsoft.com/office/drawing/2014/main" id="{DDC391D1-1E78-9B82-49D9-70EC8F719DAE}"/>
              </a:ext>
            </a:extLst>
          </p:cNvPr>
          <p:cNvGraphicFramePr/>
          <p:nvPr>
            <p:custDataLst>
              <p:tags r:id="rId11"/>
            </p:custDataLst>
            <p:extLst>
              <p:ext uri="{D42A27DB-BD31-4B8C-83A1-F6EECF244321}">
                <p14:modId xmlns:p14="http://schemas.microsoft.com/office/powerpoint/2010/main" val="3781295476"/>
              </p:ext>
            </p:extLst>
          </p:nvPr>
        </p:nvGraphicFramePr>
        <p:xfrm>
          <a:off x="2130425" y="3713163"/>
          <a:ext cx="3486150" cy="1474787"/>
        </p:xfrm>
        <a:graphic>
          <a:graphicData uri="http://schemas.openxmlformats.org/drawingml/2006/chart">
            <c:chart xmlns:c="http://schemas.openxmlformats.org/drawingml/2006/chart" xmlns:r="http://schemas.openxmlformats.org/officeDocument/2006/relationships" r:id="rId33"/>
          </a:graphicData>
        </a:graphic>
      </p:graphicFrame>
      <p:sp>
        <p:nvSpPr>
          <p:cNvPr id="55"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gray">
          <a:xfrm>
            <a:off x="2022475" y="5014913"/>
            <a:ext cx="88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8A98BC43-4365-40CD-9003-A230C2BFDB11}" type="datetime'''''''''0'''''''''''''''''''''''''''''">
              <a:rPr lang="en-GB" altLang="en-US" smtClean="0">
                <a:ea typeface="+mn-ea"/>
                <a:cs typeface="+mn-cs"/>
              </a:rPr>
              <a:pPr algn="r">
                <a:spcBef>
                  <a:spcPct val="0"/>
                </a:spcBef>
                <a:spcAft>
                  <a:spcPct val="0"/>
                </a:spcAft>
              </a:pPr>
              <a:t>0</a:t>
            </a:fld>
            <a:endParaRPr lang="en-GB">
              <a:ea typeface="+mn-ea"/>
              <a:cs typeface="+mn-cs"/>
            </a:endParaRPr>
          </a:p>
        </p:txBody>
      </p:sp>
      <p:sp>
        <p:nvSpPr>
          <p:cNvPr id="99" name="Text Placeholder 19">
            <a:extLst>
              <a:ext uri="{FF2B5EF4-FFF2-40B4-BE49-F238E27FC236}">
                <a16:creationId xmlns:a16="http://schemas.microsoft.com/office/drawing/2014/main" id="{9F9869AF-B0F6-4E89-B216-4EC18C7334C2}"/>
              </a:ext>
            </a:extLst>
          </p:cNvPr>
          <p:cNvSpPr>
            <a:spLocks noGrp="1"/>
          </p:cNvSpPr>
          <p:nvPr>
            <p:custDataLst>
              <p:tags r:id="rId13"/>
            </p:custDataLst>
          </p:nvPr>
        </p:nvSpPr>
        <p:spPr bwMode="gray">
          <a:xfrm>
            <a:off x="1933575" y="4578350"/>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C4198713-CEA1-4D51-A533-5D14CA6EB4AB}" type="datetime'''''5''''''''''''0'''''''''''''''''''''''''''''''''">
              <a:rPr lang="en-GB" altLang="en-US" smtClean="0">
                <a:effectLst/>
                <a:ea typeface="+mn-ea"/>
                <a:cs typeface="+mn-cs"/>
              </a:rPr>
              <a:pPr lvl="0" algn="r">
                <a:spcBef>
                  <a:spcPct val="0"/>
                </a:spcBef>
                <a:spcAft>
                  <a:spcPct val="0"/>
                </a:spcAft>
              </a:pPr>
              <a:t>50</a:t>
            </a:fld>
            <a:endParaRPr lang="en-GB">
              <a:ea typeface="+mn-ea"/>
              <a:cs typeface="+mn-cs"/>
            </a:endParaRPr>
          </a:p>
        </p:txBody>
      </p:sp>
      <p:sp>
        <p:nvSpPr>
          <p:cNvPr id="57" name="Text Placeholder 19">
            <a:extLst>
              <a:ext uri="{FF2B5EF4-FFF2-40B4-BE49-F238E27FC236}">
                <a16:creationId xmlns:a16="http://schemas.microsoft.com/office/drawing/2014/main" id="{9F9869AF-B0F6-4E89-B216-4EC18C7334C2}"/>
              </a:ext>
            </a:extLst>
          </p:cNvPr>
          <p:cNvSpPr>
            <a:spLocks noGrp="1"/>
          </p:cNvSpPr>
          <p:nvPr>
            <p:custDataLst>
              <p:tags r:id="rId14"/>
            </p:custDataLst>
          </p:nvPr>
        </p:nvSpPr>
        <p:spPr bwMode="gray">
          <a:xfrm>
            <a:off x="1844675" y="4141788"/>
            <a:ext cx="2667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EBE426C0-9B2E-41AB-8EBE-6369683315E7}" type="datetime'''''''''''''''''''''''''100'''''''''''''''''''''''">
              <a:rPr lang="en-GB" altLang="en-US" smtClean="0">
                <a:ea typeface="+mn-ea"/>
                <a:cs typeface="+mn-cs"/>
              </a:rPr>
              <a:pPr algn="r">
                <a:spcBef>
                  <a:spcPct val="0"/>
                </a:spcBef>
                <a:spcAft>
                  <a:spcPct val="0"/>
                </a:spcAft>
              </a:pPr>
              <a:t>100</a:t>
            </a:fld>
            <a:endParaRPr lang="en-GB">
              <a:ea typeface="+mn-ea"/>
              <a:cs typeface="+mn-cs"/>
            </a:endParaRPr>
          </a:p>
        </p:txBody>
      </p:sp>
      <p:sp>
        <p:nvSpPr>
          <p:cNvPr id="102" name="Text Placeholder 19">
            <a:extLst>
              <a:ext uri="{FF2B5EF4-FFF2-40B4-BE49-F238E27FC236}">
                <a16:creationId xmlns:a16="http://schemas.microsoft.com/office/drawing/2014/main" id="{9F9869AF-B0F6-4E89-B216-4EC18C7334C2}"/>
              </a:ext>
            </a:extLst>
          </p:cNvPr>
          <p:cNvSpPr>
            <a:spLocks noGrp="1"/>
          </p:cNvSpPr>
          <p:nvPr>
            <p:custDataLst>
              <p:tags r:id="rId15"/>
            </p:custDataLst>
          </p:nvPr>
        </p:nvSpPr>
        <p:spPr bwMode="gray">
          <a:xfrm>
            <a:off x="1844675" y="3705225"/>
            <a:ext cx="266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fld id="{719F60ED-731C-414C-BC9B-754CED7316CD}" type="datetime'''''''''''''''''''''''''''''''''''''1''''''''5''''''''0'''">
              <a:rPr lang="en-GB" altLang="en-US" smtClean="0">
                <a:effectLst/>
                <a:ea typeface="+mn-ea"/>
                <a:cs typeface="+mn-cs"/>
              </a:rPr>
              <a:pPr lvl="0" algn="r">
                <a:spcBef>
                  <a:spcPct val="0"/>
                </a:spcBef>
                <a:spcAft>
                  <a:spcPct val="0"/>
                </a:spcAft>
              </a:pPr>
              <a:t>150</a:t>
            </a:fld>
            <a:endParaRPr lang="en-GB">
              <a:ea typeface="+mn-ea"/>
              <a:cs typeface="+mn-cs"/>
            </a:endParaRPr>
          </a:p>
        </p:txBody>
      </p:sp>
      <p:cxnSp>
        <p:nvCxnSpPr>
          <p:cNvPr id="45" name="Straight Connector 44">
            <a:extLst>
              <a:ext uri="{FF2B5EF4-FFF2-40B4-BE49-F238E27FC236}">
                <a16:creationId xmlns:a16="http://schemas.microsoft.com/office/drawing/2014/main" id="{96927422-9776-B8CF-B2B3-5D47EB2D7E1E}"/>
              </a:ext>
            </a:extLst>
          </p:cNvPr>
          <p:cNvCxnSpPr/>
          <p:nvPr>
            <p:custDataLst>
              <p:tags r:id="rId16"/>
            </p:custDataLst>
          </p:nvPr>
        </p:nvCxnSpPr>
        <p:spPr bwMode="gray">
          <a:xfrm flipV="1">
            <a:off x="2876550" y="3781425"/>
            <a:ext cx="0" cy="771525"/>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41FB4F3F-0B3D-2FF6-CCDF-163E78D8C910}"/>
              </a:ext>
            </a:extLst>
          </p:cNvPr>
          <p:cNvCxnSpPr/>
          <p:nvPr>
            <p:custDataLst>
              <p:tags r:id="rId17"/>
            </p:custDataLst>
          </p:nvPr>
        </p:nvCxnSpPr>
        <p:spPr bwMode="gray">
          <a:xfrm>
            <a:off x="2876550" y="3781425"/>
            <a:ext cx="1993900" cy="0"/>
          </a:xfrm>
          <a:prstGeom prst="line">
            <a:avLst/>
          </a:prstGeom>
          <a:ln w="9525"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BD80361D-A168-64BE-FA75-7F7EDB541DB0}"/>
              </a:ext>
            </a:extLst>
          </p:cNvPr>
          <p:cNvCxnSpPr/>
          <p:nvPr>
            <p:custDataLst>
              <p:tags r:id="rId18"/>
            </p:custDataLst>
          </p:nvPr>
        </p:nvCxnSpPr>
        <p:spPr bwMode="gray">
          <a:xfrm>
            <a:off x="4870450" y="3781425"/>
            <a:ext cx="0" cy="477838"/>
          </a:xfrm>
          <a:prstGeom prst="line">
            <a:avLst/>
          </a:prstGeom>
          <a:ln w="9525"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4" name="Text Placeholder 19">
            <a:extLst>
              <a:ext uri="{FF2B5EF4-FFF2-40B4-BE49-F238E27FC236}">
                <a16:creationId xmlns:a16="http://schemas.microsoft.com/office/drawing/2014/main" id="{9F9869AF-B0F6-4E89-B216-4EC18C7334C2}"/>
              </a:ext>
            </a:extLst>
          </p:cNvPr>
          <p:cNvSpPr>
            <a:spLocks noGrp="1"/>
          </p:cNvSpPr>
          <p:nvPr>
            <p:custDataLst>
              <p:tags r:id="rId19"/>
            </p:custDataLst>
          </p:nvPr>
        </p:nvSpPr>
        <p:spPr bwMode="auto">
          <a:xfrm>
            <a:off x="3641725" y="3652838"/>
            <a:ext cx="465138" cy="258763"/>
          </a:xfrm>
          <a:prstGeom prst="ellipse">
            <a:avLst/>
          </a:prstGeom>
          <a:solidFill>
            <a:schemeClr val="bg1"/>
          </a:solidFill>
          <a:ln w="9525" cmpd="sng" algn="ctr">
            <a:solidFill>
              <a:schemeClr val="tx2"/>
            </a:solidFill>
          </a:ln>
          <a:effec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b="1">
                <a:effectLst/>
                <a:ea typeface="+mn-ea"/>
                <a:cs typeface="+mn-cs"/>
              </a:rPr>
              <a:t>XX%</a:t>
            </a:r>
            <a:endParaRPr lang="en-GB" b="1">
              <a:ea typeface="+mn-ea"/>
              <a:cs typeface="+mn-cs"/>
            </a:endParaRPr>
          </a:p>
        </p:txBody>
      </p:sp>
      <p:sp>
        <p:nvSpPr>
          <p:cNvPr id="8" name="Rectangle 7">
            <a:extLst>
              <a:ext uri="{FF2B5EF4-FFF2-40B4-BE49-F238E27FC236}">
                <a16:creationId xmlns:a16="http://schemas.microsoft.com/office/drawing/2014/main" id="{FEE074D5-1F63-989A-43BA-AB93A4CE16C5}"/>
              </a:ext>
            </a:extLst>
          </p:cNvPr>
          <p:cNvSpPr/>
          <p:nvPr>
            <p:custDataLst>
              <p:tags r:id="rId20"/>
            </p:custDataLst>
          </p:nvPr>
        </p:nvSpPr>
        <p:spPr bwMode="auto">
          <a:xfrm>
            <a:off x="1884363" y="5386388"/>
            <a:ext cx="179387" cy="133350"/>
          </a:xfrm>
          <a:prstGeom prst="rect">
            <a:avLst/>
          </a:prstGeom>
          <a:solidFill>
            <a:srgbClr val="6F8DB9"/>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135" name="Rectangle 134">
            <a:extLst>
              <a:ext uri="{FF2B5EF4-FFF2-40B4-BE49-F238E27FC236}">
                <a16:creationId xmlns:a16="http://schemas.microsoft.com/office/drawing/2014/main" id="{7A0555F2-5D9F-0036-4D20-282B47105EDA}"/>
              </a:ext>
            </a:extLst>
          </p:cNvPr>
          <p:cNvSpPr/>
          <p:nvPr>
            <p:custDataLst>
              <p:tags r:id="rId21"/>
            </p:custDataLst>
          </p:nvPr>
        </p:nvSpPr>
        <p:spPr bwMode="auto">
          <a:xfrm>
            <a:off x="2754313" y="5386388"/>
            <a:ext cx="179388" cy="133350"/>
          </a:xfrm>
          <a:prstGeom prst="rect">
            <a:avLst/>
          </a:prstGeom>
          <a:solidFill>
            <a:srgbClr val="5A5A5A"/>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6" name="Rectangle 135">
            <a:extLst>
              <a:ext uri="{FF2B5EF4-FFF2-40B4-BE49-F238E27FC236}">
                <a16:creationId xmlns:a16="http://schemas.microsoft.com/office/drawing/2014/main" id="{4F35D20F-3398-CAE1-7DCB-3EDB054B571C}"/>
              </a:ext>
            </a:extLst>
          </p:cNvPr>
          <p:cNvSpPr/>
          <p:nvPr>
            <p:custDataLst>
              <p:tags r:id="rId22"/>
            </p:custDataLst>
          </p:nvPr>
        </p:nvSpPr>
        <p:spPr bwMode="auto">
          <a:xfrm>
            <a:off x="3684588" y="5386388"/>
            <a:ext cx="179388" cy="133350"/>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4" name="Rectangle 133">
            <a:extLst>
              <a:ext uri="{FF2B5EF4-FFF2-40B4-BE49-F238E27FC236}">
                <a16:creationId xmlns:a16="http://schemas.microsoft.com/office/drawing/2014/main" id="{D72CCA03-53FB-92B4-67BF-AAC169F80C44}"/>
              </a:ext>
            </a:extLst>
          </p:cNvPr>
          <p:cNvSpPr/>
          <p:nvPr>
            <p:custDataLst>
              <p:tags r:id="rId23"/>
            </p:custDataLst>
          </p:nvPr>
        </p:nvSpPr>
        <p:spPr bwMode="auto">
          <a:xfrm>
            <a:off x="4632325" y="5386388"/>
            <a:ext cx="179388" cy="133350"/>
          </a:xfrm>
          <a:prstGeom prst="rect">
            <a:avLst/>
          </a:prstGeom>
          <a:solidFill>
            <a:schemeClr val="accent2"/>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 name="Text Placeholder 19">
            <a:extLst>
              <a:ext uri="{FF2B5EF4-FFF2-40B4-BE49-F238E27FC236}">
                <a16:creationId xmlns:a16="http://schemas.microsoft.com/office/drawing/2014/main" id="{90C76170-D955-22CF-08B9-D3AAEC0CD7DA}"/>
              </a:ext>
            </a:extLst>
          </p:cNvPr>
          <p:cNvSpPr>
            <a:spLocks noGrp="1"/>
          </p:cNvSpPr>
          <p:nvPr>
            <p:custDataLst>
              <p:tags r:id="rId24"/>
            </p:custDataLst>
          </p:nvPr>
        </p:nvSpPr>
        <p:spPr bwMode="auto">
          <a:xfrm>
            <a:off x="2114551" y="5381625"/>
            <a:ext cx="538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81014D66-6706-4331-99CA-CC6931900850}" type="datetime'''''H''ist''o''''r''ic''''''''''''''''''a''''''''''l'">
              <a:rPr lang="en-GB" altLang="en-US" sz="1000" smtClean="0"/>
              <a:pPr>
                <a:spcBef>
                  <a:spcPct val="0"/>
                </a:spcBef>
                <a:spcAft>
                  <a:spcPct val="0"/>
                </a:spcAft>
              </a:pPr>
              <a:t>Historical</a:t>
            </a:fld>
            <a:endParaRPr lang="en-GB" sz="1000"/>
          </a:p>
        </p:txBody>
      </p:sp>
      <p:sp>
        <p:nvSpPr>
          <p:cNvPr id="138" name="Text Placeholder 19">
            <a:extLst>
              <a:ext uri="{FF2B5EF4-FFF2-40B4-BE49-F238E27FC236}">
                <a16:creationId xmlns:a16="http://schemas.microsoft.com/office/drawing/2014/main" id="{BF416249-2258-13E2-74C6-C97954172EB6}"/>
              </a:ext>
            </a:extLst>
          </p:cNvPr>
          <p:cNvSpPr>
            <a:spLocks noGrp="1"/>
          </p:cNvSpPr>
          <p:nvPr>
            <p:custDataLst>
              <p:tags r:id="rId25"/>
            </p:custDataLst>
          </p:nvPr>
        </p:nvSpPr>
        <p:spPr bwMode="auto">
          <a:xfrm>
            <a:off x="2984500" y="538162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9AE1DE30-035D-4687-B728-CF96D24AA212}" type="datetime'''''''''''S''''''h''o''r''''t'' ''''t''e''''r''m'''''">
              <a:rPr lang="en-GB" altLang="en-US" sz="1000" smtClean="0"/>
              <a:pPr>
                <a:spcBef>
                  <a:spcPct val="0"/>
                </a:spcBef>
                <a:spcAft>
                  <a:spcPct val="0"/>
                </a:spcAft>
              </a:pPr>
              <a:t>Short term</a:t>
            </a:fld>
            <a:endParaRPr lang="en-GB" sz="1000"/>
          </a:p>
        </p:txBody>
      </p:sp>
      <p:sp>
        <p:nvSpPr>
          <p:cNvPr id="137" name="Text Placeholder 19">
            <a:extLst>
              <a:ext uri="{FF2B5EF4-FFF2-40B4-BE49-F238E27FC236}">
                <a16:creationId xmlns:a16="http://schemas.microsoft.com/office/drawing/2014/main" id="{24F0A1C8-5107-2277-9DEA-DD0FFE902110}"/>
              </a:ext>
            </a:extLst>
          </p:cNvPr>
          <p:cNvSpPr>
            <a:spLocks noGrp="1"/>
          </p:cNvSpPr>
          <p:nvPr>
            <p:custDataLst>
              <p:tags r:id="rId26"/>
            </p:custDataLst>
          </p:nvPr>
        </p:nvSpPr>
        <p:spPr bwMode="auto">
          <a:xfrm>
            <a:off x="3914775" y="5381625"/>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934F4AD8-20BE-495A-965A-26AC47845B43}" type="datetime'''''La''''t''e'''''' ''''''''''''''20''20''''''''''''''s'">
              <a:rPr lang="en-GB" altLang="en-US" sz="1000" smtClean="0"/>
              <a:pPr>
                <a:spcBef>
                  <a:spcPct val="0"/>
                </a:spcBef>
                <a:spcAft>
                  <a:spcPct val="0"/>
                </a:spcAft>
              </a:pPr>
              <a:t>Late 2020s</a:t>
            </a:fld>
            <a:endParaRPr lang="en-GB" sz="1000"/>
          </a:p>
        </p:txBody>
      </p:sp>
      <p:sp>
        <p:nvSpPr>
          <p:cNvPr id="139" name="Text Placeholder 19">
            <a:extLst>
              <a:ext uri="{FF2B5EF4-FFF2-40B4-BE49-F238E27FC236}">
                <a16:creationId xmlns:a16="http://schemas.microsoft.com/office/drawing/2014/main" id="{C0682F03-77B7-966F-26F2-AABDE7AC2DAF}"/>
              </a:ext>
            </a:extLst>
          </p:cNvPr>
          <p:cNvSpPr>
            <a:spLocks noGrp="1"/>
          </p:cNvSpPr>
          <p:nvPr>
            <p:custDataLst>
              <p:tags r:id="rId27"/>
            </p:custDataLst>
          </p:nvPr>
        </p:nvSpPr>
        <p:spPr bwMode="auto">
          <a:xfrm>
            <a:off x="4862513" y="5381625"/>
            <a:ext cx="347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148C561C-7D61-443D-A43F-7DF3AFA067DA}" type="datetime'''20''''''''''''''''''''''''30''s'">
              <a:rPr lang="en-GB" altLang="en-US" sz="1000" smtClean="0"/>
              <a:pPr>
                <a:spcBef>
                  <a:spcPct val="0"/>
                </a:spcBef>
                <a:spcAft>
                  <a:spcPct val="0"/>
                </a:spcAft>
              </a:pPr>
              <a:t>2030s</a:t>
            </a:fld>
            <a:endParaRPr lang="en-GB" sz="1000"/>
          </a:p>
        </p:txBody>
      </p:sp>
      <p:sp>
        <p:nvSpPr>
          <p:cNvPr id="13" name="Text Placeholder 2">
            <a:extLst>
              <a:ext uri="{FF2B5EF4-FFF2-40B4-BE49-F238E27FC236}">
                <a16:creationId xmlns:a16="http://schemas.microsoft.com/office/drawing/2014/main" id="{CAC8DC31-E450-3935-0D52-81B2B2EA79C8}"/>
              </a:ext>
            </a:extLst>
          </p:cNvPr>
          <p:cNvSpPr txBox="1">
            <a:spLocks/>
          </p:cNvSpPr>
          <p:nvPr/>
        </p:nvSpPr>
        <p:spPr>
          <a:xfrm>
            <a:off x="381599" y="79401"/>
            <a:ext cx="4100803"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Balancing and restoration services</a:t>
            </a:r>
          </a:p>
        </p:txBody>
      </p:sp>
      <p:sp>
        <p:nvSpPr>
          <p:cNvPr id="14" name="Oval 13">
            <a:extLst>
              <a:ext uri="{FF2B5EF4-FFF2-40B4-BE49-F238E27FC236}">
                <a16:creationId xmlns:a16="http://schemas.microsoft.com/office/drawing/2014/main" id="{06985B00-72D2-94AE-5E0F-C4601F9A0D1A}"/>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15" name="Oval 14">
            <a:extLst>
              <a:ext uri="{FF2B5EF4-FFF2-40B4-BE49-F238E27FC236}">
                <a16:creationId xmlns:a16="http://schemas.microsoft.com/office/drawing/2014/main" id="{1C639BF6-9DEA-F011-9571-237718F595DE}"/>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
        <p:nvSpPr>
          <p:cNvPr id="19" name="Text Placeholder 6">
            <a:extLst>
              <a:ext uri="{FF2B5EF4-FFF2-40B4-BE49-F238E27FC236}">
                <a16:creationId xmlns:a16="http://schemas.microsoft.com/office/drawing/2014/main" id="{4C705849-4564-02F2-8D53-A60C6D8CDAA3}"/>
              </a:ext>
            </a:extLst>
          </p:cNvPr>
          <p:cNvSpPr>
            <a:spLocks noGrp="1"/>
          </p:cNvSpPr>
          <p:nvPr>
            <p:ph type="body" sz="quarter" idx="32"/>
          </p:nvPr>
        </p:nvSpPr>
        <p:spPr>
          <a:xfrm>
            <a:off x="381600" y="6474841"/>
            <a:ext cx="11428800" cy="110800"/>
          </a:xfrm>
        </p:spPr>
        <p:txBody>
          <a:bodyPr/>
          <a:lstStyle/>
          <a:p>
            <a:endParaRPr lang="en-GB"/>
          </a:p>
        </p:txBody>
      </p:sp>
      <p:sp>
        <p:nvSpPr>
          <p:cNvPr id="5" name="Text Placeholder 16">
            <a:extLst>
              <a:ext uri="{FF2B5EF4-FFF2-40B4-BE49-F238E27FC236}">
                <a16:creationId xmlns:a16="http://schemas.microsoft.com/office/drawing/2014/main" id="{55DA63D0-6643-1CA4-856F-37893E8B29C5}"/>
              </a:ext>
            </a:extLst>
          </p:cNvPr>
          <p:cNvSpPr txBox="1">
            <a:spLocks/>
          </p:cNvSpPr>
          <p:nvPr/>
        </p:nvSpPr>
        <p:spPr>
          <a:xfrm>
            <a:off x="6483351" y="4805700"/>
            <a:ext cx="5138377" cy="2769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00"/>
              <a:t>This is a redacted sample of the European Battery Market Attractiveness Report. If you are interested in the full report, contact Alex Hutcheson (</a:t>
            </a:r>
            <a:r>
              <a:rPr lang="en-GB" sz="1000" u="sng"/>
              <a:t>alex.hutcheson@auroraer.com)</a:t>
            </a:r>
            <a:endParaRPr lang="en-GB" sz="1000"/>
          </a:p>
        </p:txBody>
      </p:sp>
      <p:sp>
        <p:nvSpPr>
          <p:cNvPr id="7" name="Rectangle 6">
            <a:extLst>
              <a:ext uri="{FF2B5EF4-FFF2-40B4-BE49-F238E27FC236}">
                <a16:creationId xmlns:a16="http://schemas.microsoft.com/office/drawing/2014/main" id="{EC8C6289-ECFB-78D8-DB46-F3221E8F772A}"/>
              </a:ext>
            </a:extLst>
          </p:cNvPr>
          <p:cNvSpPr/>
          <p:nvPr/>
        </p:nvSpPr>
        <p:spPr>
          <a:xfrm>
            <a:off x="362403" y="1268413"/>
            <a:ext cx="11681637" cy="5068091"/>
          </a:xfrm>
          <a:prstGeom prst="rect">
            <a:avLst/>
          </a:pr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1696365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81C4D3-5475-534A-850F-28E0E448AE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B981C4D3-5475-534A-850F-28E0E448AE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F4346A8B-739D-B83F-B178-BF15BB5E4029}"/>
              </a:ext>
            </a:extLst>
          </p:cNvPr>
          <p:cNvSpPr>
            <a:spLocks noGrp="1"/>
          </p:cNvSpPr>
          <p:nvPr>
            <p:ph type="body" sz="quarter" idx="32"/>
          </p:nvPr>
        </p:nvSpPr>
        <p:spPr>
          <a:xfrm>
            <a:off x="394898" y="6701540"/>
            <a:ext cx="11428800" cy="110800"/>
          </a:xfrm>
        </p:spPr>
        <p:txBody>
          <a:bodyPr/>
          <a:lstStyle/>
          <a:p>
            <a:r>
              <a:rPr lang="en-GB"/>
              <a:t>Source: Aurora Energy Research</a:t>
            </a:r>
          </a:p>
        </p:txBody>
      </p:sp>
      <p:graphicFrame>
        <p:nvGraphicFramePr>
          <p:cNvPr id="12" name="Tabelle 7">
            <a:extLst>
              <a:ext uri="{FF2B5EF4-FFF2-40B4-BE49-F238E27FC236}">
                <a16:creationId xmlns:a16="http://schemas.microsoft.com/office/drawing/2014/main" id="{9F5C6221-E821-13C0-8AD8-E68096A18C3A}"/>
              </a:ext>
            </a:extLst>
          </p:cNvPr>
          <p:cNvGraphicFramePr>
            <a:graphicFrameLocks noGrp="1"/>
          </p:cNvGraphicFramePr>
          <p:nvPr>
            <p:custDataLst>
              <p:tags r:id="rId2"/>
            </p:custDataLst>
            <p:extLst>
              <p:ext uri="{D42A27DB-BD31-4B8C-83A1-F6EECF244321}">
                <p14:modId xmlns:p14="http://schemas.microsoft.com/office/powerpoint/2010/main" val="1973456518"/>
              </p:ext>
            </p:extLst>
          </p:nvPr>
        </p:nvGraphicFramePr>
        <p:xfrm>
          <a:off x="394898" y="1510589"/>
          <a:ext cx="5396600" cy="4540080"/>
        </p:xfrm>
        <a:graphic>
          <a:graphicData uri="http://schemas.openxmlformats.org/drawingml/2006/table">
            <a:tbl>
              <a:tblPr firstRow="1" bandRow="1">
                <a:effectLst/>
                <a:tableStyleId>{5C22544A-7EE6-4342-B048-85BDC9FD1C3A}</a:tableStyleId>
              </a:tblPr>
              <a:tblGrid>
                <a:gridCol w="1116000">
                  <a:extLst>
                    <a:ext uri="{9D8B030D-6E8A-4147-A177-3AD203B41FA5}">
                      <a16:colId xmlns:a16="http://schemas.microsoft.com/office/drawing/2014/main" val="20000"/>
                    </a:ext>
                  </a:extLst>
                </a:gridCol>
                <a:gridCol w="79400">
                  <a:extLst>
                    <a:ext uri="{9D8B030D-6E8A-4147-A177-3AD203B41FA5}">
                      <a16:colId xmlns:a16="http://schemas.microsoft.com/office/drawing/2014/main" val="2133620686"/>
                    </a:ext>
                  </a:extLst>
                </a:gridCol>
                <a:gridCol w="1400400">
                  <a:extLst>
                    <a:ext uri="{9D8B030D-6E8A-4147-A177-3AD203B41FA5}">
                      <a16:colId xmlns:a16="http://schemas.microsoft.com/office/drawing/2014/main" val="2869966819"/>
                    </a:ext>
                  </a:extLst>
                </a:gridCol>
                <a:gridCol w="1400400">
                  <a:extLst>
                    <a:ext uri="{9D8B030D-6E8A-4147-A177-3AD203B41FA5}">
                      <a16:colId xmlns:a16="http://schemas.microsoft.com/office/drawing/2014/main" val="3592767617"/>
                    </a:ext>
                  </a:extLst>
                </a:gridCol>
                <a:gridCol w="1400400">
                  <a:extLst>
                    <a:ext uri="{9D8B030D-6E8A-4147-A177-3AD203B41FA5}">
                      <a16:colId xmlns:a16="http://schemas.microsoft.com/office/drawing/2014/main" val="2503764876"/>
                    </a:ext>
                  </a:extLst>
                </a:gridCol>
              </a:tblGrid>
              <a:tr h="393466">
                <a:tc>
                  <a:txBody>
                    <a:bodyPr/>
                    <a:lstStyle/>
                    <a:p>
                      <a:pPr algn="ctr" rtl="0"/>
                      <a:r>
                        <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Region</a:t>
                      </a:r>
                    </a:p>
                  </a:txBody>
                  <a:tcPr marL="0" marR="54000" marT="36000" marB="36000" anchor="b">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endParaRPr lang="en-GB" sz="1100" i="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Wholesale market</a:t>
                      </a:r>
                      <a:r>
                        <a:rPr lang="en-GB" sz="1100" b="1" i="0" kern="120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2</a:t>
                      </a: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Frequency response services</a:t>
                      </a:r>
                      <a:r>
                        <a:rPr lang="en-GB" sz="1100" b="1" i="0" kern="120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3</a:t>
                      </a: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100" b="1" i="0" kern="12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Balancing and Restoration Services</a:t>
                      </a:r>
                      <a:r>
                        <a:rPr lang="en-GB" sz="1100" b="1" i="0" kern="1200" baseline="30000" noProof="0">
                          <a:solidFill>
                            <a:schemeClr val="tx1"/>
                          </a:solidFill>
                          <a:latin typeface="+mn-lt"/>
                          <a:ea typeface="Lato" panose="020F0502020204030203" pitchFamily="34" charset="0"/>
                          <a:cs typeface="Lato" panose="020F0502020204030203" pitchFamily="34" charset="0"/>
                          <a:sym typeface="Lato" panose="020F0502020204030203" pitchFamily="34" charset="0"/>
                        </a:rPr>
                        <a:t>4</a:t>
                      </a: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6549950"/>
                  </a:ext>
                </a:extLst>
              </a:tr>
              <a:tr h="2952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9039608"/>
                  </a:ext>
                </a:extLst>
              </a:tr>
              <a:tr h="2952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22823"/>
                  </a:ext>
                </a:extLst>
              </a:tr>
              <a:tr h="295200">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1278944"/>
                  </a:ext>
                </a:extLst>
              </a:tr>
              <a:tr h="2952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3783319"/>
                  </a:ext>
                </a:extLst>
              </a:tr>
              <a:tr h="295200">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9458741"/>
                  </a:ext>
                </a:extLst>
              </a:tr>
              <a:tr h="295200">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36829"/>
                  </a:ext>
                </a:extLst>
              </a:tr>
              <a:tr h="2952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1"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159696"/>
                  </a:ext>
                </a:extLst>
              </a:tr>
              <a:tr h="295200">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070125"/>
                  </a:ext>
                </a:extLst>
              </a:tr>
              <a:tr h="2952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666078"/>
                  </a:ext>
                </a:extLst>
              </a:tr>
              <a:tr h="2952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1443466"/>
                  </a:ext>
                </a:extLst>
              </a:tr>
              <a:tr h="295200">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7710756"/>
                  </a:ext>
                </a:extLst>
              </a:tr>
              <a:tr h="2952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4028671"/>
                  </a:ext>
                </a:extLst>
              </a:tr>
              <a:tr h="295200">
                <a:tc>
                  <a:txBody>
                    <a:bodyPr/>
                    <a:lstStyle/>
                    <a:p>
                      <a:pPr marL="0" algn="ctr" defTabSz="685783" rtl="0" eaLnBrk="1" fontAlgn="b" latinLnBrk="0" hangingPunct="1">
                        <a:lnSpc>
                          <a:spcPts val="920"/>
                        </a:lnSpc>
                      </a:pPr>
                      <a:endParaRPr lang="en-GB" sz="1100" b="1" i="0" u="none" strike="noStrike" kern="12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0934554"/>
                  </a:ext>
                </a:extLst>
              </a:tr>
              <a:tr h="295200">
                <a:tc>
                  <a:txBody>
                    <a:bodyPr/>
                    <a:lstStyle/>
                    <a:p>
                      <a:pPr marL="0" algn="ctr" defTabSz="685783" rtl="0" eaLnBrk="1" fontAlgn="b" latinLnBrk="0" hangingPunct="1">
                        <a:lnSpc>
                          <a:spcPts val="920"/>
                        </a:lnSpc>
                      </a:pPr>
                      <a:endParaRPr lang="en-GB" sz="1100" b="1" i="0" u="none" strike="noStrike" kern="1200" baseline="30000">
                        <a:solidFill>
                          <a:srgbClr val="3C3C3B"/>
                        </a:solidFill>
                        <a:effectLst/>
                        <a:latin typeface="+mn-lt"/>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1AF"/>
                    </a:solidFill>
                  </a:tcPr>
                </a:tc>
                <a:tc>
                  <a:txBody>
                    <a:bodyPr/>
                    <a:lstStyle/>
                    <a:p>
                      <a:pPr algn="ctr" rtl="0">
                        <a:lnSpc>
                          <a:spcPts val="920"/>
                        </a:lnSpc>
                        <a:spcBef>
                          <a:spcPts val="0"/>
                        </a:spcBef>
                      </a:pPr>
                      <a:endParaRPr lang="en-GB" sz="1100" noProof="0">
                        <a:solidFill>
                          <a:schemeClr val="tx1"/>
                        </a:solidFill>
                        <a:latin typeface="+mn-lt"/>
                        <a:ea typeface="Lato" panose="020F0502020204030203" pitchFamily="34" charset="0"/>
                        <a:cs typeface="Lato" panose="020F0502020204030203" pitchFamily="34" charset="0"/>
                        <a:sym typeface="Lato" panose="020F0502020204030203" pitchFamily="34" charset="0"/>
                      </a:endParaRP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ts val="920"/>
                        </a:lnSpc>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b" latinLnBrk="0" hangingPunct="1">
                        <a:lnSpc>
                          <a:spcPts val="920"/>
                        </a:lnSpc>
                        <a:spcBef>
                          <a:spcPts val="0"/>
                        </a:spcBef>
                        <a:spcAft>
                          <a:spcPts val="0"/>
                        </a:spcAft>
                        <a:buClrTx/>
                        <a:buSzTx/>
                        <a:buFontTx/>
                        <a:buNone/>
                        <a:tabLst/>
                        <a:defRPr/>
                      </a:pPr>
                      <a:endParaRPr lang="en-GB" sz="1100" b="0" i="0" u="none" strike="noStrike">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4632688"/>
                  </a:ext>
                </a:extLst>
              </a:tr>
            </a:tbl>
          </a:graphicData>
        </a:graphic>
      </p:graphicFrame>
      <p:sp>
        <p:nvSpPr>
          <p:cNvPr id="5" name="Text Placeholder 4">
            <a:extLst>
              <a:ext uri="{FF2B5EF4-FFF2-40B4-BE49-F238E27FC236}">
                <a16:creationId xmlns:a16="http://schemas.microsoft.com/office/drawing/2014/main" id="{5E9331CF-9758-31E5-02C9-DF4098D0ECA5}"/>
              </a:ext>
            </a:extLst>
          </p:cNvPr>
          <p:cNvSpPr>
            <a:spLocks noGrp="1"/>
          </p:cNvSpPr>
          <p:nvPr>
            <p:ph type="body" sz="quarter" idx="28"/>
          </p:nvPr>
        </p:nvSpPr>
        <p:spPr>
          <a:xfrm>
            <a:off x="6438901" y="1268413"/>
            <a:ext cx="5371500" cy="4789487"/>
          </a:xfrm>
          <a:solidFill>
            <a:srgbClr val="F1EEE3"/>
          </a:solidFill>
        </p:spPr>
        <p:txBody>
          <a:bodyPr lIns="91440" tIns="72000" rIns="72000" bIns="72000">
            <a:noAutofit/>
          </a:bodyPr>
          <a:lstStyle/>
          <a:p>
            <a:pPr marL="182880" indent="-182880">
              <a:buFont typeface="Wingdings" panose="05000000000000000000" pitchFamily="2" charset="2"/>
              <a:buChar char="§"/>
            </a:pPr>
            <a:endParaRPr lang="en-GB"/>
          </a:p>
        </p:txBody>
      </p:sp>
      <p:sp>
        <p:nvSpPr>
          <p:cNvPr id="4" name="Title 3">
            <a:extLst>
              <a:ext uri="{FF2B5EF4-FFF2-40B4-BE49-F238E27FC236}">
                <a16:creationId xmlns:a16="http://schemas.microsoft.com/office/drawing/2014/main" id="{CF9A90AB-2AB3-A289-9EE3-D514F6657406}"/>
              </a:ext>
            </a:extLst>
          </p:cNvPr>
          <p:cNvSpPr>
            <a:spLocks noGrp="1"/>
          </p:cNvSpPr>
          <p:nvPr>
            <p:ph type="title"/>
          </p:nvPr>
        </p:nvSpPr>
        <p:spPr/>
        <p:txBody>
          <a:bodyPr vert="horz"/>
          <a:lstStyle/>
          <a:p>
            <a:r>
              <a:rPr lang="en-GB"/>
              <a:t>Battery business models will rely more on revenue stacking as frequency services across Europe face increased saturation risk</a:t>
            </a:r>
          </a:p>
        </p:txBody>
      </p:sp>
      <p:sp>
        <p:nvSpPr>
          <p:cNvPr id="25" name="Text Placeholder 11">
            <a:extLst>
              <a:ext uri="{FF2B5EF4-FFF2-40B4-BE49-F238E27FC236}">
                <a16:creationId xmlns:a16="http://schemas.microsoft.com/office/drawing/2014/main" id="{4A6EB60B-DBE5-0A24-1FFE-AE291E8D6682}"/>
              </a:ext>
            </a:extLst>
          </p:cNvPr>
          <p:cNvSpPr txBox="1">
            <a:spLocks/>
          </p:cNvSpPr>
          <p:nvPr/>
        </p:nvSpPr>
        <p:spPr>
          <a:xfrm>
            <a:off x="380998" y="1270549"/>
            <a:ext cx="5715001"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u="sng"/>
              <a:t>Summary of saturation risks for grid-scale batteries</a:t>
            </a:r>
            <a:r>
              <a:rPr lang="en-GB" u="sng" baseline="30000"/>
              <a:t>1</a:t>
            </a:r>
            <a:endParaRPr lang="en-GB" u="sng"/>
          </a:p>
        </p:txBody>
      </p:sp>
      <p:sp>
        <p:nvSpPr>
          <p:cNvPr id="22" name="TextBox 21">
            <a:extLst>
              <a:ext uri="{FF2B5EF4-FFF2-40B4-BE49-F238E27FC236}">
                <a16:creationId xmlns:a16="http://schemas.microsoft.com/office/drawing/2014/main" id="{EE66C037-8690-12B8-F28E-3B61631002B9}"/>
              </a:ext>
            </a:extLst>
          </p:cNvPr>
          <p:cNvSpPr txBox="1"/>
          <p:nvPr/>
        </p:nvSpPr>
        <p:spPr>
          <a:xfrm>
            <a:off x="3142554" y="6201204"/>
            <a:ext cx="2755291"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Will saturate within the near term (1-3 years)</a:t>
            </a:r>
          </a:p>
        </p:txBody>
      </p:sp>
      <p:sp>
        <p:nvSpPr>
          <p:cNvPr id="24" name="TextBox 23">
            <a:extLst>
              <a:ext uri="{FF2B5EF4-FFF2-40B4-BE49-F238E27FC236}">
                <a16:creationId xmlns:a16="http://schemas.microsoft.com/office/drawing/2014/main" id="{0FE091E4-B3A0-8CFB-5F3E-6E633520B918}"/>
              </a:ext>
            </a:extLst>
          </p:cNvPr>
          <p:cNvSpPr txBox="1"/>
          <p:nvPr/>
        </p:nvSpPr>
        <p:spPr>
          <a:xfrm>
            <a:off x="693796" y="6201204"/>
            <a:ext cx="2121696"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Will take longer to saturate (&gt; 3)</a:t>
            </a:r>
          </a:p>
        </p:txBody>
      </p:sp>
      <p:sp>
        <p:nvSpPr>
          <p:cNvPr id="11" name="Rectangle 10">
            <a:extLst>
              <a:ext uri="{FF2B5EF4-FFF2-40B4-BE49-F238E27FC236}">
                <a16:creationId xmlns:a16="http://schemas.microsoft.com/office/drawing/2014/main" id="{44D1916E-C5CA-7A5C-7228-6ED23B937F1D}"/>
              </a:ext>
            </a:extLst>
          </p:cNvPr>
          <p:cNvSpPr/>
          <p:nvPr/>
        </p:nvSpPr>
        <p:spPr>
          <a:xfrm rot="16200000">
            <a:off x="5028299" y="1959721"/>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23" name="Rectangle 122">
            <a:extLst>
              <a:ext uri="{FF2B5EF4-FFF2-40B4-BE49-F238E27FC236}">
                <a16:creationId xmlns:a16="http://schemas.microsoft.com/office/drawing/2014/main" id="{DE62C709-A8A7-443E-44B4-EE52964BC7E3}"/>
              </a:ext>
            </a:extLst>
          </p:cNvPr>
          <p:cNvSpPr/>
          <p:nvPr/>
        </p:nvSpPr>
        <p:spPr>
          <a:xfrm rot="16200000">
            <a:off x="5028300" y="2251665"/>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24" name="Rectangle 123">
            <a:extLst>
              <a:ext uri="{FF2B5EF4-FFF2-40B4-BE49-F238E27FC236}">
                <a16:creationId xmlns:a16="http://schemas.microsoft.com/office/drawing/2014/main" id="{D571CDD7-318E-9C06-B908-D061DC163A80}"/>
              </a:ext>
            </a:extLst>
          </p:cNvPr>
          <p:cNvSpPr/>
          <p:nvPr/>
        </p:nvSpPr>
        <p:spPr>
          <a:xfrm rot="16200000">
            <a:off x="5028300" y="2555289"/>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1" name="Rectangle 130">
            <a:extLst>
              <a:ext uri="{FF2B5EF4-FFF2-40B4-BE49-F238E27FC236}">
                <a16:creationId xmlns:a16="http://schemas.microsoft.com/office/drawing/2014/main" id="{9FEAD8BD-A955-FFB1-F044-97E081EBDE53}"/>
              </a:ext>
            </a:extLst>
          </p:cNvPr>
          <p:cNvSpPr/>
          <p:nvPr/>
        </p:nvSpPr>
        <p:spPr>
          <a:xfrm rot="16200000">
            <a:off x="5028301" y="2848781"/>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2" name="Rectangle 131">
            <a:extLst>
              <a:ext uri="{FF2B5EF4-FFF2-40B4-BE49-F238E27FC236}">
                <a16:creationId xmlns:a16="http://schemas.microsoft.com/office/drawing/2014/main" id="{27C48C72-505A-02DF-9CEE-BEF720371C4E}"/>
              </a:ext>
            </a:extLst>
          </p:cNvPr>
          <p:cNvSpPr/>
          <p:nvPr/>
        </p:nvSpPr>
        <p:spPr>
          <a:xfrm rot="16200000">
            <a:off x="5028302" y="3148826"/>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3" name="Rectangle 132">
            <a:extLst>
              <a:ext uri="{FF2B5EF4-FFF2-40B4-BE49-F238E27FC236}">
                <a16:creationId xmlns:a16="http://schemas.microsoft.com/office/drawing/2014/main" id="{92340801-D3FD-41B2-E1DF-C3110EC53F4D}"/>
              </a:ext>
            </a:extLst>
          </p:cNvPr>
          <p:cNvSpPr/>
          <p:nvPr/>
        </p:nvSpPr>
        <p:spPr>
          <a:xfrm rot="16200000">
            <a:off x="5028303" y="4628159"/>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4" name="Rectangle 133">
            <a:extLst>
              <a:ext uri="{FF2B5EF4-FFF2-40B4-BE49-F238E27FC236}">
                <a16:creationId xmlns:a16="http://schemas.microsoft.com/office/drawing/2014/main" id="{7D308BAC-AA36-C139-3429-6C7C84C28287}"/>
              </a:ext>
            </a:extLst>
          </p:cNvPr>
          <p:cNvSpPr/>
          <p:nvPr/>
        </p:nvSpPr>
        <p:spPr>
          <a:xfrm rot="16200000">
            <a:off x="5028304" y="5832410"/>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5" name="Rectangle 134">
            <a:extLst>
              <a:ext uri="{FF2B5EF4-FFF2-40B4-BE49-F238E27FC236}">
                <a16:creationId xmlns:a16="http://schemas.microsoft.com/office/drawing/2014/main" id="{155EA3BA-2E51-D7E5-15BD-639BFD71FC45}"/>
              </a:ext>
            </a:extLst>
          </p:cNvPr>
          <p:cNvSpPr/>
          <p:nvPr/>
        </p:nvSpPr>
        <p:spPr>
          <a:xfrm rot="16200000">
            <a:off x="5028304" y="4945078"/>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39" name="TextBox 138">
            <a:extLst>
              <a:ext uri="{FF2B5EF4-FFF2-40B4-BE49-F238E27FC236}">
                <a16:creationId xmlns:a16="http://schemas.microsoft.com/office/drawing/2014/main" id="{8E29603F-3B93-FC6B-F7E7-5DFCF8B3CE61}"/>
              </a:ext>
            </a:extLst>
          </p:cNvPr>
          <p:cNvSpPr txBox="1"/>
          <p:nvPr/>
        </p:nvSpPr>
        <p:spPr>
          <a:xfrm>
            <a:off x="6177765" y="6201204"/>
            <a:ext cx="1106703"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Already saturated</a:t>
            </a:r>
          </a:p>
        </p:txBody>
      </p:sp>
      <p:sp>
        <p:nvSpPr>
          <p:cNvPr id="7" name="Rectangle 6">
            <a:extLst>
              <a:ext uri="{FF2B5EF4-FFF2-40B4-BE49-F238E27FC236}">
                <a16:creationId xmlns:a16="http://schemas.microsoft.com/office/drawing/2014/main" id="{AA1A2252-114B-CE43-3229-5058A72E168A}"/>
              </a:ext>
            </a:extLst>
          </p:cNvPr>
          <p:cNvSpPr/>
          <p:nvPr/>
        </p:nvSpPr>
        <p:spPr>
          <a:xfrm rot="16200000">
            <a:off x="7416323" y="6165133"/>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4" name="TextBox 13">
            <a:extLst>
              <a:ext uri="{FF2B5EF4-FFF2-40B4-BE49-F238E27FC236}">
                <a16:creationId xmlns:a16="http://schemas.microsoft.com/office/drawing/2014/main" id="{B851031B-0A3C-403D-F07B-AD6006057FA2}"/>
              </a:ext>
            </a:extLst>
          </p:cNvPr>
          <p:cNvSpPr txBox="1"/>
          <p:nvPr/>
        </p:nvSpPr>
        <p:spPr>
          <a:xfrm>
            <a:off x="7663517" y="6201204"/>
            <a:ext cx="1462928" cy="15388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00"/>
              <a:t>Not relevant for batteries</a:t>
            </a:r>
          </a:p>
        </p:txBody>
      </p:sp>
      <p:sp>
        <p:nvSpPr>
          <p:cNvPr id="35" name="Rectangle 34">
            <a:extLst>
              <a:ext uri="{FF2B5EF4-FFF2-40B4-BE49-F238E27FC236}">
                <a16:creationId xmlns:a16="http://schemas.microsoft.com/office/drawing/2014/main" id="{6523A2E2-3392-5932-4EC4-6A218AA3771A}"/>
              </a:ext>
            </a:extLst>
          </p:cNvPr>
          <p:cNvSpPr/>
          <p:nvPr/>
        </p:nvSpPr>
        <p:spPr>
          <a:xfrm>
            <a:off x="2875796" y="6185815"/>
            <a:ext cx="187205" cy="184666"/>
          </a:xfrm>
          <a:prstGeom prst="rect">
            <a:avLst/>
          </a:prstGeom>
          <a:solidFill>
            <a:schemeClr val="accent3"/>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6" name="Rectangle 35">
            <a:extLst>
              <a:ext uri="{FF2B5EF4-FFF2-40B4-BE49-F238E27FC236}">
                <a16:creationId xmlns:a16="http://schemas.microsoft.com/office/drawing/2014/main" id="{BC134C49-09E3-A741-5AF4-23AADA0B9A87}"/>
              </a:ext>
            </a:extLst>
          </p:cNvPr>
          <p:cNvSpPr/>
          <p:nvPr/>
        </p:nvSpPr>
        <p:spPr>
          <a:xfrm>
            <a:off x="5945970" y="6185815"/>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7" name="Rectangle 36">
            <a:extLst>
              <a:ext uri="{FF2B5EF4-FFF2-40B4-BE49-F238E27FC236}">
                <a16:creationId xmlns:a16="http://schemas.microsoft.com/office/drawing/2014/main" id="{855DCD9E-3118-9AB3-8E3C-BCA481A6F8AA}"/>
              </a:ext>
            </a:extLst>
          </p:cNvPr>
          <p:cNvSpPr/>
          <p:nvPr/>
        </p:nvSpPr>
        <p:spPr>
          <a:xfrm>
            <a:off x="427037" y="6185815"/>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9" name="Rectangle 38">
            <a:extLst>
              <a:ext uri="{FF2B5EF4-FFF2-40B4-BE49-F238E27FC236}">
                <a16:creationId xmlns:a16="http://schemas.microsoft.com/office/drawing/2014/main" id="{4A0C950F-BA88-F4E7-3591-E5DC4288DFF6}"/>
              </a:ext>
            </a:extLst>
          </p:cNvPr>
          <p:cNvSpPr/>
          <p:nvPr/>
        </p:nvSpPr>
        <p:spPr>
          <a:xfrm>
            <a:off x="3613861" y="3461545"/>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0" name="Rectangle 39">
            <a:extLst>
              <a:ext uri="{FF2B5EF4-FFF2-40B4-BE49-F238E27FC236}">
                <a16:creationId xmlns:a16="http://schemas.microsoft.com/office/drawing/2014/main" id="{AB8FE299-757F-C68A-E1D7-CC480C16482B}"/>
              </a:ext>
            </a:extLst>
          </p:cNvPr>
          <p:cNvSpPr/>
          <p:nvPr/>
        </p:nvSpPr>
        <p:spPr>
          <a:xfrm>
            <a:off x="4979699" y="3471122"/>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1" name="Rectangle 40">
            <a:extLst>
              <a:ext uri="{FF2B5EF4-FFF2-40B4-BE49-F238E27FC236}">
                <a16:creationId xmlns:a16="http://schemas.microsoft.com/office/drawing/2014/main" id="{CAE61EBA-760D-15C0-3BB5-3E70A64720E7}"/>
              </a:ext>
            </a:extLst>
          </p:cNvPr>
          <p:cNvSpPr/>
          <p:nvPr/>
        </p:nvSpPr>
        <p:spPr>
          <a:xfrm>
            <a:off x="4979699" y="4045216"/>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2" name="Rectangle 41">
            <a:extLst>
              <a:ext uri="{FF2B5EF4-FFF2-40B4-BE49-F238E27FC236}">
                <a16:creationId xmlns:a16="http://schemas.microsoft.com/office/drawing/2014/main" id="{BC87C9B5-AC7A-597B-DBFC-055222CEB38B}"/>
              </a:ext>
            </a:extLst>
          </p:cNvPr>
          <p:cNvSpPr/>
          <p:nvPr/>
        </p:nvSpPr>
        <p:spPr>
          <a:xfrm>
            <a:off x="4979699" y="4342586"/>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0" name="Rectangle 49">
            <a:extLst>
              <a:ext uri="{FF2B5EF4-FFF2-40B4-BE49-F238E27FC236}">
                <a16:creationId xmlns:a16="http://schemas.microsoft.com/office/drawing/2014/main" id="{ED0548DE-681F-2D71-8071-6FFD331A3640}"/>
              </a:ext>
            </a:extLst>
          </p:cNvPr>
          <p:cNvSpPr/>
          <p:nvPr/>
        </p:nvSpPr>
        <p:spPr>
          <a:xfrm>
            <a:off x="4979699" y="5265169"/>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1" name="Rectangle 50">
            <a:extLst>
              <a:ext uri="{FF2B5EF4-FFF2-40B4-BE49-F238E27FC236}">
                <a16:creationId xmlns:a16="http://schemas.microsoft.com/office/drawing/2014/main" id="{EA13CA1F-7FF8-5C70-80CC-430328C8E8D4}"/>
              </a:ext>
            </a:extLst>
          </p:cNvPr>
          <p:cNvSpPr/>
          <p:nvPr/>
        </p:nvSpPr>
        <p:spPr>
          <a:xfrm>
            <a:off x="4979699" y="5564578"/>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2" name="Rectangle 51">
            <a:extLst>
              <a:ext uri="{FF2B5EF4-FFF2-40B4-BE49-F238E27FC236}">
                <a16:creationId xmlns:a16="http://schemas.microsoft.com/office/drawing/2014/main" id="{F48E314A-1FDD-D491-639A-C10E6B702899}"/>
              </a:ext>
            </a:extLst>
          </p:cNvPr>
          <p:cNvSpPr/>
          <p:nvPr/>
        </p:nvSpPr>
        <p:spPr>
          <a:xfrm>
            <a:off x="2162425" y="5544337"/>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3" name="Rectangle 52">
            <a:extLst>
              <a:ext uri="{FF2B5EF4-FFF2-40B4-BE49-F238E27FC236}">
                <a16:creationId xmlns:a16="http://schemas.microsoft.com/office/drawing/2014/main" id="{CEEDC2E2-D1F5-3345-9A9A-2CCB43D69616}"/>
              </a:ext>
            </a:extLst>
          </p:cNvPr>
          <p:cNvSpPr/>
          <p:nvPr/>
        </p:nvSpPr>
        <p:spPr>
          <a:xfrm>
            <a:off x="2162425" y="5247358"/>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4" name="Rectangle 53">
            <a:extLst>
              <a:ext uri="{FF2B5EF4-FFF2-40B4-BE49-F238E27FC236}">
                <a16:creationId xmlns:a16="http://schemas.microsoft.com/office/drawing/2014/main" id="{CC15C617-8980-BB04-9BF1-0C749EF77B98}"/>
              </a:ext>
            </a:extLst>
          </p:cNvPr>
          <p:cNvSpPr/>
          <p:nvPr/>
        </p:nvSpPr>
        <p:spPr>
          <a:xfrm>
            <a:off x="2162425" y="4950379"/>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5" name="Rectangle 54">
            <a:extLst>
              <a:ext uri="{FF2B5EF4-FFF2-40B4-BE49-F238E27FC236}">
                <a16:creationId xmlns:a16="http://schemas.microsoft.com/office/drawing/2014/main" id="{7D8A1FBC-2429-5ADA-035D-892281F611F6}"/>
              </a:ext>
            </a:extLst>
          </p:cNvPr>
          <p:cNvSpPr/>
          <p:nvPr/>
        </p:nvSpPr>
        <p:spPr>
          <a:xfrm>
            <a:off x="2162425" y="4653400"/>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6" name="Rectangle 55">
            <a:extLst>
              <a:ext uri="{FF2B5EF4-FFF2-40B4-BE49-F238E27FC236}">
                <a16:creationId xmlns:a16="http://schemas.microsoft.com/office/drawing/2014/main" id="{43051CC1-B143-95C3-7BE6-6CBF5CD7F1F1}"/>
              </a:ext>
            </a:extLst>
          </p:cNvPr>
          <p:cNvSpPr/>
          <p:nvPr/>
        </p:nvSpPr>
        <p:spPr>
          <a:xfrm>
            <a:off x="2162425" y="4356421"/>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7" name="Rectangle 56">
            <a:extLst>
              <a:ext uri="{FF2B5EF4-FFF2-40B4-BE49-F238E27FC236}">
                <a16:creationId xmlns:a16="http://schemas.microsoft.com/office/drawing/2014/main" id="{5D5E678A-E3F5-44C2-DDE8-D003692C7B57}"/>
              </a:ext>
            </a:extLst>
          </p:cNvPr>
          <p:cNvSpPr/>
          <p:nvPr/>
        </p:nvSpPr>
        <p:spPr>
          <a:xfrm>
            <a:off x="2162425" y="3762463"/>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8" name="Rectangle 57">
            <a:extLst>
              <a:ext uri="{FF2B5EF4-FFF2-40B4-BE49-F238E27FC236}">
                <a16:creationId xmlns:a16="http://schemas.microsoft.com/office/drawing/2014/main" id="{4FEB995E-4D7E-FA49-1D74-3C3F51DEC818}"/>
              </a:ext>
            </a:extLst>
          </p:cNvPr>
          <p:cNvSpPr/>
          <p:nvPr/>
        </p:nvSpPr>
        <p:spPr>
          <a:xfrm>
            <a:off x="2162425" y="2277568"/>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59" name="Rectangle 58">
            <a:extLst>
              <a:ext uri="{FF2B5EF4-FFF2-40B4-BE49-F238E27FC236}">
                <a16:creationId xmlns:a16="http://schemas.microsoft.com/office/drawing/2014/main" id="{1C44E0C9-6C59-4A23-31C9-1F8CB4CFC708}"/>
              </a:ext>
            </a:extLst>
          </p:cNvPr>
          <p:cNvSpPr/>
          <p:nvPr/>
        </p:nvSpPr>
        <p:spPr>
          <a:xfrm>
            <a:off x="2162425" y="1980589"/>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0" name="Rectangle 59">
            <a:extLst>
              <a:ext uri="{FF2B5EF4-FFF2-40B4-BE49-F238E27FC236}">
                <a16:creationId xmlns:a16="http://schemas.microsoft.com/office/drawing/2014/main" id="{FDBD6497-8964-D7AD-2015-840D9F704B75}"/>
              </a:ext>
            </a:extLst>
          </p:cNvPr>
          <p:cNvSpPr/>
          <p:nvPr/>
        </p:nvSpPr>
        <p:spPr>
          <a:xfrm>
            <a:off x="2162425" y="5841311"/>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1" name="Rectangle 60">
            <a:extLst>
              <a:ext uri="{FF2B5EF4-FFF2-40B4-BE49-F238E27FC236}">
                <a16:creationId xmlns:a16="http://schemas.microsoft.com/office/drawing/2014/main" id="{B1066863-8147-D25D-F6B8-217299917817}"/>
              </a:ext>
            </a:extLst>
          </p:cNvPr>
          <p:cNvSpPr/>
          <p:nvPr/>
        </p:nvSpPr>
        <p:spPr>
          <a:xfrm>
            <a:off x="2163274" y="3465484"/>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2" name="Rectangle 61">
            <a:extLst>
              <a:ext uri="{FF2B5EF4-FFF2-40B4-BE49-F238E27FC236}">
                <a16:creationId xmlns:a16="http://schemas.microsoft.com/office/drawing/2014/main" id="{8BF862D4-2402-7199-1E37-180A016A22AA}"/>
              </a:ext>
            </a:extLst>
          </p:cNvPr>
          <p:cNvSpPr/>
          <p:nvPr/>
        </p:nvSpPr>
        <p:spPr>
          <a:xfrm>
            <a:off x="2163274" y="3168505"/>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3" name="Rectangle 62">
            <a:extLst>
              <a:ext uri="{FF2B5EF4-FFF2-40B4-BE49-F238E27FC236}">
                <a16:creationId xmlns:a16="http://schemas.microsoft.com/office/drawing/2014/main" id="{65C383AE-85DA-CF52-E311-FB93F19BB9C7}"/>
              </a:ext>
            </a:extLst>
          </p:cNvPr>
          <p:cNvSpPr/>
          <p:nvPr/>
        </p:nvSpPr>
        <p:spPr>
          <a:xfrm>
            <a:off x="2163274" y="2871526"/>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4" name="Rectangle 63">
            <a:extLst>
              <a:ext uri="{FF2B5EF4-FFF2-40B4-BE49-F238E27FC236}">
                <a16:creationId xmlns:a16="http://schemas.microsoft.com/office/drawing/2014/main" id="{A0BE8279-A5F4-3635-DCC7-A47CA23EEE2A}"/>
              </a:ext>
            </a:extLst>
          </p:cNvPr>
          <p:cNvSpPr/>
          <p:nvPr/>
        </p:nvSpPr>
        <p:spPr>
          <a:xfrm>
            <a:off x="2163274" y="2574547"/>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5" name="Rectangle 64">
            <a:extLst>
              <a:ext uri="{FF2B5EF4-FFF2-40B4-BE49-F238E27FC236}">
                <a16:creationId xmlns:a16="http://schemas.microsoft.com/office/drawing/2014/main" id="{3EACB352-3D06-14C5-C8B2-682B023ED436}"/>
              </a:ext>
            </a:extLst>
          </p:cNvPr>
          <p:cNvSpPr/>
          <p:nvPr/>
        </p:nvSpPr>
        <p:spPr>
          <a:xfrm>
            <a:off x="2163274" y="4059442"/>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7" name="Rectangle 66">
            <a:extLst>
              <a:ext uri="{FF2B5EF4-FFF2-40B4-BE49-F238E27FC236}">
                <a16:creationId xmlns:a16="http://schemas.microsoft.com/office/drawing/2014/main" id="{0336B063-FF10-6382-9FBA-BDE46038A8C7}"/>
              </a:ext>
            </a:extLst>
          </p:cNvPr>
          <p:cNvSpPr/>
          <p:nvPr/>
        </p:nvSpPr>
        <p:spPr>
          <a:xfrm>
            <a:off x="3613861" y="4059442"/>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8" name="Rectangle 67">
            <a:extLst>
              <a:ext uri="{FF2B5EF4-FFF2-40B4-BE49-F238E27FC236}">
                <a16:creationId xmlns:a16="http://schemas.microsoft.com/office/drawing/2014/main" id="{1CD326D0-7F3F-2154-92F4-888595D79781}"/>
              </a:ext>
            </a:extLst>
          </p:cNvPr>
          <p:cNvSpPr/>
          <p:nvPr/>
        </p:nvSpPr>
        <p:spPr>
          <a:xfrm>
            <a:off x="3613861" y="5841311"/>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69" name="Rectangle 68">
            <a:extLst>
              <a:ext uri="{FF2B5EF4-FFF2-40B4-BE49-F238E27FC236}">
                <a16:creationId xmlns:a16="http://schemas.microsoft.com/office/drawing/2014/main" id="{085B530F-A048-CFF2-740F-4D95DAFB12C2}"/>
              </a:ext>
            </a:extLst>
          </p:cNvPr>
          <p:cNvSpPr/>
          <p:nvPr/>
        </p:nvSpPr>
        <p:spPr>
          <a:xfrm>
            <a:off x="3613861" y="2571167"/>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0" name="Rectangle 69">
            <a:extLst>
              <a:ext uri="{FF2B5EF4-FFF2-40B4-BE49-F238E27FC236}">
                <a16:creationId xmlns:a16="http://schemas.microsoft.com/office/drawing/2014/main" id="{AEBDEF9B-4D95-E2E8-546C-97049EF8727F}"/>
              </a:ext>
            </a:extLst>
          </p:cNvPr>
          <p:cNvSpPr/>
          <p:nvPr/>
        </p:nvSpPr>
        <p:spPr>
          <a:xfrm>
            <a:off x="3613861" y="2273881"/>
            <a:ext cx="187205" cy="184666"/>
          </a:xfrm>
          <a:prstGeom prst="rect">
            <a:avLst/>
          </a:prstGeom>
          <a:solidFill>
            <a:srgbClr val="FF7F7F"/>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1" name="Rectangle 70">
            <a:extLst>
              <a:ext uri="{FF2B5EF4-FFF2-40B4-BE49-F238E27FC236}">
                <a16:creationId xmlns:a16="http://schemas.microsoft.com/office/drawing/2014/main" id="{BC31007E-6AF3-D9B4-765B-0809A513D085}"/>
              </a:ext>
            </a:extLst>
          </p:cNvPr>
          <p:cNvSpPr/>
          <p:nvPr/>
        </p:nvSpPr>
        <p:spPr>
          <a:xfrm>
            <a:off x="3613861" y="3165739"/>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2" name="Rectangle 71">
            <a:extLst>
              <a:ext uri="{FF2B5EF4-FFF2-40B4-BE49-F238E27FC236}">
                <a16:creationId xmlns:a16="http://schemas.microsoft.com/office/drawing/2014/main" id="{9086BE36-6CB9-696C-7FF4-947C04EFF6A4}"/>
              </a:ext>
            </a:extLst>
          </p:cNvPr>
          <p:cNvSpPr/>
          <p:nvPr/>
        </p:nvSpPr>
        <p:spPr>
          <a:xfrm>
            <a:off x="3613861" y="1976595"/>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3" name="Rectangle 72">
            <a:extLst>
              <a:ext uri="{FF2B5EF4-FFF2-40B4-BE49-F238E27FC236}">
                <a16:creationId xmlns:a16="http://schemas.microsoft.com/office/drawing/2014/main" id="{2C437B7C-D103-C9FF-FD7E-C87E0F9E5984}"/>
              </a:ext>
            </a:extLst>
          </p:cNvPr>
          <p:cNvSpPr/>
          <p:nvPr/>
        </p:nvSpPr>
        <p:spPr>
          <a:xfrm>
            <a:off x="3613861" y="2868453"/>
            <a:ext cx="187205" cy="184666"/>
          </a:xfrm>
          <a:prstGeom prst="rect">
            <a:avLst/>
          </a:prstGeom>
          <a:solidFill>
            <a:schemeClr val="accent3"/>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4" name="Rectangle 73">
            <a:extLst>
              <a:ext uri="{FF2B5EF4-FFF2-40B4-BE49-F238E27FC236}">
                <a16:creationId xmlns:a16="http://schemas.microsoft.com/office/drawing/2014/main" id="{96E70F8B-400A-67AC-EF56-037E3F72D7B9}"/>
              </a:ext>
            </a:extLst>
          </p:cNvPr>
          <p:cNvSpPr/>
          <p:nvPr/>
        </p:nvSpPr>
        <p:spPr>
          <a:xfrm>
            <a:off x="3613861" y="3762463"/>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5" name="Rectangle 74">
            <a:extLst>
              <a:ext uri="{FF2B5EF4-FFF2-40B4-BE49-F238E27FC236}">
                <a16:creationId xmlns:a16="http://schemas.microsoft.com/office/drawing/2014/main" id="{F37FBB79-70DC-4A10-0D21-C50A4F1185B0}"/>
              </a:ext>
            </a:extLst>
          </p:cNvPr>
          <p:cNvSpPr/>
          <p:nvPr/>
        </p:nvSpPr>
        <p:spPr>
          <a:xfrm>
            <a:off x="3613861" y="4949455"/>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6" name="Rectangle 75">
            <a:extLst>
              <a:ext uri="{FF2B5EF4-FFF2-40B4-BE49-F238E27FC236}">
                <a16:creationId xmlns:a16="http://schemas.microsoft.com/office/drawing/2014/main" id="{E98C789F-19DB-5BB2-D682-72F130D4B892}"/>
              </a:ext>
            </a:extLst>
          </p:cNvPr>
          <p:cNvSpPr/>
          <p:nvPr/>
        </p:nvSpPr>
        <p:spPr>
          <a:xfrm>
            <a:off x="3613861" y="5247358"/>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7" name="Rectangle 76">
            <a:extLst>
              <a:ext uri="{FF2B5EF4-FFF2-40B4-BE49-F238E27FC236}">
                <a16:creationId xmlns:a16="http://schemas.microsoft.com/office/drawing/2014/main" id="{BF5DB72A-ED04-0018-BCA9-E8ED0F04DB8E}"/>
              </a:ext>
            </a:extLst>
          </p:cNvPr>
          <p:cNvSpPr/>
          <p:nvPr/>
        </p:nvSpPr>
        <p:spPr>
          <a:xfrm>
            <a:off x="3613861" y="5544332"/>
            <a:ext cx="187205" cy="184666"/>
          </a:xfrm>
          <a:prstGeom prst="rect">
            <a:avLst/>
          </a:prstGeom>
          <a:solidFill>
            <a:srgbClr val="92D05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8" name="Rectangle 77">
            <a:extLst>
              <a:ext uri="{FF2B5EF4-FFF2-40B4-BE49-F238E27FC236}">
                <a16:creationId xmlns:a16="http://schemas.microsoft.com/office/drawing/2014/main" id="{ADE9CC6B-FE6D-6859-E265-1FFD71418760}"/>
              </a:ext>
            </a:extLst>
          </p:cNvPr>
          <p:cNvSpPr/>
          <p:nvPr/>
        </p:nvSpPr>
        <p:spPr>
          <a:xfrm>
            <a:off x="3613861" y="4652169"/>
            <a:ext cx="187205" cy="184666"/>
          </a:xfrm>
          <a:prstGeom prst="rect">
            <a:avLst/>
          </a:prstGeom>
          <a:solidFill>
            <a:srgbClr val="FFE68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5" name="Rectangle 84">
            <a:extLst>
              <a:ext uri="{FF2B5EF4-FFF2-40B4-BE49-F238E27FC236}">
                <a16:creationId xmlns:a16="http://schemas.microsoft.com/office/drawing/2014/main" id="{48A83FCC-ABDD-90E0-8467-EF52A0761ACB}"/>
              </a:ext>
            </a:extLst>
          </p:cNvPr>
          <p:cNvSpPr/>
          <p:nvPr/>
        </p:nvSpPr>
        <p:spPr>
          <a:xfrm rot="16200000">
            <a:off x="3681877" y="4348564"/>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0" name="Text Placeholder 2">
            <a:extLst>
              <a:ext uri="{FF2B5EF4-FFF2-40B4-BE49-F238E27FC236}">
                <a16:creationId xmlns:a16="http://schemas.microsoft.com/office/drawing/2014/main" id="{86E3485D-03F3-62DB-8DEA-A9789A13A34D}"/>
              </a:ext>
            </a:extLst>
          </p:cNvPr>
          <p:cNvSpPr txBox="1">
            <a:spLocks/>
          </p:cNvSpPr>
          <p:nvPr/>
        </p:nvSpPr>
        <p:spPr>
          <a:xfrm>
            <a:off x="381599" y="79401"/>
            <a:ext cx="4100803"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		 Revenue streams – Balancing and restoration services</a:t>
            </a:r>
          </a:p>
        </p:txBody>
      </p:sp>
      <p:sp>
        <p:nvSpPr>
          <p:cNvPr id="66" name="Oval 65">
            <a:extLst>
              <a:ext uri="{FF2B5EF4-FFF2-40B4-BE49-F238E27FC236}">
                <a16:creationId xmlns:a16="http://schemas.microsoft.com/office/drawing/2014/main" id="{0BC58E50-522D-428B-9F05-49819E4DF99C}"/>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
        <p:nvSpPr>
          <p:cNvPr id="79" name="Oval 78">
            <a:extLst>
              <a:ext uri="{FF2B5EF4-FFF2-40B4-BE49-F238E27FC236}">
                <a16:creationId xmlns:a16="http://schemas.microsoft.com/office/drawing/2014/main" id="{9B5AAD7A-4323-4FB8-A899-3AEB1E6D722D}"/>
              </a:ext>
            </a:extLst>
          </p:cNvPr>
          <p:cNvSpPr/>
          <p:nvPr/>
        </p:nvSpPr>
        <p:spPr>
          <a:xfrm>
            <a:off x="60019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chorCtr="0"/>
          <a:lstStyle/>
          <a:p>
            <a:pPr algn="ctr">
              <a:spcAft>
                <a:spcPts val="1000"/>
              </a:spcAft>
              <a:defRPr/>
            </a:pPr>
            <a:r>
              <a:rPr lang="en-GB" sz="1000" b="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a:t>
            </a:r>
          </a:p>
        </p:txBody>
      </p:sp>
      <p:sp>
        <p:nvSpPr>
          <p:cNvPr id="3" name="Rectangle 2">
            <a:extLst>
              <a:ext uri="{FF2B5EF4-FFF2-40B4-BE49-F238E27FC236}">
                <a16:creationId xmlns:a16="http://schemas.microsoft.com/office/drawing/2014/main" id="{1DDB01B7-13EC-3A90-D878-436A184E9EB4}"/>
              </a:ext>
            </a:extLst>
          </p:cNvPr>
          <p:cNvSpPr/>
          <p:nvPr/>
        </p:nvSpPr>
        <p:spPr>
          <a:xfrm rot="16200000">
            <a:off x="5028303" y="3729438"/>
            <a:ext cx="90000" cy="226031"/>
          </a:xfrm>
          <a:prstGeom prst="rect">
            <a:avLst/>
          </a:prstGeom>
          <a:solidFill>
            <a:srgbClr val="C0C0C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2" name="Text Placeholder 16">
            <a:extLst>
              <a:ext uri="{FF2B5EF4-FFF2-40B4-BE49-F238E27FC236}">
                <a16:creationId xmlns:a16="http://schemas.microsoft.com/office/drawing/2014/main" id="{F388B086-5503-03A7-65C5-4FA16A5E1E55}"/>
              </a:ext>
            </a:extLst>
          </p:cNvPr>
          <p:cNvSpPr txBox="1">
            <a:spLocks/>
          </p:cNvSpPr>
          <p:nvPr/>
        </p:nvSpPr>
        <p:spPr>
          <a:xfrm>
            <a:off x="6658725" y="3529855"/>
            <a:ext cx="5138377" cy="2769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90000"/>
              </a:lnSpc>
              <a:spcBef>
                <a:spcPts val="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90000"/>
              </a:lnSpc>
              <a:spcBef>
                <a:spcPts val="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9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00"/>
              <a:t>This is a redacted sample of the European Battery Market Attractiveness Report. If you are interested in the full report, contact Alex Hutcheson (</a:t>
            </a:r>
            <a:r>
              <a:rPr lang="en-GB" sz="1000" u="sng"/>
              <a:t>alex.hutcheson@auroraer.com)</a:t>
            </a:r>
            <a:endParaRPr lang="en-GB" sz="1000"/>
          </a:p>
        </p:txBody>
      </p:sp>
    </p:spTree>
    <p:extLst>
      <p:ext uri="{BB962C8B-B14F-4D97-AF65-F5344CB8AC3E}">
        <p14:creationId xmlns:p14="http://schemas.microsoft.com/office/powerpoint/2010/main" val="117341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1.88318658283290019106E+00&quot;&gt;&lt;m_msothmcolidx val=&quot;0&quot;/&gt;&lt;m_rgb r=&quot;DF&quot; g=&quot;55&quot; b=&quot;2A&quot;/&gt;&lt;/elem&gt;&lt;elem m_fUsage=&quot;1.43046721000000021107E+00&quot;&gt;&lt;m_msothmcolidx val=&quot;0&quot;/&gt;&lt;m_rgb r=&quot;00&quot; g=&quot;77&quot; b=&quot;70&quot;/&gt;&lt;/elem&gt;&lt;elem m_fUsage=&quot;1.00973789999999996603E+00&quot;&gt;&lt;m_msothmcolidx val=&quot;0&quot;/&gt;&lt;m_rgb r=&quot;00&quot; g=&quot;77&quot; b=&quot;71&quot;/&gt;&lt;/elem&gt;&lt;elem m_fUsage=&quot;9.97253335973736332321E-01&quot;&gt;&lt;m_msothmcolidx val=&quot;0&quot;/&gt;&lt;m_rgb r=&quot;CF&quot; g=&quot;DE&quot; b=&quot;63&quot;/&gt;&lt;/elem&gt;&lt;elem m_fUsage=&quot;8.10000000000000053291E-01&quot;&gt;&lt;m_msothmcolidx val=&quot;0&quot;/&gt;&lt;m_rgb r=&quot;63&quot; g=&quot;BE&quot; b=&quot;7B&quot;/&gt;&lt;/elem&gt;&lt;elem m_fUsage=&quot;6.56100000000000127542E-01&quot;&gt;&lt;m_msothmcolidx val=&quot;0&quot;/&gt;&lt;m_rgb r=&quot;D8&quot; g=&quot;1E&quot; b=&quot;14&quot;/&gt;&lt;/elem&gt;&lt;elem m_fUsage=&quot;5.90490000000000181402E-01&quot;&gt;&lt;m_msothmcolidx val=&quot;0&quot;/&gt;&lt;m_rgb r=&quot;0A&quot; g=&quot;A5&quot; b=&quot;47&quot;/&gt;&lt;/elem&gt;&lt;elem m_fUsage=&quot;5.67146880593609514776E-01&quot;&gt;&lt;m_msothmcolidx val=&quot;0&quot;/&gt;&lt;m_rgb r=&quot;65&quot; g=&quot;7D&quot; b=&quot;1A&quot;/&gt;&lt;/elem&gt;&lt;elem m_fUsage=&quot;4.07011457844843771436E-01&quot;&gt;&lt;m_msothmcolidx val=&quot;0&quot;/&gt;&lt;m_rgb r=&quot;E9&quot; g=&quot;E2&quot; b=&quot;61&quot;/&gt;&lt;/elem&gt;&lt;elem m_fUsage=&quot;3.15310121226161477193E-01&quot;&gt;&lt;m_msothmcolidx val=&quot;0&quot;/&gt;&lt;m_rgb r=&quot;36&quot; g=&quot;4D&quot; b=&quot;6E&quot;/&gt;&lt;/elem&gt;&lt;elem m_fUsage=&quot;2.23454061332878733959E-01&quot;&gt;&lt;m_msothmcolidx val=&quot;0&quot;/&gt;&lt;m_rgb r=&quot;4C&quot; g=&quot;6C&quot; b=&quot;9C&quot;/&gt;&lt;/elem&gt;&lt;elem m_fUsage=&quot;2.09162975271882045636E-01&quot;&gt;&lt;m_msothmcolidx val=&quot;0&quot;/&gt;&lt;m_rgb r=&quot;6F&quot; g=&quot;8D&quot; b=&quot;B9&quot;/&gt;&lt;/elem&gt;&lt;elem m_fUsage=&quot;1.97195922269461670906E-01&quot;&gt;&lt;m_msothmcolidx val=&quot;0&quot;/&gt;&lt;m_rgb r=&quot;9D&quot; g=&quot;B1&quot; b=&quot;CF&quot;/&gt;&lt;/elem&gt;&lt;elem m_fUsage=&quot;1.53240200088791800326E-01&quot;&gt;&lt;m_msothmcolidx val=&quot;0&quot;/&gt;&lt;m_rgb r=&quot;DF&quot; g=&quot;53&quot; b=&quot;27&quot;/&gt;&lt;/elem&gt;&lt;elem m_fUsage=&quot;1.35085171767299283552E-01&quot;&gt;&lt;m_msothmcolidx val=&quot;0&quot;/&gt;&lt;m_rgb r=&quot;F0&quot; g=&quot;F0&quot; b=&quot;F0&quot;/&gt;&lt;/elem&gt;&lt;elem m_fUsage=&quot;7.17897987691853145531E-02&quot;&gt;&lt;m_msothmcolidx val=&quot;5&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1HCKUVkK65ofA1NelA70N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ZNVbNxdrt2CU.SjLdx6ZX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WTFRutoOvJbUHyJXFhjXj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Og91HwPbhgYHE5r7.3Ltv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Cp0W9jzsdY5dnuw5HE8Dx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PNEIRZ08JNulZZoPR1_vf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fafzyUO1eDW0KOO6i0mcr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3c.iWw1qnwCIlo98Qt_Ur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vJGGDtKDsW52xOrR3J6j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i.SXPPggcQktrME5RmlxQ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eJm8z0BS0Ok9KCk2L2ey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K084DCsMGTV3greCLkCvB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_QQhNlo.LUaShSpvAAnNH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v0_46h47HWmU4OgIkjvOM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bqdVW329LA6gKyQaisaVD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e1CTchOHVWEzhMjte_8u.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FXi0c.82yBJy4rL3VjYYA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mXhS21FQl87JxFrNSDEQU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xnE0URlapR17T3oh2mHSD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A5Bg7GSp9QQQZxHrGh6T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OdiE2nP8sAj_TB_WFbIEn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j5TZhAHWtmOt4VSEthigz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fF1guIn2IywB1SowgU6Cl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gF.SFSP1if6.3u__kyutT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OSUXgxhYkeKtdWA9fNGJm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IYZ3WQyu_cCGR2i1DqYF3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SxEPs8nIuBGNp.taMrr9D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0Nf2xEDnUrSqowEMl6ys3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15PCqgb_n_HoC6jfEhRWs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l92I_bj.epljrpuUkVhBR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pvus08Jrf_AyxPG.Jn7Rk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Lowok2N2pkMLh0Ue6Gk8Y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qq1.U0mUBR1G3sXWLPwy5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K469v6NYAf2pRAk6L6onL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IHDYP.ZQXVo3Ku3IONbWT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66eyG.91jLugqvqQjjs7.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7PIykMaM5FL8bdzmnY4t7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VHnHciWek2oqhd1WxHDui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OERK8VMRBHbXKOXZIFaYH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3HBpe.qtOz8HoLGna_0hm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j9kCA3ZZrvBeujTgsXcGb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z6bv3dAPkKWjx_jv7hcXZ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7wn_Z7IYN0bsVXAS1wamO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eyqjfZ8_Zt5N4GYwi.3U4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uaijpOysOB2PKVm_J4lZ3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vWwZhfsHfiQmBOYwNmxRw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1NxGwCfARmC_Im1bAwEKG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zzk9KVecSErZbh78WHROx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crUlVpWZ7sUGQxrf6TGL9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UlCPcaRpNSjVfwGl1Ooey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a8FTy1dWXK2.jNfxcUy6y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pWRgSKceT62DfX41OaRXE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icwDxa2g386Ckmuvo66L6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Z33bFn3nRR1v6ZLIE9r1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jEjF9GXOqmx318DHamHiL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Fl6zyKZ7n24ljFNrGU1Y8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1qFJjgMgml5Lo2ag8syGZ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jUSl5WlIrgiV9fpHvNQAa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Ey8GjDOAfnVGY5VSHAUlo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LwHxTp9eGi3yIRjaDMEd0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3lIxJSVR_7Nlla6bBUiaX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SXwXvxqlr2yVTkzPAbGb3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u2eVz2YTYOcf0u.RLabPt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3Zx3Vk_dwpzxOpOAY9MU3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C6Z_7_HURKgYn_0_mut2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PE.Bjxdg0A39brORQ.PvL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fzyAGPd8VdmYpHTWY5f.2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Wt27rrMAL7w8rMeNdn_.e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eGyvVIYZUrgm59i.MPZMP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M0ZnUbKEK4vGw6slLP28D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r9jSn8fKlyLZshr2hLkJx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XWOTNJr2ee1iaTV.TTG8l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3rAQCUtwyZPd_Hz9qRFCg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LqQnRVpdYylfZu8xzN2Oj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lCDEFt5d_VK9cgtJaTxpY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3gE2QTj5irVxyNz1ZC7g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Yb6iJuGQjeZmkwXG1nBbF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NczCLh01nrJeS5g4Mkrbo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3gM84c9xXDdRUlUTQ4D96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3e1oaQumtIrmhnU3nTySr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6NM7PGdGNMtbPjQ2LE6sM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9jwav97YVdtMbExy.Xik0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z.abhEuPpL.w4CtllJ4jSg"/>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iA9AcXoqzZJFG.LKCOZmO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SHUuhVY91wvWgl_aRUg6TA"/>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BBaPJfP8VgEccsggQ5skP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wGer.cct27zW3zfMsMWbo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f.X5y3d9UWUuiheZCzncl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OiLZ4KLWOVq6HCJifDCMG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vwi.XnKMUsBcBEAOl.vDS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1cETGEhO9Ko2t2gOdcKpT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JHWuvizFYaNGF9TQ8UnBK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ZcYqnPYJYSpejIwXwUNDo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Gm4TnSNAdFFNK.w_lU6We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3fQGRkKYo5naaAWSbBUlC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89B02Rvo2GbEMN1cd_LYq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luk5nUMRLLggMjsbc4sHF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8RCDiWzmH06zynjVerARz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XDEsuQ1rL0GX8gmQyGDZ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9C9BBjN7alBBYT0bOcgH1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vBgiISKcHePUQOFA.V2S9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8EG0I9aHtZFSeDKpBeymu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Wq9W0g2Z1w3IYgJnNscpE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VN_Yd5iC3de.yzbg6DXd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JXgoIDy8VnoZoiRpGkps_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KNLtw6rpJZeskY352UxNP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Viea.tnqUt.c57znkYvF_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XVSdaXenCz8HY5jdwUKUx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3qOM24qMOp1ufAdeZMFyB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ypm3Mgo1xQRqAWUhK0gzl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2ZQnVsrd93BWPBCTEiARG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2mgZcD4vslmbCnpaZQXu9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0Wi_bHzcCywhywSUcGkS0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24Ovb1ZNkEeEp5i3Qae5E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toWUT80GRBTGlgvH99Avi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pDjeg35AzbTXcf_yAF8q1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eJZR2Qt4dgQEzSXwr_cGj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1wCt9HRQFbG5wmSqzUU7F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psdDz75r2T8d1jOoqQ9Qd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F_PXi79jp9METCC_SDb1v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sKJ64xvAQ4DzJg8atlg5G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ivwsBYcgS.YpEd4u0WhxC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dTc7KDWxfmQ8rvz1BSKFK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3wCM4mlJVc7j.QjDIAjO4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5h8o2RFVK7tymNnuoG_B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n1nGxYWFvKA8p4mVjeMs_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Zd8BuHqZHqCbkPl2qAc.r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euKM3c9EUg4qKBoISlU6d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e_eY9tPp434_xYQox7RnV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7w1l9ik2T6saZ1XzzzbZ2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kDjMeD_rjAGwgG3GgwbwM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Fepbzzj1xFZJJus_dlEuz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zO6laqo.mJxHUzE.uhsbf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t0vgKKzGPDeFI6Hiq5KZJ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Pyct0fjgVlUK8G9o55kj2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Kcxanb44hFhlXGxlOuQX1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7FubVPSz9RlX9q4fxgNSA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PgQtxt1X1iP5ULW9fgKz_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j6TklbkwTV8pNyFvNns7n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mUof58cHA37F6q.IupYR5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zQl9d7_AThCzEMaL839Fv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XYe7x6FLlzRw4_luoj9vH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NtJJPAzoDqTd7rQ.XmmXL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z6oKzb37mg6AOOk1lodNE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5XIVZMChvBA863zkjSnh1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K1z3gKNmG0bwdj83LbSQV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rTF2bTY.HtGcjs8csCLe5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Sb6KKapDU7Mhc_OHJYb0B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er5nbSiM_5z_zL5WAh2hd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MrUlvzo3PGbq4kdcQWhUx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s1XTrlQtsGM_TU0PnNwdk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kug5D0lry2MmwCyM_jFxj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PcuNcpb81j2.DfV5U0S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cUuN2aLXAp4.blZ0pQ0aW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qp6dST6Qlmqzf_vaLfzqG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GOyOLtm7fkLJ03irapyCF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fPhrMduuI.N7ZLsAXGEAC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beuI5_AGKtoTr3krjSwkw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yTRV6b.LlIIvyzwkD8YpK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iO4iAP7.x2LBz0mv6Kq3Q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TIDgfRqFe_VDl9CYSci3H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vbDpUhjCb8eUlm4ALrYF2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scZvWt26JuqspcQgpOV06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XsHSvLv5vkND0kymmArGT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KOLovcTVPSFIVTyebiimR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LOoXaL40DcBUYpuW50Y0m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B4P1zTzEDWwXf3YXW.JA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MK9Mo8QFsPo69gLSyXF9E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j5QKncFAUluwYlZI_m3lyg"/>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w2CD_no9pXvGw2KR78x1d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mB2x0HBAVerL3z3QoxnMTA"/>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1VF.NWk5keK19rj7zq_VZ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kJzVL_dKZ..eJ2WpVB7BO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tzegp55thqQkJInZ04ly.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8fU.A7U1y1_4skjkeZcZE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kgoxTnVy3nzSG53EqysSK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fU0PQsDae5SL9LENY_tBB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5W21TglQXeUmKT0nxFGAw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sjGsWFVmsf7wjdgAcUNUk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XZGq2houF1_YTvIMLxUdR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q1vJDi6p7gKtSeSk4ikbc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FmCbe4TUo3RyE.Ys26Gf0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wrBH97z9ECVpc7mIowxZx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uX716cjZW4wlYYUM0vnmS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72V0PREuqLLDhC6m3f36Q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BKy4hc098bbBY8NK1juMM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2nH8UNugosgqLyUzjA6ut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cw6pSfqe2aR3e0rdqj4ko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ONbYXMyYAJ1sb0kHD6wki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9V2MFd3LZ9JKY4N02uiYV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g86_.hlfbWbTlfTicW0kC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lDFpjGi3yBCaW8m5gZ6Yg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wDO83yZId8WuqkV5RRT1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cai9LKpIlGiniQgJbYqJn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eUf9dtF0YmDTUjvn_OLJq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TPOuOq5wPjyMB_WgLH92k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32L6yxE1qVCPA7b38hZtu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WB.Pv6EK5bMj5JbpZwjLu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SgYqSNsnZW8L9869XCFF6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KQ7pmH4vPCAZhUBYcloypw"/>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sKrYy7d468GmfH8auj9yn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FrY3RrSG9uy_OC9jj8Vrp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IDVrduXFs_D6nPatUjXR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kMiza_T.FBpCegBHWNuiig"/>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5Lr4JZvMtA1bPPFIpu0_G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J1TasRY4YzCVjR90KQT7M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ve9jolEw3T6I4Oi1w5Tu3Q"/>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RpAqhp5WTp8GObz_NPSro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UOAyNRazYu.7y58jbKC1P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YgZDJdpOhGAcXRYOVfsw7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kyxEBAbSuxrbICfJGQFm.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E__uP96AprgPCPdDdAR7U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KwWPiz7budI5VhUmryLUN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mhjIO4kNhjF3jTBW4P726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Ha90k4g6zFRbgEoGC6.Ur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FOO0d7eXme5JaX_01BHkb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e6IkCiV7FDWcpEja6GTEU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W2U9nVgq64g6dTbEhdoTN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AzvdkKKjelV5IIz0BMXMjg"/>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geCpFgD8HcI1kevrD7QBb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bmTmhe8YxAHwh6RmjGnpX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LbDO.T_vM9io5GMSvx_LD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pG_KXXpVBt44PnmRO0.1j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yCCHIeShn1nWZoYHfJN1p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R7S6y.YenGolN.DlWUGcVg"/>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e9wRK_Rfgb.3eZFPGZyqo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oT3opak5DQD3R18a1Yacgw"/>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zlsl20KXJiyMpNFkFTgVV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m7hGbrjmtEkMhLF9XHbip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vTuCabxxuFWFtda3xpQok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_whsxJXDfdwcVeTpPvYWTw"/>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5YyTugvxf..1qT9fnar8F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amci44aDTuhPC6y2Hq5Jn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463.HRH6xj5vx.Lhd5HXO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s63V9FskRcXcKllkGjFVl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puq8L0Zqx9Fbr_moXFfIq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tsYRzGGyN6lMKYWLE4hqp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GukdAwhSNpy9uwpSh9VBE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0Zd575SKaZmw9ht.wlQia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o4qqBo0tagJvNuf5cd06B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gHPZllomFqKFw1UnwRgA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iWSqhgbsQqYccLFUxKnIO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SI5i8J5wuh3Wk6DZYVBXQ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hzhv9_FL0pe.NIjFYZu4r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OwteUt5d5YEv.tW5R.5NR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s5OlbaZt648Hj5amUlfF.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ZeWNZigdwW4pVOBbt7nxq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1NqIx04cLMuV5OcGgsQ0b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UlQP7y3JvptIxK8PLlbr_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ym5YM7HJQbdK_h6vZHXX4g"/>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jqg2lFkWFwraWDUqEGiUs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4HOHt1FxYkb4KtQwPoGoU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CW1m9uUh6HiknrhqWgWt_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zelpNa7yoeII76fdRoU7J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20jruK67IA5jUDNqH67cB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JTfe6X5V9q51idxyvBU_k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GiW9QtQv6yrRGCXiRv4rV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AvINdfc5Qh9MzMlhV0r8m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5GGI8bSgQ2P8uw1K0AESG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zBtrfIu2CUPNvbyuvcK5dw"/>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PmBs6QKZup0geMlrmNwb6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NZGCuZKJWmIZtkeZxsy3g"/>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LK3mdeTNGPoVrOvF3.W8ZQ"/>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k15WptZO6sU0M8CUiObk.Q"/>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59dh8bRSRjbBRnCJOpW53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iC7U0dRebyNem4WHIxDOew"/>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Vztc88NO8yh9vXkcOKRPm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k4bfiAwgjP31LwDVNgLZ8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mr3yyxr3VBS5lgdgG8ykT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t9q2ckR1GYpF6E7DPG6Wlg"/>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PoZALoc1B.w8Wy0yjo6V0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ipUtPzBBsfc36JtK26rYD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o1BK1NnULeMDpS3EiFHyz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kV4WRveCRqkwo5jw5atR_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djbl6GiG4VCP8icOXsQe9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TCSb1iU7bFp27KqDsQPPEw"/>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CwfgVOfcU1wz3A5xIzes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JGuxGIXB2KmyfcBl_gQyCQ"/>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SkWEj2SBeSQRQ_zBUB8R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I4pXtn6crhNCPPZx4Q9vA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SkjyKeMd0QEZQtXC9PP0P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gmsitnG.tvefaUeRnvqRDA"/>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gmOA4xUxs.zOaIodATrjY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ipLTSchD2a5VLTimQuMey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JhOeyROtyH_zuW7.IxtBww"/>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USXHDAQZH9Yn9diDPTyyA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no5IuaVIg1L0jFiBXwHvI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n6Hf4pF2JP50T18k.v9bW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hZIcm5Gp0p2Zhk4xH1tX8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qpMmB.gPz9cl.Lpv6bTdXQ"/>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FJZFC4l9unJmP_aXvnXoWA"/>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okDpG9wQ.d6f9IQdWyTIG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yOWr8RvPgl_aF5J7m2V58A"/>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obiCQ.w32S86CeMlF3c0r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VrbIYZcOaULXaUU3J9ALig"/>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xcuJuEoi6O6PhYNFb9JAK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SaXT8mXKg0iSL95CfXuK7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Yn8VUK1EhnUY87X_Sy9bFg"/>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dXlNm9jCcE8mfwnL.mpQH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scWHN7XfIuJFKCC4NGRp_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fhRXEqU5dJh.E6dZqeq4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z1406lUpbBFC1QfXf1u3c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h2FEbIFh4LE0dWq5HCORf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Uw3ZKWUbNo64DYuOCL4WC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xBPmr2oE2K1JyJ.4dS31Tw"/>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Vi.fhtGbub2OBmLPk8K8B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AeCWjhpoRFiwci07NzhfL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N8JqMiJg.ciDG.w.b_rFU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TcGOZc26HzkKE.lTOjJRa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_bOoIO44GP1Te2CPoX6dp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65tkmPQbOTJdvGuObdpVu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3uNpQFjhE7pvtYBL8V9A8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fCMnvpLHA98yRbu8gkvcA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fxTbjaZ0aTJhfkGISSje.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hVwlDpYCIE4v5teCnqsqU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j87zZLGv3aL.kah3q1hFr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FH98bvM.zSbo2H7LrD4p_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EmT5cYJjd5yg.xQtLpdtj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AtBcjVMtmZph3UElGkaZc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WukQi__4RUzgunCJyB5eT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0fzyLKart8gi8xZZ8pxqC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NJjwFDcQzccUklZKns75pw"/>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0br1ccsTrdM9tg7nX6bId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2Lvt3lhrhpR0kLVblGfoH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MRC2CqtaZl2uweYaAuP5y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0DEgxxXGOxD82Qw0Y6ozC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hQTzK8dg47XQHTKhZdtI5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B3_qwq736IGx3aNDmEzwe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xXaHS3nEDnKiQBcV1tldo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vE.pYzhwS4hzboSHymgVj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17eRoodwveUsh.HSpgc_GA"/>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li6Bld2LXNncj60Pjohsaw"/>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k9I.ibK3XphBthq7MA2ru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czoctr_SQsXE5RUY4YqM4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QM2V4H.eJ3Xyy0mTyuoSD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2GX.RP9j5R4MuFkkgXvsN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Nu6ZG_Tpb9cmxi.upZj9O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JX6Nb4ZQQVfGF2yS3TrFd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Rjn0ipRqMJiUdxBttJZUgg"/>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3h6HgEBV1jXimVs3stNYg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7btJnC2J9kXBbOZl9zE3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QyI0oQiGSuF6hd.SxBF7X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w.0LPz5_mfVSWUlicZYmb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n6ZkiSSeFq2P2pFnOhpj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qknqWK.ey9Nk.pHXTGTDu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wnrO36UP1ibP_PR.2BViXQ"/>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_2FeqRBt.qFPbL2_q6QGi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mnsEX1EZWxeYRyMlFYhYrg"/>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B8owLH2iTLjx6Fnb7JOcB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cXeHjKSxPRtZTHpMEwJAhg"/>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ZTwEpmrYdjCTOCg02iBrS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J6eiHYrYDaGI5m_7aJ0CN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sUTdZjyGmx_v0F8XNDT0H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UGzKJ4kq_Af3bUX1kme90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l62kZ5DY_erfZhCXfct1h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x0EAVAIDIQf3vtpgEo.7W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cplfG3YF16_mI0fAmUg9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L91_Xww.oTeo_Z5Xpupr2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APokZ3COeoJCZXD5kTEUxg"/>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bXZJ1o6_5j34_cE8j1B0v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trvpYQKkKcHxH0Yp2Kwfy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DISKNnnZ_r0.ly8My3o0d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yrvF3E6Wku.iCqG0hjvLow"/>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vHPK_nFgC.YQwUj_Fq8zK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rLYpUXgvau8OkQlpVqXm1g"/>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lTQu0v7nZUUOQLy5a.z6.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NPgOIACny1lW_..W4thxSw"/>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zcIGL_iug.K1LnnfYNj8T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Gf8TQFL.gGLXmOFyem6ejg"/>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YAvwEvvoOZ5_CJUDbL.Nqg"/>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0C89Pmdzb1y9mxtj.59mI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cgaR42.HUWdW9GLymxjqQ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peuW.HtikJGkWVO3ZdZw3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o38yZyf7EOQZvyYJ6Z9mcQ"/>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Ipjorrxw69pOv0K92s435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dCPPrnROxsoYZAfEp.qeC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BTg5CYqGOvT8h._CBol57w"/>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PVVI_kn7Jw1gdclAL47p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Vk4tU.tWhe6PZt7GeylU1w"/>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0rtDKccKe39EtnZpoIKRGg"/>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kZrRqrWIfJJOg1q32uZSEg"/>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fx4afaX5vCImI1L8A__V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AYrjhc.c4emh7ey90l1kjg"/>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3zPL8CX7_5HsfF9R7oxYtg"/>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EvTMvG8YoJ_wR_hy8ys5dw"/>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2hs0oXxZ5srnmrBYx5ekAg"/>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3c1tLlWVMLlBIkz7xpVug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6T8diEiMWT9mX4ikkfdXDg"/>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rpPY0fzv1bAblq20xjYRUg"/>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_eZyDtQWme5tV8iClcDDL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YPFvBqxH2gGdn62JEEQwO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ah8C9Wq6.mGko3C4eS44A"/>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nej8R8yM0LKqkQukbnetx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iv9GWf_nXryy.rzY2vTd.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0x9XZBFHdv69g3BtHuc7JQ"/>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jNQtmRRY5NKKHYCozx_w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pkTqPGHBrCMqJPe0w00NGg"/>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r6JTAvvzinFfRZqIU1WkA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cIIbenngDaQWUf5iBQKUFA"/>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Sx4XbKKxgjrSdCYtZBkXC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47wGhuvSx2On6iEsT1.9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_ZHe9QmgqYnbnjsRz6frq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QNIhAciA3GSzZa9_ODYZKA"/>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sz0nnetQpkIsnA7ZEUyanQ"/>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fxrafm8XiFSNM1uANx9m6w"/>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ksnHV2OX7TKZ.BCoFN0Wd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9_gLvWWlDbM_pGHIwb31PQ"/>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s4szUJ_K5FR.pz3W_khRR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IAtRsLG_jsjTaby3JqCewg"/>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Ea6LaBA5E4c6FXC3.Ue7g"/>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dZ4XFSn8SK8asRmcJdGNE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VPYCEuX3v_V0Rrst7uJJC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bGSAHJ0cRzbgUWhLyev46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aAgHpslFxg9KyG65B5Ewmg"/>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OFdV3MOh1hb3iF7VnMnOng"/>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QpofqohPGo8n9OIvLhFlQ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LXxWJxpk7kxe8tRtUYMEjA"/>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Jro.9VUmdZbwZsCasYEKRg"/>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AbT83SNmjev_EEg3C6lg.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E8C8ZA0bzMGFZHTY7nnnM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YOBMlBJ9KL3QOpJ7ztYKO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OeITEXH6em39jLKPnVCoY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OWpqk_Eu2rrNmlymgbPaTw"/>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GU8HI2UQLNzEmWcfXtwAgg"/>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D6Kjm6E2ABGZisns5bjbK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J_3MolDeJNfrTcVhy.DzM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t7Js_e0y0BAzjznvXueTQg"/>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CcBwqbb1.fFeayVtqU6TXQ"/>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kRuEackGAynYdENp2VH0u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_pmHJ2URufZFU_NodRGRh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9LQ.3m13vDe_9e8koZPL1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VrC3O_GvvJwnp5SDqcFjjg"/>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WyaQHMzStPakX4xDEDhqkA"/>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k7azb3N9njg.iknb5LCZ0w"/>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_dXqLObvdJIK7NOWGwqQN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5YCWP8AJDlWPjINVceaKN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MjMj3heP_SS3.1fISHMQg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udGW_AlBl0sAQFyOrY0Vv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9NqxAFeo8HecENp6n6.nw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nd_amB5EZY2od5LE767uW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tHnUDdKnItZd3WCo3_KA5g"/>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Jig.o.toy_A5RfwbrRRIu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QMIRreVeP5NxLIitD934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I.Rkj4BDzurmTVh.Djedc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gYfGgcoT6bAjI0yYb.QXg"/>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V1p87vjJLPqXN4qZdY9fZ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gm.fYYLwOqTnOKtfA6EW7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z6rJOAACaYq4Nhrch8bnTg"/>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ZbIdpNC0L5m2py9kebN8rA"/>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XEPXi57VP6GlvH3QTCSN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P3MgykNOLZSgQe0527RQZA"/>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kjmyltfsEkGdZivNJZJVog"/>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exooPuFADu2D.7xYvxfAt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Uw79MwD1jWAozYPIE58Z5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Ld6E9XEm9ghqIFZ9YIO0v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yt_V7hPtS_i1rdrl1S5Gw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FINw3LdFSqIVZ992YzPef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OdcCtW2R4_QApw2CyTtKA"/>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q1OtO126kBfHuGRGzd0abw"/>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yR345SfNM.Brrt7yEWotYw"/>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UuzuEQLm4_kmszyu1F89xA"/>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3bKhZoMYj5VojkYUCisBcw"/>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F46shcN6vBIWWO56wAEbEw"/>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9FYXmzlgJcwBiFw5M07axw"/>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Nf7GzTRkaAFsLpHIP0OjK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py0BrSJeg_XoxkvcjIUME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0kzLq2CLLLffc3Y6ZljbB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NtxTLUv0mX1DDppe4exw7g"/>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eH_U96V1vcg6K2xCVpJz.Q"/>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ogckIPzZ6Vj8j1JFI.11Gg"/>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G9SRtE9ZZWVL_ofOi5Ei2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Ez.9IEir7f6eEtyDMbMFTg"/>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ef4C_XL4CuwZf54xTnCJ8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GmAJD39ml0YUygn2gZdVc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0SbM_195Rexm_Iymcn5Sx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L1MgPXzpvYe9AvpBzJNz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XXcoMs3fI_ngKstfZy1uo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X8dzh5CZxxObPf8RBwSY3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yhuJqee7EOCKLiKag5wJB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IS4oPJFEiI3EP_uQWvcC0Q"/>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w.hz5AA6KDegrYKQAHq_fg"/>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uBeBkoQbygTicRMSsN8RTg"/>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VGrF_UE6KImwrtwj9WjwAA"/>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LkSFvZv2Wk3bAKNsxZQCx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r1cWEP5Csu2E0QAGEtWKu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b69lw.AKJvgibXvRj9xFg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lvuP5q7ePgLcLA0u0MZt9A"/>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qJNXn3RiHkA9lK1d9zT.lA"/>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qnPs4V9jR2YcsAjAFQM4RA"/>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7Uh3t5C3KNe7qPRVAoq67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tt1iS3rarNh3Dut9CldU2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W3cMNlSWNfPzB2Oht0dJw"/>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XN4RVSyL3EQFH9kEzpETRw"/>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knhURSXVglGyWN_ZSo4an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P0SjU7gUnPoBD0dh_QQqYw"/>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ic5lTZiopwS3l3ICOxK2Q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OyFKVCasTOy_0O8tnZsM1w"/>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2H4TS6is2Jnc4WyVud52u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e6Hoy1BVhLndtcTLQNIwM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BMVr06jFudENxQdyAF2OY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fiYS_wMe9ysDUAuyBvjvng"/>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djbl6GiG4VCP8icOXsQe9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TCSb1iU7bFp27KqDsQPPEw"/>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CwfgVOfcU1wz3A5xIzesG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WUmpPkoSPE_V6lEH_5ueG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SkjyKeMd0QEZQtXC9PP0P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gmsitnG.tvefaUeRnvqRD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k6LpsSLGmX_Czm5mg6X2c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ZzeMFvJS4HKkH3EW5kLQDw"/>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g0zL1eX9rSOscynujt0Dl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NJQq4O3CLWNUaC_caLH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QuVDaYdHDf8ZR_k0beqep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9jOiwqVwyU0oqA.lQ4f.OA"/>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OFTloPBnDqSx9uNKknHHuQ"/>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6U83ryMb.AzxnjNnsg8xBg"/>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QsrV0FCgW_6HIO87eq1wXg"/>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dy6d5U_2mv9wdCKTTqYmrw"/>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FhxpMDXS3pwxJs71XoW8dw"/>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42BNfhjqUPRIxXQAMgbduQ"/>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uIy69F7mjhjtgJgr_PQ_FQ"/>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00XnPocmMsTaIwCILt4OnQ"/>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DokZGWK1Jzm85lGZljWO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dZWIkpRic_tUDnmWgRjvKg"/>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UTno.RpTz4P_FX5vWaNA9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NUoVXx7Ebkm861ZN38QAMA"/>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GinxswK4grnqNCFi2t3uAQ"/>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n0aNpkRs28VI920Q76oAiA"/>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vPG4Xn_QLRUcGVT34LOIVg"/>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p6qPQjp3pZUYkqYJcUWQ.g"/>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Dkwmy7e2OESR.h96IlGJEQ"/>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lHnMu.2qx.W9.66jAyMV2g"/>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XhmpbvZF.7fX5zw6zPx7h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R.FdPrkqpwwGHGhTUtqR_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7xpzG0sv9IXYEM5tGvK6Uw"/>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qnUioKTCniNIyFr.dv1nqg"/>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d7FsTlw6vh7n_DgaM42sp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WUJ09YreGe3ssJIoEtGMU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c1og9yd8FWsrT4qQoLjtgg"/>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wxtnKOUjsj2YYGCbh7yaQ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WUv3E8RkRj9t8H_Oles.jw"/>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goIOqE5TZQEYQhxfyIQLPQ"/>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f6fk0ULaDEGoDQ9ymZfa1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FbK6NqIUr_gx4_Z33fD9GA"/>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WHyBfwXqkvc1_SHhwtbF2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MqDF5dKB8PrhJDQkCiXRZw"/>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sT1j5aonmmqFMW7U90n2CQ"/>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H1y7HGN.3wkmbY.T_LAlmw"/>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h5by6ke7i9XRY96YvwPzxw"/>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sAm2afh8k8DJI0NW0w.m8g"/>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7cJSZ8Wa_YUbhpOkfl8h0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1A.dI7D4UyWIMfOi9hHZRQ"/>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0uQpx6swbDL3N4vL2VOv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PvZ9Ti1RqdbJFfsBHjCMvw"/>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4uctunSwRYVW_crxrSc8I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bCSNfzVf09LbLPCcuBWF6g"/>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4F0RDJ7_a5Ysw4l9hQRLsg"/>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zvWYrE7z.PChff1CRhBbNw"/>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2dIidAdIL8wL3tPhB5i4hA"/>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To_4AMMHqv4nYovdLrwuCg"/>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9ckZhhIaLaIhgEFMU7NDzA"/>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Ljdwcqj423mMAnuw0y8LP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Pb973kXhmYsUM6X3_fjAS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e4OtUgItF1PRSV54Osq13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xD3NcxTxPiqbU7x3tXdfJ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YvzKbQAHYkcnMkKNFHJkrg"/>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WQe.oUwKr.o4x.GJ42gf5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HlWHhLXkktICIF5Ks9emwQ"/>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bBWfqzMakVBK4uAb0J2Ulw"/>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p8lT1vchaVgOIWJloBNatw"/>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bo0UuIMjm7wyOA75bR7nEg"/>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4lAEG4omSmjn6a91WwvFjw"/>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XmiGYzkbADJu0WuvcLeAo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jXOlcjgosct8d_D9KCbwVg"/>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qAqbRofq5BcEd_eTu48nUA"/>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1LtjY1buR3.zJAjzP6UxM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Lt_HFq0dllk10SP5vUzzv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3z5Fl2aZwDPeZo.2z1bcA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vd.YQJBSfhS_zxSpsvQVcg"/>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QhHf8XvHuiVN6Stg5oXw_A"/>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vdSaVZXowbD8L901WfjokQ"/>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ndzCJ4t22yQoUpZfJxWqKg"/>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2KiMIPA3L36.WNp_3qzlQ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cqaTO58ltimiGk3wbyNCz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NP37YI4XpmfjsxVfA_6NA"/>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r78tNingYRyHAad9l_Ada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cu6pEM084CehWFn0uRveTA"/>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s67u_aMxZH7hIVpiDU2KEA"/>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Ot6yO84SWxBovElotOKE7w"/>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smNzOJAcEvQuNV.z1wxO7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fvrm8MPPImFOe.IWqtt7dA"/>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Qb.qL0L87qLuOkjAoqu7J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Kti5XOwmw.M1qPv6yP0PR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TvZ7wE4BwLQCWthJwJZrdw"/>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e8YcytPGKQXKL0qK8ac_pg"/>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whcjtTT1cvHaT346Crh9rw"/>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zKMOiyld.iDPOj02Nfkxmg"/>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nRu8J_JX1KUfMxbBMnKdG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Gp48ufuUr7jxWnGkoseUkg"/>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csLsfznPhOHe8wU84VD67w"/>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DwgRL_l0XdnpRBzpcFBnVQ"/>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giTxHX7MkixvUH8eaANoN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J8uFNEuxfzRy3UGXEm9fO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657EUl4h9ImkrYukZD_MY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gvP5uG4Ffor1NgrzEp320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dYdOs_CtLkG7UHhTcvRT6g"/>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4W34LQz2R0xiptMycrgThQ"/>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cAAjThwV.m83GS_SgEw_rg"/>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yuOh738obBP_XpriU9dWyQ"/>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QUYh.gpdP8C7A0pGi3b3yA"/>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Iqq1aIbCq4TtdkT7zd2Acw"/>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e3Gc1psSBQg2X_D1IwZBRQ"/>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8wViosox36x7z7X0YdgI_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k7KuNmeIUeDiWfTWE8K7nQ"/>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HGHAAhs0sjW849vOF.wLYQ"/>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7r09.nG_Eyp6dQ2emax93Q"/>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KfDIXOjODZpms3uCJ_0aZ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7B8vcm6FpEDRgF7A9NQMGA"/>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c9rnPqx4y_AnpG8c_Svyzg"/>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CFxXqXVE4WGgx44BbU7b2A"/>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bjb88RKZMBnuEF3ockRVf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_VebkOdvlt0sQZiCXosn4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Zowhpma.UvT6Bggds8khIw"/>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VIZMfHO041ehcKfW_NnLJ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nD53hlfr3YxCimlpS1H2Og"/>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LVNCPOsuHw3A2FfmJvESVA"/>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sQDjQm2.a0206dEwhEoXpA"/>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mI8f3oC2.7FJGT6audXfsA"/>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B.ihD9hBaxjHKbqMjdLDGA"/>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CJg3_5AuIDCAe.PJ4qvEPg"/>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CZpevmvKRcYVytXek63TmA"/>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RpGvSVJL9OIjZI7.Ao.W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TbAeE5S1fWs.IfOgMHdKZQ"/>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0swmnsWTkYeJ2O0Idgv1a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r8a6dFhp1S8eOQBdOg2yL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OudFCZsGYF6Nf4ivPdQTg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AlExU8ZpN81NT7FwJabFu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B9dXNEce_6lFX3wJrmpnNg"/>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1FOxtT7s8qWt77daqbF4Hg"/>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yCGEwyj2eWXbvEil7Yx4nQ"/>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Vj5nQnIpsH7VehicP8za7A"/>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UtwiVt3El4ySXJRcwTeMm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Y16UOCITpXpjHSx3ZiPZtg"/>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sb7NsrT74D9wSiqkUtWrqA"/>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q5JWYzV5QuqDE1vaPV_v8g"/>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XK7NBSWdd3K5yap5h4yW8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E7IDpx8Ixis_qTUh9UhK.g"/>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iUzs2CjlU2..kTj1n8GIW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f2lrtJDQfuYIdjmagrBxVA"/>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nytJ6LTUa6yAlMsNsrQaYw"/>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mRYVET_inDXMORcnVpZ9pg"/>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qLEVHIGEFdrAWpiPyg3T5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An_AYxQF90pbgKHnYu2xJ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i.uSLlt1OVz6BaWdvInIxg"/>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90x2TG21TXNP2jhWrRCQyA"/>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0vUHcIaNfrrx2AYCW3HPP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r7prrRgTtGEmhoHrmYva2g"/>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yA6oIU4K07yrTPFMBpkOOg"/>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OFpAUb0UXUK8lKnk2GIzLg"/>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f99DfKhuoLNsTEgmyZL_Y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hVt_LQE1NVYyRzvVgYbKJ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tEYwYYL3MFFBmaQbscmQYg"/>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OJYI7nZe_CS59Nlt34DXA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39DG7.eecI5ATjjV4sdoyg"/>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bLjSafcBOqgt0iPGtrpX3Q"/>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i97qscOnO8KmpJga8vjnj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LcPmMde.bmaLTsKTyfvsOw"/>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fnuL85kzIamw1dZHJzk2t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slYX46ZH5n2mYt6bAXLK.Q"/>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UPJsQwnkklxy_IRneow.Hw"/>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y9ad523fPcuRgTQAjWzvJA"/>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v.N6yO2dVDGn.fvkXD3C_g"/>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4KL5HhQafPI5coUq.byWsA"/>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mkA2XR3Z5hOQi.FFvS8VQA"/>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6URoAwggQlwTbbfP.Oh4Rg"/>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h1fcwsWgJCHNtfcGetlV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rpSwmn1xVXkNLo6vItF50g"/>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Xdmb6OKiZdfwKgOnXMH1d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13hXULO4Zu2gP1am981Vmg"/>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sh5WnyLWnWqvYUH.eqJuf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gnKdJ8k_pEeCKZdBC96CDQ"/>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zj52EkI6JnQxF_iqDxzTZg"/>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sFPjJ9jzKwyEy2symiKcb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kqF_DbBHm1_B6fkIrwhk_A"/>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Rxr2fq2KH9jN1Jp_xHAANQ"/>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gQkVfLd1E6k9ua9FWpTgn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udRbSiOMzm0g4oUZIBRgnQ"/>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SUgsTR0jOU71X6gRRQXBQQ"/>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4dsGwM3_yoir6J9iUlRflw"/>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LSUdEHYwFILWr3YykvzYoA"/>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r6nhTsFymIJXUkvJn2nmM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CHDOSiJR9eYsZZLVadlM.Q"/>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x09TRM33KT58NnY01W2epQ"/>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ugmyUgClnbHB1ehfxT2PI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9eLi4Z.vbLEPjk4rGIcb2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eNQjaC393EjM7pRjKV5RBQ"/>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FhY2EKgBl3v4w6cjvnZabQ"/>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WqQn5bf9PXUYaNp9GBSDog"/>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TXTi3LMojvmg_NZyGDSfA"/>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pKBXb58EShL_2oVKagt5hg"/>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up2Hdd6T867Bb6hNVUbtIA"/>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Ts52ymCcqddCy8iJtpwiZw"/>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C_5nbSuU097reQBQMKu6Zg"/>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nQSBtgbku9XAoJ5K.jJa.w"/>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nDLMufHTeeFn6dwkLM8BN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GKEOQ3TOfNOfIuS6kni7ug"/>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blzfo43x_MerC45GbaYqkg"/>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my91gPiedPhD9I1qMbMao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yBzmqStgkJw6ISk4asRLr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W0BDiDOI_Xsf11vUqCKyD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IWrab_cDIviwUwg3.kE9jw"/>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FzblZZbsEnfwHqwCm4uidA"/>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y6L56VoL8ykdDygpqEdZX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eKluEsWNnFdD26ccheLCbQ"/>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G1ABssPmodSZvaD1YUTah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tcrouK7oTDQxWfXaJg6ZIx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R3dBDcoXn96dhn7MepAjgw"/>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33697XC1IShmbnWaFiwHD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csMZc8pGw.SX9eWVK1GdsQ"/>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wuMenKqxik.5lMue3x._Fw"/>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6j72inV3YLaMHS.xxsejsg"/>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OAflRg6O_OGxfUEs5RB36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VtPRnKamUMiVwvvwuCVI8w"/>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uBwe1Q_Yy5sTZcdDjY_reQ"/>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tMmUtlmx4Yw4UVY8xYocgZ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qZ.yqwKQcwuxDJIVsiEpy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tOLOY5P62YVl3_kkTvk4dhQ"/>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tK35Wy3MXYLDqKrXzJ72yq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fZTyteT0SqRzFpMtM_oKxg"/>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4yNCvLr_X4Bo2SXZREqt1A"/>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rV61.iNzMwNBLpGQONrsH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qwOtf35hVNbFwm7ZuUxna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tb_ZEAbt5sF4zesi2c0Zra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tCi6C1lVVQrrzAXiDW5eO_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t7qYcgziBf.LYQm2jNteBa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0vE6jAjmz2FukCkIi02ywA"/>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Ad4fetFS5BXPVJIa.gUsEg"/>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LeSKhp5VX.e61ksAQ0bxHQ"/>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XKvnfAiNg0GkSL7n7pCCrA"/>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eY_nwBJB271L.dM0ilEMhg"/>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6S5IL4uNXkrH6JoD2ZgAww"/>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jmEnoL.Pa.a1uMJBb4UFh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mHAXylUgbu8KKTQbcxI5lw"/>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aB6oglQRrVpyNvi.bRN5AA"/>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kcvdvNNBSMEUTsY5.ckfM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Dz4JJG40gug.ERyU5oHOx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GbH0ZGSRzTw0Ocf4mm8mU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txT3wScMKAIqOKT5_27xRVw"/>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JUlJfXfq6D9HRdEmuzV23w"/>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UQojKJBot2vl80YxjxNjYA"/>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Yce6lv9zFFwyodabkqJviA"/>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t1KmpbaO_fV94.oFRF2ZbPg"/>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Jy2D8nrH7If5.yKyZ5PPf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u41b.xSk57KlDbW2vrhH4A"/>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uEUOmeX4ULKCXOKQ9hkZ0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Fa.3M_fjtz9upZ9hxpiUqw"/>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annPVYhbGPZCG96xxfrjsQ"/>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DVG1MBQ_RTSdg.hJKwZq.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Q6xpX2CkWYNpUAydUvhF8g"/>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VYwMKkteZATAkV4hgV_A.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lvyehb12JugvLiSmfoj3g"/>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cOp9I05BLIpXSQMo6SykqQ"/>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_y7mkKr6N2xOsdPpQsaKqw"/>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gm8ZrD5mAgOgM8kOS7GH4w"/>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k88jnRF2Zefd9TU_0UeWOg"/>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HT8RNTawVwSBD.VUnUC6c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8p6gnm9iXY1cwC87WuaL2Q"/>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l28tVrtUlQPi8_zgMcKxDg"/>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x3vyIWrL2SgexAC_oXexaA"/>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tZlCUzbUMPw8X1hbjeJc3Q"/>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umrq8sa.hMLSBSTgfgJ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bV6y_V0BzqsoL2EAOh7rY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ttyywWNnQKrUnyPwv79bqEA"/>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K5WByztV7POHNXZsHobaLg"/>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nksW0Czui_B9g7gXQ2.KA"/>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6e2OzyhD2iO8TqOBuwFEY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tiJPlOFk_hPnvD2sZFer0BQ"/>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sKxHtKUEmo1op05lbrmndg"/>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48LZOW32qvbOQ25qM0XXv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mZVo2G1jEGZz2raFlQ4gj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Fyc3tp6Fu_laXl1CyD92w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cm_8tu4M0g35bKRyeA.yOg"/>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aW15UUn69KKU7J5tbCKIf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tKZdi08YmcJ3D028C1Q0ZR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w4uK7NyES6qVCqq86ksFHA"/>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Lsb_UwZAwjJd2aTt84oH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cYiAI0k7dMVlCKqZ4MY3FA"/>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t.kcMmX0kZzTf6HUR3lNWIA"/>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jK7gPTIttIjok5y2j1qKuw"/>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b8B3XbHqo2EWLU.REB687A"/>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qnxqByHX2NEfo5zlueyAQ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YhQK7bBJghMZV_MOac7xV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Ee5QyP7ob12E.mCEu0mgLA"/>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nc9AUx1Jopmu2_BmJmwDPA"/>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9QSkUMlS5tr3ZwNGmFPhHA"/>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8iMxtXVDFeXOsfixOxSBQw"/>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SgseyCSAZo89pdJlEF50SQ"/>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tnXeXkl7lRcakniSUUpiDfA"/>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SWLTWE_262dJArwnyrh1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yYpajA.ZGzfvpNK0GJ8blQ"/>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oEd0EK98MNpWxGmlqx1OH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06Ar69irpGMhByHQYPBWIw"/>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t9AQMX1k8SwWyq0bOBxEgiw"/>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rfjvnrad59_NX6tsc7bL7g"/>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xa6Je4BXp2bK2t7K4707Wg"/>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tzP.c8xZso7cKd3whDnUu.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tFUEbUr.vCHUa2RkDDUb10g"/>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pgoyrmgRFdvOjs8Vwb3wxA"/>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tTnT4_P0pV57HmGXfD01S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ttAuwNwn7hkBqFNG963kzwA"/>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w315cWEVnue2lnB2Dg.d1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tIGyAPmE_QeasXkdpf8fbL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to4ns4zIee2.Nl73Y7yT2M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5IRrXbpJBythC.sFZBmMR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N4QJ_F1vfO7PNr_58s._9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A16OhHqLqJqGU1_x38BNug"/>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t6jJG_ehVJXixsgJrIsk4Zg"/>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lqIYFRWX8_dbcFJBp_5DzQ"/>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tNQkvw6JjTS4mvLYhnMJVA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1y3a5YzTReWW0JhxHPa_Nw"/>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7mJm2kK0Wwg3BFVxJdCU7g"/>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ywniggwefdG_NSeSoGM9Kw"/>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z_PjOK.xOHF2jikQg794cQ"/>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T4qhCVcQvnhnNCIoZlw26g"/>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tVJs5AnZ9bXvWXag2e7AGDw"/>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tY3vYHgSK2j_2Pa610qcF_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f63xzuiwKS.QDm_bN_ZlWg"/>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MeZxQgiJpDHs3csd2E0zVg"/>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2.gXid9nFhlfSn8XFp2qw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p14_HcZ.bZZN.XdiD9zcUw"/>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zxXn1lghn8HR6UCcigJXag"/>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4rz7Ft4BPD9iNr9RGznqiw"/>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t3W4LTAMUj32hZxT6L6Z5w"/>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t0xK0kg61k2GtlOKvzF8H.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JePJ15S04D2OAA.IkAQU1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S9sEk1UZyTKNO0KRtyPUuA"/>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AWWsWBo_Zu9wzNTEy0ycw"/>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57tyF0cc7aIRrNIpqm3L5Q"/>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70XQ9u.kqav0Yoa.2Fbb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hbRMd4NjkHBFmM0FgVnqJ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NNB1CknkfMCcpUKFE6fyb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CU5bq_vDgTaqi2k_NX2Dqg"/>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xEr4r1qWNnZD.2kEXIfQ.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aWU77HnZWdjLRZw23I6dg"/>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G.sH66FU3wDlY4fO7ds8Z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aRUmSyEPS7U_DMDuI5QJVA"/>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zQjo8NiIcWCMD5_VMaBb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vMqXhbfs4ivfZYCZpO0x0w"/>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team9EF1Knb4uGLeG0xGeIQ"/>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aBoZRRvhjTskjW.5Nx.nLA"/>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CvYsrhzUeVKkAU3TQt8c4w"/>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tHM9inc8ehJOcsZWmo8hmWA"/>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tSCMkanqp9EIJ4PwdC2w"/>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VIJCNozmvhI_o8IRLYGizA"/>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Mf_7R5JyduhcYu5ZRHIWYA"/>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KdrfT9QGI.vWEnpljcSYLg"/>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94xygQlpF2srImTSeNfGI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fIaLelq_texdzA1C0V0RoA"/>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0hGJGDkr3ub9wLiigSrREg"/>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tzpyFRy3c2smVzsoIAFpk7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jxS47GLwHbHejkiNx0TWsQ"/>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fBnvtMaaztQ6vNQzIYOV3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3f3ILLHtXkoh2C3rlBZdPQ"/>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nvEQbMnzoS8b.5w3G1Exh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tVZuEONAUtrl.d.B5KgNhMg"/>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tRUvRYHf1xEPTcqQdsv_1WQ"/>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UGY.1NQH0v79UKpsfqWo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tEUA4Fp5fRHUzKakDmr13IA"/>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c77dZFvME_7uzvjtOyxKSg"/>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5_0DWvuLPBzgkE5CGuigKQ"/>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tu4Fs4Cc.l5zmzvqN5TmVHA"/>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KxL4eBnfS_Sq.fLwhyS7N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tXgmUoJdO4DeZ2wscc9hH1A"/>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tCehQaiMxyO1p1kprJQswAA"/>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gVFCZqGdZov0o0NyAPWk6g"/>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txEm72p1rIrWWA5dYzvSXBg"/>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qd3JCFazJe2mO4AI0K7C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tFdDotWO3IN31r4LhBP9QVw"/>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GM8Wf1Vc.M4qs_oqkzLFMg"/>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tqGEMDWCjz0FQxawcSYk5tQ"/>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tpW2ZKcjVfhE2UYqdcHf2Y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0GkaSl._EsimXI5cbUvItw"/>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W.SaYhI9mAmdsK3.gBHCz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DwJMvvBcbme3C9V4FlKqew"/>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tzQjo8NiIcWCMD5_VMaBb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vMqXhbfs4ivfZYCZpO0x0w"/>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tlEL_X7mwoTRYmNy9r4Flqg"/>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teXazSamRKSdFmK7hNgpF_A"/>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6jwDvGUEMELq9U4hczhBww"/>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tJDlsH_l.vKcVlSQlSFCVQQ"/>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YlRiVXnCS9YeVenR3UMPjA"/>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tryDj0CJUf_T90lJc0MHfyA"/>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tWfMNDPhrKb87drDOQpII8w"/>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tJPSDsNNOv7RnEbiQ44x.Rg"/>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tSIOjWnlrWhBVLil.pRJf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BisK71107zieRBcn4Vbw6w"/>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B1XwuvuivpmZmaGD1AQUcg"/>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tewxLe4aTpHvYxXj77Dzbg"/>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trsLfja78wmA3A6Hfg46JoQ"/>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t1Zg7Hz09VoLzDgr2H2AVEA"/>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tYfFXFV2vwptx_vM5bOfPog"/>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zMJ5fzNWed8P9RI9qevEM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tAbrY4WwKiffs2361gi7o2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FcZ71w9CLSObl.gH8U8f6Q"/>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tHSywzV.BAZoFBVJp9oO6_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t29sdUzun65rcFD6PzGdJtA"/>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t7IvzXqOTnZAEvx76tj6LPg"/>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PBjM9v5FezKRTEI.SxeLHA"/>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t8I5XrGFbapWZbayAsN659w"/>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5V9Kw1ztDRs3DMQhYbSFBw"/>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tzQX_.CnsSkavpPUHVf1fFw"/>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typYWQqj8Mlw6yHuBW_t2.A"/>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tn5HKmyeNIOKuOhS5AwwRww"/>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4POmcVIQoC9WwcR1cw6z.g"/>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tY9t.u3E8fH9T9zmQb8LEk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I1qaM7wDqO_89eyNMzhKog"/>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tIzIWcIIovf_.eIUZzzEsAg"/>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tg26uFayHhrKBbXfw7pHr0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t7JWntE_TpjLj.j74y0WvIw"/>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tEGNmMFpmrNeHcx4yW1IQcg"/>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tDM_IQAvGbKK93gMPBwrCYQ"/>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tSWKzEmqS8JrXDKOITJ.Uug"/>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o3B7Av5qP1Av4DR2kzV6V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tS1wsUfjF_f7S4IFBSN8V0A"/>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t.StDdViung2cgCHNZXkLg"/>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taQxz4jEXK2b8_TmfherHww"/>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tVLMGfwpWyibk3JtXQ8avjA"/>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BVlRGtkG2xEA2_Z1fSakwA"/>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tJT9wsBl7Iv7kfvHucQwb2w"/>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suwPxFtRx.YZwBLkGIgFKg"/>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iU4JLuNbu5Cw39eOwPVCP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thyKWEbH4DKoBDSYS9FmTP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tKvIG__0hd_BMj0BM504hdg"/>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tuvTZuDQwWFNM_5MCpkwQ_w"/>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tYCSQZtj82pm0UpGNRr7t.w"/>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T8o1a9vXF7mI8TabZccgq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tNwnqa.RRdCKAdVZkShVGWQ"/>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ggh4iDrankzgbRYxBByxlg"/>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a0Yqpg6FIjhMd1LZAxvuYA"/>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t5FMCP_zGZAhowwHKmtL.VA"/>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fzGsN1UcGqwUL9ArIYhLlw"/>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tFnofa6h72YEBDXnR3oomX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trb8s2XdhWf8P3fEEaKlguQ"/>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t1VkCZPsYS..8fIoIki9L6Q"/>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v_J7F9vP1Y_6gwB9Vu.00Q"/>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tOf1iOAuf49tMvkj6rOEYoQ"/>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tv9FqB1a4B5MQPCarYKfnFg"/>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t1yz.0nOLXubtILUVGITZow"/>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tAeoXb7qLGEtb9YllUb7uE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t5if.dHcUEwbOLp_Ch8.TIg"/>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d5uamnj27Aic1iFjmpI_TQ"/>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t5CPVXMHhXseyeTJCyKRtZ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tLuVIIVgSvzKVGk4o9yVMLw"/>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tauoEhWr4ZgMX95XNME7V3g"/>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tO5QnBOMzwgaF6Cv7nTl21g"/>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FUEbUr.vCHUa2RkDDUb10g"/>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0QoGo5kHVSLToRuSuDAS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tbdiEluH31Ib8hGbRf8GFIw"/>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tb0QYgM7.Kp5aPMhp1bUhOQ"/>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tTxtZP5gnkg5hcybF1R2J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t1y3a5YzTReWW0JhxHPa_Nw"/>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tovhMoGbGQ2oRuJCKYBPlJ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tXBBm8ObgaQ0Hw3neknWp1w"/>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t27cmpFa3mscmQvgdN3vCW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tCc_Z6yutODnfs8XYjBeHHw"/>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tckJXd5RVUeKkAgW0dmeKog"/>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tXsQme7R6Bf8VJeEEu6FCaA"/>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2LXUOfuL15DK7fJe_W2z9g"/>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tta_SMQ_iRHg6cmPlt.ZjIQ"/>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CnWKVnY8.E.nknbsbhUEk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tpUfcCO5PkMCRYgXRKCMBtw"/>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tbP_c0jfk6FjpQnGi1Qo34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t3TYRPeHZOAAhzyM0n7jSWg"/>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tGNrln4CqTzi7cM956gkizg"/>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tADQ8BKN7CON5aMBOPvXBEg"/>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tn8c9oZuDrICdHfiQCG6yqQ"/>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t5e8SMfOfO57f5cK7CMAu4w"/>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tNZkb1AT33g2vbYJVSpxrK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t8HBsxbXewPQE7J443X5EVg"/>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tUX76AqvGzjmGpgqY_qMnWw"/>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ttdWI4uA1MnaL5bSERR9Wow"/>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tinMuCJz5gr1sjiNdN77ZsA"/>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tly5TUBt1X9POH_lxsC4Vcw"/>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t404.fwq_PI0VlOGbT08ORQ"/>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Zt3kkIM3Xtnc6fbdpScKig"/>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tyr80YRmDt4XO9WeHUURrSQ"/>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tOUyEwPKNUaE7bSXK3tnLAg"/>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t.37A.QES..E.q30ZqN7x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t31VO28KFbo4LmQlkIt775w"/>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tJF8AtrHpkdaBGfoLXM8XDA"/>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t418OqlbndRCRtNdLB3AoF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t7Uaf0MN2uwuBdQViELBuMw"/>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t5R6cLc2WJ_nPRA3jz5TCfg"/>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tmYu198m9jh98AT0_Sj4enQ"/>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tquQsmX2TghUuC2BCqAYJZ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t0qX95XrCbtrOKRx3LTxU9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tHTcpyOW8FlQBIHf6MfgARA"/>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tFXhg.QQgZIyQi7Z1xpuCQg"/>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t8Sfjg_p2oYvcLjfGvIFYGQ"/>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tKQfuDCMcpCNPnZ2F2mx5jA"/>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tnPyDYp86WABbOuB72r2dOg"/>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tIWN9tiFaetJnfKk3W6I3IQ"/>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tWpH5yjwf3ZoTDo2sxB666Q"/>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tJhLMPXUAmli0P8LaCWMx5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tQX4O23uNB0x8RSa6btoB8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tBwA6IdFg8PDkfxMX9nsv2A"/>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tKratUCSXA8fbeeC.4BA_Qg"/>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tAB6mXBRLxcF3jiipWw62dQ"/>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tHLaLHkHlr2EVsZ4BtrPai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tCfhosfS_o4A2cTX3RRzCmw"/>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tjDbTBd.mUA1RMNoSO6MmIw"/>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tG.XiIapi9NvPdIE5MUos3w"/>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tTEFmB5a15xFOqdjosmKPUQ"/>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twtS0IZT6BTEH1Z53u0oGk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tKw71sVwSpaRQ2DTm763NEA"/>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tzGySb_Rp.omSfhPTAF0D7Q"/>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th3s_ADQQZ7xqzchy.5SeRg"/>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VpVTdI9uCeI5mW.06742Eg"/>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t_CDo5_rXcqaD0Xxib6KlZw"/>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tHDsI8bCHDNYu5UZc9JLlKA"/>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tYQT_IWfhx8WU5eQ6V0VkMg"/>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tpxidqkgC3evXDvKN5fzlxg"/>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tmFL3Nt.tL31fXRPbtp.B_A"/>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tFqntipRITzp7AWEKEjgyA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t8FZPn0alnjWmAMTxu72otQ"/>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tvXHIRScxlOcR_4IpVJ71g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KeyAIst4h.hlZt7zyDM_S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t8RCDiWzmH06zynjVerARz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tqV1dQrSONnX6.KL8MonPT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t2ZQnVsrd93BWPBCTEiARGQ"/>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t0Wi_bHzcCywhywSUcGkS0A"/>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t24Ovb1ZNkEeEp5i3Qae5EQ"/>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ttoWUT80GRBTGlgvH99Avi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tpCVU9OV_OgcMMniJ2Sm7IQ"/>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tpd1d8i8xXB00zGBMlEdh2g"/>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taHEvLT6j2U.NAXsonkAJQA"/>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t2YGNoE3sbXXtPXScBzNZ3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tTeS1qWA.16ODRStgEGh4lQ"/>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ttjQbzFD.YaXcr308tUSPLg"/>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tx9xZOlHJKUuFhU2FFIMocA"/>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tvpiKbzfRKC3sbxzeAHzohQ"/>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trDMEywhAntlguGQ1lsH8wQ"/>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tg7UNAEGGHS6CtFcjTi3y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t_PbmxGpQZx1xnw2j04Nnsg"/>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tVhmLHfVB1SaJkDCjtlrDag"/>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tkyi2u_NrUIgwyCk.u8SHsA"/>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tRrcrRBwOwtKRzCPvcsawwA"/>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tRFFVz90r4pyiDpx5YYGS2g"/>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tqQzfIC4106A44ugkvhcEfg"/>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tss6qh8jJiGG.JcPjGnH73g"/>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t47pq0f7Oohs4czCYHA2Wa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tCrLR0zaoMW43m7hBHRyM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t3w6lp29fENEKdFJIJFqraA"/>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g.0u8FqZA34QMZ_WYCorNw"/>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t9D1c2gQpgX3JAyU1jkdjFg"/>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tjTpJnNfNSKj3IJtlC0SEcA"/>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thlfxaoiy8Fs3MQI30C8UXw"/>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tSDp1ouFicT13lJz59Aajag"/>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tgnX7GdXtGS88vmBxr5RPMw"/>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htSd7pgLKqoC63fXp6Stqg"/>
</p:tagLst>
</file>

<file path=ppt/tags/tag2208.xml><?xml version="1.0" encoding="utf-8"?>
<p:tagLst xmlns:a="http://schemas.openxmlformats.org/drawingml/2006/main" xmlns:r="http://schemas.openxmlformats.org/officeDocument/2006/relationships" xmlns:p="http://schemas.openxmlformats.org/presentationml/2006/main">
  <p:tag name="THINKCELLSHAPEDONOTDELETE" val="tBnrqlUBdLebvmn.MVb6Yqg"/>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tiGJ6Y24E2sXx3ur176fA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t9eaAeqUR.6WndFBtFf_aA"/>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Uxve0amdsQ9BOujzsTb6cw"/>
</p:tagLst>
</file>

<file path=ppt/tags/tag2211.xml><?xml version="1.0" encoding="utf-8"?>
<p:tagLst xmlns:a="http://schemas.openxmlformats.org/drawingml/2006/main" xmlns:r="http://schemas.openxmlformats.org/officeDocument/2006/relationships" xmlns:p="http://schemas.openxmlformats.org/presentationml/2006/main">
  <p:tag name="THINKCELLSHAPEDONOTDELETE" val="tu0Hg.x03N6dgrvKnTP4WtQ"/>
</p:tagLst>
</file>

<file path=ppt/tags/tag2212.xml><?xml version="1.0" encoding="utf-8"?>
<p:tagLst xmlns:a="http://schemas.openxmlformats.org/drawingml/2006/main" xmlns:r="http://schemas.openxmlformats.org/officeDocument/2006/relationships" xmlns:p="http://schemas.openxmlformats.org/presentationml/2006/main">
  <p:tag name="THINKCELLSHAPEDONOTDELETE" val="tUFCyJfGSOm1KLP.8GEdDeg"/>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t7YV_2TUJJjk3ZP9ZJ0afnA"/>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tOk73cJJIhTiqIRYBes7vcQ"/>
</p:tagLst>
</file>

<file path=ppt/tags/tag2215.xml><?xml version="1.0" encoding="utf-8"?>
<p:tagLst xmlns:a="http://schemas.openxmlformats.org/drawingml/2006/main" xmlns:r="http://schemas.openxmlformats.org/officeDocument/2006/relationships" xmlns:p="http://schemas.openxmlformats.org/presentationml/2006/main">
  <p:tag name="THINKCELLSHAPEDONOTDELETE" val="tWzTmmc7vqEdUSkp7DWHfnQ"/>
</p:tagLst>
</file>

<file path=ppt/tags/tag2216.xml><?xml version="1.0" encoding="utf-8"?>
<p:tagLst xmlns:a="http://schemas.openxmlformats.org/drawingml/2006/main" xmlns:r="http://schemas.openxmlformats.org/officeDocument/2006/relationships" xmlns:p="http://schemas.openxmlformats.org/presentationml/2006/main">
  <p:tag name="THINKCELLSHAPEDONOTDELETE" val="thXfhdbQgh4H50YYteYakpw"/>
</p:tagLst>
</file>

<file path=ppt/tags/tag2217.xml><?xml version="1.0" encoding="utf-8"?>
<p:tagLst xmlns:a="http://schemas.openxmlformats.org/drawingml/2006/main" xmlns:r="http://schemas.openxmlformats.org/officeDocument/2006/relationships" xmlns:p="http://schemas.openxmlformats.org/presentationml/2006/main">
  <p:tag name="THINKCELLSHAPEDONOTDELETE" val="tYheMIXwPk3l0KmA8M0wX1w"/>
</p:tagLst>
</file>

<file path=ppt/tags/tag2218.xml><?xml version="1.0" encoding="utf-8"?>
<p:tagLst xmlns:a="http://schemas.openxmlformats.org/drawingml/2006/main" xmlns:r="http://schemas.openxmlformats.org/officeDocument/2006/relationships" xmlns:p="http://schemas.openxmlformats.org/presentationml/2006/main">
  <p:tag name="THINKCELLSHAPEDONOTDELETE" val="td5d0stGDKBqU571H.KhEOg"/>
</p:tagLst>
</file>

<file path=ppt/tags/tag2219.xml><?xml version="1.0" encoding="utf-8"?>
<p:tagLst xmlns:a="http://schemas.openxmlformats.org/drawingml/2006/main" xmlns:r="http://schemas.openxmlformats.org/officeDocument/2006/relationships" xmlns:p="http://schemas.openxmlformats.org/presentationml/2006/main">
  <p:tag name="THINKCELLSHAPEDONOTDELETE" val="taam8MKwqgzLf0vdbZK.i2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0.xml><?xml version="1.0" encoding="utf-8"?>
<p:tagLst xmlns:a="http://schemas.openxmlformats.org/drawingml/2006/main" xmlns:r="http://schemas.openxmlformats.org/officeDocument/2006/relationships" xmlns:p="http://schemas.openxmlformats.org/presentationml/2006/main">
  <p:tag name="THINKCELLSHAPEDONOTDELETE" val="t6vDzDOYWTvlS.6NOh8CLEg"/>
</p:tagLst>
</file>

<file path=ppt/tags/tag2221.xml><?xml version="1.0" encoding="utf-8"?>
<p:tagLst xmlns:a="http://schemas.openxmlformats.org/drawingml/2006/main" xmlns:r="http://schemas.openxmlformats.org/officeDocument/2006/relationships" xmlns:p="http://schemas.openxmlformats.org/presentationml/2006/main">
  <p:tag name="THINKCELLSHAPEDONOTDELETE" val="t6U1axViaeQIrlqtUAF8VUg"/>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4YGMcdCZ.CGdxZnWfuTizQ"/>
</p:tagLst>
</file>

<file path=ppt/tags/tag2223.xml><?xml version="1.0" encoding="utf-8"?>
<p:tagLst xmlns:a="http://schemas.openxmlformats.org/drawingml/2006/main" xmlns:r="http://schemas.openxmlformats.org/officeDocument/2006/relationships" xmlns:p="http://schemas.openxmlformats.org/presentationml/2006/main">
  <p:tag name="THINKCELLSHAPEDONOTDELETE" val="tO5S73cohvp2GzAXLxwEtdQ"/>
</p:tagLst>
</file>

<file path=ppt/tags/tag2224.xml><?xml version="1.0" encoding="utf-8"?>
<p:tagLst xmlns:a="http://schemas.openxmlformats.org/drawingml/2006/main" xmlns:r="http://schemas.openxmlformats.org/officeDocument/2006/relationships" xmlns:p="http://schemas.openxmlformats.org/presentationml/2006/main">
  <p:tag name="THINKCELLSHAPEDONOTDELETE" val="tUZd3Vbai.LtCF1uIBw_wvw"/>
</p:tagLst>
</file>

<file path=ppt/tags/tag2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6.xml><?xml version="1.0" encoding="utf-8"?>
<p:tagLst xmlns:a="http://schemas.openxmlformats.org/drawingml/2006/main" xmlns:r="http://schemas.openxmlformats.org/officeDocument/2006/relationships" xmlns:p="http://schemas.openxmlformats.org/presentationml/2006/main">
  <p:tag name="THINKCELLSHAPEDONOTDELETE" val="tHOcpdJjdWr6Aa5fDZQ1yWw"/>
</p:tagLst>
</file>

<file path=ppt/tags/tag2227.xml><?xml version="1.0" encoding="utf-8"?>
<p:tagLst xmlns:a="http://schemas.openxmlformats.org/drawingml/2006/main" xmlns:r="http://schemas.openxmlformats.org/officeDocument/2006/relationships" xmlns:p="http://schemas.openxmlformats.org/presentationml/2006/main">
  <p:tag name="THINKCELLSHAPEDONOTDELETE" val="tlAlcVmRkE7pBGesrGe9bpw"/>
</p:tagLst>
</file>

<file path=ppt/tags/tag2228.xml><?xml version="1.0" encoding="utf-8"?>
<p:tagLst xmlns:a="http://schemas.openxmlformats.org/drawingml/2006/main" xmlns:r="http://schemas.openxmlformats.org/officeDocument/2006/relationships" xmlns:p="http://schemas.openxmlformats.org/presentationml/2006/main">
  <p:tag name="THINKCELLSHAPEDONOTDELETE" val="tglEsR82E336P00Q5PN3iRg"/>
</p:tagLst>
</file>

<file path=ppt/tags/tag2229.xml><?xml version="1.0" encoding="utf-8"?>
<p:tagLst xmlns:a="http://schemas.openxmlformats.org/drawingml/2006/main" xmlns:r="http://schemas.openxmlformats.org/officeDocument/2006/relationships" xmlns:p="http://schemas.openxmlformats.org/presentationml/2006/main">
  <p:tag name="THINKCELLSHAPEDONOTDELETE" val="t9nAY89D6hE.IUhLFcqywg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0.xml><?xml version="1.0" encoding="utf-8"?>
<p:tagLst xmlns:a="http://schemas.openxmlformats.org/drawingml/2006/main" xmlns:r="http://schemas.openxmlformats.org/officeDocument/2006/relationships" xmlns:p="http://schemas.openxmlformats.org/presentationml/2006/main">
  <p:tag name="THINKCELLSHAPEDONOTDELETE" val="tyFCoi_Oiolu5jfbSI.KuEw"/>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t1qHRzEDGJCE9O1drCw.wcQ"/>
</p:tagLst>
</file>

<file path=ppt/tags/tag2232.xml><?xml version="1.0" encoding="utf-8"?>
<p:tagLst xmlns:a="http://schemas.openxmlformats.org/drawingml/2006/main" xmlns:r="http://schemas.openxmlformats.org/officeDocument/2006/relationships" xmlns:p="http://schemas.openxmlformats.org/presentationml/2006/main">
  <p:tag name="THINKCELLSHAPEDONOTDELETE" val="tkBUMQCBjioJE6MSggzyYtg"/>
</p:tagLst>
</file>

<file path=ppt/tags/tag2233.xml><?xml version="1.0" encoding="utf-8"?>
<p:tagLst xmlns:a="http://schemas.openxmlformats.org/drawingml/2006/main" xmlns:r="http://schemas.openxmlformats.org/officeDocument/2006/relationships" xmlns:p="http://schemas.openxmlformats.org/presentationml/2006/main">
  <p:tag name="THINKCELLSHAPEDONOTDELETE" val="tnLha8_3XHGpOZHqBwAj96Q"/>
</p:tagLst>
</file>

<file path=ppt/tags/tag2234.xml><?xml version="1.0" encoding="utf-8"?>
<p:tagLst xmlns:a="http://schemas.openxmlformats.org/drawingml/2006/main" xmlns:r="http://schemas.openxmlformats.org/officeDocument/2006/relationships" xmlns:p="http://schemas.openxmlformats.org/presentationml/2006/main">
  <p:tag name="THINKCELLSHAPEDONOTDELETE" val="tLLpuqzUh_v.tmOm86InVBQ"/>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F59onTzakdRF5bgVb3MqYg"/>
</p:tagLst>
</file>

<file path=ppt/tags/tag2236.xml><?xml version="1.0" encoding="utf-8"?>
<p:tagLst xmlns:a="http://schemas.openxmlformats.org/drawingml/2006/main" xmlns:r="http://schemas.openxmlformats.org/officeDocument/2006/relationships" xmlns:p="http://schemas.openxmlformats.org/presentationml/2006/main">
  <p:tag name="THINKCELLSHAPEDONOTDELETE" val="tJ0L8byXpr5l2CExydGuQlw"/>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y2L3C.RMWu3F303vjqDlnA"/>
</p:tagLst>
</file>

<file path=ppt/tags/tag2238.xml><?xml version="1.0" encoding="utf-8"?>
<p:tagLst xmlns:a="http://schemas.openxmlformats.org/drawingml/2006/main" xmlns:r="http://schemas.openxmlformats.org/officeDocument/2006/relationships" xmlns:p="http://schemas.openxmlformats.org/presentationml/2006/main">
  <p:tag name="THINKCELLSHAPEDONOTDELETE" val="tFKLcgfkXjwz4owRJs3qMhA"/>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_GVLAei7kHwS31DIUEzrA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0.xml><?xml version="1.0" encoding="utf-8"?>
<p:tagLst xmlns:a="http://schemas.openxmlformats.org/drawingml/2006/main" xmlns:r="http://schemas.openxmlformats.org/officeDocument/2006/relationships" xmlns:p="http://schemas.openxmlformats.org/presentationml/2006/main">
  <p:tag name="THINKCELLSHAPEDONOTDELETE" val="tPOZbGABJ3g4z07FtOnbKPw"/>
</p:tagLst>
</file>

<file path=ppt/tags/tag2241.xml><?xml version="1.0" encoding="utf-8"?>
<p:tagLst xmlns:a="http://schemas.openxmlformats.org/drawingml/2006/main" xmlns:r="http://schemas.openxmlformats.org/officeDocument/2006/relationships" xmlns:p="http://schemas.openxmlformats.org/presentationml/2006/main">
  <p:tag name="THINKCELLSHAPEDONOTDELETE" val="tuZWisv4qNzOZzuBze1z8FA"/>
</p:tagLst>
</file>

<file path=ppt/tags/tag2242.xml><?xml version="1.0" encoding="utf-8"?>
<p:tagLst xmlns:a="http://schemas.openxmlformats.org/drawingml/2006/main" xmlns:r="http://schemas.openxmlformats.org/officeDocument/2006/relationships" xmlns:p="http://schemas.openxmlformats.org/presentationml/2006/main">
  <p:tag name="THINKCELLSHAPEDONOTDELETE" val="tQsSndWTXaTioZM2J_Gu4tg"/>
</p:tagLst>
</file>

<file path=ppt/tags/tag2243.xml><?xml version="1.0" encoding="utf-8"?>
<p:tagLst xmlns:a="http://schemas.openxmlformats.org/drawingml/2006/main" xmlns:r="http://schemas.openxmlformats.org/officeDocument/2006/relationships" xmlns:p="http://schemas.openxmlformats.org/presentationml/2006/main">
  <p:tag name="THINKCELLSHAPEDONOTDELETE" val="tLR9039VkEltbXUzkmk7h7g"/>
</p:tagLst>
</file>

<file path=ppt/tags/tag2244.xml><?xml version="1.0" encoding="utf-8"?>
<p:tagLst xmlns:a="http://schemas.openxmlformats.org/drawingml/2006/main" xmlns:r="http://schemas.openxmlformats.org/officeDocument/2006/relationships" xmlns:p="http://schemas.openxmlformats.org/presentationml/2006/main">
  <p:tag name="THINKCELLSHAPEDONOTDELETE" val="tSyoXH49xYF5UjUidEN70HA"/>
</p:tagLst>
</file>

<file path=ppt/tags/tag2245.xml><?xml version="1.0" encoding="utf-8"?>
<p:tagLst xmlns:a="http://schemas.openxmlformats.org/drawingml/2006/main" xmlns:r="http://schemas.openxmlformats.org/officeDocument/2006/relationships" xmlns:p="http://schemas.openxmlformats.org/presentationml/2006/main">
  <p:tag name="THINKCELLSHAPEDONOTDELETE" val="tjAHg60U4ZkTBsDZ6fybGtA"/>
</p:tagLst>
</file>

<file path=ppt/tags/tag2246.xml><?xml version="1.0" encoding="utf-8"?>
<p:tagLst xmlns:a="http://schemas.openxmlformats.org/drawingml/2006/main" xmlns:r="http://schemas.openxmlformats.org/officeDocument/2006/relationships" xmlns:p="http://schemas.openxmlformats.org/presentationml/2006/main">
  <p:tag name="THINKCELLSHAPEDONOTDELETE" val="tuInicq127jNFNm3vX74_8w"/>
</p:tagLst>
</file>

<file path=ppt/tags/tag2247.xml><?xml version="1.0" encoding="utf-8"?>
<p:tagLst xmlns:a="http://schemas.openxmlformats.org/drawingml/2006/main" xmlns:r="http://schemas.openxmlformats.org/officeDocument/2006/relationships" xmlns:p="http://schemas.openxmlformats.org/presentationml/2006/main">
  <p:tag name="THINKCELLSHAPEDONOTDELETE" val="tonVIeJo6nXnlUqYN6jsTvg"/>
</p:tagLst>
</file>

<file path=ppt/tags/tag2248.xml><?xml version="1.0" encoding="utf-8"?>
<p:tagLst xmlns:a="http://schemas.openxmlformats.org/drawingml/2006/main" xmlns:r="http://schemas.openxmlformats.org/officeDocument/2006/relationships" xmlns:p="http://schemas.openxmlformats.org/presentationml/2006/main">
  <p:tag name="THINKCELLSHAPEDONOTDELETE" val="tdfwkdHv2JSkG9SCVhzr.1Q"/>
</p:tagLst>
</file>

<file path=ppt/tags/tag2249.xml><?xml version="1.0" encoding="utf-8"?>
<p:tagLst xmlns:a="http://schemas.openxmlformats.org/drawingml/2006/main" xmlns:r="http://schemas.openxmlformats.org/officeDocument/2006/relationships" xmlns:p="http://schemas.openxmlformats.org/presentationml/2006/main">
  <p:tag name="THINKCELLSHAPEDONOTDELETE" val="tWJJtjL.KAjQOpKZjbvQM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0.xml><?xml version="1.0" encoding="utf-8"?>
<p:tagLst xmlns:a="http://schemas.openxmlformats.org/drawingml/2006/main" xmlns:r="http://schemas.openxmlformats.org/officeDocument/2006/relationships" xmlns:p="http://schemas.openxmlformats.org/presentationml/2006/main">
  <p:tag name="THINKCELLSHAPEDONOTDELETE" val="tU4jq.ebEQxB7cfU4GYjZlw"/>
</p:tagLst>
</file>

<file path=ppt/tags/tag2251.xml><?xml version="1.0" encoding="utf-8"?>
<p:tagLst xmlns:a="http://schemas.openxmlformats.org/drawingml/2006/main" xmlns:r="http://schemas.openxmlformats.org/officeDocument/2006/relationships" xmlns:p="http://schemas.openxmlformats.org/presentationml/2006/main">
  <p:tag name="THINKCELLSHAPEDONOTDELETE" val="tCchswu64.YQ.qWqd2lrR8Q"/>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tHW7S7spwt.6VcDrP_k2pcw"/>
</p:tagLst>
</file>

<file path=ppt/tags/tag2253.xml><?xml version="1.0" encoding="utf-8"?>
<p:tagLst xmlns:a="http://schemas.openxmlformats.org/drawingml/2006/main" xmlns:r="http://schemas.openxmlformats.org/officeDocument/2006/relationships" xmlns:p="http://schemas.openxmlformats.org/presentationml/2006/main">
  <p:tag name="THINKCELLSHAPEDONOTDELETE" val="tMybi0hrXkkCm1HuYTGm9cw"/>
</p:tagLst>
</file>

<file path=ppt/tags/tag2254.xml><?xml version="1.0" encoding="utf-8"?>
<p:tagLst xmlns:a="http://schemas.openxmlformats.org/drawingml/2006/main" xmlns:r="http://schemas.openxmlformats.org/officeDocument/2006/relationships" xmlns:p="http://schemas.openxmlformats.org/presentationml/2006/main">
  <p:tag name="THINKCELLSHAPEDONOTDELETE" val="theJPKDdIyOjAWseARBNLGg"/>
</p:tagLst>
</file>

<file path=ppt/tags/tag2255.xml><?xml version="1.0" encoding="utf-8"?>
<p:tagLst xmlns:a="http://schemas.openxmlformats.org/drawingml/2006/main" xmlns:r="http://schemas.openxmlformats.org/officeDocument/2006/relationships" xmlns:p="http://schemas.openxmlformats.org/presentationml/2006/main">
  <p:tag name="THINKCELLSHAPEDONOTDELETE" val="tNhBohmsufCSTgYaJoFDwvQ"/>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td8pmWn3cyh6l6WuhxvSTKg"/>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tvqmZATDmWThCf7mmP685vg"/>
</p:tagLst>
</file>

<file path=ppt/tags/tag2258.xml><?xml version="1.0" encoding="utf-8"?>
<p:tagLst xmlns:a="http://schemas.openxmlformats.org/drawingml/2006/main" xmlns:r="http://schemas.openxmlformats.org/officeDocument/2006/relationships" xmlns:p="http://schemas.openxmlformats.org/presentationml/2006/main">
  <p:tag name="THINKCELLSHAPEDONOTDELETE" val="tpxJAOmiSMeZIk7LjBZlYSg"/>
</p:tagLst>
</file>

<file path=ppt/tags/tag2259.xml><?xml version="1.0" encoding="utf-8"?>
<p:tagLst xmlns:a="http://schemas.openxmlformats.org/drawingml/2006/main" xmlns:r="http://schemas.openxmlformats.org/officeDocument/2006/relationships" xmlns:p="http://schemas.openxmlformats.org/presentationml/2006/main">
  <p:tag name="THINKCELLSHAPEDONOTDELETE" val="tusAJxVcMUtYhCZvCCMEu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tk5bzEA6jXsHXDroxyshjAQ"/>
</p:tagLst>
</file>

<file path=ppt/tags/tag2261.xml><?xml version="1.0" encoding="utf-8"?>
<p:tagLst xmlns:a="http://schemas.openxmlformats.org/drawingml/2006/main" xmlns:r="http://schemas.openxmlformats.org/officeDocument/2006/relationships" xmlns:p="http://schemas.openxmlformats.org/presentationml/2006/main">
  <p:tag name="THINKCELLSHAPEDONOTDELETE" val="td9JSPsgVuvhAKd3MwMTcYg"/>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tlH908pRM.PavBr_VuT6FuQ"/>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tqKBaxQv3s7amFofsBpwCxw"/>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tDfRtA5JAfuWqvJ5A6MST1Q"/>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thKFXCQqVLfaDqwtMPwQDbA"/>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lqcEKelXSg.j.UYPlrlqbg"/>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46unxh1.G52.GNtIvCcpcw"/>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VtNhP8A7h89FQX434w1W9w"/>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tSC_QpCxATFXv3KiTr8YN.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tWc8PxQvjKzaCAWSOqZbM4g"/>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GMqLa9MoM_YXKKjarLI65A"/>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tZpStO_wDMHGZDujrSYIodA"/>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tdtXOLLsXilvt8xlxZeKSzA"/>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tCjbzRGV_17mS65jMGUi.Lg"/>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tvO1FIpQss8RAMUJYvKxCcg"/>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TQR7jBWUr6O972waaUTKqg"/>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tzVYV7Ck87Ra.La0OCUKjXA"/>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tnoFoYXfKI_q9VIXAoRgncQ"/>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tMusi23EfCwM5TkjLLZx5aA"/>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tI5f5syEMYRbEitzNOO4xvQ"/>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teGsjwFtSUCcWsZslLeHqfA"/>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tw7TSXn4WWpYtQ4_CPdI6xQ"/>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tYBijYcvXbr0H651Jbb6KZQ"/>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8C0EYOzpsxIPhrSDQkS7F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tcqmklaG0Vo.MH2cDO1UI8g"/>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tSVx7.dowKgSE57oNilWU3Q"/>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tgJ.fcgxpacFqTku60DU9KQ"/>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t_XM6JLkendWvg5j2.YR.8Q"/>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45ZTdb4IG7eOnZHC6nYAHQ"/>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GIyT7sI6TeaoEhH70y.kiw"/>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t7DReatZsJ_u1NXVmelVrfQ"/>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tSpOcuLPMM6.oL.xCnCAxj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lsf5uGTjEHCmvk.lsYce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tdCPPrnROxsoYZAfEp.qeCA"/>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tljLNeGVGrybIlbsIm2TkPw"/>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tT_TKEszFpvn5IDWKgqG_7A"/>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tdTVzKv4QLUfSy35MCDUrhA"/>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tMfxqZrUDUnd1OG.HMQE1.w"/>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tuVnuSHKAJ3kz1Cp4HqKojA"/>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tPgCOlC0w7tmdISQEhwQcGw"/>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tttmDDRGOusKZ69vxpckm8A"/>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t4yTA_vfLTPUESKWf9Sbb_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FuXYtyuaTPlu5rRAjbhbIA"/>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t4hC8TTteJDVX4QK3xAqGmA"/>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ze3QpmtKPky1O4ErszrD2g"/>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tN63WVP43YiDD7BaCbfszpQ"/>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tfh2OZD7fEk9k64W4ek4QU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tAVnV0d_MmJV5TIYb_0xavg"/>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tCFyWDBjRWdOyiLTNpG9j7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thr1cwNsCJGX1jKI1h8xprg"/>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qi4_pb5a7e7J9MrrwyzBng"/>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j.IgAFRpCNtOZSMx7cW58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tAGZ9mflTN3JkKsKj0db6aQ"/>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t_znAC0PgA1DLduIDLRsUdA"/>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t4LDyr8fsRskOkS95JGFNjg"/>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_JGyI.Gv86kK4cGJ4l83jg"/>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t1Mt1RNQ9p9O1hgQ0EVQbOA"/>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tlgOJEIphhz6jV0Y9dRuLlQ"/>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tl9sxyiOovIUqwwBpPfxOZQ"/>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tuaGSRdf7EkbR3zQbO9Ezzw"/>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kn3Dro9lxT3uBCVfqN1Cu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tit4HQlSVShBN5XoHXLLsQA"/>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UWndxgg8dpvueK2rPG66ZQ"/>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tQODaM.punmwrUuMLi25Ilg"/>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xC6FwckDGFnzGeN3ghVtcw"/>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eWTL_yyzowSWaA1UlIFpHg"/>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t7p8VL4B_zjPiLtC8gpTsgA"/>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HntYPY9Wai7uqPUqof8Qcw"/>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t9yNN3S1XXWHr1UckjZbuD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Kw8aQ.xWnKdt9NqpkII5pQ"/>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tVOeFDwe3EcmXW.gsI54QTg"/>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O2v1xjddRu83WsXr6ysNKw"/>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tidkZvM7xY8TLHE6k6X_KWw"/>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tv2SVF9BWLpmBPLxTgNFvZQ"/>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txjGXEl.HOweL3AdDbK2M_w"/>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tmC63KlSiySPHcUCM8zfuFw"/>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tdsLj4InQ3_Dp_VvX3zZlHg"/>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DaSy7Gi13BcbwpVv8FKKgQ"/>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tqBuHkDyMEbYMtFCCtzSw_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tH9J.0VzPP5qKrK4bmCi.UQ"/>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te96Ectm0kfCI1AKtBiRB8w"/>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tq8kNjRQqZuQAKvV_PQWwWg"/>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ki4xUjxydoMqrDtWt2GOxg"/>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t4KIw3Z5Jzg9Tfls6x093iQ"/>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90uE17dAJB76PTXGKT5tOg"/>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trMFdF.9GwI940Bu_3kjYHg"/>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tBnl7UY9zS7QZEeLcwM8P5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thFyr.Si1c32O7ngfEeanJ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wIeR_ae8NsUJ1H3JTPrkNA"/>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npDofSkjlIhJqKYf17EVSA"/>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t37bzWMURRqPOI..uef3suA"/>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LBXMHFAugfBp3CY_GdPunQ"/>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t92GfWlZqZV1uq7dgn0Xe5Q"/>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tuZ6yKsqzhmASEJzRKtMQnw"/>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_RdyJNcoTcwkByC1xN8CYQ"/>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81bFNRGnVSJPBOeF9h2qQg"/>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QJnFh5QP4GJ0qEpOl1OLCw"/>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qO2ZvLD4Q6eaGjGzuSbqA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tMtw6QXF3GixLfdObuyIOhg"/>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tbT8pF43fCvQp51AwsNm40g"/>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hlqA.co.BQF9xcbvy1xcLg"/>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tT_6q3IgvEET11wh2uTnn8Q"/>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tJDe0x7rFAGbqUwnH_vUS1Q"/>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tIR5rgS2S.ovqkyQ1Kv_1jw"/>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tOxiSuH2ZvvA.2ejVMpdvnQ"/>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yN4pJTg13CJNZ9DvASv5tA"/>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tJiFrAEOBozfy0Wf86Lp0tw"/>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trGqh3W2ve1P1x8Xrytvrz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TDJ8JugwkE27_WNcbw1u9w"/>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tFBm6kq2n3yXfJ.NixI9hj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tJ64RH0xwz9PVO1WgeGNSa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S4lMe6uDSCTLm4JSh_H7Tg"/>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O0_qdgPSfa9F2w57.TsgCw"/>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sKMkK__VSehSjxuOD6YFew"/>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tDw189JkNDjBmMunieqoLew"/>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tPa4DSCwZpvAqVJ6xg05.u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onKDQSwyzT7uPDnJR_mGBA"/>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tUGvRKkiGMvsYRUVP3hmGhQ"/>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t1lh6i.Ebwq_lqBbI7E_Ipg"/>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ttX_nbE6QaP9NnNGwEOcuU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tkXqkb4kGL6EvBFlcr.ZnHQ"/>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ziIxkqe1fC6vlfvXV2LU3A"/>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t2GujFs5IEcDp0vbIxnQ5Rg"/>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tJViO55HXcK9erQo.eAIhHA"/>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txpjofF8QgjIvDKxV6M29Zw"/>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tym1gl6S6QyG_k3e.fmZx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_RcZ3OLx3aWFhgEUkbjp6g"/>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tFOhXMi1mY5wnP4UAcAFAjQ"/>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tANyFwzFlbF0By3gNOTki.Q"/>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t16S4LvCy0.dxVAALlqCEQQ"/>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tYNWbOP9xP5tM5eeqNt6zHA"/>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tv.K6b2ORVTbolppfgbNx7g"/>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t70neLTVMsrkjShnBiajd9g"/>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GS1gBTcByecGSPX5btS9rA"/>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tibWMGdPjwlmPx4tWrRokd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tIJ3I.mBAqji02nhZSNs8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tPY_2gKJAIRoM_HF2h2MD2Q"/>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bwCIrC0WZLwmOH99ozfnyQ"/>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tKXs8ZQYaT5eBFotEQViz7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s9t0Mjq5S.8et_ynOapohg"/>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qc8mJrK_iUiYByqps5FWpw"/>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tresypgWA1hNaQSOGqGzffQ"/>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tGLvmlAmKCM.SIgxYf78Z5w"/>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6lvwYKo.o5lpePacx89HPQ"/>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tORdqD_tEzPYlPPDQhyLGx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tZ.BHava7yRDjyCY3E.iAz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t83gUQB017lOWTHc.eK5Vsg"/>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lukL9a9Cp.Ah71kIV5TyzA"/>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ympCC5Oq5DAb8mI80LGP1w"/>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t59SDwXu0izJVkyxmDCs3tA"/>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tn4oKwxC4kSPoQdKuoHT.Yg"/>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jmfmNdJp12MfttX2VU5v7Q"/>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SAXkUmgnOenzJ5L9E.NfGQ"/>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tGSzKuihD80cod.La1CBHV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AbyvhzjQY9xkWbT6biX1UQ"/>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tpqaGeTQA28IEHZML1mvmJQ"/>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S9NMPwUOaE8ARacDoO72.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ts5WsYIa7ygnqZbrvbAOeTA"/>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tpWmYbcL6g3Y_FIr.agJ8Ew"/>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tUKyazGRX3_wh_lCHvlqTrw"/>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trspGJK9kOhuZGPYasGjEUQ"/>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tTlY5r2.guqDNi_hRPHWT8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UKg8xDlzDdXCkFH8QfNvkg"/>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uZ9OZtMxLsHarI.eKnKX4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tAOUWJREqp.T9jZwWbqWPKw"/>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troI1U3cmvQxdia6va9P6QA"/>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t8O5FPvxzDnOu0v8bFLXaR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tsqK.rlzHoLZCoX9wHLY5FQ"/>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ayXF88Z578e.gcXkxZBIvw"/>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tV2ZfinN8Xu.GOGSoZki7ZA"/>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gNnua_O4l8.IUR.2r.SDiA"/>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t_VfqXcuDpHgtrDs6X.RkzA"/>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thWIXuNljkmhzuZrCgIwksA"/>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tUiuKkqTZncaaM3p4YLyJ6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tfV4zbJyLNnPq1lNdGxbaqA"/>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RRRrkZBv2HQzfty0w.AHhg"/>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tEI1k30fGb.jnrTXzfJtF4Q"/>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tbV9z3ARLwlJvGb0DueLv6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tREC0lN.dyDDRh6zzKBwq8Q"/>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ol9k0IG2HuF0_meGu_.VGA"/>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AbQvY2U8EfK7qIXo72sFJ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5wGCJCZgxPs4bXQY2dJ_aA"/>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tZnS5_ipF1RV1d_HVOhPx0w"/>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t5VUvtZs2AmXYDhuiNUksK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4LniGgUd31i0rHIA53w.Qw"/>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agXlQakKb4PrYrEtV2l5Tw"/>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tFRjSa_R9k1vqxLUAJWqpGw"/>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tMZCL6wVOZKvZ_Wp7DiHT.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0J6DFb6ynXPsKuV.fJwqXA"/>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fMzUsrutw7zUkxULnadeu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tbqaMdKl2MtmaNWuHAc4rbg"/>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ydxC.vJA65KpH9Wt83Je.w"/>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tjKYW0YFBqgVf7CQPHvLmX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tE7XTt7OhL_VOdriskxujo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MZfEo2lPm4sgi0gQaHHSQ"/>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ETTL_RFjB9gxYqoWQpY8YQ"/>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t16ntGchaaOc7M4YjVC8NHQ"/>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b9WHb0ebeAIAb_X.TxmMRA"/>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Xa7pVze5BRaz_1sb4EfMCA"/>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t2SekCUWyINvbh3MnvfbBT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tXb4fvVYErpmv2dXnr08hJg"/>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tFyK2t0MJKpzAGzBdOiCPvg"/>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t1VucIlv7GNvo2BY_5Czpe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tbAxFg6nYCPywPdknAp9Hdg"/>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tSm5YMeT2RxnkxvIS_nntqQ"/>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GjKM2V5nhhuAuEwghnbzwQ"/>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WDhHfUamIPXFwMAiTn6ZuA"/>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tfRlr.ViAYoPw.XRs6HP7FA"/>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tkmn1_ifxUhkZ8IiAuWw1y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t.0YP0FjRLrJuIuqmPCK.m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tnp1pLS7MoLwOi_ZyXliPvA"/>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IF7eqLd4.GkiywU6wh1aSg"/>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tHJVmkHydF68ncq_wbL1O2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tswj0lX3IH8TZskU3gCWAdA"/>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tZZbyHHRY7MURip_cDjfAsA"/>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tiTUdI.51I3suBiVQNypE8Q"/>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thEMKhvg3_R9P4qlbqPA8SA"/>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teP7neXoJerBo3YwRaLZ6OA"/>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VBWbk01OLpLk9LunwMveEQ"/>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ZdIrHv8yfd.3dvvnxArJ5A"/>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tr2cUL.aGmJPWVD0VcuaoPQ"/>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tewRqQVcT.4Z0k4b8UaRidg"/>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EBwWL6MFBmuzdDxQCDqq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tI5FptXCZibwi8Xkkb1abUw"/>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e4pl2hU3hJJvL7MecjkIaA"/>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t69NwapyLidzYlYz6Hu5th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tpkCSbXPOUu8svrITK60s7Q"/>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iBoNPYMkaR2xYyykRaR0Jg"/>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KTzXwoNLYUDRCECrh15rTg"/>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tVh.fV9E7VYslaUlOwcH8HA"/>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td6qkCt.X48XfxKdaSs3wvQ"/>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tRPC1YPUXBYT_WwVrj_qVhg"/>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Vu4eR6ZVA1NubxAvqtaU2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tY9LVtWP3PwXdhXfLBwSDgQ"/>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tZu9p3w5bDgHU1je7Orfxkw"/>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tlyo6BZIbHOS2OviCWGy1gQ"/>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to_pN7PE2BBqTpLr3RewOP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0pzqHHVApijOCaH8X4w51g"/>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VRQsr4DwwD2U8mLzxbjY2A"/>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t0yhdZACRcFQUFzEeMDrnVg"/>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tE7s2bK9WnIDrQklGXooSUQ"/>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WHX4c6L8yet7gEkpCOqrW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3T9BbgoU_99UAyqRxlUnRA"/>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tCf8nnnUVIHhVU8.KnIT.1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tC3pBPXbX3Kj3qVI7ldCkdg"/>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tUgS3fQrKHtzV384Kdhhblw"/>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tz_m5EyY1_VWr36ksRyEDEw"/>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tC_iZgD8Q7JgR3qiTa99Zj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azms0NYnVqum5toZpw2hA"/>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VUjc7xtm0GNXyvdXhG_cMA"/>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ttWqo2Hx0av1Ltm34qoDKsg"/>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tanhbx0U29q38fHNOmsQ43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t_WK_xMsdgND7cT.1g0rnjw"/>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tMfymsMwWuxez9j3IB3aYPQ"/>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1CfjPCPpgxGqotdNz4c8Rw"/>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tt1NkA75huilk1hXVapg6mA"/>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t2Lf9enzJy3ssVBRnFaQDtQ"/>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tchxY5RnDcGdrTdY8mRVH4g"/>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tSZl8qtcNkYEj77iQnS1Cb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tPzcYong2WA4UNyLdsGykO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tzBv5xC81IlnOMi8fF0yElg"/>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ppd6upq7sdoapn52vgv2v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toBqesbd5v9bG_7N6FrC.2g"/>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tBLmPuZEORCqCaQz5xzAZf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tjLlKXHMhN3u6QYKXVpzLRg"/>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j9Z04SHsaxWKJ.g2h5cUtQ"/>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tcQzJYvZeSKwYUo9x6Cnz.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37UDOwxUOb0IsznAxFpX7g"/>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tj8rJpcedjiG5EQTxLTVZCw"/>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tTrwK81fGvSiAbah2qZ9Oig"/>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t388MCPxUE_4UVW_W_D2lAg"/>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7XK4a6A6uuA9vDhZYThG5Q"/>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tGllA0m6CmnU3Qf5ILvdy8Q"/>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tsTRG_.SR7j1NG8AIeGMA3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hU_NkuLkgarvnSmSC3l4ZA"/>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tsb4JG9tWh9kqe9RrlvyFpA"/>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trLdUh3pypiFtuTaZV2eBow"/>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dolu_wOWW1zYAMYum.19H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gsAhiQRRzb2uz4iG8x1qZQ"/>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tkbn8h560PUCnZ_HEJESax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tM44SejZQ_GBU3UhFVfUZ5w"/>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Vq00LsL8iULmqmK4gkefrg"/>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jcHPDyYNCPCIgioxeirQ9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tt3tnVk2tO7wTvE.dX4tzFA"/>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tbCabna3Co1XopDmhvhjVRQ"/>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tyGUjkoP2zWMjx7bv99c5sg"/>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tV3i_79XXP6p0SvGFTr4Sh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tiOuZWEj.pmivBiwKRnaPt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C754svxFx1emJgiTLfbnww"/>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BkTVRLKlRuDboW3a9Soalg"/>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eWbshz50HEzMFZDb3Rmejg"/>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tGKcwIb0F2jWvGmORf1aLv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tfMQ9l8wjteB.RcElzC4oDA"/>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tC5BGuookmDXC4uEF8CfCUQ"/>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q3_r2.JLHaAgKoCBQIkRSg"/>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tdvuKBXb2GSgwIzJYdEPzSA"/>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tL1lu6S_b3oGhDf_x4egGjQ"/>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vqHvl57ZY0eEz4npc7Pb9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tsBmqd76tREgOXIgv4Yv4Qg"/>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tXcT_hrLvZa79VnT259TJtg"/>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t0gveth9lfaEWpI7QqAHv9A"/>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YA0dCFGeWFdMPN.J_cUJxg"/>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tTvkqlNzFQQAZ5xhyH27k3A"/>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tehiicMK7nlwDjb2FYB_0XQ"/>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4y4VLOSZ9WDTrsY6wO.OAg"/>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sCZ27oFUyWmhJjCDqJsw9w"/>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tJGCzbS0SSTorujiRtHay0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SoI.mhLpmEh2uwxO4iOFw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tK9Wo.Gp_4NJUX1MG7xVoz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tNEadoek5zI269n_8I_9MIA"/>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ZZ2k6nt3DVJFIr0R8G_Ofw"/>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WbfOGUovDhvJeEXSeU.aKw"/>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tL_S5Y53N1fI1a6Rc5QdPgg"/>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tiNLh2Zy2jl7XiMXrakXM5Q"/>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tS1e2HLoBaoEHy1Jfd2TCdw"/>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wPZsbc3Xd6XBqNsrCQ6Gaw"/>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tdbRR2pN9bvKHR1pX4BO0GA"/>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ttneawwclhtX_Ui86QjXq5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lBd.21.yKimWf6AAfitcUg"/>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t5J3vHR.zAa95h7BXcZgSR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tVczKmRlcA0NdS9MZ3cuHYA"/>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n9zL7PlHiW7ddM20Ja2Fsw"/>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YtD5RTifYRF_RBIYDu.fDg"/>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t7oXyOl6_8xVHkxKAKdBSX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tcWJSo2xrhm1O9LbAvEkejA"/>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Tv6X29ajyWFqinLGNjE5aA"/>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tC5jB0_XAIE7EU5HzJq.5q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twJogcAnJcGZwKYljk028r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tha1Q5ZCZsB.WEzEhLIF3Aw"/>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tHbxzjAELHWLLqbbFpVaTv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tWIvRbe06zgfdvjqR8aTCX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tv4fPB8jZYtZM9uWrZoEW1g"/>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tg3oIlkolGDnjyeY_FgF6Eg"/>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KIJP7_pJ1PAPtnszf1F4Ag"/>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tb_O8IuFptipRnyknw.voPg"/>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t_JYLSpGE91PiyFy1ckSdjQ"/>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thqPzDCC0sCvskv7nsS4ftA"/>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tBYd78M3OCYFUl9XnsNN21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N8cL7WEofY7KpRNvff99pw"/>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tD84X3xXWK5ikRc8nDYEycQ"/>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tn99Z7xkHwm9g61SQREd5sg"/>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MHV9EpSqFS_D3fKRwwpga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tAKU6OxB54yS.VC4K2cYJgg"/>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tM9ivjlWnYhUGvz3ryIBliQ"/>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tSkxZ4sqoWgiGtvgLUnm2wg"/>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ubVms4Ycd.M9t7C0acxD0g"/>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t6CIt950xz9AN68TkMMpSbQ"/>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tsk8zxXHKSIdGxhu1ccLnP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tADi4TL1QmTINdVkQy.92d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pT8hnuv5Dg1t4KLc3q9r.Q"/>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tI2sni1nIDWY_vgCBkk280g"/>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x_yWsNBStBthzEFUlxoI8A"/>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tYuuwEAzfcEqq4mxs9LgP_A"/>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ti_gzIow6zZXmMqv0eqcY8w"/>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VnURX_EWrFupMkBACzhVBg"/>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PQ.kEXiJ7V_.YA.yOLKVvQ"/>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ta2aW6_Nt.OnT8qkiFu9cTQ"/>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tXmrOb9x4bcphwtflsSwdc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tLmyU_02f3JSIWCY4jtgLew"/>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NaA3u7fe4Kl9OdfGY2auNw"/>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timh1VNVGxJ_JnSGBLEc21w"/>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tF7E8Mm2CEKtg8wAnaL56mA"/>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FL5Zdwq5IKiaw2HiNf.QA"/>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twyrv0jmTW67OxnTRbWDtMw"/>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t0V2OfR1LEXkYKSmGP7fx_g"/>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oHXZBwA1SSKY9mdOIk7Iw"/>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tM88Frfj7MWmi6pCWgO10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Zfixns5ASMXUJDjtWHaA7w"/>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tPb7CqoezRink.PZzRnMhyg"/>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tyQD1SVH8IeJPDZCd_r9M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tMPTmHU51JU1dpGRjOw0lkw"/>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tr.yLELLYNHXyNijOWrk_fQ"/>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tZklg.Q3niLhQalsPK335.Q"/>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tLefV66oSJBK1bQzwcoX99g"/>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tttA87sPNIUdU8XbWKUh0a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dBpkImKKy80PAqV_2xfd1A"/>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DRnhoku3zPqaZfaPlE2P9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tm1TkZyWszd2FgCAAqyK_jg"/>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tN97n269q_HMnSPiVHE0rA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wgVeUoTgbZYz.T_qJzIdww"/>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t_laS7EREq.wK7DzBIf6kdQ"/>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T60s1czcK_08A5V4yYfbFA"/>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tv_y_dDAV360KNiC_VMcn2A"/>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t.nVyQAQwI70NCGEK_Nh0uQ"/>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t7M9lOjbEv4UzKPANfy_D0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tms885bwBpBNbyJQ.e75D3Q"/>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teNZ4AvpA2p0jP6PMHb3x8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t6HZp48KKGOYGW85zri2nU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7zu1bZtbmIq5JGT9WZdfJA"/>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tcMwjH.WGBvBWpdyHqoDg4Q"/>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t6BS7E6aRkduft7ucd1pBIQ"/>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tJnYWw97tS.7B7bSQy9A0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0KWlDZV80GLL1HncimxyPA"/>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tToZvhML4wdQr9pApbHHux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5.TkQrtFz5ZLncF7QS16e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tQrbrmqfjoHc3rDKI5bc8_A"/>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tc9mx8Gigm9M8n43Vyrcs6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tINdN2NDqXzquIInWgBZWsw"/>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LZdNpi1n1CYPaQg5BduJBQ"/>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tWJif_a17PIDuufzLXPlePQ"/>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tLti9EIWBXzRXl3IIz6VJX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tsvlAN8B6H_a8Ccl0fUFQHg"/>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uCh.Hlkw_nQ2wM7WQoGIDA"/>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tv5suS_yszIWpT9T4UUWFL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tLU2SzRvcIIVA6PRlNGfD8g"/>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3vO37tFzm3D4j.DIB2nO.w"/>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t0ILw6gco1vzeyoocb84xH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c3yaLA5mtP24DcqQeNvmUA"/>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KyMIdCShMgTnT.0DTJiIBw"/>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TFxWby_ILPGK3MR86eH2fA"/>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tnr1WGYgqFH1N.R8D13ojwQ"/>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8fRJpTzCOPiSB8kq9_rF.w"/>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TbSFcg3BYZqTt4ztIR8eDQ"/>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tE._K3KZxUClkGZh.r5LtxA"/>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Y7krfOOd5rEZF_yCw6M1t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2OTDmObuASM_AM5b7i1wDg"/>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tyRVXRDD9IIR9.pFxlXJE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tAu5gi149ibkN0V2YMudBHw"/>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tO2cdWQUPKdOBkHrM3HUqLQ"/>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tZkbfI7XxPxx.JyB7T0UHEw"/>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JyBnp6qq2tFeUay7sovIPA"/>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tYSsyoYKr.xLghL4Bxlfimg"/>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tqHsFfzz.oVhjhaMc3Me_Dg"/>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tQftd8LP.LqKWQ99PUqUa1w"/>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tfBwaUHE.rQPSMlXelqvYLg"/>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g1Du6R5RKZ_8XzxwragHQ"/>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tSzlzlvIW8HE87P7yXWuja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tG6NWbFjuEfqcQPxFoSMBTA"/>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t64fewWKjEb_ZHZxNHhC3Yw"/>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tL4bk52eFWeGmdqZ90dda1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tBr6bxuIBoioOnl5xvZo71g"/>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tt7JuqrpVDuHQ._5zmxCtk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tNsIuxELEjkFlI91d.yXPw"/>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tiJ6S_zepxhcBJyF3f4eW5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tvUqA92QPnbKs2J.VZRvjEQ"/>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wSyq7Okp6V96k9Z_4uQNIQ"/>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O67RW9SH.QuTpEecHFoHb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to0oIHNoX0_6WorlUIbi8k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CDIrp7Vc84q9dbwn23QjVA"/>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tlI1bQsE14EWgaJ8Tj0zvGw"/>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tS8c32cLD6Pwm6Ict8yb_X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OwcWnX50dirNzOU_evm5Cg"/>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V4sFau9I8J.fzq7DOeRP2Q"/>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q7qzqflWSkFPyyg6w0fNj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dCPPrnROxsoYZAfEp.qeCA"/>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ez25EoDFsFyo2ev_5gwvAA"/>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oxBDi7Rn8TZA7nzuhr1q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JGlbO3A69LCilccnxJtTL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FvMuVw7gOe7XIcXKza75w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Zw4fe6.edPnTvDQrWq11a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Vy80NWyFXHw_fdVQReSg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p3nMNKFMo5UHyba147Osv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pY.HEp4Eauq9rLjSK1L3_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crCQ0ooRrkhS2AT5pLnt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0uW249a4HGMvECYQQVu7o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aTCLJbD.jL8tMZDMyr8S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8SFQidzsp_ek73t7ZmXHS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xXC.cPkMCceTXDii2273h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NomN4aPAT6E_phXm893Pu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DsfDJqP4lqsQEk5YtrW7N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jlIsdTLTi6pYhaNSfQ_75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x66d.PwHbSaRKZsbpWHUh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Tj4zcRWaQMxl_G4snlGAf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ahXsOaglOgCpVUQWubhd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LlN1M6_aSUodCqLqrTDBw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zzbooIYowr8DcEXyAyzyW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23AcR3x1kGITCVwPvT_Jl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pOcHmcJq2suzolbdIEGj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uoxRKURuHgtqNtEk8lnFn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9CEI.nYnhAMvSya.0upR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f4oTekBBg2n_ZsGrpfUua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bAbDl618y8cuwTVtkK2AD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zhrGiGm.ZUADrvHKXLWoT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fezhI.pZ2ylI6MEU6ec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xxhhRIv6mx8xbV69IhgWe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UTEFrPkzDLEbVqjP7Kk7l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O02eEJQ42SvAFBpmbtL0u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zC0Aw3B2xL240NAgKuvCD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Iji0dchicAfqTFovayEcI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5UVbzgM4aifprXNwM8h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66AVOu7BxWreftw4tkUTr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O1G_tXkunqBfaG39uzsF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0PtmPCUUs.5haJIdi5Wru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KXN2qnMMhnBRKcBcF0bJ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wEDbdi6Q0LyUqqU2CrzVR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NhioJITChVGC0vDTCgjA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KirNS9Gpd4XK.mTD3pYWg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5U0mEYKHtfaFYr_Zr4V3k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i9sUOS0ENLWDU3lLZ50T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3zwlJzZL7aYxjvTdhPDq6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Zb0rvbCJfYIfbGPMjUDCE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CEc4QXpYDdROQ4r109k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o68ZvN5ka_sK8XWja0ebf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Z1GzqPcZpR_tKv_g43le8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82_tWFk_3QcfRTrV7SuWe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a5Zu7q6t00XID9EdXI_tf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FPYKISoHT2E3UrF.fFobw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5HDW28otHa44xFjJTcak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dQysaPl0eGuCRu9vpCtq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yUfuyZ7TY.KebwgrUjOSm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U9rmpSvqHpnNV.Fqqmv3e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nhSsgAqjRFw6tcpTtYfG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UchtDa_L0YIQFdshfQe.f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DWhqLnJ0iMXyPWr5GcMAV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o5Ck23JuU8djUu5aBiOO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N79B6vO_XxPmI7dEpxIS8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ZVRrRT50DN5BoiafHZuBp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8Cmv7yRHZ82ZCIwYBa8S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Myz.a4vMwEo4wyY.gfbH2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pk3I4nRMXS6wR4rXVINRA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N7b07j0Vf4Dpd9T.vZquU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Vn3iF9f4lpByXOiFgHGi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Qi5RkMsroiKf5CNnv5arh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_n9kEfFx1vcZZjfOZXYRF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gwRt0czj6nO1UGOwohTse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NgxWANi4Okmjz0Jn9Ll8F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223WSA3cLTT8iAyrugUr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iVDapY9G8ti1LRZWDVTy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risKjMoTY2sWnqsihB.9f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VB609h1teUvuDnWb2aMk8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JsuQu0Y3rStn6943BOHkz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1ACASJkeNpjVUmKRU3.03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ieb7yClDCOZGmjyxXwEdi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3sPglIJuoNSvlErrpxAgH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nJ46afpzifwrdDUBjRyH3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C0m0eFCH9nMuXQEaXYQhR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mtZRRcQY5DK8r6od9SEIJ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gAuVKpnHMzjSC7.TAgv8d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yLfW0fzhmw2MHgkTvhY_B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luEOOhkq5uXqFdGeE51qk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x5AZHimoe5zZ4nqymq4V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l2QOTXFAiqrN4s9pB7q3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G.IW5h3hYgE32ORTWh299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ocrpIZfXE3h54fd6S.qVC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561oYiXSKK_P1GK1ou9XH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1xrhG09f5FDh2ObcQBZ07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SFD8u3kEoRi_tqm22spLi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WcOFIo8OCxijciLK3XsO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dtWuPShiN2AuZOMOQo7hq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tGKvC7TgxcPQ3SjyOVUaG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gsa1i_.wMFlLZAB2Ch7fQ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jGtkbpaYgYh6wnmQqQ2Tl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Sxm3X0zqsamXHkyg53ME8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4oEG8krfscV57pKQBIxV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u7eH1QkcaYMzTqyOKgt.j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ql2yILiLuJhTuU2v1Tq9L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azn4bmAv3UTCfaCOQsVbi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jls2NAnwWO0QJxtJoXCMu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0Kdc0_W0zw2L9h_NsCeC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ig9h45JPx0EmG1v1LhBY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_DA4JEZQSv1NORI5J3fyz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jtjbTT7wuc.ePq80uK.r7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1_luhKcTjtIEBDOxwmp.W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mk2Vc0mUx_DwOXZ1kcGeN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r9yC7VZi.x1t9SA9f1.Z0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Y9Yg4qtIgIuHKGVXjOsXn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BpKOoDiJILQi7XywFWGlC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d_ASMAjZewBp71vh_zzzl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8UPPgjoz8ahDbv9IaQd4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CIelWzF8TbpVNgmUZh0iR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7NkQ9VGlCbQEIY73ReNuh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25ElyhsSKCq8r4VQ4.jqZ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yvj5bIhMFVwyKdJfI9QtF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PfmTkWAb6fEJt.BHLvAVJ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IFHcQVFAxSdg5Xa5vycce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OchP71lDAfSQ9oE.ORZpG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OgLzLlpNKbLeKaSTGtbLr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PZapf1qY9oET.7ItLmJ.9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te_feW52_tY4cPSaPMVZR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pLQJzTvDl87refseVFnwo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3I.F8avIiHkrxvkunLoF4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nfbQ4SAM_422YtlFiLKtS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9r97UwptS40qZbP46Kw7t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FqRyhdm3MpC0krdAjnmEi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LP8zBhJW81S283N4JeqBk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W36COD7nn92h1rZjN_HT_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emrp87yOjbobXSSGTZM.l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9I8RZet2._QT_FdnbINnR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mTuBz_hlLiX5MsEzo7t0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Z2_HFX9cysjj9v9XatKEv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bsAE3EJbCz6zHKGcIcUeE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laU5NNlpjc23EyteIo76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kMvayGxgW115iMdkepJ_k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Y1Rb.FgSvwCzqDm0sOEt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qmGJvTI4yjx_l2bwHtBTO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aX_EAH.xVZREPM2xETcq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nHnXdP9p1oIHwEWFLKv9q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kXNSRmID7NouPNSVRoFx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PQevo.e1leVnGZNHC9RCD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TjtOCMVZUAPSOtaa8b4E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r5Fy8b.LZamKxRKcaNwo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F9Rqlogx9VYy.Me9p7FWr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NTwRJaHFqsFgC4ltAnhhh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eFkRV0Riekh1E7ohqpj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5IziIRGEqAIi6EACFQr4F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JJ18KRGmcL6_OhtEtZLpO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m5CpSE6D2pfIlDf8g8hPt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qx4uox7nuLy6dnhqp6978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4DS0psUDSatAnfGb.Wgal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3XbyLn9Z_8Z7Gwk1jcQNj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l2MwIeJsgwG93MjsWsGNP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p8oDjGp1YfOR2Fe1rN6CW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VeWCKF2tYfybhj92Vmxhk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WS5oO_gJFZfUi045UsMID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eoy8IT3Or.Hvp6XWL6.AP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f3haK2XUQphUyV4wM9Wv2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zSUjNvl8ONxHKomaZ9wc_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caxvRt7Hw2_yTqSXl7t6H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QkQzIl.DcDCDPC2L2TDwn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7hb6Qsho49Mc2neLr73Sc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bN3T3NdWXJaBqkFJQ8qLb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d5eYvGC1C8NRMjUUfDZO3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n986LCCAicyZaPS4uVenH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H.E4n8wjSSB0KPEMVBEX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tkAgZ7poR3QcES37XaCVr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nSke75413F5dIaiNyROsI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R7IFqVFZ9jiCz9IUwQS2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wR9s8IGAOdZYLl7BBdMW4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cpMiRpkDsZln29HfRCFS0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UmvEnVoaJHm9xy4Yez0ln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8pTJsHxXJc8FxZmcLiweZ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IMveFN5CpMy23f.Ebc5hv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fuwPU1DRsfyBdJzxKDwEO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GZgx7bcpH0UtdosBWijc.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gV8eXClOL5WEQFhjK2GRA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Qc0NsYw4pdHNQRl23YMK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jTgLpbysSQZeBHGQt1nvj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xMsIyHN13cCcB6dKH.NUb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5fMzZvkr5VPACwLW6CQDv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TTBM7pd6WWRLymZjlD6SH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5bjLcMqX_X8VsZhks6pja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PnfzbJiK0MsGEMOzqgF6x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NdS.fr5plNanzXQBeY.pl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F2m1PJaStnfbA5eg6Mws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ZuAOVvWa_Fq4E0148Jxf7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FfDyovaLQYdBVhtPLc9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PTqTwWfil66YnKEb9mAy7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_7N4SR41_CObIS.AcDhJv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uohwUI0W8505VpmCzYJlC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0rUHST3JdkQd9zBeF46O5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UqhkE6c_XCvv1V_DUlAtn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l2L7YOfVHruHiAl2wNOS2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ilK2Ltm59Zl7rfcgBlUs3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k72BlszSvDbaQFxrgQReE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M2e2FAHQ.yMk0B.JvQ43V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2cRkaUL2ux78ITskEm36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nURL0jpnJyGilDoT6IO_s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eG7Mj.mqrcP4L3Nixd5cN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LTw2zmVCY8N..4VVSq.bE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Ewf6PjOdlqx.JlK9LOJPn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e7MYT4ewlBKeLVEMzJv9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K8DDKek5xlAjzmFoecBvB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4ZlrfwATVOlkacjkFZq2b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eNFz3z8rk0yjJZJBYMt0F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T1gc..awWBxUqQflwunDJ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iML7zPUNbS8LtD0ifsD4y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qgDVNY83bNsHmpqctQVo1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rhDGdS4yAeCv.EWSDHV04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j.xcK6ke_D6Ztz_OmCzVY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SfrtA9OWKaFhANk.N7yIt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6ZZsdb0FiP9T_Ypx6xrz9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2qx0khsa_f5AeyHFj6Tzp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AwDzSiJyicjPWUeLviJMF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K.WVpSk.xnpYxcYVV4ZVu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pOFLeSkLT5.E79jQo6S4z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ISos1.gY_KWw6hKPvPaOB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MtiGTns1O7W8XrAbrqLxL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v016qv7ryZjanLHBfaf6N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WuSgZl54wqk051AHGNy0V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J8ROfhYVwgiQfrm4Jm3TI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AnkzQ8n_rdxlTf4Lq05B0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PAn2uqSfDRSLZ5c56shLk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AwT8d4qWHvUiP3W9VOMql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PF_5UZeS77duew1FfunwO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PK4q_EweetiznIhEWQHzU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1CM7lzqkfU6OodjNKRrJ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j534CYBo8gQjaCFLVDFlk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ROWtgjmxfAZOPD38v135h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IzM1rhLQGOxumVwkiUMIM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u8ixbBwTG2YqFyICfZk1c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qoi2mTeIZiqCWCWPAw84Y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NBSdWr5BOvkWmvjoOlKVC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vfP6CPxoc6VplOKyAKmKO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krfi8ATm.0QoXoqYcMNxF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wKI1r3Vc7uusfI0x5fKjQ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2qx0khsa_f5AeyHFj6Tzp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AwDzSiJyicjPWUeLviJM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pu9jpXZ3EKa9I1mqazjGn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nhoGFlnOf2pbCFkEjD_oP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N73EZS4zt_S0C4NrESd2J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ZsAt2EwO2dxiHqGEOfw9S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oWvIM3e2gCoQkDvYKkS.i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7QUMh_nKRnxpVLaFf3Ga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ftSMica2Q.qRePW3wDLuu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GaxY3hQY3H_MD_vZVX1Xh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2VI4q3QFSdxywLVcq_Ch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8E4dHswAk6mGSEV9PIL0N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Nib4YmFCUMUcAQ41mXsD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btnxz932h1F2bR8guds_Z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pQvUk4HKY04XKr45UztsP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xmYCYQQ0ERjURdrVY5uWO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xZ.Mp6qB2CZJWoY_5ijH1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0iKswUtdl7xfK15P1d5MG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0Z.qcJVNv7kuJI0Ka_nYE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iWIRisbk5csVGRHfKnv_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hkD5hJ61dyGEa9FGj7EX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F_I6n9v_Tx6Vkvz8ub32w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ImpX2gKoyTeH83vWGDw6H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LFmqo3wxTXLd7.47xLA_a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Eh1JvCLWn8ZaQuU.gZ3RP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tvate_NSDd3OspZBMDyeZ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WM._fjvWIJL83TEGdyh24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KG4L4UBwP7K_xcRtcWQo_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aRL6LyQY3kUDqMBeJLlpN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Fyvp.pwvUXQEuElk6NFbI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0zUMf7b2P4HLr3mL..KD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zd65xqbHAtot_RUEYViUV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XAM3yIwYnRqqomxGfVfIo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0ev36G5zz4XI_PXyTZQla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vXMXRPbFS2q6cfOQFlhet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KPdK8H5if9eoTdQDBvmPa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VdpX6caJ47PZPS.bgGT08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_in9CShWYKXR4Wu46okZG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nK2qQWbJTYYzmmRZ9CtvQ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_SkTsQN10jW2EKpFiFpV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Lv0aCkGVM9EFeaOusmoxT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SJMe4CZhZlnEO6GJqzAQi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CMQL8Cty0njB8beePuQlL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bQj193h_ZR1ZjsH_eirn5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v9uJO3r7W8lyXFOZ2_KrW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5M3vwoihay1s5YgcuaBLM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qAaUn7hA7AbWfIBcRQddU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zXdtsQfnFdhUoB8A5QSXe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Ell.T19huCJ2ffGZB7HSB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4yTiNGc3krNXVpqrrRWuj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XijrDNT4LtoM0IIJQLE7J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rIdy.Zwwb8k.lAGi0ttV8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nhK_l1VuwwJqpKRn4pOeC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ragfbzLVLlz_y5JRlY3H3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bX0ZkF3nQuI7cRbCPWL4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zD7Ctu0m4v2E2Aqf_neU0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fDEBemI_kI1w2OSJwJ6ob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QuFLs5nRk4miflYC98MY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WrpGICrUb8W8jcBd4bQGV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gvq56KlUPDFiTElFg0gD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Y9BIe2NGZVmTwOIvu4EuC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qS1WFoZmhnYTawJEpqLw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dOEbVgHaslqfN1lBQnG.a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ofX4ERjKzRQUAam6YXIfT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FREGQn6cEqEX_rYZIuCay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qx7qejs7dvZXn0Kxmpp7H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rhX1F8MsiiEpuOGxp1TuV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fX2iXqSozSjEEwQYmWBP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jWGPWv9jj9KFVfbmmuQsw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P.uWiL_1PR1nq9TY2hEW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_xn_xaCs.YtWiLAwQJ.AJ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mGnp.hzbHDwkR_1ULvBAT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6EWy3QxgnvE8sMD_5Jbg.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_KAGFWRxyFxCaUeT0s6b6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7uDv6uQ2dfKkLDAuXkx3v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1R2rfc_YV6wolj2AIo8BK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yj1xwmqytTF1ry11CGG6p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sgoaf3MTORgHP_HcCTDFk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xMyEIR8TW454kfi7zZmZj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5RHQbt1O2CRj22aBahL7z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azCojfSEiujGC1b.nhGxe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CeJrlfy1n4PmgMasMbij6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isiVDrjkcMg6h4gev_ZRE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npNn_bpqkNSnjeIwD9.Lc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sVmLJ_ru6Z5KG2mQt0jYf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C6kfCOWulV8Tav4L6g2_K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70m6BhuBfIhnhiZGtBg1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kiuTfZEL_a04oNwevWtO1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xS6rLqQ_IhherBRoLqcCB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aPNbHkN6nvb7KpiRIQI2A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Jm2vD0nqp0L7E2IY295ML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Zn22vb2bqU8iAvhIaWJwQ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2uDHVknK4DsXO5wCpv5in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L1uHe8KAc83NGmzv.96UU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TBKXiGACXPcV4Ru_N.Ykv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ER3yQB6sitOhLi6eT3SWF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olx2woLndbrNU64g1wJxB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RpCPowF8SQkC9pd2noeSi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X.HwE8.kPhHEGilXxUGMh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dUskdyzfkeFieUaiqUkca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xXrvSSXjbZaZl4qlvKGJa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T9Q1RihU1b863MNSMAkeA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WNFVOakFFKc4kkFyoG8Hu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RmMihlQsyynHkfU6ZG1z5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l8LLaED16n.poh625gmK_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1PdW.xGkCMSeYVZSpr.Ra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zzS8gfIJwuOkhpTGxC79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benRulzAM4pM3N86bXTM7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js.QNENIa62XreEHYrgVy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9DhuqAcpoCI8IqIdDdykI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8AKIQafWHFqIKHwWrTWfc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viaapmRCFWYpcEj6WNwYi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ATZE0ZRxLm0xOEbhWqH7L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t52Hv0bOIp33bONbyrc6g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z3ZkbKnH_neukY6REZDB0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lebCcq2ghCBnuMPGQRgN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VEVbpOH0NJN.KNqiuLxoz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1DDiT.aPAUOcn89H9qwVz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vdUi0P_KdAahKhN8YrUup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5bgNTF08ODtuDWkgWmjae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Oh9bTVm4Jf0R6iPwUBRSZ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ojS172KL6m9UVZ7veGbFN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EKDPc_XLWQ_dWRXkVPBwm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kdIbi_b3cNSo1wt6e8scc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QYdJ06PrKg23tF6M8FP_C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YKZo.SrLkvyDuAxOOqAV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fEncgzZ4KySBdrBgDBXtY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k_Y.Y2DQe5QsDDR.hZv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LnKHbkw8O61jcaN6nwZlo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_EJEcbf1UEMecwjnr50mK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cBxn986qazbVDGkg6_76i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f9.r.2L9GggawbEgzwer5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E_0sYuAuOIIfveTbWt1z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1DRc5f71fRgQD9yfiIWNL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VDfzHvUK0.YUqUDNPrafK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StCiqtasEd0aL.SO_503a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QTtUDdG9pE8zRZjKBRh9g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E8a77rQrlTEEUQs_SBcnX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Zcc3mAxDFGXEC6Fw8zpu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9D1r45bGnF.zhVfdkIcf6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dyA4k5Y60RMtn2yaRw471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yVte55cXPCMe1LyMShNz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RcGT3lEv5jmyBP6IzxSRq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Ja3KqBvMbKPss6wQug07K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pxlMY1G2Rowi9Wzl_NUT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cAaLL7jmHjAXhhZdA0E0E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J3p_7r9KIjPsW2TtCSsOg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PwgHCU0_9aD7001Ph3r51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MUeJoDnogzvlG5Iv5oWI7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wuJeKeeS.tUx5Gt7Gp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Ikj.P2w5ZqFrkCnAQEaYY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7NM6.iku_qCgtYtoVQeKx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COQgl1WUt3ImSgMum3NlH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nJk4otQimwRZnSLJE19ZY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HNDPHXECiUH3gGeU__Xx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7xskscD.OFH2zAQEo91Ak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FUrfM4eW9AlB49MG5po29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VISxQIy9wBTB2AiB0nNys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PwJdYb_YEyiLFvob27g1p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gRkVfeqOgCVMtvVlaXGLu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avkP_Hwd5Zv8Nv6Pf4wj2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u.RsqMXy_r9huqsCuFXjA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N9vvKQI4qd2PokVFaKpH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vub1wyEVVvQF0Ynj2IslY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UFiQlGkT9dvaBbakUt22P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LBMUFKhDxIaHjiBnnTE1i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p1uOCoCVa03usoOZf8OcO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J.e59grsaQI0l.s8HA5c6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j2UkdfiNRKpMk4vwnBkzU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yLSnp9xbxnUPPPmfcjds7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RuY30wiylxcRB2gM3rH0D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PFcNWgDT8Mr78nwbMC1Ng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PrT6qXQDWXJqCq2t_5_vP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YbW441TLdZ09GqmVzuW9X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NzPpwPzbXZ_P28R1QEv5Q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fLDdiBw871PsAHNCiagcy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6Vid8wUdBmtJDBTlGN1.o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8FNbP6KTHNVzShsi0_uJq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cs9DgS9ogbaskGGVF5lsR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Sn6YFx29cxHp6_Cezin.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3RjYV6jHggKE4YojQlm9u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r3PGICpVQJEvauOP1qK.9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xq43r.4JDQtm3y5fy56hU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OYUOV03vzDy_hV8npocar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gH9QekSYuVitTgvdn6O9O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VKKCxARgMb8nUH2w3FyQu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wV1XgRma3JoUxmznQlWTc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9w4AStij4qaVDmy53WBTO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WoH1gVwRIhTbtSZnDgquz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srRNCctZzQOaDs1iOu.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u1p5llFBcz41xjF2r4xF0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WGBAPlv4XewFjI7S8ntl8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9MdR33kP8yBxsj8HKOPjS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INKo3dB.t5lESsW7EX0Q9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S.g7DBW96IW6O4JF4bQR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oizDdowTNBZIdjfrHy4bq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OrS5NozAq6sl7RdIDLG_C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n83UzQ4NiBmlxaNwEGSqD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yqoIbV_Yv3VHA1n5vZSqZ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sCCIPN7tobWSXIySvgGR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_H2CKucOEghEr6umJ.S80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l8o2tQ4wZh9b2Q54prsdU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pG5rNQ6FvKppTA5bz4JNO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Oc7KlV0I9lqJcChztwB9K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PRJf1o5TH8mQktqBXnDJa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9JqDvvYqGzaVpDM4muuf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Z4.gcAdrFVrOtLlyJfPoi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lBBhecFhTJIGfPf.JWvwk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9wS9Ig8IlYwxwp.roPOSk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fn6GncvlvIKFd42Mw0T4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nQrcNgbmgY4NsiKeeij_O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BtFy0f_CFKpin126k1A8a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0TOsyMzVm4vSahxGMPpRr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1j33Ce4NFzH2bs8LtZOnb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gFAj6YcpJtxqjZ3K8SvYa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nixhQ4ZOoZjrKgw6rSxRU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sVkldl_sCHylDkTvmx0eL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1x9Utvvnwlez4hwqCWuQS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y.3wUa6Mmq2WIpMvsYi3T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aWcoFcK2.0k9UwP9GQQDL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W6HqI.MHvv_G9xr1ebmAo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Q7Fy6fabvwPAd2NSayjlx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fRDBpzbk1IEqpohB6zhBf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Ypeql08s02hy27qLr7nrJ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lqKfY2zxi1limPEWKXAUb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V0XrrEHdPKeXrp5_Vj3tg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U81DwNECf87FI.yO8Vt5L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xySJgKK2SU7DEW_M0FxYI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bIoUuwieeag7L2f1PScao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6Dx5hQMl5EWoUxenZEVe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KXLBV4eakMpDn1f6PkCvf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pl6kasQG_Cx0AwI6FKru2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g40eWMbL5jyjXo_fh4ZCk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qfjMI17QANWBZ9J25td2b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gFmclixLgG2rxMLO0L2Sa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Mb.PXSH1gdprH1C.cP1qt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7v6.jOwp5DzT5C5k_60Qi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ii5ZG4qYuFBEBIT0h1uZv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EnI2MreeyP2U3B7_jZRD7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t1rEqquKmdyg.AuWNBTT2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qVyRYX8Z3Z4VZz7EhmRck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YnhxtdNHQIQ7VnedoBIVa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Wb1Shjre5BQtLx58uHFGd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X8xGEI_mokEJmnLJdekjz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F_JNzod1BsKNgWaUtNyxP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k.dEALuDiFVDmiZFDVT7P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o7mU3TRLavf_OoEs5yb3K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E07zKG1qgyT6lD.Mg3bL3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9ED7t9CFlivSOx0sKbbYB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yfXCFlx0VeCT_iqsnh80RQ"/>
</p:tagLst>
</file>

<file path=ppt/theme/theme1.xml><?xml version="1.0" encoding="utf-8"?>
<a:theme xmlns:a="http://schemas.openxmlformats.org/drawingml/2006/main" name="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1.potx" id="{F1B919D0-194C-4CAF-B61F-40C2711C9044}" vid="{AAF5F369-A89C-4B02-969B-205D29849A80}"/>
    </a:ext>
  </a:extLst>
</a:theme>
</file>

<file path=ppt/theme/theme2.xml><?xml version="1.0" encoding="utf-8"?>
<a:theme xmlns:a="http://schemas.openxmlformats.org/drawingml/2006/main" name="1_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1  -  Read-Only" id="{D128D7FF-A51A-46BD-A279-F01F4D5BF47A}" vid="{3E85C040-0980-4DF0-ADD5-04A04ED7E8F5}"/>
    </a:ext>
  </a:extLst>
</a:theme>
</file>

<file path=ppt/theme/theme3.xml><?xml version="1.0" encoding="utf-8"?>
<a:theme xmlns:a="http://schemas.openxmlformats.org/drawingml/2006/main" name="2_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1.potx" id="{F1B919D0-194C-4CAF-B61F-40C2711C9044}" vid="{AAF5F369-A89C-4B02-969B-205D29849A80}"/>
    </a:ext>
  </a:extLst>
</a:theme>
</file>

<file path=ppt/theme/theme4.xml><?xml version="1.0" encoding="utf-8"?>
<a:theme xmlns:a="http://schemas.openxmlformats.org/drawingml/2006/main" name="3_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1  -  Read-Only" id="{DD596674-7F4E-4B2A-A482-3C2807CAC7EC}" vid="{1B60945D-BA82-415B-AA01-60071B9C6108}"/>
    </a:ext>
  </a:extLst>
</a:theme>
</file>

<file path=ppt/theme/theme5.xml><?xml version="1.0" encoding="utf-8"?>
<a:theme xmlns:a="http://schemas.openxmlformats.org/drawingml/2006/main" name="Aurora 2020">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0.potx" id="{E1852C79-6AD8-44F2-958D-2C8761BFA8F9}" vid="{C4BBA22D-1B36-4E14-A241-55D7D80163F3}"/>
    </a:ext>
  </a:extLst>
</a:theme>
</file>

<file path=ppt/theme/theme6.xml><?xml version="1.0" encoding="utf-8"?>
<a:theme xmlns:a="http://schemas.openxmlformats.org/drawingml/2006/main" name="4_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1  -  Read-Only" id="{D128D7FF-A51A-46BD-A279-F01F4D5BF47A}" vid="{3E85C040-0980-4DF0-ADD5-04A04ED7E8F5}"/>
    </a:ext>
  </a:extLst>
</a:theme>
</file>

<file path=ppt/theme/theme7.xml><?xml version="1.0" encoding="utf-8"?>
<a:theme xmlns:a="http://schemas.openxmlformats.org/drawingml/2006/main" name="5_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1  -  Read-Only" id="{D128D7FF-A51A-46BD-A279-F01F4D5BF47A}" vid="{3E85C040-0980-4DF0-ADD5-04A04ED7E8F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2E526DD547104FB115814793B28E65" ma:contentTypeVersion="18" ma:contentTypeDescription="Create a new document." ma:contentTypeScope="" ma:versionID="a896638e8e8de2f65b51a2a6cf61e1ed">
  <xsd:schema xmlns:xsd="http://www.w3.org/2001/XMLSchema" xmlns:xs="http://www.w3.org/2001/XMLSchema" xmlns:p="http://schemas.microsoft.com/office/2006/metadata/properties" xmlns:ns2="7fbf1c1f-4c6e-4407-9269-c886e0131154" xmlns:ns3="14e4e3b3-9260-444e-ae86-c9c2cf2f8143" targetNamespace="http://schemas.microsoft.com/office/2006/metadata/properties" ma:root="true" ma:fieldsID="7f7b195aa68e02417bb434d5b7f42970" ns2:_="" ns3:_="">
    <xsd:import namespace="7fbf1c1f-4c6e-4407-9269-c886e0131154"/>
    <xsd:import namespace="14e4e3b3-9260-444e-ae86-c9c2cf2f814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bf1c1f-4c6e-4407-9269-c886e01311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a6926d-f3ad-4091-8a7b-f3d8b1cd9e1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4e4e3b3-9260-444e-ae86-c9c2cf2f814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fad106e-f7aa-49fc-9607-26c772ab77a1}" ma:internalName="TaxCatchAll" ma:showField="CatchAllData" ma:web="14e4e3b3-9260-444e-ae86-c9c2cf2f81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4e4e3b3-9260-444e-ae86-c9c2cf2f8143">
      <UserInfo>
        <DisplayName>Hanns Koenig</DisplayName>
        <AccountId>59</AccountId>
        <AccountType/>
      </UserInfo>
      <UserInfo>
        <DisplayName>Aurora All Discussion Members</DisplayName>
        <AccountId>2421</AccountId>
        <AccountType/>
      </UserInfo>
    </SharedWithUsers>
    <TaxCatchAll xmlns="14e4e3b3-9260-444e-ae86-c9c2cf2f8143" xsi:nil="true"/>
    <lcf76f155ced4ddcb4097134ff3c332f xmlns="7fbf1c1f-4c6e-4407-9269-c886e013115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1A8B5B7-8AD4-4D51-8E92-CB2601D66001}">
  <ds:schemaRefs>
    <ds:schemaRef ds:uri="http://schemas.microsoft.com/sharepoint/v3/contenttype/forms"/>
  </ds:schemaRefs>
</ds:datastoreItem>
</file>

<file path=customXml/itemProps2.xml><?xml version="1.0" encoding="utf-8"?>
<ds:datastoreItem xmlns:ds="http://schemas.openxmlformats.org/officeDocument/2006/customXml" ds:itemID="{3664FEB4-AD38-482D-B215-4F509B50F822}">
  <ds:schemaRefs>
    <ds:schemaRef ds:uri="14e4e3b3-9260-444e-ae86-c9c2cf2f8143"/>
    <ds:schemaRef ds:uri="7fbf1c1f-4c6e-4407-9269-c886e013115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2A9C687-48A8-4466-A883-623EDE9436E5}">
  <ds:schemaRefs>
    <ds:schemaRef ds:uri="7fbf1c1f-4c6e-4407-9269-c886e0131154"/>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purl.org/dc/terms/"/>
    <ds:schemaRef ds:uri="http://purl.org/dc/dcmitype/"/>
    <ds:schemaRef ds:uri="http://schemas.openxmlformats.org/package/2006/metadata/core-properties"/>
    <ds:schemaRef ds:uri="14e4e3b3-9260-444e-ae86-c9c2cf2f814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urora_PPTX template_202101</Template>
  <TotalTime>0</TotalTime>
  <Words>24181</Words>
  <Application>Microsoft Office PowerPoint</Application>
  <PresentationFormat>Widescreen</PresentationFormat>
  <Paragraphs>3755</Paragraphs>
  <Slides>127</Slides>
  <Notes>119</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27</vt:i4>
      </vt:variant>
    </vt:vector>
  </HeadingPairs>
  <TitlesOfParts>
    <vt:vector size="143" baseType="lpstr">
      <vt:lpstr>Lato</vt:lpstr>
      <vt:lpstr>Arial</vt:lpstr>
      <vt:lpstr>Symbol</vt:lpstr>
      <vt:lpstr>Wingdings</vt:lpstr>
      <vt:lpstr>Lato Black</vt:lpstr>
      <vt:lpstr>Lato  (body)</vt:lpstr>
      <vt:lpstr>Calibri</vt:lpstr>
      <vt:lpstr>Harvey Balls</vt:lpstr>
      <vt:lpstr>Aurora 2021.1</vt:lpstr>
      <vt:lpstr>1_Aurora 2021.1</vt:lpstr>
      <vt:lpstr>2_Aurora 2021.1</vt:lpstr>
      <vt:lpstr>3_Aurora 2021.1</vt:lpstr>
      <vt:lpstr>Aurora 2020</vt:lpstr>
      <vt:lpstr>4_Aurora 2021.1</vt:lpstr>
      <vt:lpstr>5_Aurora 2021.1</vt:lpstr>
      <vt:lpstr>think-cell Slide</vt:lpstr>
      <vt:lpstr>PowerPoint Presentation</vt:lpstr>
      <vt:lpstr>Aurora European Battery Markets Attractiveness Report:  Inform your next business move in Europe with this comprehensive report  </vt:lpstr>
      <vt:lpstr>Aurora European Battery Markets Attractiveness Report: How to use this report</vt:lpstr>
      <vt:lpstr>The 3rd Edition of the Aurora BatMAR improves policy updates and market attractiveness metrics with added granularity</vt:lpstr>
      <vt:lpstr>Aurora is the leading commercial advisor for battery storage investments and transactions in Europe</vt:lpstr>
      <vt:lpstr>Modelling storage is complex. Aurora’s forecasts have underpinned the deployment of over 2.5GW of operational battery assets globally</vt:lpstr>
      <vt:lpstr>Flexibility Market add-on service: Provides detailed power market analysis and investment cases for batteries in 14 European markets</vt:lpstr>
      <vt:lpstr>PowerPoint Presentation</vt:lpstr>
      <vt:lpstr>PowerPoint Presentation</vt:lpstr>
      <vt:lpstr>Energy arbitrage offers the most valuable margins for batteries in many European countries, followed by capacity payments for ancillary services</vt:lpstr>
      <vt:lpstr>Aurora’s rating combines 13 metrics to derive an overall attractiveness score for 24 European grid scale battery markets</vt:lpstr>
      <vt:lpstr>Different markets emerge top across the four key categories, highlighting diverse investment opportunities</vt:lpstr>
      <vt:lpstr>The most attractive European market for battery storage is           , followed by          and  xxxx          </vt:lpstr>
      <vt:lpstr>               was the most attractive market;              has dropped down the rankings</vt:lpstr>
      <vt:lpstr>PowerPoint Presentation</vt:lpstr>
      <vt:lpstr>PowerPoint Presentation</vt:lpstr>
      <vt:lpstr>Batteries store electricity by converting between electrical and chemical energy when charging and discharging</vt:lpstr>
      <vt:lpstr>PowerPoint Presentation</vt:lpstr>
      <vt:lpstr>Rising flexibility needs and corresponding battery storage buildout is primarily driven by decarbonisation and its underlying drivers</vt:lpstr>
      <vt:lpstr>Europe could see a         GW increase in variable renewables capacity by 2030, accounting for        % of total generation</vt:lpstr>
      <vt:lpstr>A xx% decrease in generation from conventional assets by 2030 results in the loss of inertia and other grid stability provisions</vt:lpstr>
      <vt:lpstr>Legislations for the phase-out of coal creates opportunities for batteries across Europe, while outlook for nuclear remains mixed</vt:lpstr>
      <vt:lpstr>Reducing baseload capacities and slow grid reinforcements lead to an increased need and opportunity for batteries</vt:lpstr>
      <vt:lpstr>To ensure continued grid operability, additional markets are used across Europe to procure a variety of ancillary services</vt:lpstr>
      <vt:lpstr>Power demand in Europe is expected to increase by  xx% to 2050, driven by increased electrification across sectors</vt:lpstr>
      <vt:lpstr>Periods of high renewables generation will increase by xx p.p. in the 2030s, creating significant opportunities for battery charging</vt:lpstr>
      <vt:lpstr>PowerPoint Presentation</vt:lpstr>
      <vt:lpstr>Batteries are one of multiple established technologies able to provide system services, with a competitive edge over other technologies</vt:lpstr>
      <vt:lpstr>Lithium-ion batteries remain the dominant electrochemical technology for grid-scale storage due to technical and market maturity</vt:lpstr>
      <vt:lpstr>The cost of developing grid-scale batteries is made up of various components</vt:lpstr>
      <vt:lpstr>Anode, cathode and electrolyte prices decreased over XX% since the start of 2023, while copper prices fluctuated minimally </vt:lpstr>
      <vt:lpstr>Supply chains for Lithium-ion batteries are dominated by China; US is gearing up to increase market share while Europe lags</vt:lpstr>
      <vt:lpstr>Aurora applies learning rates from historical battery cost reductions and key raw materials price movements to forecast CAPEX</vt:lpstr>
      <vt:lpstr>Quickly falling commodity prices in 2023 results in battery system CAPEX resolving to Aurora’s long-term battery cost outlook</vt:lpstr>
      <vt:lpstr>Battery CAPEX decline by  XX% by 2030 due to technology progress and economies of scale in production </vt:lpstr>
      <vt:lpstr>Ongoing fixed costs include route-to-market fees, grid charges, O&amp;M, insurance, and land lease</vt:lpstr>
      <vt:lpstr>PowerPoint Presentation</vt:lpstr>
      <vt:lpstr>PowerPoint Presentation</vt:lpstr>
      <vt:lpstr> XX is currently the leading market in terms of size and outlook, followed by  XX and  XX</vt:lpstr>
      <vt:lpstr>PowerPoint Presentation</vt:lpstr>
      <vt:lpstr>Total battery storage in Europe reached over  XXGW in 2023; the developer and investor landscape for assets is fragmented</vt:lpstr>
      <vt:lpstr>Full delivery of the current pipeline would see battery capacity in Europe grow fourfold to  XXGW by 2026, a ~ XXGW increase</vt:lpstr>
      <vt:lpstr>A growing number of battery suppliers, integrators and route-to-market providers are active in Europe as the BESS industry grows</vt:lpstr>
      <vt:lpstr>Asset owners have different route-to-market options to manage a desired risk profile</vt:lpstr>
      <vt:lpstr>PowerPoint Presentation</vt:lpstr>
      <vt:lpstr>Based on Aurora‘s Central scenario, grid scale battery storage could grow to  XXGW by 2030, XXGW more than the current pipeline</vt:lpstr>
      <vt:lpstr>Aurora‘s 2030 forecasted capacity denotes over  XXGW of capacity additions from 2023, mainly deployed in  XX, XX, and XX</vt:lpstr>
      <vt:lpstr>The projected battery capacity additions represent a cumulative investment opportunity of over XX bn€ between 2023-50</vt:lpstr>
      <vt:lpstr>Though deployment of behind-the-meter (BtM) batteries could drive competition, growth of grid-scale batteries is expected to be faster</vt:lpstr>
      <vt:lpstr>Smart charging systems could drive competition for grid scale assets with XX x more smart charging EV storage than grid storage by 2030</vt:lpstr>
      <vt:lpstr>PowerPoint Presentation</vt:lpstr>
      <vt:lpstr>PowerPoint Presentation</vt:lpstr>
      <vt:lpstr>XXX sees the most attractive policy environment for grid-scale battery deployment, followed by XXX and XXX</vt:lpstr>
      <vt:lpstr>PowerPoint Presentation</vt:lpstr>
      <vt:lpstr>The outlook for battery storage deployment is largely driven by energy policy and regulation</vt:lpstr>
      <vt:lpstr>Across Europe, many countries have set ambitious renewables targets, driving increased requirements for batteries</vt:lpstr>
      <vt:lpstr>Policy support for battery storage at the EU level is not yet mature, and recent developments focus more on the upstream value chain</vt:lpstr>
      <vt:lpstr>Across Europe, a rising number of countries have introduced strategies and targets for energy storage deployment</vt:lpstr>
      <vt:lpstr>Auctions to date have subsidised at least XXGW1 of batteries in XX, XX and XX, with XX GW in future procurement</vt:lpstr>
      <vt:lpstr>XX’s XX scheme aims to procure XX GW of capacity by 2030; additional schemes have the potential to procure almost XX GW</vt:lpstr>
      <vt:lpstr>PowerPoint Presentation</vt:lpstr>
      <vt:lpstr>Political agreement was reached on the EU market reform proposal in December 2023, which included a focus on promoting flexibility</vt:lpstr>
      <vt:lpstr>Ongoing regulatory developments within certain markets present both opportunities and challenges for battery assets (1/2)</vt:lpstr>
      <vt:lpstr>Ongoing regulatory developments within certain markets present both opportunities and challenges for battery assets (2/2)</vt:lpstr>
      <vt:lpstr>Grid Integration: Ease of obtaining grid connection and the favourability of grid usage fees are combined into one score</vt:lpstr>
      <vt:lpstr>Regulatory hurdles in grid access and fees for batteries across Europe is mixed, complicating the deployment of new capacity</vt:lpstr>
      <vt:lpstr>Competitive risk arises from supportive policies on demand-side and BtM aggregation, electrolysers and electric vehicles</vt:lpstr>
      <vt:lpstr>XXXXX, XXXXX and XXXXX see the highest competitive risk to batteries, where aggregation into ancillary markets is enabled</vt:lpstr>
      <vt:lpstr>PowerPoint Presentation</vt:lpstr>
      <vt:lpstr>Grid scale battery storage assets typically participate in up to four types of markets, with further access to additional ancillary services</vt:lpstr>
      <vt:lpstr>Most countries allow for batteries to stack various revenue streams, however contractual revenues are limited (1/2)</vt:lpstr>
      <vt:lpstr>Most countries allow for batteries to stack various revenue streams, however contractual revenues are limited (2/2)</vt:lpstr>
      <vt:lpstr>Frequency markets across Europe are generally fragmented and reflect nationally-determined technical requirements (1/2)</vt:lpstr>
      <vt:lpstr>Frequency and other balancing services across Europe are generally fragmented and reflect nationally-determined technical requirements</vt:lpstr>
      <vt:lpstr>Battery competitiveness is impacted by market features such as product length and symmetry, but not by gate closure</vt:lpstr>
      <vt:lpstr>Frequency Regulation Reserves will increasingly be coordinated at EU level between Member States, increasing cross-border competition</vt:lpstr>
      <vt:lpstr>The implications of future aFRR market alignment with PICASSO have mixed impacts on battery opportunities</vt:lpstr>
      <vt:lpstr>PowerPoint Presentation</vt:lpstr>
      <vt:lpstr>PowerPoint Presentation</vt:lpstr>
      <vt:lpstr>XXXXX sees the most attractive revenue streams for battery storage, followed by XXXXX and XXXXX </vt:lpstr>
      <vt:lpstr>PowerPoint Presentation</vt:lpstr>
      <vt:lpstr>The share of wind and solar generation in Europe rises to XXXX% by 2050, driving higher price volatility and system balancing needs</vt:lpstr>
      <vt:lpstr>Wholesale price spreads rise in the 2030s across a few countries due to higher renewables penetration and rising commodity prices…</vt:lpstr>
      <vt:lpstr>…while they decrease in other countries due to increased flexibility in the system from batteries, EVs and electrolysers</vt:lpstr>
      <vt:lpstr>PowerPoint Presentation</vt:lpstr>
      <vt:lpstr>XXXX shows highest demand for frequency response services, while XXXX has the most batteries relative to market size</vt:lpstr>
      <vt:lpstr>Battery expansion drives down market prices and transforms the landscape of ancillary services  </vt:lpstr>
      <vt:lpstr>Aurora modelling methodology– Using Germany as an example (1/2)</vt:lpstr>
      <vt:lpstr>Aurora modelling methodology– Using Germany as an example (2/2)</vt:lpstr>
      <vt:lpstr>The increasing penetration of flexible assets and the decrease in hydro power revenues pull down frequency response services prices (1/4)</vt:lpstr>
      <vt:lpstr>XXXX’s saturated frequency response market causes a stable prices while  XXXX sees an increasing trend due to higher demand for reserve services (2/4)</vt:lpstr>
      <vt:lpstr>Retirement of thermal assets and battery deployment steadily reduce frequency service costs in Greece and Poland (3/4)</vt:lpstr>
      <vt:lpstr>Increased battery participation and regulatory shifts drive down frequency service prices in Spain, Portugal, and France (4/4)</vt:lpstr>
      <vt:lpstr>PowerPoint Presentation</vt:lpstr>
      <vt:lpstr>Balancing service prices rose to unprecedented levels over the past couple of years driven by high commodity price volatility in 2022</vt:lpstr>
      <vt:lpstr>While demand for balancing services will increase due to increasing demand and variable renewables generation…</vt:lpstr>
      <vt:lpstr>…prices for such balancing services are expected to adjust as the technology mix changes in each country (1/2)</vt:lpstr>
      <vt:lpstr>…prices for such balancing services are expected to adjust as the technology mix changes in each country (2/2)</vt:lpstr>
      <vt:lpstr>Battery business models will rely more on revenue stacking as frequency services across Europe face increased saturation risk</vt:lpstr>
      <vt:lpstr>PowerPoint Presentation</vt:lpstr>
      <vt:lpstr>Capacity Markets ensure security of supply standards are fulfilled by paying generators for capacity, rather than for energy alone</vt:lpstr>
      <vt:lpstr>Capacity Markets support over XX GW of batteries across Europe, although revenues vary due to de-rating factors and clearing prices</vt:lpstr>
      <vt:lpstr>Contracted revenues from Capacity Markets enhances battery bankability, but may restrict participation in other markets (1/2)</vt:lpstr>
      <vt:lpstr>Contracted revenues from capacity markets enhances battery bankability, but may restrict participation in other markets (2/2)</vt:lpstr>
      <vt:lpstr>PowerPoint Presentation</vt:lpstr>
      <vt:lpstr>PowerPoint Presentation</vt:lpstr>
      <vt:lpstr>XX sees the most attractive project economics for battery storage, followed by XX and XX</vt:lpstr>
      <vt:lpstr>The gross margin stack is formed largely by capacity-based ancillary services in the XX, but energy arbitrage is prevalent elsewhere </vt:lpstr>
      <vt:lpstr>The need for longer duration storage increases with rising renewables penetration; 4-hour batteries benefit most from arbitrage revenues</vt:lpstr>
      <vt:lpstr>Gross margins decrease over time as batteries degrade, and the composition of gross margins changes in diverse ways</vt:lpstr>
      <vt:lpstr>Modelling approach: Based on real market mechanisms, our model dispatches according to the following logic</vt:lpstr>
      <vt:lpstr>High capacity-based ancillary market revenues drives 1h batteries business cases …</vt:lpstr>
      <vt:lpstr>… but with increased market saturation over time, energy arbitrage favours 2h and 4h durations  (1/2)</vt:lpstr>
      <vt:lpstr>… but with increased market saturation over time, energy arbitrage favours 2h and 4h durations  (2/2)</vt:lpstr>
      <vt:lpstr>In the High scenario, batteries have a better business case due to stronger energy trading opportunities …</vt:lpstr>
      <vt:lpstr>… While in Low Scenarios, battery investments have a different degree of exposure</vt:lpstr>
      <vt:lpstr>To prepare for uncertainties in the markets, developers can apply different strategies  with significant upside scenarios</vt:lpstr>
      <vt:lpstr>Multiple strategies are viable for battery storage, with trade-offs between near-term cost and long-term technical complexity</vt:lpstr>
      <vt:lpstr>Repowering extends the battery lifetime allowing them to capture higher revenues, and potentially increasing profitability  </vt:lpstr>
      <vt:lpstr>Batteries co-located with AC-coupled solar PV can have significantly higher IRR than standalone</vt:lpstr>
      <vt:lpstr>Colocation of batteries with renewables could increase battery IRRs through cost savings and project optimisation</vt:lpstr>
      <vt:lpstr>Aurora’s rating of four key categories is used to enable environment for co-location projects</vt:lpstr>
      <vt:lpstr>Favourable policy environment has enabled co-located projects in markets such as XX, XX, XX and XX</vt:lpstr>
      <vt:lpstr>Unique, proprietary, in-house modelling capabilities underpin Aurora’s superior analysis</vt:lpstr>
      <vt:lpstr>Glossary</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dian Wang</dc:creator>
  <cp:lastModifiedBy>James Pigden</cp:lastModifiedBy>
  <cp:revision>6</cp:revision>
  <dcterms:created xsi:type="dcterms:W3CDTF">2023-10-31T14:57:12Z</dcterms:created>
  <dcterms:modified xsi:type="dcterms:W3CDTF">2024-02-12T20:5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2E526DD547104FB115814793B28E65</vt:lpwstr>
  </property>
  <property fmtid="{D5CDD505-2E9C-101B-9397-08002B2CF9AE}" pid="3" name="MediaServiceImageTags">
    <vt:lpwstr/>
  </property>
</Properties>
</file>